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9" r:id="rId1"/>
    <p:sldMasterId id="2147483756" r:id="rId2"/>
  </p:sldMasterIdLst>
  <p:notesMasterIdLst>
    <p:notesMasterId r:id="rId21"/>
  </p:notesMasterIdLst>
  <p:sldIdLst>
    <p:sldId id="258" r:id="rId3"/>
    <p:sldId id="278" r:id="rId4"/>
    <p:sldId id="2147479866" r:id="rId5"/>
    <p:sldId id="259" r:id="rId6"/>
    <p:sldId id="2147479853" r:id="rId7"/>
    <p:sldId id="2147479868" r:id="rId8"/>
    <p:sldId id="291" r:id="rId9"/>
    <p:sldId id="283" r:id="rId10"/>
    <p:sldId id="2147479851" r:id="rId11"/>
    <p:sldId id="2147479842" r:id="rId12"/>
    <p:sldId id="2147479840" r:id="rId13"/>
    <p:sldId id="2147479852" r:id="rId14"/>
    <p:sldId id="2147479846" r:id="rId15"/>
    <p:sldId id="2147479849" r:id="rId16"/>
    <p:sldId id="2147479847" r:id="rId17"/>
    <p:sldId id="277" r:id="rId18"/>
    <p:sldId id="591" r:id="rId19"/>
    <p:sldId id="262" r:id="rId2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14DD568C-296D-490A-ADF1-C15FFD7F69A0}">
          <p14:sldIdLst>
            <p14:sldId id="258"/>
            <p14:sldId id="278"/>
            <p14:sldId id="2147479866"/>
            <p14:sldId id="259"/>
            <p14:sldId id="2147479853"/>
            <p14:sldId id="2147479868"/>
            <p14:sldId id="291"/>
            <p14:sldId id="283"/>
            <p14:sldId id="2147479851"/>
            <p14:sldId id="2147479842"/>
            <p14:sldId id="2147479840"/>
            <p14:sldId id="2147479852"/>
            <p14:sldId id="2147479846"/>
            <p14:sldId id="2147479849"/>
            <p14:sldId id="2147479847"/>
            <p14:sldId id="277"/>
            <p14:sldId id="591"/>
            <p14:sldId id="262"/>
          </p14:sldIdLst>
        </p14:section>
      </p14:sectionLst>
    </p:ext>
    <p:ext uri="{EFAFB233-063F-42B5-8137-9DF3F51BA10A}">
      <p15:sldGuideLst xmlns:p15="http://schemas.microsoft.com/office/powerpoint/2012/main">
        <p15:guide id="1" orient="horz" pos="3803" userDrawn="1">
          <p15:clr>
            <a:srgbClr val="A4A3A4"/>
          </p15:clr>
        </p15:guide>
        <p15:guide id="2" pos="384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138C009-C698-7BA8-CB22-8C7EB7493A29}" name="Alyvia Kluska" initials="AK" userId="S::alyvia.kluska@apyxmedical.com::0d5b2b42-d3a6-44c9-b543-5cdfa225cf69" providerId="AD"/>
  <p188:author id="{FE96362E-198E-79B6-D7D3-91DE16EFF734}" name="Garth Russell" initials="GR" userId="cf3b0f9bf081b17c" providerId="Windows Live"/>
  <p188:author id="{E4DC1BE2-873D-0690-88EC-99007EDCFA7E}" name="Matt Hill" initials="MH" userId="S::Matt.Hill@apyxmedical.com::845cdde4-cd73-46c2-a201-cf7edc6fd38b" providerId="AD"/>
  <p188:author id="{3FFB0AF8-5248-988E-216A-E4A9611AC1FF}" name="Garth Russell" initials="GR" userId="S::garth@lifesciadvisors.com::4a9bc995-78f5-4e76-8eea-196def044e4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67200"/>
    <a:srgbClr val="000000"/>
    <a:srgbClr val="E57200"/>
    <a:srgbClr val="00A7CF"/>
    <a:srgbClr val="00396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2445" autoAdjust="0"/>
    <p:restoredTop sz="94660"/>
  </p:normalViewPr>
  <p:slideViewPr>
    <p:cSldViewPr snapToGrid="0">
      <p:cViewPr varScale="1">
        <p:scale>
          <a:sx n="107" d="100"/>
          <a:sy n="107" d="100"/>
        </p:scale>
        <p:origin x="816" y="126"/>
      </p:cViewPr>
      <p:guideLst>
        <p:guide orient="horz" pos="3803"/>
        <p:guide pos="3840"/>
      </p:guideLst>
    </p:cSldViewPr>
  </p:slideViewPr>
  <p:notesTextViewPr>
    <p:cViewPr>
      <p:scale>
        <a:sx n="3" d="2"/>
        <a:sy n="3" d="2"/>
      </p:scale>
      <p:origin x="0" y="0"/>
    </p:cViewPr>
  </p:notesTextViewPr>
  <p:sorterViewPr>
    <p:cViewPr>
      <p:scale>
        <a:sx n="100" d="100"/>
        <a:sy n="100" d="100"/>
      </p:scale>
      <p:origin x="0" y="-419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microsoft.com/office/2018/10/relationships/authors" Target="authors.xml"/><Relationship Id="rId3" Type="http://schemas.openxmlformats.org/officeDocument/2006/relationships/slide" Target="slides/slide1.xml"/><Relationship Id="rId21" Type="http://schemas.openxmlformats.org/officeDocument/2006/relationships/notesMaster" Target="notesMasters/notesMaster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0264806828618154"/>
          <c:y val="3.4087622636597092E-2"/>
          <c:w val="0.62500397017884968"/>
          <c:h val="0.93750602516623871"/>
        </c:manualLayout>
      </c:layout>
      <c:pieChart>
        <c:varyColors val="1"/>
        <c:ser>
          <c:idx val="0"/>
          <c:order val="0"/>
          <c:tx>
            <c:strRef>
              <c:f>Sheet1!$B$1</c:f>
              <c:strCache>
                <c:ptCount val="1"/>
                <c:pt idx="0">
                  <c:v>Sales</c:v>
                </c:pt>
              </c:strCache>
            </c:strRef>
          </c:tx>
          <c:spPr>
            <a:ln w="114300">
              <a:solidFill>
                <a:schemeClr val="bg1"/>
              </a:solidFill>
            </a:ln>
          </c:spPr>
          <c:dPt>
            <c:idx val="0"/>
            <c:bubble3D val="0"/>
            <c:spPr>
              <a:solidFill>
                <a:schemeClr val="accent3"/>
              </a:solidFill>
              <a:ln w="114300">
                <a:solidFill>
                  <a:schemeClr val="bg1"/>
                </a:solidFill>
              </a:ln>
              <a:effectLst/>
            </c:spPr>
            <c:extLst>
              <c:ext xmlns:c16="http://schemas.microsoft.com/office/drawing/2014/chart" uri="{C3380CC4-5D6E-409C-BE32-E72D297353CC}">
                <c16:uniqueId val="{00000002-F49E-7641-91AD-B901C161461B}"/>
              </c:ext>
            </c:extLst>
          </c:dPt>
          <c:dPt>
            <c:idx val="1"/>
            <c:bubble3D val="0"/>
            <c:spPr>
              <a:solidFill>
                <a:schemeClr val="accent3"/>
              </a:solidFill>
              <a:ln w="114300">
                <a:solidFill>
                  <a:schemeClr val="bg1"/>
                </a:solidFill>
              </a:ln>
              <a:effectLst/>
            </c:spPr>
            <c:extLst>
              <c:ext xmlns:c16="http://schemas.microsoft.com/office/drawing/2014/chart" uri="{C3380CC4-5D6E-409C-BE32-E72D297353CC}">
                <c16:uniqueId val="{00000006-F49E-7641-91AD-B901C161461B}"/>
              </c:ext>
            </c:extLst>
          </c:dPt>
          <c:dPt>
            <c:idx val="2"/>
            <c:bubble3D val="0"/>
            <c:spPr>
              <a:solidFill>
                <a:schemeClr val="accent3"/>
              </a:solidFill>
              <a:ln w="114300">
                <a:solidFill>
                  <a:schemeClr val="bg1"/>
                </a:solidFill>
              </a:ln>
              <a:effectLst/>
            </c:spPr>
            <c:extLst>
              <c:ext xmlns:c16="http://schemas.microsoft.com/office/drawing/2014/chart" uri="{C3380CC4-5D6E-409C-BE32-E72D297353CC}">
                <c16:uniqueId val="{00000005-72CB-45B2-AFA3-75C150515159}"/>
              </c:ext>
            </c:extLst>
          </c:dPt>
          <c:dPt>
            <c:idx val="3"/>
            <c:bubble3D val="0"/>
            <c:spPr>
              <a:solidFill>
                <a:schemeClr val="accent3"/>
              </a:solidFill>
              <a:ln w="114300">
                <a:solidFill>
                  <a:schemeClr val="bg1"/>
                </a:solidFill>
              </a:ln>
              <a:effectLst/>
            </c:spPr>
            <c:extLst>
              <c:ext xmlns:c16="http://schemas.microsoft.com/office/drawing/2014/chart" uri="{C3380CC4-5D6E-409C-BE32-E72D297353CC}">
                <c16:uniqueId val="{00000001-F49E-7641-91AD-B901C161461B}"/>
              </c:ext>
            </c:extLst>
          </c:dPt>
          <c:dPt>
            <c:idx val="4"/>
            <c:bubble3D val="0"/>
            <c:spPr>
              <a:solidFill>
                <a:schemeClr val="accent6"/>
              </a:solidFill>
              <a:ln w="114300">
                <a:solidFill>
                  <a:schemeClr val="bg1"/>
                </a:solidFill>
              </a:ln>
              <a:effectLst/>
            </c:spPr>
            <c:extLst>
              <c:ext xmlns:c16="http://schemas.microsoft.com/office/drawing/2014/chart" uri="{C3380CC4-5D6E-409C-BE32-E72D297353CC}">
                <c16:uniqueId val="{00000003-F49E-7641-91AD-B901C161461B}"/>
              </c:ext>
            </c:extLst>
          </c:dPt>
          <c:dPt>
            <c:idx val="5"/>
            <c:bubble3D val="0"/>
            <c:spPr>
              <a:solidFill>
                <a:schemeClr val="accent6"/>
              </a:solidFill>
              <a:ln w="114300">
                <a:solidFill>
                  <a:schemeClr val="bg1"/>
                </a:solidFill>
              </a:ln>
              <a:effectLst/>
            </c:spPr>
            <c:extLst>
              <c:ext xmlns:c16="http://schemas.microsoft.com/office/drawing/2014/chart" uri="{C3380CC4-5D6E-409C-BE32-E72D297353CC}">
                <c16:uniqueId val="{0000000B-72CB-45B2-AFA3-75C150515159}"/>
              </c:ext>
            </c:extLst>
          </c:dPt>
          <c:dPt>
            <c:idx val="6"/>
            <c:bubble3D val="0"/>
            <c:spPr>
              <a:solidFill>
                <a:schemeClr val="accent6"/>
              </a:solidFill>
              <a:ln w="114300">
                <a:solidFill>
                  <a:schemeClr val="bg1"/>
                </a:solidFill>
              </a:ln>
              <a:effectLst/>
            </c:spPr>
            <c:extLst>
              <c:ext xmlns:c16="http://schemas.microsoft.com/office/drawing/2014/chart" uri="{C3380CC4-5D6E-409C-BE32-E72D297353CC}">
                <c16:uniqueId val="{00000004-F49E-7641-91AD-B901C161461B}"/>
              </c:ext>
            </c:extLst>
          </c:dPt>
          <c:dPt>
            <c:idx val="7"/>
            <c:bubble3D val="0"/>
            <c:spPr>
              <a:solidFill>
                <a:schemeClr val="accent6"/>
              </a:solidFill>
              <a:ln w="114300">
                <a:solidFill>
                  <a:schemeClr val="bg1"/>
                </a:solidFill>
              </a:ln>
              <a:effectLst/>
            </c:spPr>
            <c:extLst>
              <c:ext xmlns:c16="http://schemas.microsoft.com/office/drawing/2014/chart" uri="{C3380CC4-5D6E-409C-BE32-E72D297353CC}">
                <c16:uniqueId val="{00000005-F49E-7641-91AD-B901C161461B}"/>
              </c:ext>
            </c:extLst>
          </c:dPt>
          <c:dPt>
            <c:idx val="8"/>
            <c:bubble3D val="0"/>
            <c:spPr>
              <a:solidFill>
                <a:schemeClr val="accent6"/>
              </a:solidFill>
              <a:ln w="114300">
                <a:solidFill>
                  <a:schemeClr val="bg1"/>
                </a:solidFill>
              </a:ln>
              <a:effectLst/>
            </c:spPr>
            <c:extLst>
              <c:ext xmlns:c16="http://schemas.microsoft.com/office/drawing/2014/chart" uri="{C3380CC4-5D6E-409C-BE32-E72D297353CC}">
                <c16:uniqueId val="{00000007-F49E-7641-91AD-B901C161461B}"/>
              </c:ext>
            </c:extLst>
          </c:dPt>
          <c:cat>
            <c:strRef>
              <c:f>Sheet1!$A$2:$A$10</c:f>
              <c:strCache>
                <c:ptCount val="4"/>
                <c:pt idx="0">
                  <c:v>1st Qtr</c:v>
                </c:pt>
                <c:pt idx="1">
                  <c:v>2nd Qtr</c:v>
                </c:pt>
                <c:pt idx="2">
                  <c:v>3rd Qtr</c:v>
                </c:pt>
                <c:pt idx="3">
                  <c:v>4th Qtr</c:v>
                </c:pt>
              </c:strCache>
            </c:strRef>
          </c:cat>
          <c:val>
            <c:numRef>
              <c:f>Sheet1!$B$2:$B$10</c:f>
              <c:numCache>
                <c:formatCode>General</c:formatCode>
                <c:ptCount val="9"/>
                <c:pt idx="0">
                  <c:v>10</c:v>
                </c:pt>
                <c:pt idx="1">
                  <c:v>10</c:v>
                </c:pt>
                <c:pt idx="2">
                  <c:v>10</c:v>
                </c:pt>
                <c:pt idx="3">
                  <c:v>10</c:v>
                </c:pt>
                <c:pt idx="4">
                  <c:v>10</c:v>
                </c:pt>
                <c:pt idx="5">
                  <c:v>10</c:v>
                </c:pt>
                <c:pt idx="6">
                  <c:v>10</c:v>
                </c:pt>
                <c:pt idx="7">
                  <c:v>10</c:v>
                </c:pt>
                <c:pt idx="8">
                  <c:v>10</c:v>
                </c:pt>
              </c:numCache>
            </c:numRef>
          </c:val>
          <c:extLst>
            <c:ext xmlns:c16="http://schemas.microsoft.com/office/drawing/2014/chart" uri="{C3380CC4-5D6E-409C-BE32-E72D297353CC}">
              <c16:uniqueId val="{00000000-F49E-7641-91AD-B901C161461B}"/>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9769A66-E3DA-41F9-A924-F6298BA1114B}" type="datetimeFigureOut">
              <a:rPr lang="en-IN" smtClean="0"/>
              <a:t>09-01-2026</a:t>
            </a:fld>
            <a:endParaRPr lang="en-IN"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N"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567D26F-C5A1-4E98-92C3-5C13C26DD249}" type="slidenum">
              <a:rPr lang="en-IN" smtClean="0"/>
              <a:t>‹#›</a:t>
            </a:fld>
            <a:endParaRPr lang="en-IN" dirty="0"/>
          </a:p>
        </p:txBody>
      </p:sp>
    </p:spTree>
    <p:extLst>
      <p:ext uri="{BB962C8B-B14F-4D97-AF65-F5344CB8AC3E}">
        <p14:creationId xmlns:p14="http://schemas.microsoft.com/office/powerpoint/2010/main" val="55545036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EA69D2C-FF47-43A9-BBF1-D1891B514A13}" type="slidenum">
              <a:rPr lang="en-US" smtClean="0"/>
              <a:t>4</a:t>
            </a:fld>
            <a:endParaRPr lang="en-US" dirty="0"/>
          </a:p>
        </p:txBody>
      </p:sp>
    </p:spTree>
    <p:extLst>
      <p:ext uri="{BB962C8B-B14F-4D97-AF65-F5344CB8AC3E}">
        <p14:creationId xmlns:p14="http://schemas.microsoft.com/office/powerpoint/2010/main" val="354991325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E31E72-6BDD-53C5-71B2-9642B8B529A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179A59D-21B2-42E4-511D-DAFA5ADFCA4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871A9D2-175A-5C34-6F95-72FD4C68FCA1}"/>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BBC06DDC-4E4B-A0EE-6A87-A2C6299317DF}"/>
              </a:ext>
            </a:extLst>
          </p:cNvPr>
          <p:cNvSpPr>
            <a:spLocks noGrp="1"/>
          </p:cNvSpPr>
          <p:nvPr>
            <p:ph type="sldNum" sz="quarter" idx="5"/>
          </p:nvPr>
        </p:nvSpPr>
        <p:spPr/>
        <p:txBody>
          <a:bodyPr/>
          <a:lstStyle/>
          <a:p>
            <a:fld id="{E1D1ADA0-A930-4A91-B3F2-BC2FE6A8C77F}" type="slidenum">
              <a:rPr lang="en-US" smtClean="0"/>
              <a:t>6</a:t>
            </a:fld>
            <a:endParaRPr lang="en-US" dirty="0"/>
          </a:p>
        </p:txBody>
      </p:sp>
    </p:spTree>
    <p:extLst>
      <p:ext uri="{BB962C8B-B14F-4D97-AF65-F5344CB8AC3E}">
        <p14:creationId xmlns:p14="http://schemas.microsoft.com/office/powerpoint/2010/main" val="40295380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8211E4-3BF5-805F-BCFD-173F1AC5D17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26331CC-CF58-DE65-07CA-260A714D62E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C7256DA-02C4-56A6-946E-C6416FF365E1}"/>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DD5CA786-17DE-F0C7-60FB-1654CF4769D8}"/>
              </a:ext>
            </a:extLst>
          </p:cNvPr>
          <p:cNvSpPr>
            <a:spLocks noGrp="1"/>
          </p:cNvSpPr>
          <p:nvPr>
            <p:ph type="sldNum" sz="quarter" idx="5"/>
          </p:nvPr>
        </p:nvSpPr>
        <p:spPr/>
        <p:txBody>
          <a:bodyPr/>
          <a:lstStyle/>
          <a:p>
            <a:fld id="{E1D1ADA0-A930-4A91-B3F2-BC2FE6A8C77F}" type="slidenum">
              <a:rPr lang="en-US" smtClean="0"/>
              <a:t>10</a:t>
            </a:fld>
            <a:endParaRPr lang="en-US" dirty="0"/>
          </a:p>
        </p:txBody>
      </p:sp>
    </p:spTree>
    <p:extLst>
      <p:ext uri="{BB962C8B-B14F-4D97-AF65-F5344CB8AC3E}">
        <p14:creationId xmlns:p14="http://schemas.microsoft.com/office/powerpoint/2010/main" val="20522354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1D1ADA0-A930-4A91-B3F2-BC2FE6A8C77F}" type="slidenum">
              <a:rPr lang="en-US" smtClean="0"/>
              <a:t>17</a:t>
            </a:fld>
            <a:endParaRPr lang="en-US" dirty="0"/>
          </a:p>
        </p:txBody>
      </p:sp>
    </p:spTree>
    <p:extLst>
      <p:ext uri="{BB962C8B-B14F-4D97-AF65-F5344CB8AC3E}">
        <p14:creationId xmlns:p14="http://schemas.microsoft.com/office/powerpoint/2010/main" val="323185535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jpeg"/><Relationship Id="rId1" Type="http://schemas.openxmlformats.org/officeDocument/2006/relationships/slideMaster" Target="../slideMasters/slideMaster2.xml"/><Relationship Id="rId6" Type="http://schemas.microsoft.com/office/2007/relationships/hdphoto" Target="../media/hdphoto1.wdp"/><Relationship Id="rId5" Type="http://schemas.openxmlformats.org/officeDocument/2006/relationships/image" Target="../media/image12.png"/><Relationship Id="rId4" Type="http://schemas.openxmlformats.org/officeDocument/2006/relationships/image" Target="../media/image11.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13.jpeg"/><Relationship Id="rId1" Type="http://schemas.openxmlformats.org/officeDocument/2006/relationships/slideMaster" Target="../slideMasters/slideMaster2.xml"/><Relationship Id="rId6" Type="http://schemas.microsoft.com/office/2007/relationships/hdphoto" Target="../media/hdphoto1.wdp"/><Relationship Id="rId5" Type="http://schemas.openxmlformats.org/officeDocument/2006/relationships/image" Target="../media/image12.png"/><Relationship Id="rId4" Type="http://schemas.openxmlformats.org/officeDocument/2006/relationships/image" Target="../media/image14.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15.jpeg"/><Relationship Id="rId1" Type="http://schemas.openxmlformats.org/officeDocument/2006/relationships/slideMaster" Target="../slideMasters/slideMaster2.xml"/><Relationship Id="rId5" Type="http://schemas.microsoft.com/office/2007/relationships/hdphoto" Target="../media/hdphoto1.wdp"/><Relationship Id="rId4" Type="http://schemas.openxmlformats.org/officeDocument/2006/relationships/image" Target="../media/image12.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16.jpeg"/><Relationship Id="rId1" Type="http://schemas.openxmlformats.org/officeDocument/2006/relationships/slideMaster" Target="../slideMasters/slideMaster2.xml"/><Relationship Id="rId6" Type="http://schemas.microsoft.com/office/2007/relationships/hdphoto" Target="../media/hdphoto1.wdp"/><Relationship Id="rId5" Type="http://schemas.openxmlformats.org/officeDocument/2006/relationships/image" Target="../media/image12.png"/><Relationship Id="rId4" Type="http://schemas.openxmlformats.org/officeDocument/2006/relationships/image" Target="../media/image7.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16.jpeg"/><Relationship Id="rId1" Type="http://schemas.openxmlformats.org/officeDocument/2006/relationships/slideMaster" Target="../slideMasters/slideMaster2.xml"/><Relationship Id="rId5" Type="http://schemas.microsoft.com/office/2007/relationships/hdphoto" Target="../media/hdphoto1.wdp"/><Relationship Id="rId4" Type="http://schemas.openxmlformats.org/officeDocument/2006/relationships/image" Target="../media/image12.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0.emf"/><Relationship Id="rId7" Type="http://schemas.openxmlformats.org/officeDocument/2006/relationships/image" Target="../media/image19.png"/><Relationship Id="rId2" Type="http://schemas.openxmlformats.org/officeDocument/2006/relationships/image" Target="../media/image17.jpeg"/><Relationship Id="rId1" Type="http://schemas.openxmlformats.org/officeDocument/2006/relationships/slideMaster" Target="../slideMasters/slideMaster2.xml"/><Relationship Id="rId6" Type="http://schemas.openxmlformats.org/officeDocument/2006/relationships/image" Target="../media/image18.png"/><Relationship Id="rId5" Type="http://schemas.microsoft.com/office/2007/relationships/hdphoto" Target="../media/hdphoto1.wdp"/><Relationship Id="rId4" Type="http://schemas.openxmlformats.org/officeDocument/2006/relationships/image" Target="../media/image12.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17.jpeg"/><Relationship Id="rId1" Type="http://schemas.openxmlformats.org/officeDocument/2006/relationships/slideMaster" Target="../slideMasters/slideMaster2.xml"/><Relationship Id="rId6" Type="http://schemas.openxmlformats.org/officeDocument/2006/relationships/image" Target="../media/image20.png"/><Relationship Id="rId5" Type="http://schemas.microsoft.com/office/2007/relationships/hdphoto" Target="../media/hdphoto1.wdp"/><Relationship Id="rId4" Type="http://schemas.openxmlformats.org/officeDocument/2006/relationships/image" Target="../media/image12.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6.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7" name="Freeform: Shape 6">
            <a:extLst>
              <a:ext uri="{FF2B5EF4-FFF2-40B4-BE49-F238E27FC236}">
                <a16:creationId xmlns:a16="http://schemas.microsoft.com/office/drawing/2014/main" id="{362B3C15-F7F8-56FE-A9E4-2987686EAD64}"/>
              </a:ext>
            </a:extLst>
          </p:cNvPr>
          <p:cNvSpPr/>
          <p:nvPr userDrawn="1"/>
        </p:nvSpPr>
        <p:spPr>
          <a:xfrm flipV="1">
            <a:off x="0" y="0"/>
            <a:ext cx="12192000" cy="6005014"/>
          </a:xfrm>
          <a:custGeom>
            <a:avLst/>
            <a:gdLst>
              <a:gd name="connsiteX0" fmla="*/ 0 w 12192000"/>
              <a:gd name="connsiteY0" fmla="*/ 6005014 h 6005014"/>
              <a:gd name="connsiteX1" fmla="*/ 12192000 w 12192000"/>
              <a:gd name="connsiteY1" fmla="*/ 6005014 h 6005014"/>
              <a:gd name="connsiteX2" fmla="*/ 12192000 w 12192000"/>
              <a:gd name="connsiteY2" fmla="*/ 5704762 h 6005014"/>
              <a:gd name="connsiteX3" fmla="*/ 12192000 w 12192000"/>
              <a:gd name="connsiteY3" fmla="*/ 5588110 h 6005014"/>
              <a:gd name="connsiteX4" fmla="*/ 12192000 w 12192000"/>
              <a:gd name="connsiteY4" fmla="*/ 2934268 h 6005014"/>
              <a:gd name="connsiteX5" fmla="*/ 12192000 w 12192000"/>
              <a:gd name="connsiteY5" fmla="*/ 2114403 h 6005014"/>
              <a:gd name="connsiteX6" fmla="*/ 12192000 w 12192000"/>
              <a:gd name="connsiteY6" fmla="*/ 740095 h 6005014"/>
              <a:gd name="connsiteX7" fmla="*/ 12134012 w 12192000"/>
              <a:gd name="connsiteY7" fmla="*/ 722527 h 6005014"/>
              <a:gd name="connsiteX8" fmla="*/ 6096000 w 12192000"/>
              <a:gd name="connsiteY8" fmla="*/ 0 h 6005014"/>
              <a:gd name="connsiteX9" fmla="*/ 57989 w 12192000"/>
              <a:gd name="connsiteY9" fmla="*/ 722527 h 6005014"/>
              <a:gd name="connsiteX10" fmla="*/ 0 w 12192000"/>
              <a:gd name="connsiteY10" fmla="*/ 740095 h 6005014"/>
              <a:gd name="connsiteX11" fmla="*/ 0 w 12192000"/>
              <a:gd name="connsiteY11" fmla="*/ 2114403 h 6005014"/>
              <a:gd name="connsiteX12" fmla="*/ 0 w 12192000"/>
              <a:gd name="connsiteY12" fmla="*/ 2934268 h 6005014"/>
              <a:gd name="connsiteX13" fmla="*/ 0 w 12192000"/>
              <a:gd name="connsiteY13" fmla="*/ 5588110 h 6005014"/>
              <a:gd name="connsiteX14" fmla="*/ 0 w 12192000"/>
              <a:gd name="connsiteY14" fmla="*/ 5704762 h 6005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6005014">
                <a:moveTo>
                  <a:pt x="0" y="6005014"/>
                </a:moveTo>
                <a:lnTo>
                  <a:pt x="12192000" y="6005014"/>
                </a:lnTo>
                <a:lnTo>
                  <a:pt x="12192000" y="5704762"/>
                </a:lnTo>
                <a:lnTo>
                  <a:pt x="12192000" y="5588110"/>
                </a:lnTo>
                <a:lnTo>
                  <a:pt x="12192000" y="2934268"/>
                </a:lnTo>
                <a:lnTo>
                  <a:pt x="12192000" y="2114403"/>
                </a:lnTo>
                <a:lnTo>
                  <a:pt x="12192000" y="740095"/>
                </a:lnTo>
                <a:lnTo>
                  <a:pt x="12134012" y="722527"/>
                </a:lnTo>
                <a:cubicBezTo>
                  <a:pt x="10493175" y="271150"/>
                  <a:pt x="8389583" y="0"/>
                  <a:pt x="6096000" y="0"/>
                </a:cubicBezTo>
                <a:cubicBezTo>
                  <a:pt x="3802417" y="0"/>
                  <a:pt x="1698825" y="271150"/>
                  <a:pt x="57989" y="722527"/>
                </a:cubicBezTo>
                <a:lnTo>
                  <a:pt x="0" y="740095"/>
                </a:lnTo>
                <a:lnTo>
                  <a:pt x="0" y="2114403"/>
                </a:lnTo>
                <a:lnTo>
                  <a:pt x="0" y="2934268"/>
                </a:lnTo>
                <a:lnTo>
                  <a:pt x="0" y="5588110"/>
                </a:lnTo>
                <a:lnTo>
                  <a:pt x="0" y="5704762"/>
                </a:lnTo>
                <a:close/>
              </a:path>
            </a:pathLst>
          </a:custGeom>
          <a:gradFill>
            <a:gsLst>
              <a:gs pos="47000">
                <a:schemeClr val="tx2"/>
              </a:gs>
              <a:gs pos="100000">
                <a:schemeClr val="tx2">
                  <a:lumMod val="75000"/>
                </a:schemeClr>
              </a:gs>
            </a:gsLst>
            <a:lin ang="5400000" scaled="1"/>
          </a:gradFill>
          <a:ln>
            <a:noFill/>
          </a:ln>
          <a:effectLst>
            <a:outerShdw blurRad="88900" dist="12700" dir="5400000" algn="t" rotWithShape="0">
              <a:prstClr val="black">
                <a:alpha val="25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pic>
        <p:nvPicPr>
          <p:cNvPr id="8" name="Picture 7" descr="A white and black screen&#10;&#10;Description automatically generated with medium confidence">
            <a:extLst>
              <a:ext uri="{FF2B5EF4-FFF2-40B4-BE49-F238E27FC236}">
                <a16:creationId xmlns:a16="http://schemas.microsoft.com/office/drawing/2014/main" id="{8C4BC9F1-2ABE-4124-DF7B-2F42F007E24B}"/>
              </a:ext>
            </a:extLst>
          </p:cNvPr>
          <p:cNvPicPr>
            <a:picLocks noChangeAspect="1"/>
          </p:cNvPicPr>
          <p:nvPr userDrawn="1"/>
        </p:nvPicPr>
        <p:blipFill rotWithShape="1">
          <a:blip r:embed="rId2">
            <a:duotone>
              <a:prstClr val="black"/>
              <a:schemeClr val="accent4">
                <a:tint val="45000"/>
                <a:satMod val="400000"/>
              </a:schemeClr>
            </a:duotone>
            <a:alphaModFix amt="3000"/>
          </a:blip>
          <a:srcRect l="25715" t="27639" r="2854" b="39124"/>
          <a:stretch/>
        </p:blipFill>
        <p:spPr>
          <a:xfrm>
            <a:off x="0" y="0"/>
            <a:ext cx="12192000" cy="6005014"/>
          </a:xfrm>
          <a:custGeom>
            <a:avLst/>
            <a:gdLst>
              <a:gd name="connsiteX0" fmla="*/ 0 w 12192000"/>
              <a:gd name="connsiteY0" fmla="*/ 0 h 6005014"/>
              <a:gd name="connsiteX1" fmla="*/ 12192000 w 12192000"/>
              <a:gd name="connsiteY1" fmla="*/ 0 h 6005014"/>
              <a:gd name="connsiteX2" fmla="*/ 12192000 w 12192000"/>
              <a:gd name="connsiteY2" fmla="*/ 300252 h 6005014"/>
              <a:gd name="connsiteX3" fmla="*/ 12192000 w 12192000"/>
              <a:gd name="connsiteY3" fmla="*/ 416904 h 6005014"/>
              <a:gd name="connsiteX4" fmla="*/ 12192000 w 12192000"/>
              <a:gd name="connsiteY4" fmla="*/ 3070746 h 6005014"/>
              <a:gd name="connsiteX5" fmla="*/ 12192000 w 12192000"/>
              <a:gd name="connsiteY5" fmla="*/ 3890611 h 6005014"/>
              <a:gd name="connsiteX6" fmla="*/ 12192000 w 12192000"/>
              <a:gd name="connsiteY6" fmla="*/ 5264919 h 6005014"/>
              <a:gd name="connsiteX7" fmla="*/ 12134012 w 12192000"/>
              <a:gd name="connsiteY7" fmla="*/ 5282487 h 6005014"/>
              <a:gd name="connsiteX8" fmla="*/ 6096000 w 12192000"/>
              <a:gd name="connsiteY8" fmla="*/ 6005014 h 6005014"/>
              <a:gd name="connsiteX9" fmla="*/ 57989 w 12192000"/>
              <a:gd name="connsiteY9" fmla="*/ 5282487 h 6005014"/>
              <a:gd name="connsiteX10" fmla="*/ 0 w 12192000"/>
              <a:gd name="connsiteY10" fmla="*/ 5264919 h 6005014"/>
              <a:gd name="connsiteX11" fmla="*/ 0 w 12192000"/>
              <a:gd name="connsiteY11" fmla="*/ 3890611 h 6005014"/>
              <a:gd name="connsiteX12" fmla="*/ 0 w 12192000"/>
              <a:gd name="connsiteY12" fmla="*/ 3070746 h 6005014"/>
              <a:gd name="connsiteX13" fmla="*/ 0 w 12192000"/>
              <a:gd name="connsiteY13" fmla="*/ 416904 h 6005014"/>
              <a:gd name="connsiteX14" fmla="*/ 0 w 12192000"/>
              <a:gd name="connsiteY14" fmla="*/ 300252 h 6005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6005014">
                <a:moveTo>
                  <a:pt x="0" y="0"/>
                </a:moveTo>
                <a:lnTo>
                  <a:pt x="12192000" y="0"/>
                </a:lnTo>
                <a:lnTo>
                  <a:pt x="12192000" y="300252"/>
                </a:lnTo>
                <a:lnTo>
                  <a:pt x="12192000" y="416904"/>
                </a:lnTo>
                <a:lnTo>
                  <a:pt x="12192000" y="3070746"/>
                </a:lnTo>
                <a:lnTo>
                  <a:pt x="12192000" y="3890611"/>
                </a:lnTo>
                <a:lnTo>
                  <a:pt x="12192000" y="5264919"/>
                </a:lnTo>
                <a:lnTo>
                  <a:pt x="12134012" y="5282487"/>
                </a:lnTo>
                <a:cubicBezTo>
                  <a:pt x="10493175" y="5733864"/>
                  <a:pt x="8389583" y="6005014"/>
                  <a:pt x="6096000" y="6005014"/>
                </a:cubicBezTo>
                <a:cubicBezTo>
                  <a:pt x="3802417" y="6005014"/>
                  <a:pt x="1698825" y="5733864"/>
                  <a:pt x="57989" y="5282487"/>
                </a:cubicBezTo>
                <a:lnTo>
                  <a:pt x="0" y="5264919"/>
                </a:lnTo>
                <a:lnTo>
                  <a:pt x="0" y="3890611"/>
                </a:lnTo>
                <a:lnTo>
                  <a:pt x="0" y="3070746"/>
                </a:lnTo>
                <a:lnTo>
                  <a:pt x="0" y="416904"/>
                </a:lnTo>
                <a:lnTo>
                  <a:pt x="0" y="300252"/>
                </a:lnTo>
                <a:close/>
              </a:path>
            </a:pathLst>
          </a:custGeom>
        </p:spPr>
      </p:pic>
      <p:pic>
        <p:nvPicPr>
          <p:cNvPr id="11" name="Picture 10" descr="Logo, company name&#10;&#10;Description automatically generated">
            <a:extLst>
              <a:ext uri="{FF2B5EF4-FFF2-40B4-BE49-F238E27FC236}">
                <a16:creationId xmlns:a16="http://schemas.microsoft.com/office/drawing/2014/main" id="{42385302-5F3F-3830-769A-9DF312308D17}"/>
              </a:ext>
            </a:extLst>
          </p:cNvPr>
          <p:cNvPicPr>
            <a:picLocks noChangeAspect="1"/>
          </p:cNvPicPr>
          <p:nvPr userDrawn="1"/>
        </p:nvPicPr>
        <p:blipFill rotWithShape="1">
          <a:blip r:embed="rId3"/>
          <a:srcRect l="4339" t="8522" r="4277"/>
          <a:stretch/>
        </p:blipFill>
        <p:spPr>
          <a:xfrm>
            <a:off x="10458355" y="5814126"/>
            <a:ext cx="1468120" cy="801622"/>
          </a:xfrm>
          <a:prstGeom prst="rect">
            <a:avLst/>
          </a:prstGeom>
        </p:spPr>
      </p:pic>
      <p:sp>
        <p:nvSpPr>
          <p:cNvPr id="2" name="Title 1">
            <a:extLst>
              <a:ext uri="{FF2B5EF4-FFF2-40B4-BE49-F238E27FC236}">
                <a16:creationId xmlns:a16="http://schemas.microsoft.com/office/drawing/2014/main" id="{D6FA1C18-FCAD-5E6E-A585-ECE371AF9002}"/>
              </a:ext>
            </a:extLst>
          </p:cNvPr>
          <p:cNvSpPr>
            <a:spLocks noGrp="1"/>
          </p:cNvSpPr>
          <p:nvPr>
            <p:ph type="ctrTitle"/>
          </p:nvPr>
        </p:nvSpPr>
        <p:spPr>
          <a:xfrm>
            <a:off x="1546746" y="723900"/>
            <a:ext cx="9098508" cy="2362200"/>
          </a:xfrm>
        </p:spPr>
        <p:txBody>
          <a:bodyPr anchor="b"/>
          <a:lstStyle>
            <a:lvl1pPr algn="ctr">
              <a:lnSpc>
                <a:spcPct val="90000"/>
              </a:lnSpc>
              <a:defRPr sz="6000" cap="all" baseline="0">
                <a:solidFill>
                  <a:schemeClr val="bg1"/>
                </a:solidFill>
              </a:defRPr>
            </a:lvl1pPr>
          </a:lstStyle>
          <a:p>
            <a:r>
              <a:rPr lang="en-US" dirty="0"/>
              <a:t>Click to edit Master title style</a:t>
            </a:r>
          </a:p>
        </p:txBody>
      </p:sp>
      <p:sp>
        <p:nvSpPr>
          <p:cNvPr id="3" name="Subtitle 2">
            <a:extLst>
              <a:ext uri="{FF2B5EF4-FFF2-40B4-BE49-F238E27FC236}">
                <a16:creationId xmlns:a16="http://schemas.microsoft.com/office/drawing/2014/main" id="{8A13118D-27D4-C169-7F42-E83DE75E2E62}"/>
              </a:ext>
            </a:extLst>
          </p:cNvPr>
          <p:cNvSpPr>
            <a:spLocks noGrp="1"/>
          </p:cNvSpPr>
          <p:nvPr>
            <p:ph type="subTitle" idx="1"/>
          </p:nvPr>
        </p:nvSpPr>
        <p:spPr>
          <a:xfrm>
            <a:off x="1546746" y="4455425"/>
            <a:ext cx="9098508" cy="914400"/>
          </a:xfrm>
        </p:spPr>
        <p:txBody>
          <a:bodyPr>
            <a:normAutofit/>
          </a:bodyPr>
          <a:lstStyle>
            <a:lvl1pPr marL="0" indent="0" algn="ctr">
              <a:lnSpc>
                <a:spcPct val="90000"/>
              </a:lnSpc>
              <a:buNone/>
              <a:defRPr sz="2000">
                <a:solidFill>
                  <a:schemeClr val="accent6"/>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5" name="Text Placeholder 14">
            <a:extLst>
              <a:ext uri="{FF2B5EF4-FFF2-40B4-BE49-F238E27FC236}">
                <a16:creationId xmlns:a16="http://schemas.microsoft.com/office/drawing/2014/main" id="{3750E922-B94A-3D73-A8A2-29C14BE131D1}"/>
              </a:ext>
            </a:extLst>
          </p:cNvPr>
          <p:cNvSpPr>
            <a:spLocks noGrp="1"/>
          </p:cNvSpPr>
          <p:nvPr>
            <p:ph type="body" sz="quarter" idx="10"/>
          </p:nvPr>
        </p:nvSpPr>
        <p:spPr>
          <a:xfrm>
            <a:off x="1546225" y="3152775"/>
            <a:ext cx="9099550" cy="1182158"/>
          </a:xfrm>
        </p:spPr>
        <p:txBody>
          <a:bodyPr>
            <a:normAutofit/>
          </a:bodyPr>
          <a:lstStyle>
            <a:lvl1pPr marL="61913" indent="0" algn="ctr">
              <a:lnSpc>
                <a:spcPct val="90000"/>
              </a:lnSpc>
              <a:buNone/>
              <a:defRPr sz="2800" cap="all" baseline="0">
                <a:solidFill>
                  <a:schemeClr val="accent1"/>
                </a:solidFill>
              </a:defRPr>
            </a:lvl1pPr>
          </a:lstStyle>
          <a:p>
            <a:pPr lvl="0"/>
            <a:endParaRPr lang="en-US" dirty="0"/>
          </a:p>
        </p:txBody>
      </p:sp>
    </p:spTree>
    <p:extLst>
      <p:ext uri="{BB962C8B-B14F-4D97-AF65-F5344CB8AC3E}">
        <p14:creationId xmlns:p14="http://schemas.microsoft.com/office/powerpoint/2010/main" val="41327864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Arch Top">
    <p:spTree>
      <p:nvGrpSpPr>
        <p:cNvPr id="1" name=""/>
        <p:cNvGrpSpPr/>
        <p:nvPr/>
      </p:nvGrpSpPr>
      <p:grpSpPr>
        <a:xfrm>
          <a:off x="0" y="0"/>
          <a:ext cx="0" cy="0"/>
          <a:chOff x="0" y="0"/>
          <a:chExt cx="0" cy="0"/>
        </a:xfrm>
      </p:grpSpPr>
      <p:pic>
        <p:nvPicPr>
          <p:cNvPr id="2" name="Picture 1" descr="A white and black screen&#10;&#10;Description automatically generated with medium confidence">
            <a:extLst>
              <a:ext uri="{FF2B5EF4-FFF2-40B4-BE49-F238E27FC236}">
                <a16:creationId xmlns:a16="http://schemas.microsoft.com/office/drawing/2014/main" id="{E544DCB6-77E0-61D0-76D4-128020B26E9A}"/>
              </a:ext>
            </a:extLst>
          </p:cNvPr>
          <p:cNvPicPr>
            <a:picLocks noChangeAspect="1"/>
          </p:cNvPicPr>
          <p:nvPr userDrawn="1"/>
        </p:nvPicPr>
        <p:blipFill rotWithShape="1">
          <a:blip r:embed="rId2">
            <a:alphaModFix amt="22000"/>
            <a:duotone>
              <a:prstClr val="black"/>
              <a:schemeClr val="accent4">
                <a:tint val="45000"/>
                <a:satMod val="400000"/>
              </a:schemeClr>
            </a:duotone>
          </a:blip>
          <a:srcRect l="25715" t="27639" r="2854" b="34403"/>
          <a:stretch/>
        </p:blipFill>
        <p:spPr>
          <a:xfrm>
            <a:off x="0" y="0"/>
            <a:ext cx="12192000" cy="6858000"/>
          </a:xfrm>
          <a:prstGeom prst="rect">
            <a:avLst/>
          </a:prstGeom>
        </p:spPr>
      </p:pic>
      <p:sp>
        <p:nvSpPr>
          <p:cNvPr id="5" name="Rectangle 4">
            <a:extLst>
              <a:ext uri="{FF2B5EF4-FFF2-40B4-BE49-F238E27FC236}">
                <a16:creationId xmlns:a16="http://schemas.microsoft.com/office/drawing/2014/main" id="{6F036AD1-B2DD-812D-3D93-03C2745650FA}"/>
              </a:ext>
            </a:extLst>
          </p:cNvPr>
          <p:cNvSpPr/>
          <p:nvPr userDrawn="1"/>
        </p:nvSpPr>
        <p:spPr>
          <a:xfrm>
            <a:off x="0" y="2"/>
            <a:ext cx="12192000" cy="6857999"/>
          </a:xfrm>
          <a:prstGeom prst="rect">
            <a:avLst/>
          </a:prstGeom>
          <a:gradFill flip="none" rotWithShape="1">
            <a:gsLst>
              <a:gs pos="47000">
                <a:schemeClr val="bg1">
                  <a:alpha val="90000"/>
                </a:schemeClr>
              </a:gs>
              <a:gs pos="100000">
                <a:schemeClr val="bg1">
                  <a:alpha val="50000"/>
                </a:schemeClr>
              </a:gs>
            </a:gsLst>
            <a:lin ang="54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1" name="Freeform: Shape 10">
            <a:extLst>
              <a:ext uri="{FF2B5EF4-FFF2-40B4-BE49-F238E27FC236}">
                <a16:creationId xmlns:a16="http://schemas.microsoft.com/office/drawing/2014/main" id="{814EC5B0-CB81-6F7A-5AF9-84C6F7D807CF}"/>
              </a:ext>
            </a:extLst>
          </p:cNvPr>
          <p:cNvSpPr/>
          <p:nvPr userDrawn="1"/>
        </p:nvSpPr>
        <p:spPr>
          <a:xfrm flipV="1">
            <a:off x="0" y="0"/>
            <a:ext cx="12192000" cy="4325428"/>
          </a:xfrm>
          <a:custGeom>
            <a:avLst/>
            <a:gdLst>
              <a:gd name="connsiteX0" fmla="*/ 0 w 12192000"/>
              <a:gd name="connsiteY0" fmla="*/ 4325428 h 4325428"/>
              <a:gd name="connsiteX1" fmla="*/ 12192000 w 12192000"/>
              <a:gd name="connsiteY1" fmla="*/ 4325428 h 4325428"/>
              <a:gd name="connsiteX2" fmla="*/ 12192000 w 12192000"/>
              <a:gd name="connsiteY2" fmla="*/ 3923730 h 4325428"/>
              <a:gd name="connsiteX3" fmla="*/ 12192000 w 12192000"/>
              <a:gd name="connsiteY3" fmla="*/ 3092664 h 4325428"/>
              <a:gd name="connsiteX4" fmla="*/ 12192000 w 12192000"/>
              <a:gd name="connsiteY4" fmla="*/ 2678387 h 4325428"/>
              <a:gd name="connsiteX5" fmla="*/ 12192000 w 12192000"/>
              <a:gd name="connsiteY5" fmla="*/ 2413423 h 4325428"/>
              <a:gd name="connsiteX6" fmla="*/ 12192000 w 12192000"/>
              <a:gd name="connsiteY6" fmla="*/ 2351862 h 4325428"/>
              <a:gd name="connsiteX7" fmla="*/ 12192000 w 12192000"/>
              <a:gd name="connsiteY7" fmla="*/ 2228541 h 4325428"/>
              <a:gd name="connsiteX8" fmla="*/ 12192000 w 12192000"/>
              <a:gd name="connsiteY8" fmla="*/ 780046 h 4325428"/>
              <a:gd name="connsiteX9" fmla="*/ 12134012 w 12192000"/>
              <a:gd name="connsiteY9" fmla="*/ 761530 h 4325428"/>
              <a:gd name="connsiteX10" fmla="*/ 6096000 w 12192000"/>
              <a:gd name="connsiteY10" fmla="*/ 0 h 4325428"/>
              <a:gd name="connsiteX11" fmla="*/ 57989 w 12192000"/>
              <a:gd name="connsiteY11" fmla="*/ 761530 h 4325428"/>
              <a:gd name="connsiteX12" fmla="*/ 0 w 12192000"/>
              <a:gd name="connsiteY12" fmla="*/ 780046 h 4325428"/>
              <a:gd name="connsiteX13" fmla="*/ 0 w 12192000"/>
              <a:gd name="connsiteY13" fmla="*/ 2228541 h 4325428"/>
              <a:gd name="connsiteX14" fmla="*/ 0 w 12192000"/>
              <a:gd name="connsiteY14" fmla="*/ 2351863 h 4325428"/>
              <a:gd name="connsiteX15" fmla="*/ 0 w 12192000"/>
              <a:gd name="connsiteY15" fmla="*/ 2413423 h 4325428"/>
              <a:gd name="connsiteX16" fmla="*/ 0 w 12192000"/>
              <a:gd name="connsiteY16" fmla="*/ 2678387 h 4325428"/>
              <a:gd name="connsiteX17" fmla="*/ 0 w 12192000"/>
              <a:gd name="connsiteY17" fmla="*/ 3092664 h 4325428"/>
              <a:gd name="connsiteX18" fmla="*/ 0 w 12192000"/>
              <a:gd name="connsiteY18" fmla="*/ 3923730 h 4325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192000" h="4325428">
                <a:moveTo>
                  <a:pt x="0" y="4325428"/>
                </a:moveTo>
                <a:lnTo>
                  <a:pt x="12192000" y="4325428"/>
                </a:lnTo>
                <a:lnTo>
                  <a:pt x="12192000" y="3923730"/>
                </a:lnTo>
                <a:lnTo>
                  <a:pt x="12192000" y="3092664"/>
                </a:lnTo>
                <a:lnTo>
                  <a:pt x="12192000" y="2678387"/>
                </a:lnTo>
                <a:lnTo>
                  <a:pt x="12192000" y="2413423"/>
                </a:lnTo>
                <a:lnTo>
                  <a:pt x="12192000" y="2351862"/>
                </a:lnTo>
                <a:lnTo>
                  <a:pt x="12192000" y="2228541"/>
                </a:lnTo>
                <a:lnTo>
                  <a:pt x="12192000" y="780046"/>
                </a:lnTo>
                <a:lnTo>
                  <a:pt x="12134012" y="761530"/>
                </a:lnTo>
                <a:cubicBezTo>
                  <a:pt x="10493175" y="285787"/>
                  <a:pt x="8389583" y="0"/>
                  <a:pt x="6096000" y="0"/>
                </a:cubicBezTo>
                <a:cubicBezTo>
                  <a:pt x="3802417" y="0"/>
                  <a:pt x="1698825" y="285787"/>
                  <a:pt x="57989" y="761530"/>
                </a:cubicBezTo>
                <a:lnTo>
                  <a:pt x="0" y="780046"/>
                </a:lnTo>
                <a:lnTo>
                  <a:pt x="0" y="2228541"/>
                </a:lnTo>
                <a:lnTo>
                  <a:pt x="0" y="2351863"/>
                </a:lnTo>
                <a:lnTo>
                  <a:pt x="0" y="2413423"/>
                </a:lnTo>
                <a:lnTo>
                  <a:pt x="0" y="2678387"/>
                </a:lnTo>
                <a:lnTo>
                  <a:pt x="0" y="3092664"/>
                </a:lnTo>
                <a:lnTo>
                  <a:pt x="0" y="3923730"/>
                </a:lnTo>
                <a:close/>
              </a:path>
            </a:pathLst>
          </a:custGeom>
          <a:gradFill>
            <a:gsLst>
              <a:gs pos="47000">
                <a:schemeClr val="tx2"/>
              </a:gs>
              <a:gs pos="100000">
                <a:schemeClr val="tx2">
                  <a:lumMod val="75000"/>
                </a:schemeClr>
              </a:gs>
            </a:gsLst>
            <a:lin ang="5400000" scaled="1"/>
          </a:gradFill>
          <a:ln>
            <a:noFill/>
          </a:ln>
          <a:effectLst>
            <a:outerShdw blurRad="88900" dist="12700" dir="5400000" algn="t" rotWithShape="0">
              <a:prstClr val="black">
                <a:alpha val="25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3" name="Footer Placeholder 2">
            <a:extLst>
              <a:ext uri="{FF2B5EF4-FFF2-40B4-BE49-F238E27FC236}">
                <a16:creationId xmlns:a16="http://schemas.microsoft.com/office/drawing/2014/main" id="{56E7EA72-7F07-C25F-AB37-EC4127D54284}"/>
              </a:ext>
            </a:extLst>
          </p:cNvPr>
          <p:cNvSpPr>
            <a:spLocks noGrp="1"/>
          </p:cNvSpPr>
          <p:nvPr>
            <p:ph type="ftr" sz="quarter" idx="10"/>
          </p:nvPr>
        </p:nvSpPr>
        <p:spPr>
          <a:xfrm>
            <a:off x="2152464" y="6287294"/>
            <a:ext cx="7887071" cy="365125"/>
          </a:xfrm>
        </p:spPr>
        <p:txBody>
          <a:bodyPr/>
          <a:lstStyle/>
          <a:p>
            <a:endParaRPr lang="en-US" dirty="0"/>
          </a:p>
        </p:txBody>
      </p:sp>
      <p:sp>
        <p:nvSpPr>
          <p:cNvPr id="4" name="Slide Number Placeholder 3">
            <a:extLst>
              <a:ext uri="{FF2B5EF4-FFF2-40B4-BE49-F238E27FC236}">
                <a16:creationId xmlns:a16="http://schemas.microsoft.com/office/drawing/2014/main" id="{851BC4BD-D44C-5917-04D9-C4AB2777B97A}"/>
              </a:ext>
            </a:extLst>
          </p:cNvPr>
          <p:cNvSpPr>
            <a:spLocks noGrp="1"/>
          </p:cNvSpPr>
          <p:nvPr>
            <p:ph type="sldNum" sz="quarter" idx="11"/>
          </p:nvPr>
        </p:nvSpPr>
        <p:spPr>
          <a:xfrm>
            <a:off x="266329" y="6287294"/>
            <a:ext cx="438705" cy="365125"/>
          </a:xfrm>
        </p:spPr>
        <p:txBody>
          <a:bodyPr/>
          <a:lstStyle>
            <a:lvl1pPr>
              <a:defRPr>
                <a:solidFill>
                  <a:schemeClr val="tx2"/>
                </a:solidFill>
              </a:defRPr>
            </a:lvl1pPr>
          </a:lstStyle>
          <a:p>
            <a:fld id="{A300D7A8-33C5-4C89-B444-136428D180BE}" type="slidenum">
              <a:rPr lang="en-US" smtClean="0"/>
              <a:pPr/>
              <a:t>‹#›</a:t>
            </a:fld>
            <a:endParaRPr lang="en-US" dirty="0"/>
          </a:p>
        </p:txBody>
      </p:sp>
      <p:pic>
        <p:nvPicPr>
          <p:cNvPr id="6" name="Picture 5" descr="Logo, company name&#10;&#10;Description automatically generated">
            <a:extLst>
              <a:ext uri="{FF2B5EF4-FFF2-40B4-BE49-F238E27FC236}">
                <a16:creationId xmlns:a16="http://schemas.microsoft.com/office/drawing/2014/main" id="{E2DC5E83-771D-AB45-8AE6-051F55EA1618}"/>
              </a:ext>
            </a:extLst>
          </p:cNvPr>
          <p:cNvPicPr>
            <a:picLocks noChangeAspect="1"/>
          </p:cNvPicPr>
          <p:nvPr userDrawn="1"/>
        </p:nvPicPr>
        <p:blipFill rotWithShape="1">
          <a:blip r:embed="rId3"/>
          <a:srcRect l="4339" t="8522" r="4277"/>
          <a:stretch/>
        </p:blipFill>
        <p:spPr>
          <a:xfrm>
            <a:off x="11102754" y="6259374"/>
            <a:ext cx="847217" cy="462597"/>
          </a:xfrm>
          <a:prstGeom prst="rect">
            <a:avLst/>
          </a:prstGeom>
        </p:spPr>
      </p:pic>
      <p:pic>
        <p:nvPicPr>
          <p:cNvPr id="9" name="Picture 8" descr="A white and black screen&#10;&#10;Description automatically generated with medium confidence">
            <a:extLst>
              <a:ext uri="{FF2B5EF4-FFF2-40B4-BE49-F238E27FC236}">
                <a16:creationId xmlns:a16="http://schemas.microsoft.com/office/drawing/2014/main" id="{835DE859-AD54-1BC9-5857-D7C415224773}"/>
              </a:ext>
            </a:extLst>
          </p:cNvPr>
          <p:cNvPicPr>
            <a:picLocks noChangeAspect="1"/>
          </p:cNvPicPr>
          <p:nvPr userDrawn="1"/>
        </p:nvPicPr>
        <p:blipFill rotWithShape="1">
          <a:blip r:embed="rId2">
            <a:alphaModFix amt="5000"/>
            <a:duotone>
              <a:prstClr val="black"/>
              <a:schemeClr val="accent4">
                <a:tint val="45000"/>
                <a:satMod val="400000"/>
              </a:schemeClr>
            </a:duotone>
          </a:blip>
          <a:srcRect l="25715" t="27639" r="2854" b="48420"/>
          <a:stretch/>
        </p:blipFill>
        <p:spPr>
          <a:xfrm>
            <a:off x="0" y="0"/>
            <a:ext cx="12192000" cy="4325428"/>
          </a:xfrm>
          <a:custGeom>
            <a:avLst/>
            <a:gdLst>
              <a:gd name="connsiteX0" fmla="*/ 0 w 12192000"/>
              <a:gd name="connsiteY0" fmla="*/ 0 h 4325428"/>
              <a:gd name="connsiteX1" fmla="*/ 12192000 w 12192000"/>
              <a:gd name="connsiteY1" fmla="*/ 0 h 4325428"/>
              <a:gd name="connsiteX2" fmla="*/ 12192000 w 12192000"/>
              <a:gd name="connsiteY2" fmla="*/ 401698 h 4325428"/>
              <a:gd name="connsiteX3" fmla="*/ 12192000 w 12192000"/>
              <a:gd name="connsiteY3" fmla="*/ 1232764 h 4325428"/>
              <a:gd name="connsiteX4" fmla="*/ 12192000 w 12192000"/>
              <a:gd name="connsiteY4" fmla="*/ 1647041 h 4325428"/>
              <a:gd name="connsiteX5" fmla="*/ 12192000 w 12192000"/>
              <a:gd name="connsiteY5" fmla="*/ 1912005 h 4325428"/>
              <a:gd name="connsiteX6" fmla="*/ 12192000 w 12192000"/>
              <a:gd name="connsiteY6" fmla="*/ 1973566 h 4325428"/>
              <a:gd name="connsiteX7" fmla="*/ 12192000 w 12192000"/>
              <a:gd name="connsiteY7" fmla="*/ 2096887 h 4325428"/>
              <a:gd name="connsiteX8" fmla="*/ 12192000 w 12192000"/>
              <a:gd name="connsiteY8" fmla="*/ 3545382 h 4325428"/>
              <a:gd name="connsiteX9" fmla="*/ 12134012 w 12192000"/>
              <a:gd name="connsiteY9" fmla="*/ 3563898 h 4325428"/>
              <a:gd name="connsiteX10" fmla="*/ 6096000 w 12192000"/>
              <a:gd name="connsiteY10" fmla="*/ 4325428 h 4325428"/>
              <a:gd name="connsiteX11" fmla="*/ 57989 w 12192000"/>
              <a:gd name="connsiteY11" fmla="*/ 3563898 h 4325428"/>
              <a:gd name="connsiteX12" fmla="*/ 0 w 12192000"/>
              <a:gd name="connsiteY12" fmla="*/ 3545382 h 4325428"/>
              <a:gd name="connsiteX13" fmla="*/ 0 w 12192000"/>
              <a:gd name="connsiteY13" fmla="*/ 2096887 h 4325428"/>
              <a:gd name="connsiteX14" fmla="*/ 0 w 12192000"/>
              <a:gd name="connsiteY14" fmla="*/ 1973565 h 4325428"/>
              <a:gd name="connsiteX15" fmla="*/ 0 w 12192000"/>
              <a:gd name="connsiteY15" fmla="*/ 1912005 h 4325428"/>
              <a:gd name="connsiteX16" fmla="*/ 0 w 12192000"/>
              <a:gd name="connsiteY16" fmla="*/ 1647041 h 4325428"/>
              <a:gd name="connsiteX17" fmla="*/ 0 w 12192000"/>
              <a:gd name="connsiteY17" fmla="*/ 1232764 h 4325428"/>
              <a:gd name="connsiteX18" fmla="*/ 0 w 12192000"/>
              <a:gd name="connsiteY18" fmla="*/ 401698 h 4325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192000" h="4325428">
                <a:moveTo>
                  <a:pt x="0" y="0"/>
                </a:moveTo>
                <a:lnTo>
                  <a:pt x="12192000" y="0"/>
                </a:lnTo>
                <a:lnTo>
                  <a:pt x="12192000" y="401698"/>
                </a:lnTo>
                <a:lnTo>
                  <a:pt x="12192000" y="1232764"/>
                </a:lnTo>
                <a:lnTo>
                  <a:pt x="12192000" y="1647041"/>
                </a:lnTo>
                <a:lnTo>
                  <a:pt x="12192000" y="1912005"/>
                </a:lnTo>
                <a:lnTo>
                  <a:pt x="12192000" y="1973566"/>
                </a:lnTo>
                <a:lnTo>
                  <a:pt x="12192000" y="2096887"/>
                </a:lnTo>
                <a:lnTo>
                  <a:pt x="12192000" y="3545382"/>
                </a:lnTo>
                <a:lnTo>
                  <a:pt x="12134012" y="3563898"/>
                </a:lnTo>
                <a:cubicBezTo>
                  <a:pt x="10493175" y="4039641"/>
                  <a:pt x="8389583" y="4325428"/>
                  <a:pt x="6096000" y="4325428"/>
                </a:cubicBezTo>
                <a:cubicBezTo>
                  <a:pt x="3802417" y="4325428"/>
                  <a:pt x="1698825" y="4039641"/>
                  <a:pt x="57989" y="3563898"/>
                </a:cubicBezTo>
                <a:lnTo>
                  <a:pt x="0" y="3545382"/>
                </a:lnTo>
                <a:lnTo>
                  <a:pt x="0" y="2096887"/>
                </a:lnTo>
                <a:lnTo>
                  <a:pt x="0" y="1973565"/>
                </a:lnTo>
                <a:lnTo>
                  <a:pt x="0" y="1912005"/>
                </a:lnTo>
                <a:lnTo>
                  <a:pt x="0" y="1647041"/>
                </a:lnTo>
                <a:lnTo>
                  <a:pt x="0" y="1232764"/>
                </a:lnTo>
                <a:lnTo>
                  <a:pt x="0" y="401698"/>
                </a:lnTo>
                <a:close/>
              </a:path>
            </a:pathLst>
          </a:custGeom>
        </p:spPr>
      </p:pic>
      <p:sp>
        <p:nvSpPr>
          <p:cNvPr id="10" name="Title 9">
            <a:extLst>
              <a:ext uri="{FF2B5EF4-FFF2-40B4-BE49-F238E27FC236}">
                <a16:creationId xmlns:a16="http://schemas.microsoft.com/office/drawing/2014/main" id="{BA69605A-10DC-B6C0-C94B-71BF86818015}"/>
              </a:ext>
            </a:extLst>
          </p:cNvPr>
          <p:cNvSpPr>
            <a:spLocks noGrp="1"/>
          </p:cNvSpPr>
          <p:nvPr>
            <p:ph type="title"/>
          </p:nvPr>
        </p:nvSpPr>
        <p:spPr/>
        <p:txBody>
          <a:bodyPr/>
          <a:lstStyle>
            <a:lvl1pPr algn="ctr">
              <a:defRPr>
                <a:solidFill>
                  <a:schemeClr val="accent1"/>
                </a:solidFill>
              </a:defRPr>
            </a:lvl1pPr>
          </a:lstStyle>
          <a:p>
            <a:r>
              <a:rPr lang="en-US"/>
              <a:t>Click to edit Master title style</a:t>
            </a:r>
          </a:p>
        </p:txBody>
      </p:sp>
      <p:sp>
        <p:nvSpPr>
          <p:cNvPr id="7" name="Text Placeholder 6">
            <a:extLst>
              <a:ext uri="{FF2B5EF4-FFF2-40B4-BE49-F238E27FC236}">
                <a16:creationId xmlns:a16="http://schemas.microsoft.com/office/drawing/2014/main" id="{76F4A358-C547-9B86-A4EC-E973030B2179}"/>
              </a:ext>
            </a:extLst>
          </p:cNvPr>
          <p:cNvSpPr>
            <a:spLocks noGrp="1"/>
          </p:cNvSpPr>
          <p:nvPr>
            <p:ph type="body" sz="quarter" idx="14"/>
          </p:nvPr>
        </p:nvSpPr>
        <p:spPr>
          <a:xfrm>
            <a:off x="266330" y="1284288"/>
            <a:ext cx="11682413" cy="493712"/>
          </a:xfrm>
        </p:spPr>
        <p:txBody>
          <a:bodyPr>
            <a:noAutofit/>
          </a:bodyPr>
          <a:lstStyle>
            <a:lvl1pPr marL="0" indent="0" algn="ctr">
              <a:buNone/>
              <a:defRPr sz="2800">
                <a:solidFill>
                  <a:schemeClr val="accent4"/>
                </a:solidFill>
              </a:defRPr>
            </a:lvl1pPr>
          </a:lstStyle>
          <a:p>
            <a:pPr lvl="0"/>
            <a:endParaRPr lang="en-US" dirty="0"/>
          </a:p>
        </p:txBody>
      </p:sp>
    </p:spTree>
    <p:extLst>
      <p:ext uri="{BB962C8B-B14F-4D97-AF65-F5344CB8AC3E}">
        <p14:creationId xmlns:p14="http://schemas.microsoft.com/office/powerpoint/2010/main" val="1292907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Arch Bottom">
    <p:spTree>
      <p:nvGrpSpPr>
        <p:cNvPr id="1" name=""/>
        <p:cNvGrpSpPr/>
        <p:nvPr/>
      </p:nvGrpSpPr>
      <p:grpSpPr>
        <a:xfrm>
          <a:off x="0" y="0"/>
          <a:ext cx="0" cy="0"/>
          <a:chOff x="0" y="0"/>
          <a:chExt cx="0" cy="0"/>
        </a:xfrm>
      </p:grpSpPr>
      <p:sp>
        <p:nvSpPr>
          <p:cNvPr id="14" name="Freeform: Shape 13">
            <a:extLst>
              <a:ext uri="{FF2B5EF4-FFF2-40B4-BE49-F238E27FC236}">
                <a16:creationId xmlns:a16="http://schemas.microsoft.com/office/drawing/2014/main" id="{1E1F206E-DA51-2CF7-1036-42478B58991D}"/>
              </a:ext>
            </a:extLst>
          </p:cNvPr>
          <p:cNvSpPr/>
          <p:nvPr userDrawn="1"/>
        </p:nvSpPr>
        <p:spPr>
          <a:xfrm rot="10800000" flipV="1">
            <a:off x="0" y="2934270"/>
            <a:ext cx="12192000" cy="3923730"/>
          </a:xfrm>
          <a:custGeom>
            <a:avLst/>
            <a:gdLst>
              <a:gd name="connsiteX0" fmla="*/ 6096000 w 12192000"/>
              <a:gd name="connsiteY0" fmla="*/ 0 h 3923730"/>
              <a:gd name="connsiteX1" fmla="*/ 57989 w 12192000"/>
              <a:gd name="connsiteY1" fmla="*/ 761530 h 3923730"/>
              <a:gd name="connsiteX2" fmla="*/ 0 w 12192000"/>
              <a:gd name="connsiteY2" fmla="*/ 780046 h 3923730"/>
              <a:gd name="connsiteX3" fmla="*/ 0 w 12192000"/>
              <a:gd name="connsiteY3" fmla="*/ 2228541 h 3923730"/>
              <a:gd name="connsiteX4" fmla="*/ 0 w 12192000"/>
              <a:gd name="connsiteY4" fmla="*/ 2351863 h 3923730"/>
              <a:gd name="connsiteX5" fmla="*/ 0 w 12192000"/>
              <a:gd name="connsiteY5" fmla="*/ 2678387 h 3923730"/>
              <a:gd name="connsiteX6" fmla="*/ 0 w 12192000"/>
              <a:gd name="connsiteY6" fmla="*/ 3092664 h 3923730"/>
              <a:gd name="connsiteX7" fmla="*/ 0 w 12192000"/>
              <a:gd name="connsiteY7" fmla="*/ 3923730 h 3923730"/>
              <a:gd name="connsiteX8" fmla="*/ 12192000 w 12192000"/>
              <a:gd name="connsiteY8" fmla="*/ 3923730 h 3923730"/>
              <a:gd name="connsiteX9" fmla="*/ 12192000 w 12192000"/>
              <a:gd name="connsiteY9" fmla="*/ 3092664 h 3923730"/>
              <a:gd name="connsiteX10" fmla="*/ 12192000 w 12192000"/>
              <a:gd name="connsiteY10" fmla="*/ 2678387 h 3923730"/>
              <a:gd name="connsiteX11" fmla="*/ 12192000 w 12192000"/>
              <a:gd name="connsiteY11" fmla="*/ 2351862 h 3923730"/>
              <a:gd name="connsiteX12" fmla="*/ 12192000 w 12192000"/>
              <a:gd name="connsiteY12" fmla="*/ 2228541 h 3923730"/>
              <a:gd name="connsiteX13" fmla="*/ 12192000 w 12192000"/>
              <a:gd name="connsiteY13" fmla="*/ 780046 h 3923730"/>
              <a:gd name="connsiteX14" fmla="*/ 12134012 w 12192000"/>
              <a:gd name="connsiteY14" fmla="*/ 761530 h 3923730"/>
              <a:gd name="connsiteX15" fmla="*/ 6096000 w 12192000"/>
              <a:gd name="connsiteY15" fmla="*/ 0 h 3923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3923730">
                <a:moveTo>
                  <a:pt x="6096000" y="0"/>
                </a:moveTo>
                <a:cubicBezTo>
                  <a:pt x="3802417" y="0"/>
                  <a:pt x="1698825" y="285787"/>
                  <a:pt x="57989" y="761530"/>
                </a:cubicBezTo>
                <a:lnTo>
                  <a:pt x="0" y="780046"/>
                </a:lnTo>
                <a:lnTo>
                  <a:pt x="0" y="2228541"/>
                </a:lnTo>
                <a:lnTo>
                  <a:pt x="0" y="2351863"/>
                </a:lnTo>
                <a:lnTo>
                  <a:pt x="0" y="2678387"/>
                </a:lnTo>
                <a:lnTo>
                  <a:pt x="0" y="3092664"/>
                </a:lnTo>
                <a:lnTo>
                  <a:pt x="0" y="3923730"/>
                </a:lnTo>
                <a:lnTo>
                  <a:pt x="12192000" y="3923730"/>
                </a:lnTo>
                <a:lnTo>
                  <a:pt x="12192000" y="3092664"/>
                </a:lnTo>
                <a:lnTo>
                  <a:pt x="12192000" y="2678387"/>
                </a:lnTo>
                <a:lnTo>
                  <a:pt x="12192000" y="2351862"/>
                </a:lnTo>
                <a:lnTo>
                  <a:pt x="12192000" y="2228541"/>
                </a:lnTo>
                <a:lnTo>
                  <a:pt x="12192000" y="780046"/>
                </a:lnTo>
                <a:lnTo>
                  <a:pt x="12134012" y="761530"/>
                </a:lnTo>
                <a:cubicBezTo>
                  <a:pt x="10493175" y="285787"/>
                  <a:pt x="8389583" y="0"/>
                  <a:pt x="6096000" y="0"/>
                </a:cubicBezTo>
                <a:close/>
              </a:path>
            </a:pathLst>
          </a:custGeom>
          <a:gradFill>
            <a:gsLst>
              <a:gs pos="47000">
                <a:schemeClr val="tx2"/>
              </a:gs>
              <a:gs pos="100000">
                <a:schemeClr val="tx2">
                  <a:lumMod val="75000"/>
                </a:schemeClr>
              </a:gs>
            </a:gsLst>
            <a:lin ang="5400000" scaled="1"/>
          </a:gradFill>
          <a:ln>
            <a:noFill/>
          </a:ln>
          <a:effectLst>
            <a:outerShdw blurRad="88900" dist="12700" dir="5400000" algn="t" rotWithShape="0">
              <a:prstClr val="black">
                <a:alpha val="25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3" name="Footer Placeholder 2">
            <a:extLst>
              <a:ext uri="{FF2B5EF4-FFF2-40B4-BE49-F238E27FC236}">
                <a16:creationId xmlns:a16="http://schemas.microsoft.com/office/drawing/2014/main" id="{56E7EA72-7F07-C25F-AB37-EC4127D54284}"/>
              </a:ext>
            </a:extLst>
          </p:cNvPr>
          <p:cNvSpPr>
            <a:spLocks noGrp="1"/>
          </p:cNvSpPr>
          <p:nvPr>
            <p:ph type="ftr" sz="quarter" idx="10"/>
          </p:nvPr>
        </p:nvSpPr>
        <p:spPr>
          <a:xfrm>
            <a:off x="2152464" y="6287294"/>
            <a:ext cx="7887071" cy="365125"/>
          </a:xfrm>
        </p:spPr>
        <p:txBody>
          <a:bodyPr/>
          <a:lstStyle/>
          <a:p>
            <a:endParaRPr lang="en-US" dirty="0"/>
          </a:p>
        </p:txBody>
      </p:sp>
      <p:sp>
        <p:nvSpPr>
          <p:cNvPr id="4" name="Slide Number Placeholder 3">
            <a:extLst>
              <a:ext uri="{FF2B5EF4-FFF2-40B4-BE49-F238E27FC236}">
                <a16:creationId xmlns:a16="http://schemas.microsoft.com/office/drawing/2014/main" id="{851BC4BD-D44C-5917-04D9-C4AB2777B97A}"/>
              </a:ext>
            </a:extLst>
          </p:cNvPr>
          <p:cNvSpPr>
            <a:spLocks noGrp="1"/>
          </p:cNvSpPr>
          <p:nvPr>
            <p:ph type="sldNum" sz="quarter" idx="11"/>
          </p:nvPr>
        </p:nvSpPr>
        <p:spPr>
          <a:xfrm>
            <a:off x="266329" y="6287294"/>
            <a:ext cx="438705" cy="365125"/>
          </a:xfrm>
        </p:spPr>
        <p:txBody>
          <a:bodyPr/>
          <a:lstStyle/>
          <a:p>
            <a:fld id="{A300D7A8-33C5-4C89-B444-136428D180BE}" type="slidenum">
              <a:rPr lang="en-US" smtClean="0"/>
              <a:pPr/>
              <a:t>‹#›</a:t>
            </a:fld>
            <a:endParaRPr lang="en-US" dirty="0"/>
          </a:p>
        </p:txBody>
      </p:sp>
      <p:pic>
        <p:nvPicPr>
          <p:cNvPr id="8" name="Graphic 7">
            <a:extLst>
              <a:ext uri="{FF2B5EF4-FFF2-40B4-BE49-F238E27FC236}">
                <a16:creationId xmlns:a16="http://schemas.microsoft.com/office/drawing/2014/main" id="{211A2119-6A43-6371-5212-37002F95F9A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102755" y="6259374"/>
            <a:ext cx="846587" cy="418930"/>
          </a:xfrm>
          <a:prstGeom prst="rect">
            <a:avLst/>
          </a:prstGeom>
        </p:spPr>
      </p:pic>
      <p:sp>
        <p:nvSpPr>
          <p:cNvPr id="10" name="Title 9">
            <a:extLst>
              <a:ext uri="{FF2B5EF4-FFF2-40B4-BE49-F238E27FC236}">
                <a16:creationId xmlns:a16="http://schemas.microsoft.com/office/drawing/2014/main" id="{BA69605A-10DC-B6C0-C94B-71BF86818015}"/>
              </a:ext>
            </a:extLst>
          </p:cNvPr>
          <p:cNvSpPr>
            <a:spLocks noGrp="1"/>
          </p:cNvSpPr>
          <p:nvPr>
            <p:ph type="title"/>
          </p:nvPr>
        </p:nvSpPr>
        <p:spPr/>
        <p:txBody>
          <a:bodyPr/>
          <a:lstStyle>
            <a:lvl1pPr algn="ctr">
              <a:defRPr>
                <a:solidFill>
                  <a:schemeClr val="accent1"/>
                </a:solidFill>
              </a:defRPr>
            </a:lvl1pPr>
          </a:lstStyle>
          <a:p>
            <a:r>
              <a:rPr lang="en-US"/>
              <a:t>Click to edit Master title style</a:t>
            </a:r>
          </a:p>
        </p:txBody>
      </p:sp>
      <p:sp>
        <p:nvSpPr>
          <p:cNvPr id="2" name="Text Placeholder 6">
            <a:extLst>
              <a:ext uri="{FF2B5EF4-FFF2-40B4-BE49-F238E27FC236}">
                <a16:creationId xmlns:a16="http://schemas.microsoft.com/office/drawing/2014/main" id="{5AA94A9E-197F-0817-744E-F0A5BB178AB9}"/>
              </a:ext>
            </a:extLst>
          </p:cNvPr>
          <p:cNvSpPr>
            <a:spLocks noGrp="1"/>
          </p:cNvSpPr>
          <p:nvPr>
            <p:ph type="body" sz="quarter" idx="14"/>
          </p:nvPr>
        </p:nvSpPr>
        <p:spPr>
          <a:xfrm>
            <a:off x="266330" y="1284288"/>
            <a:ext cx="11682413" cy="493712"/>
          </a:xfrm>
        </p:spPr>
        <p:txBody>
          <a:bodyPr>
            <a:noAutofit/>
          </a:bodyPr>
          <a:lstStyle>
            <a:lvl1pPr marL="0" indent="0" algn="ctr">
              <a:buNone/>
              <a:defRPr sz="2800">
                <a:solidFill>
                  <a:schemeClr val="accent4"/>
                </a:solidFill>
              </a:defRPr>
            </a:lvl1pPr>
          </a:lstStyle>
          <a:p>
            <a:pPr lvl="0"/>
            <a:endParaRPr lang="en-US" dirty="0"/>
          </a:p>
        </p:txBody>
      </p:sp>
      <p:pic>
        <p:nvPicPr>
          <p:cNvPr id="5" name="Picture 4" descr="A white and black screen&#10;&#10;Description automatically generated with medium confidence">
            <a:extLst>
              <a:ext uri="{FF2B5EF4-FFF2-40B4-BE49-F238E27FC236}">
                <a16:creationId xmlns:a16="http://schemas.microsoft.com/office/drawing/2014/main" id="{A87D372D-1565-722C-B91D-F7F20570E95A}"/>
              </a:ext>
            </a:extLst>
          </p:cNvPr>
          <p:cNvPicPr>
            <a:picLocks noChangeAspect="1"/>
          </p:cNvPicPr>
          <p:nvPr userDrawn="1"/>
        </p:nvPicPr>
        <p:blipFill rotWithShape="1">
          <a:blip r:embed="rId4">
            <a:duotone>
              <a:prstClr val="black"/>
              <a:schemeClr val="accent4">
                <a:tint val="45000"/>
                <a:satMod val="400000"/>
              </a:schemeClr>
            </a:duotone>
            <a:alphaModFix amt="5000"/>
          </a:blip>
          <a:srcRect l="25715" t="43880" r="2854" b="34403"/>
          <a:stretch/>
        </p:blipFill>
        <p:spPr>
          <a:xfrm>
            <a:off x="0" y="2934270"/>
            <a:ext cx="12192000" cy="3923730"/>
          </a:xfrm>
          <a:custGeom>
            <a:avLst/>
            <a:gdLst>
              <a:gd name="connsiteX0" fmla="*/ 6096000 w 12192000"/>
              <a:gd name="connsiteY0" fmla="*/ 0 h 3923730"/>
              <a:gd name="connsiteX1" fmla="*/ 12134011 w 12192000"/>
              <a:gd name="connsiteY1" fmla="*/ 761530 h 3923730"/>
              <a:gd name="connsiteX2" fmla="*/ 12192000 w 12192000"/>
              <a:gd name="connsiteY2" fmla="*/ 780046 h 3923730"/>
              <a:gd name="connsiteX3" fmla="*/ 12192000 w 12192000"/>
              <a:gd name="connsiteY3" fmla="*/ 2228541 h 3923730"/>
              <a:gd name="connsiteX4" fmla="*/ 12192000 w 12192000"/>
              <a:gd name="connsiteY4" fmla="*/ 2351863 h 3923730"/>
              <a:gd name="connsiteX5" fmla="*/ 12192000 w 12192000"/>
              <a:gd name="connsiteY5" fmla="*/ 2678387 h 3923730"/>
              <a:gd name="connsiteX6" fmla="*/ 12192000 w 12192000"/>
              <a:gd name="connsiteY6" fmla="*/ 3092664 h 3923730"/>
              <a:gd name="connsiteX7" fmla="*/ 12192000 w 12192000"/>
              <a:gd name="connsiteY7" fmla="*/ 3923730 h 3923730"/>
              <a:gd name="connsiteX8" fmla="*/ 0 w 12192000"/>
              <a:gd name="connsiteY8" fmla="*/ 3923730 h 3923730"/>
              <a:gd name="connsiteX9" fmla="*/ 0 w 12192000"/>
              <a:gd name="connsiteY9" fmla="*/ 3092664 h 3923730"/>
              <a:gd name="connsiteX10" fmla="*/ 0 w 12192000"/>
              <a:gd name="connsiteY10" fmla="*/ 2678387 h 3923730"/>
              <a:gd name="connsiteX11" fmla="*/ 0 w 12192000"/>
              <a:gd name="connsiteY11" fmla="*/ 2351862 h 3923730"/>
              <a:gd name="connsiteX12" fmla="*/ 0 w 12192000"/>
              <a:gd name="connsiteY12" fmla="*/ 2228541 h 3923730"/>
              <a:gd name="connsiteX13" fmla="*/ 0 w 12192000"/>
              <a:gd name="connsiteY13" fmla="*/ 780046 h 3923730"/>
              <a:gd name="connsiteX14" fmla="*/ 57988 w 12192000"/>
              <a:gd name="connsiteY14" fmla="*/ 761530 h 3923730"/>
              <a:gd name="connsiteX15" fmla="*/ 6096000 w 12192000"/>
              <a:gd name="connsiteY15" fmla="*/ 0 h 3923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3923730">
                <a:moveTo>
                  <a:pt x="6096000" y="0"/>
                </a:moveTo>
                <a:cubicBezTo>
                  <a:pt x="8389583" y="0"/>
                  <a:pt x="10493175" y="285787"/>
                  <a:pt x="12134011" y="761530"/>
                </a:cubicBezTo>
                <a:lnTo>
                  <a:pt x="12192000" y="780046"/>
                </a:lnTo>
                <a:lnTo>
                  <a:pt x="12192000" y="2228541"/>
                </a:lnTo>
                <a:lnTo>
                  <a:pt x="12192000" y="2351863"/>
                </a:lnTo>
                <a:lnTo>
                  <a:pt x="12192000" y="2678387"/>
                </a:lnTo>
                <a:lnTo>
                  <a:pt x="12192000" y="3092664"/>
                </a:lnTo>
                <a:lnTo>
                  <a:pt x="12192000" y="3923730"/>
                </a:lnTo>
                <a:lnTo>
                  <a:pt x="0" y="3923730"/>
                </a:lnTo>
                <a:lnTo>
                  <a:pt x="0" y="3092664"/>
                </a:lnTo>
                <a:lnTo>
                  <a:pt x="0" y="2678387"/>
                </a:lnTo>
                <a:lnTo>
                  <a:pt x="0" y="2351862"/>
                </a:lnTo>
                <a:lnTo>
                  <a:pt x="0" y="2228541"/>
                </a:lnTo>
                <a:lnTo>
                  <a:pt x="0" y="780046"/>
                </a:lnTo>
                <a:lnTo>
                  <a:pt x="57988" y="761530"/>
                </a:lnTo>
                <a:cubicBezTo>
                  <a:pt x="1698825" y="285787"/>
                  <a:pt x="3802417" y="0"/>
                  <a:pt x="6096000" y="0"/>
                </a:cubicBezTo>
                <a:close/>
              </a:path>
            </a:pathLst>
          </a:custGeom>
        </p:spPr>
      </p:pic>
    </p:spTree>
    <p:extLst>
      <p:ext uri="{BB962C8B-B14F-4D97-AF65-F5344CB8AC3E}">
        <p14:creationId xmlns:p14="http://schemas.microsoft.com/office/powerpoint/2010/main" val="2675606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40AB66-C42A-4B96-E81A-87A3B0BA72B9}"/>
              </a:ext>
            </a:extLst>
          </p:cNvPr>
          <p:cNvSpPr>
            <a:spLocks noGrp="1"/>
          </p:cNvSpPr>
          <p:nvPr>
            <p:ph type="title"/>
          </p:nvPr>
        </p:nvSpPr>
        <p:spPr/>
        <p:txBody>
          <a:bodyPr/>
          <a:lstStyle/>
          <a:p>
            <a:r>
              <a:rPr lang="en-US"/>
              <a:t>Click to edit Master title style</a:t>
            </a:r>
          </a:p>
        </p:txBody>
      </p:sp>
      <p:sp>
        <p:nvSpPr>
          <p:cNvPr id="4" name="Footer Placeholder 3">
            <a:extLst>
              <a:ext uri="{FF2B5EF4-FFF2-40B4-BE49-F238E27FC236}">
                <a16:creationId xmlns:a16="http://schemas.microsoft.com/office/drawing/2014/main" id="{B7EE011C-520B-C31D-FB93-404C3E345C7A}"/>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8E0DE46F-2D46-4AFF-FCD4-9C544C510D04}"/>
              </a:ext>
            </a:extLst>
          </p:cNvPr>
          <p:cNvSpPr>
            <a:spLocks noGrp="1"/>
          </p:cNvSpPr>
          <p:nvPr>
            <p:ph type="sldNum" sz="quarter" idx="12"/>
          </p:nvPr>
        </p:nvSpPr>
        <p:spPr/>
        <p:txBody>
          <a:bodyPr/>
          <a:lstStyle/>
          <a:p>
            <a:fld id="{2255CA7B-1B59-4C07-BE3D-E8AE49649A7D}" type="slidenum">
              <a:rPr lang="en-US" smtClean="0"/>
              <a:t>‹#›</a:t>
            </a:fld>
            <a:endParaRPr lang="en-US" dirty="0"/>
          </a:p>
        </p:txBody>
      </p:sp>
    </p:spTree>
    <p:extLst>
      <p:ext uri="{BB962C8B-B14F-4D97-AF65-F5344CB8AC3E}">
        <p14:creationId xmlns:p14="http://schemas.microsoft.com/office/powerpoint/2010/main" val="3429838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Chart">
  <p:cSld name="Chart">
    <p:spTree>
      <p:nvGrpSpPr>
        <p:cNvPr id="1" name="Shape 101"/>
        <p:cNvGrpSpPr/>
        <p:nvPr/>
      </p:nvGrpSpPr>
      <p:grpSpPr>
        <a:xfrm>
          <a:off x="0" y="0"/>
          <a:ext cx="0" cy="0"/>
          <a:chOff x="0" y="0"/>
          <a:chExt cx="0" cy="0"/>
        </a:xfrm>
      </p:grpSpPr>
      <p:sp>
        <p:nvSpPr>
          <p:cNvPr id="102" name="Google Shape;102;p45"/>
          <p:cNvSpPr txBox="1">
            <a:spLocks noGrp="1"/>
          </p:cNvSpPr>
          <p:nvPr>
            <p:ph type="title"/>
          </p:nvPr>
        </p:nvSpPr>
        <p:spPr>
          <a:xfrm>
            <a:off x="321276" y="365125"/>
            <a:ext cx="1154121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3" name="Google Shape;103;p45"/>
          <p:cNvSpPr txBox="1">
            <a:spLocks noGrp="1"/>
          </p:cNvSpPr>
          <p:nvPr>
            <p:ph type="body" idx="1"/>
          </p:nvPr>
        </p:nvSpPr>
        <p:spPr>
          <a:xfrm>
            <a:off x="365760" y="1201738"/>
            <a:ext cx="11430000" cy="463550"/>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2"/>
              </a:buClr>
              <a:buSzPts val="1500"/>
              <a:buFont typeface="Century Gothic"/>
              <a:buNone/>
              <a:defRPr sz="1500">
                <a:solidFill>
                  <a:schemeClr val="dk2"/>
                </a:solidFill>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4" name="Google Shape;104;p45"/>
          <p:cNvSpPr>
            <a:spLocks noGrp="1"/>
          </p:cNvSpPr>
          <p:nvPr>
            <p:ph type="chart" idx="2"/>
          </p:nvPr>
        </p:nvSpPr>
        <p:spPr>
          <a:xfrm>
            <a:off x="365760" y="1828800"/>
            <a:ext cx="11430000" cy="4297680"/>
          </a:xfrm>
          <a:prstGeom prst="rect">
            <a:avLst/>
          </a:prstGeom>
          <a:noFill/>
          <a:ln>
            <a:noFill/>
          </a:ln>
        </p:spPr>
        <p:txBody>
          <a:bodyPr spcFirstLastPara="1" wrap="square" lIns="91425" tIns="45700" rIns="91425" bIns="45700" anchor="t" anchorCtr="0">
            <a:normAutofit/>
          </a:bodyPr>
          <a:lstStyle>
            <a:lvl1pPr marR="0" lvl="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Century Gothic"/>
                <a:ea typeface="Century Gothic"/>
                <a:cs typeface="Century Gothic"/>
                <a:sym typeface="Century Gothic"/>
              </a:defRPr>
            </a:lvl1pPr>
            <a:lvl2pPr marR="0" lvl="1"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entury Gothic"/>
                <a:ea typeface="Century Gothic"/>
                <a:cs typeface="Century Gothic"/>
                <a:sym typeface="Century Gothic"/>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entury Gothic"/>
                <a:ea typeface="Century Gothic"/>
                <a:cs typeface="Century Gothic"/>
                <a:sym typeface="Century Gothic"/>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entury Gothic"/>
                <a:ea typeface="Century Gothic"/>
                <a:cs typeface="Century Gothic"/>
                <a:sym typeface="Century Gothic"/>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entury Gothic"/>
                <a:ea typeface="Century Gothic"/>
                <a:cs typeface="Century Gothic"/>
                <a:sym typeface="Century Gothic"/>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entury Gothic"/>
                <a:ea typeface="Century Gothic"/>
                <a:cs typeface="Century Gothic"/>
                <a:sym typeface="Century Gothic"/>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entury Gothic"/>
                <a:ea typeface="Century Gothic"/>
                <a:cs typeface="Century Gothic"/>
                <a:sym typeface="Century Gothic"/>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entury Gothic"/>
                <a:ea typeface="Century Gothic"/>
                <a:cs typeface="Century Gothic"/>
                <a:sym typeface="Century Gothic"/>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entury Gothic"/>
                <a:ea typeface="Century Gothic"/>
                <a:cs typeface="Century Gothic"/>
                <a:sym typeface="Century Gothic"/>
              </a:defRPr>
            </a:lvl9pPr>
          </a:lstStyle>
          <a:p>
            <a:endParaRPr dirty="0"/>
          </a:p>
        </p:txBody>
      </p:sp>
      <p:sp>
        <p:nvSpPr>
          <p:cNvPr id="105" name="Google Shape;105;p45"/>
          <p:cNvSpPr txBox="1">
            <a:spLocks noGrp="1"/>
          </p:cNvSpPr>
          <p:nvPr>
            <p:ph type="body" idx="3"/>
          </p:nvPr>
        </p:nvSpPr>
        <p:spPr>
          <a:xfrm>
            <a:off x="365760" y="6236370"/>
            <a:ext cx="11430000" cy="276999"/>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2"/>
              </a:buClr>
              <a:buSzPts val="1200"/>
              <a:buFont typeface="Century Gothic"/>
              <a:buNone/>
              <a:defRPr sz="1200">
                <a:solidFill>
                  <a:schemeClr val="dk2"/>
                </a:solidFill>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19416072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E2BA3E1-A487-917F-743E-237F89C04B86}"/>
              </a:ext>
            </a:extLst>
          </p:cNvPr>
          <p:cNvPicPr>
            <a:picLocks noChangeAspect="1"/>
          </p:cNvPicPr>
          <p:nvPr userDrawn="1"/>
        </p:nvPicPr>
        <p:blipFill rotWithShape="1">
          <a:blip r:embed="rId2">
            <a:extLst>
              <a:ext uri="{28A0092B-C50C-407E-A947-70E740481C1C}">
                <a14:useLocalDpi xmlns:a14="http://schemas.microsoft.com/office/drawing/2010/main"/>
              </a:ext>
            </a:extLst>
          </a:blip>
          <a:srcRect l="446" t="209" r="-2" b="209"/>
          <a:stretch/>
        </p:blipFill>
        <p:spPr>
          <a:xfrm>
            <a:off x="0" y="0"/>
            <a:ext cx="12188952" cy="6858000"/>
          </a:xfrm>
          <a:prstGeom prst="rect">
            <a:avLst/>
          </a:prstGeom>
        </p:spPr>
      </p:pic>
      <p:grpSp>
        <p:nvGrpSpPr>
          <p:cNvPr id="4" name="Group 4">
            <a:extLst>
              <a:ext uri="{FF2B5EF4-FFF2-40B4-BE49-F238E27FC236}">
                <a16:creationId xmlns:a16="http://schemas.microsoft.com/office/drawing/2014/main" id="{FEB7D14F-60EC-F337-42E9-152257ADC3C8}"/>
              </a:ext>
            </a:extLst>
          </p:cNvPr>
          <p:cNvGrpSpPr>
            <a:grpSpLocks noChangeAspect="1"/>
          </p:cNvGrpSpPr>
          <p:nvPr userDrawn="1"/>
        </p:nvGrpSpPr>
        <p:grpSpPr bwMode="auto">
          <a:xfrm>
            <a:off x="7253288" y="506413"/>
            <a:ext cx="4408487" cy="714375"/>
            <a:chOff x="4569" y="319"/>
            <a:chExt cx="2777" cy="450"/>
          </a:xfrm>
        </p:grpSpPr>
        <p:sp>
          <p:nvSpPr>
            <p:cNvPr id="5" name="AutoShape 3">
              <a:extLst>
                <a:ext uri="{FF2B5EF4-FFF2-40B4-BE49-F238E27FC236}">
                  <a16:creationId xmlns:a16="http://schemas.microsoft.com/office/drawing/2014/main" id="{2F1C37D4-1D80-D591-1F8A-CCB5B583EFB8}"/>
                </a:ext>
              </a:extLst>
            </p:cNvPr>
            <p:cNvSpPr>
              <a:spLocks noChangeAspect="1" noChangeArrowheads="1" noTextEdit="1"/>
            </p:cNvSpPr>
            <p:nvPr userDrawn="1"/>
          </p:nvSpPr>
          <p:spPr bwMode="auto">
            <a:xfrm>
              <a:off x="4569" y="319"/>
              <a:ext cx="2777" cy="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 name="Oval 5">
              <a:extLst>
                <a:ext uri="{FF2B5EF4-FFF2-40B4-BE49-F238E27FC236}">
                  <a16:creationId xmlns:a16="http://schemas.microsoft.com/office/drawing/2014/main" id="{BDB35688-4C75-6058-4F62-3400A7D471C0}"/>
                </a:ext>
              </a:extLst>
            </p:cNvPr>
            <p:cNvSpPr>
              <a:spLocks noChangeArrowheads="1"/>
            </p:cNvSpPr>
            <p:nvPr userDrawn="1"/>
          </p:nvSpPr>
          <p:spPr bwMode="auto">
            <a:xfrm>
              <a:off x="6094" y="323"/>
              <a:ext cx="74" cy="73"/>
            </a:xfrm>
            <a:prstGeom prst="ellipse">
              <a:avLst/>
            </a:prstGeom>
            <a:solidFill>
              <a:srgbClr val="00A7C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 name="Freeform 6">
              <a:extLst>
                <a:ext uri="{FF2B5EF4-FFF2-40B4-BE49-F238E27FC236}">
                  <a16:creationId xmlns:a16="http://schemas.microsoft.com/office/drawing/2014/main" id="{B3C0F009-C6EA-2052-A41A-608D0745751C}"/>
                </a:ext>
              </a:extLst>
            </p:cNvPr>
            <p:cNvSpPr>
              <a:spLocks noEditPoints="1"/>
            </p:cNvSpPr>
            <p:nvPr userDrawn="1"/>
          </p:nvSpPr>
          <p:spPr bwMode="auto">
            <a:xfrm>
              <a:off x="6070" y="417"/>
              <a:ext cx="252" cy="352"/>
            </a:xfrm>
            <a:custGeom>
              <a:avLst/>
              <a:gdLst>
                <a:gd name="T0" fmla="*/ 118 w 136"/>
                <a:gd name="T1" fmla="*/ 14 h 188"/>
                <a:gd name="T2" fmla="*/ 66 w 136"/>
                <a:gd name="T3" fmla="*/ 48 h 188"/>
                <a:gd name="T4" fmla="*/ 18 w 136"/>
                <a:gd name="T5" fmla="*/ 152 h 188"/>
                <a:gd name="T6" fmla="*/ 26 w 136"/>
                <a:gd name="T7" fmla="*/ 174 h 188"/>
                <a:gd name="T8" fmla="*/ 39 w 136"/>
                <a:gd name="T9" fmla="*/ 175 h 188"/>
                <a:gd name="T10" fmla="*/ 48 w 136"/>
                <a:gd name="T11" fmla="*/ 166 h 188"/>
                <a:gd name="T12" fmla="*/ 118 w 136"/>
                <a:gd name="T13" fmla="*/ 14 h 188"/>
                <a:gd name="T14" fmla="*/ 118 w 136"/>
                <a:gd name="T15" fmla="*/ 14 h 188"/>
                <a:gd name="T16" fmla="*/ 33 w 136"/>
                <a:gd name="T17" fmla="*/ 188 h 188"/>
                <a:gd name="T18" fmla="*/ 21 w 136"/>
                <a:gd name="T19" fmla="*/ 185 h 188"/>
                <a:gd name="T20" fmla="*/ 7 w 136"/>
                <a:gd name="T21" fmla="*/ 147 h 188"/>
                <a:gd name="T22" fmla="*/ 55 w 136"/>
                <a:gd name="T23" fmla="*/ 43 h 188"/>
                <a:gd name="T24" fmla="*/ 100 w 136"/>
                <a:gd name="T25" fmla="*/ 4 h 188"/>
                <a:gd name="T26" fmla="*/ 129 w 136"/>
                <a:gd name="T27" fmla="*/ 3 h 188"/>
                <a:gd name="T28" fmla="*/ 136 w 136"/>
                <a:gd name="T29" fmla="*/ 4 h 188"/>
                <a:gd name="T30" fmla="*/ 59 w 136"/>
                <a:gd name="T31" fmla="*/ 171 h 188"/>
                <a:gd name="T32" fmla="*/ 43 w 136"/>
                <a:gd name="T33" fmla="*/ 186 h 188"/>
                <a:gd name="T34" fmla="*/ 33 w 136"/>
                <a:gd name="T35" fmla="*/ 18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188">
                  <a:moveTo>
                    <a:pt x="118" y="14"/>
                  </a:moveTo>
                  <a:cubicBezTo>
                    <a:pt x="104" y="14"/>
                    <a:pt x="80" y="19"/>
                    <a:pt x="66" y="48"/>
                  </a:cubicBezTo>
                  <a:cubicBezTo>
                    <a:pt x="18" y="152"/>
                    <a:pt x="18" y="152"/>
                    <a:pt x="18" y="152"/>
                  </a:cubicBezTo>
                  <a:cubicBezTo>
                    <a:pt x="14" y="160"/>
                    <a:pt x="18" y="170"/>
                    <a:pt x="26" y="174"/>
                  </a:cubicBezTo>
                  <a:cubicBezTo>
                    <a:pt x="30" y="176"/>
                    <a:pt x="34" y="176"/>
                    <a:pt x="39" y="175"/>
                  </a:cubicBezTo>
                  <a:cubicBezTo>
                    <a:pt x="43" y="173"/>
                    <a:pt x="46" y="170"/>
                    <a:pt x="48" y="166"/>
                  </a:cubicBezTo>
                  <a:cubicBezTo>
                    <a:pt x="118" y="14"/>
                    <a:pt x="118" y="14"/>
                    <a:pt x="118" y="14"/>
                  </a:cubicBezTo>
                  <a:cubicBezTo>
                    <a:pt x="118" y="14"/>
                    <a:pt x="118" y="14"/>
                    <a:pt x="118" y="14"/>
                  </a:cubicBezTo>
                  <a:close/>
                  <a:moveTo>
                    <a:pt x="33" y="188"/>
                  </a:moveTo>
                  <a:cubicBezTo>
                    <a:pt x="29" y="188"/>
                    <a:pt x="25" y="187"/>
                    <a:pt x="21" y="185"/>
                  </a:cubicBezTo>
                  <a:cubicBezTo>
                    <a:pt x="7" y="179"/>
                    <a:pt x="0" y="161"/>
                    <a:pt x="7" y="147"/>
                  </a:cubicBezTo>
                  <a:cubicBezTo>
                    <a:pt x="55" y="43"/>
                    <a:pt x="55" y="43"/>
                    <a:pt x="55" y="43"/>
                  </a:cubicBezTo>
                  <a:cubicBezTo>
                    <a:pt x="67" y="17"/>
                    <a:pt x="86" y="7"/>
                    <a:pt x="100" y="4"/>
                  </a:cubicBezTo>
                  <a:cubicBezTo>
                    <a:pt x="116" y="0"/>
                    <a:pt x="128" y="3"/>
                    <a:pt x="129" y="3"/>
                  </a:cubicBezTo>
                  <a:cubicBezTo>
                    <a:pt x="136" y="4"/>
                    <a:pt x="136" y="4"/>
                    <a:pt x="136" y="4"/>
                  </a:cubicBezTo>
                  <a:cubicBezTo>
                    <a:pt x="59" y="171"/>
                    <a:pt x="59" y="171"/>
                    <a:pt x="59" y="171"/>
                  </a:cubicBezTo>
                  <a:cubicBezTo>
                    <a:pt x="56" y="178"/>
                    <a:pt x="50" y="184"/>
                    <a:pt x="43" y="186"/>
                  </a:cubicBezTo>
                  <a:cubicBezTo>
                    <a:pt x="40" y="187"/>
                    <a:pt x="36" y="188"/>
                    <a:pt x="33" y="188"/>
                  </a:cubicBezTo>
                  <a:close/>
                </a:path>
              </a:pathLst>
            </a:custGeom>
            <a:solidFill>
              <a:srgbClr val="00A7C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 name="Freeform 7">
              <a:extLst>
                <a:ext uri="{FF2B5EF4-FFF2-40B4-BE49-F238E27FC236}">
                  <a16:creationId xmlns:a16="http://schemas.microsoft.com/office/drawing/2014/main" id="{4024E27F-1351-0A24-FBA7-18404D38AE82}"/>
                </a:ext>
              </a:extLst>
            </p:cNvPr>
            <p:cNvSpPr>
              <a:spLocks/>
            </p:cNvSpPr>
            <p:nvPr userDrawn="1"/>
          </p:nvSpPr>
          <p:spPr bwMode="auto">
            <a:xfrm>
              <a:off x="5940" y="417"/>
              <a:ext cx="191" cy="320"/>
            </a:xfrm>
            <a:custGeom>
              <a:avLst/>
              <a:gdLst>
                <a:gd name="T0" fmla="*/ 77 w 103"/>
                <a:gd name="T1" fmla="*/ 147 h 171"/>
                <a:gd name="T2" fmla="*/ 78 w 103"/>
                <a:gd name="T3" fmla="*/ 144 h 171"/>
                <a:gd name="T4" fmla="*/ 18 w 103"/>
                <a:gd name="T5" fmla="*/ 14 h 171"/>
                <a:gd name="T6" fmla="*/ 19 w 103"/>
                <a:gd name="T7" fmla="*/ 14 h 171"/>
                <a:gd name="T8" fmla="*/ 70 w 103"/>
                <a:gd name="T9" fmla="*/ 48 h 171"/>
                <a:gd name="T10" fmla="*/ 96 w 103"/>
                <a:gd name="T11" fmla="*/ 105 h 171"/>
                <a:gd name="T12" fmla="*/ 103 w 103"/>
                <a:gd name="T13" fmla="*/ 90 h 171"/>
                <a:gd name="T14" fmla="*/ 81 w 103"/>
                <a:gd name="T15" fmla="*/ 43 h 171"/>
                <a:gd name="T16" fmla="*/ 36 w 103"/>
                <a:gd name="T17" fmla="*/ 4 h 171"/>
                <a:gd name="T18" fmla="*/ 7 w 103"/>
                <a:gd name="T19" fmla="*/ 3 h 171"/>
                <a:gd name="T20" fmla="*/ 0 w 103"/>
                <a:gd name="T21" fmla="*/ 4 h 171"/>
                <a:gd name="T22" fmla="*/ 77 w 103"/>
                <a:gd name="T23" fmla="*/ 171 h 171"/>
                <a:gd name="T24" fmla="*/ 77 w 103"/>
                <a:gd name="T25" fmla="*/ 171 h 171"/>
                <a:gd name="T26" fmla="*/ 77 w 103"/>
                <a:gd name="T27" fmla="*/ 147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3" h="171">
                  <a:moveTo>
                    <a:pt x="77" y="147"/>
                  </a:moveTo>
                  <a:cubicBezTo>
                    <a:pt x="78" y="144"/>
                    <a:pt x="78" y="144"/>
                    <a:pt x="78" y="144"/>
                  </a:cubicBezTo>
                  <a:cubicBezTo>
                    <a:pt x="18" y="14"/>
                    <a:pt x="18" y="14"/>
                    <a:pt x="18" y="14"/>
                  </a:cubicBezTo>
                  <a:cubicBezTo>
                    <a:pt x="18" y="14"/>
                    <a:pt x="18" y="14"/>
                    <a:pt x="19" y="14"/>
                  </a:cubicBezTo>
                  <a:cubicBezTo>
                    <a:pt x="32" y="14"/>
                    <a:pt x="56" y="19"/>
                    <a:pt x="70" y="48"/>
                  </a:cubicBezTo>
                  <a:cubicBezTo>
                    <a:pt x="96" y="105"/>
                    <a:pt x="96" y="105"/>
                    <a:pt x="96" y="105"/>
                  </a:cubicBezTo>
                  <a:cubicBezTo>
                    <a:pt x="103" y="90"/>
                    <a:pt x="103" y="90"/>
                    <a:pt x="103" y="90"/>
                  </a:cubicBezTo>
                  <a:cubicBezTo>
                    <a:pt x="81" y="43"/>
                    <a:pt x="81" y="43"/>
                    <a:pt x="81" y="43"/>
                  </a:cubicBezTo>
                  <a:cubicBezTo>
                    <a:pt x="69" y="17"/>
                    <a:pt x="50" y="7"/>
                    <a:pt x="36" y="4"/>
                  </a:cubicBezTo>
                  <a:cubicBezTo>
                    <a:pt x="20" y="0"/>
                    <a:pt x="8" y="3"/>
                    <a:pt x="7" y="3"/>
                  </a:cubicBezTo>
                  <a:cubicBezTo>
                    <a:pt x="0" y="4"/>
                    <a:pt x="0" y="4"/>
                    <a:pt x="0" y="4"/>
                  </a:cubicBezTo>
                  <a:cubicBezTo>
                    <a:pt x="77" y="171"/>
                    <a:pt x="77" y="171"/>
                    <a:pt x="77" y="171"/>
                  </a:cubicBezTo>
                  <a:cubicBezTo>
                    <a:pt x="77" y="171"/>
                    <a:pt x="77" y="171"/>
                    <a:pt x="77" y="171"/>
                  </a:cubicBezTo>
                  <a:cubicBezTo>
                    <a:pt x="74" y="164"/>
                    <a:pt x="73" y="155"/>
                    <a:pt x="77" y="14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 name="Freeform 8">
              <a:extLst>
                <a:ext uri="{FF2B5EF4-FFF2-40B4-BE49-F238E27FC236}">
                  <a16:creationId xmlns:a16="http://schemas.microsoft.com/office/drawing/2014/main" id="{E985C2E2-E7B1-732A-546F-1D40C1A167C2}"/>
                </a:ext>
              </a:extLst>
            </p:cNvPr>
            <p:cNvSpPr>
              <a:spLocks/>
            </p:cNvSpPr>
            <p:nvPr userDrawn="1"/>
          </p:nvSpPr>
          <p:spPr bwMode="auto">
            <a:xfrm>
              <a:off x="6131" y="614"/>
              <a:ext cx="46" cy="116"/>
            </a:xfrm>
            <a:custGeom>
              <a:avLst/>
              <a:gdLst>
                <a:gd name="T0" fmla="*/ 0 w 25"/>
                <a:gd name="T1" fmla="*/ 15 h 62"/>
                <a:gd name="T2" fmla="*/ 15 w 25"/>
                <a:gd name="T3" fmla="*/ 47 h 62"/>
                <a:gd name="T4" fmla="*/ 15 w 25"/>
                <a:gd name="T5" fmla="*/ 62 h 62"/>
                <a:gd name="T6" fmla="*/ 15 w 25"/>
                <a:gd name="T7" fmla="*/ 61 h 62"/>
                <a:gd name="T8" fmla="*/ 25 w 25"/>
                <a:gd name="T9" fmla="*/ 39 h 62"/>
                <a:gd name="T10" fmla="*/ 7 w 25"/>
                <a:gd name="T11" fmla="*/ 0 h 62"/>
                <a:gd name="T12" fmla="*/ 0 w 25"/>
                <a:gd name="T13" fmla="*/ 15 h 62"/>
              </a:gdLst>
              <a:ahLst/>
              <a:cxnLst>
                <a:cxn ang="0">
                  <a:pos x="T0" y="T1"/>
                </a:cxn>
                <a:cxn ang="0">
                  <a:pos x="T2" y="T3"/>
                </a:cxn>
                <a:cxn ang="0">
                  <a:pos x="T4" y="T5"/>
                </a:cxn>
                <a:cxn ang="0">
                  <a:pos x="T6" y="T7"/>
                </a:cxn>
                <a:cxn ang="0">
                  <a:pos x="T8" y="T9"/>
                </a:cxn>
                <a:cxn ang="0">
                  <a:pos x="T10" y="T11"/>
                </a:cxn>
                <a:cxn ang="0">
                  <a:pos x="T12" y="T13"/>
                </a:cxn>
              </a:cxnLst>
              <a:rect l="0" t="0" r="r" b="b"/>
              <a:pathLst>
                <a:path w="25" h="62">
                  <a:moveTo>
                    <a:pt x="0" y="15"/>
                  </a:moveTo>
                  <a:cubicBezTo>
                    <a:pt x="15" y="47"/>
                    <a:pt x="15" y="47"/>
                    <a:pt x="15" y="47"/>
                  </a:cubicBezTo>
                  <a:cubicBezTo>
                    <a:pt x="17" y="52"/>
                    <a:pt x="17" y="57"/>
                    <a:pt x="15" y="62"/>
                  </a:cubicBezTo>
                  <a:cubicBezTo>
                    <a:pt x="15" y="61"/>
                    <a:pt x="15" y="61"/>
                    <a:pt x="15" y="61"/>
                  </a:cubicBezTo>
                  <a:cubicBezTo>
                    <a:pt x="25" y="39"/>
                    <a:pt x="25" y="39"/>
                    <a:pt x="25" y="39"/>
                  </a:cubicBezTo>
                  <a:cubicBezTo>
                    <a:pt x="7" y="0"/>
                    <a:pt x="7" y="0"/>
                    <a:pt x="7" y="0"/>
                  </a:cubicBezTo>
                  <a:cubicBezTo>
                    <a:pt x="0" y="15"/>
                    <a:pt x="0" y="15"/>
                    <a:pt x="0" y="1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9">
              <a:extLst>
                <a:ext uri="{FF2B5EF4-FFF2-40B4-BE49-F238E27FC236}">
                  <a16:creationId xmlns:a16="http://schemas.microsoft.com/office/drawing/2014/main" id="{FD2D848C-48FC-A862-E764-F3B85EFB019D}"/>
                </a:ext>
              </a:extLst>
            </p:cNvPr>
            <p:cNvSpPr>
              <a:spLocks/>
            </p:cNvSpPr>
            <p:nvPr userDrawn="1"/>
          </p:nvSpPr>
          <p:spPr bwMode="auto">
            <a:xfrm>
              <a:off x="5578" y="426"/>
              <a:ext cx="293" cy="343"/>
            </a:xfrm>
            <a:custGeom>
              <a:avLst/>
              <a:gdLst>
                <a:gd name="T0" fmla="*/ 80 w 158"/>
                <a:gd name="T1" fmla="*/ 183 h 183"/>
                <a:gd name="T2" fmla="*/ 49 w 158"/>
                <a:gd name="T3" fmla="*/ 179 h 183"/>
                <a:gd name="T4" fmla="*/ 23 w 158"/>
                <a:gd name="T5" fmla="*/ 167 h 183"/>
                <a:gd name="T6" fmla="*/ 6 w 158"/>
                <a:gd name="T7" fmla="*/ 148 h 183"/>
                <a:gd name="T8" fmla="*/ 0 w 158"/>
                <a:gd name="T9" fmla="*/ 122 h 183"/>
                <a:gd name="T10" fmla="*/ 0 w 158"/>
                <a:gd name="T11" fmla="*/ 0 h 183"/>
                <a:gd name="T12" fmla="*/ 32 w 158"/>
                <a:gd name="T13" fmla="*/ 0 h 183"/>
                <a:gd name="T14" fmla="*/ 32 w 158"/>
                <a:gd name="T15" fmla="*/ 122 h 183"/>
                <a:gd name="T16" fmla="*/ 37 w 158"/>
                <a:gd name="T17" fmla="*/ 135 h 183"/>
                <a:gd name="T18" fmla="*/ 48 w 158"/>
                <a:gd name="T19" fmla="*/ 144 h 183"/>
                <a:gd name="T20" fmla="*/ 64 w 158"/>
                <a:gd name="T21" fmla="*/ 149 h 183"/>
                <a:gd name="T22" fmla="*/ 80 w 158"/>
                <a:gd name="T23" fmla="*/ 151 h 183"/>
                <a:gd name="T24" fmla="*/ 95 w 158"/>
                <a:gd name="T25" fmla="*/ 149 h 183"/>
                <a:gd name="T26" fmla="*/ 110 w 158"/>
                <a:gd name="T27" fmla="*/ 144 h 183"/>
                <a:gd name="T28" fmla="*/ 121 w 158"/>
                <a:gd name="T29" fmla="*/ 135 h 183"/>
                <a:gd name="T30" fmla="*/ 125 w 158"/>
                <a:gd name="T31" fmla="*/ 122 h 183"/>
                <a:gd name="T32" fmla="*/ 125 w 158"/>
                <a:gd name="T33" fmla="*/ 0 h 183"/>
                <a:gd name="T34" fmla="*/ 158 w 158"/>
                <a:gd name="T35" fmla="*/ 0 h 183"/>
                <a:gd name="T36" fmla="*/ 158 w 158"/>
                <a:gd name="T37" fmla="*/ 122 h 183"/>
                <a:gd name="T38" fmla="*/ 152 w 158"/>
                <a:gd name="T39" fmla="*/ 148 h 183"/>
                <a:gd name="T40" fmla="*/ 136 w 158"/>
                <a:gd name="T41" fmla="*/ 167 h 183"/>
                <a:gd name="T42" fmla="*/ 111 w 158"/>
                <a:gd name="T43" fmla="*/ 179 h 183"/>
                <a:gd name="T44" fmla="*/ 80 w 158"/>
                <a:gd name="T45" fmla="*/ 183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8" h="183">
                  <a:moveTo>
                    <a:pt x="80" y="183"/>
                  </a:moveTo>
                  <a:cubicBezTo>
                    <a:pt x="69" y="183"/>
                    <a:pt x="59" y="182"/>
                    <a:pt x="49" y="179"/>
                  </a:cubicBezTo>
                  <a:cubicBezTo>
                    <a:pt x="39" y="177"/>
                    <a:pt x="31" y="173"/>
                    <a:pt x="23" y="167"/>
                  </a:cubicBezTo>
                  <a:cubicBezTo>
                    <a:pt x="16" y="162"/>
                    <a:pt x="10" y="156"/>
                    <a:pt x="6" y="148"/>
                  </a:cubicBezTo>
                  <a:cubicBezTo>
                    <a:pt x="2" y="140"/>
                    <a:pt x="0" y="131"/>
                    <a:pt x="0" y="122"/>
                  </a:cubicBezTo>
                  <a:cubicBezTo>
                    <a:pt x="0" y="0"/>
                    <a:pt x="0" y="0"/>
                    <a:pt x="0" y="0"/>
                  </a:cubicBezTo>
                  <a:cubicBezTo>
                    <a:pt x="32" y="0"/>
                    <a:pt x="32" y="0"/>
                    <a:pt x="32" y="0"/>
                  </a:cubicBezTo>
                  <a:cubicBezTo>
                    <a:pt x="32" y="122"/>
                    <a:pt x="32" y="122"/>
                    <a:pt x="32" y="122"/>
                  </a:cubicBezTo>
                  <a:cubicBezTo>
                    <a:pt x="32" y="127"/>
                    <a:pt x="34" y="132"/>
                    <a:pt x="37" y="135"/>
                  </a:cubicBezTo>
                  <a:cubicBezTo>
                    <a:pt x="40" y="139"/>
                    <a:pt x="44" y="142"/>
                    <a:pt x="48" y="144"/>
                  </a:cubicBezTo>
                  <a:cubicBezTo>
                    <a:pt x="53" y="146"/>
                    <a:pt x="58" y="148"/>
                    <a:pt x="64" y="149"/>
                  </a:cubicBezTo>
                  <a:cubicBezTo>
                    <a:pt x="70" y="150"/>
                    <a:pt x="75" y="151"/>
                    <a:pt x="80" y="151"/>
                  </a:cubicBezTo>
                  <a:cubicBezTo>
                    <a:pt x="85" y="151"/>
                    <a:pt x="90" y="150"/>
                    <a:pt x="95" y="149"/>
                  </a:cubicBezTo>
                  <a:cubicBezTo>
                    <a:pt x="100" y="148"/>
                    <a:pt x="105" y="146"/>
                    <a:pt x="110" y="144"/>
                  </a:cubicBezTo>
                  <a:cubicBezTo>
                    <a:pt x="114" y="142"/>
                    <a:pt x="118" y="139"/>
                    <a:pt x="121" y="135"/>
                  </a:cubicBezTo>
                  <a:cubicBezTo>
                    <a:pt x="124" y="132"/>
                    <a:pt x="125" y="127"/>
                    <a:pt x="125" y="122"/>
                  </a:cubicBezTo>
                  <a:cubicBezTo>
                    <a:pt x="125" y="0"/>
                    <a:pt x="125" y="0"/>
                    <a:pt x="125" y="0"/>
                  </a:cubicBezTo>
                  <a:cubicBezTo>
                    <a:pt x="158" y="0"/>
                    <a:pt x="158" y="0"/>
                    <a:pt x="158" y="0"/>
                  </a:cubicBezTo>
                  <a:cubicBezTo>
                    <a:pt x="158" y="122"/>
                    <a:pt x="158" y="122"/>
                    <a:pt x="158" y="122"/>
                  </a:cubicBezTo>
                  <a:cubicBezTo>
                    <a:pt x="158" y="131"/>
                    <a:pt x="156" y="140"/>
                    <a:pt x="152" y="148"/>
                  </a:cubicBezTo>
                  <a:cubicBezTo>
                    <a:pt x="149" y="156"/>
                    <a:pt x="143" y="162"/>
                    <a:pt x="136" y="167"/>
                  </a:cubicBezTo>
                  <a:cubicBezTo>
                    <a:pt x="129" y="173"/>
                    <a:pt x="121" y="177"/>
                    <a:pt x="111" y="179"/>
                  </a:cubicBezTo>
                  <a:cubicBezTo>
                    <a:pt x="102" y="182"/>
                    <a:pt x="91" y="183"/>
                    <a:pt x="80" y="18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 name="Freeform 10">
              <a:extLst>
                <a:ext uri="{FF2B5EF4-FFF2-40B4-BE49-F238E27FC236}">
                  <a16:creationId xmlns:a16="http://schemas.microsoft.com/office/drawing/2014/main" id="{2BCE2F22-4C7C-1880-F508-0DD0C9DD0909}"/>
                </a:ext>
              </a:extLst>
            </p:cNvPr>
            <p:cNvSpPr>
              <a:spLocks/>
            </p:cNvSpPr>
            <p:nvPr userDrawn="1"/>
          </p:nvSpPr>
          <p:spPr bwMode="auto">
            <a:xfrm>
              <a:off x="5203" y="421"/>
              <a:ext cx="294" cy="344"/>
            </a:xfrm>
            <a:custGeom>
              <a:avLst/>
              <a:gdLst>
                <a:gd name="T0" fmla="*/ 126 w 158"/>
                <a:gd name="T1" fmla="*/ 184 h 184"/>
                <a:gd name="T2" fmla="*/ 126 w 158"/>
                <a:gd name="T3" fmla="*/ 62 h 184"/>
                <a:gd name="T4" fmla="*/ 121 w 158"/>
                <a:gd name="T5" fmla="*/ 48 h 184"/>
                <a:gd name="T6" fmla="*/ 110 w 158"/>
                <a:gd name="T7" fmla="*/ 39 h 184"/>
                <a:gd name="T8" fmla="*/ 94 w 158"/>
                <a:gd name="T9" fmla="*/ 34 h 184"/>
                <a:gd name="T10" fmla="*/ 79 w 158"/>
                <a:gd name="T11" fmla="*/ 33 h 184"/>
                <a:gd name="T12" fmla="*/ 63 w 158"/>
                <a:gd name="T13" fmla="*/ 34 h 184"/>
                <a:gd name="T14" fmla="*/ 48 w 158"/>
                <a:gd name="T15" fmla="*/ 39 h 184"/>
                <a:gd name="T16" fmla="*/ 37 w 158"/>
                <a:gd name="T17" fmla="*/ 48 h 184"/>
                <a:gd name="T18" fmla="*/ 33 w 158"/>
                <a:gd name="T19" fmla="*/ 62 h 184"/>
                <a:gd name="T20" fmla="*/ 33 w 158"/>
                <a:gd name="T21" fmla="*/ 184 h 184"/>
                <a:gd name="T22" fmla="*/ 0 w 158"/>
                <a:gd name="T23" fmla="*/ 184 h 184"/>
                <a:gd name="T24" fmla="*/ 0 w 158"/>
                <a:gd name="T25" fmla="*/ 62 h 184"/>
                <a:gd name="T26" fmla="*/ 6 w 158"/>
                <a:gd name="T27" fmla="*/ 35 h 184"/>
                <a:gd name="T28" fmla="*/ 23 w 158"/>
                <a:gd name="T29" fmla="*/ 16 h 184"/>
                <a:gd name="T30" fmla="*/ 48 w 158"/>
                <a:gd name="T31" fmla="*/ 4 h 184"/>
                <a:gd name="T32" fmla="*/ 79 w 158"/>
                <a:gd name="T33" fmla="*/ 0 h 184"/>
                <a:gd name="T34" fmla="*/ 110 w 158"/>
                <a:gd name="T35" fmla="*/ 4 h 184"/>
                <a:gd name="T36" fmla="*/ 135 w 158"/>
                <a:gd name="T37" fmla="*/ 16 h 184"/>
                <a:gd name="T38" fmla="*/ 152 w 158"/>
                <a:gd name="T39" fmla="*/ 35 h 184"/>
                <a:gd name="T40" fmla="*/ 158 w 158"/>
                <a:gd name="T41" fmla="*/ 62 h 184"/>
                <a:gd name="T42" fmla="*/ 158 w 158"/>
                <a:gd name="T43" fmla="*/ 184 h 184"/>
                <a:gd name="T44" fmla="*/ 126 w 158"/>
                <a:gd name="T45" fmla="*/ 1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8" h="184">
                  <a:moveTo>
                    <a:pt x="126" y="184"/>
                  </a:moveTo>
                  <a:cubicBezTo>
                    <a:pt x="126" y="62"/>
                    <a:pt x="126" y="62"/>
                    <a:pt x="126" y="62"/>
                  </a:cubicBezTo>
                  <a:cubicBezTo>
                    <a:pt x="126" y="56"/>
                    <a:pt x="124" y="52"/>
                    <a:pt x="121" y="48"/>
                  </a:cubicBezTo>
                  <a:cubicBezTo>
                    <a:pt x="118" y="45"/>
                    <a:pt x="114" y="41"/>
                    <a:pt x="110" y="39"/>
                  </a:cubicBezTo>
                  <a:cubicBezTo>
                    <a:pt x="105" y="37"/>
                    <a:pt x="100" y="35"/>
                    <a:pt x="94" y="34"/>
                  </a:cubicBezTo>
                  <a:cubicBezTo>
                    <a:pt x="89" y="33"/>
                    <a:pt x="84" y="33"/>
                    <a:pt x="79" y="33"/>
                  </a:cubicBezTo>
                  <a:cubicBezTo>
                    <a:pt x="74" y="33"/>
                    <a:pt x="69" y="33"/>
                    <a:pt x="63" y="34"/>
                  </a:cubicBezTo>
                  <a:cubicBezTo>
                    <a:pt x="58" y="35"/>
                    <a:pt x="53" y="37"/>
                    <a:pt x="48" y="39"/>
                  </a:cubicBezTo>
                  <a:cubicBezTo>
                    <a:pt x="44" y="41"/>
                    <a:pt x="40" y="45"/>
                    <a:pt x="37" y="48"/>
                  </a:cubicBezTo>
                  <a:cubicBezTo>
                    <a:pt x="34" y="52"/>
                    <a:pt x="33" y="56"/>
                    <a:pt x="33" y="62"/>
                  </a:cubicBezTo>
                  <a:cubicBezTo>
                    <a:pt x="33" y="184"/>
                    <a:pt x="33" y="184"/>
                    <a:pt x="33" y="184"/>
                  </a:cubicBezTo>
                  <a:cubicBezTo>
                    <a:pt x="0" y="184"/>
                    <a:pt x="0" y="184"/>
                    <a:pt x="0" y="184"/>
                  </a:cubicBezTo>
                  <a:cubicBezTo>
                    <a:pt x="0" y="62"/>
                    <a:pt x="0" y="62"/>
                    <a:pt x="0" y="62"/>
                  </a:cubicBezTo>
                  <a:cubicBezTo>
                    <a:pt x="0" y="52"/>
                    <a:pt x="2" y="43"/>
                    <a:pt x="6" y="35"/>
                  </a:cubicBezTo>
                  <a:cubicBezTo>
                    <a:pt x="10" y="27"/>
                    <a:pt x="16" y="21"/>
                    <a:pt x="23" y="16"/>
                  </a:cubicBezTo>
                  <a:cubicBezTo>
                    <a:pt x="30" y="11"/>
                    <a:pt x="38" y="7"/>
                    <a:pt x="48" y="4"/>
                  </a:cubicBezTo>
                  <a:cubicBezTo>
                    <a:pt x="58" y="1"/>
                    <a:pt x="68" y="0"/>
                    <a:pt x="79" y="0"/>
                  </a:cubicBezTo>
                  <a:cubicBezTo>
                    <a:pt x="90" y="0"/>
                    <a:pt x="101" y="1"/>
                    <a:pt x="110" y="4"/>
                  </a:cubicBezTo>
                  <a:cubicBezTo>
                    <a:pt x="120" y="7"/>
                    <a:pt x="128" y="11"/>
                    <a:pt x="135" y="16"/>
                  </a:cubicBezTo>
                  <a:cubicBezTo>
                    <a:pt x="143" y="21"/>
                    <a:pt x="148" y="28"/>
                    <a:pt x="152" y="35"/>
                  </a:cubicBezTo>
                  <a:cubicBezTo>
                    <a:pt x="156" y="43"/>
                    <a:pt x="158" y="52"/>
                    <a:pt x="158" y="62"/>
                  </a:cubicBezTo>
                  <a:cubicBezTo>
                    <a:pt x="158" y="184"/>
                    <a:pt x="158" y="184"/>
                    <a:pt x="158" y="184"/>
                  </a:cubicBezTo>
                  <a:cubicBezTo>
                    <a:pt x="126" y="184"/>
                    <a:pt x="126" y="184"/>
                    <a:pt x="126" y="1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 name="Freeform 11">
              <a:extLst>
                <a:ext uri="{FF2B5EF4-FFF2-40B4-BE49-F238E27FC236}">
                  <a16:creationId xmlns:a16="http://schemas.microsoft.com/office/drawing/2014/main" id="{A2A03A04-A074-A2F7-592F-A4D7FDEA4A88}"/>
                </a:ext>
              </a:extLst>
            </p:cNvPr>
            <p:cNvSpPr>
              <a:spLocks noEditPoints="1"/>
            </p:cNvSpPr>
            <p:nvPr userDrawn="1"/>
          </p:nvSpPr>
          <p:spPr bwMode="auto">
            <a:xfrm>
              <a:off x="4829" y="421"/>
              <a:ext cx="295" cy="348"/>
            </a:xfrm>
            <a:custGeom>
              <a:avLst/>
              <a:gdLst>
                <a:gd name="T0" fmla="*/ 126 w 159"/>
                <a:gd name="T1" fmla="*/ 77 h 186"/>
                <a:gd name="T2" fmla="*/ 126 w 159"/>
                <a:gd name="T3" fmla="*/ 62 h 186"/>
                <a:gd name="T4" fmla="*/ 122 w 159"/>
                <a:gd name="T5" fmla="*/ 49 h 186"/>
                <a:gd name="T6" fmla="*/ 112 w 159"/>
                <a:gd name="T7" fmla="*/ 40 h 186"/>
                <a:gd name="T8" fmla="*/ 97 w 159"/>
                <a:gd name="T9" fmla="*/ 35 h 186"/>
                <a:gd name="T10" fmla="*/ 79 w 159"/>
                <a:gd name="T11" fmla="*/ 33 h 186"/>
                <a:gd name="T12" fmla="*/ 61 w 159"/>
                <a:gd name="T13" fmla="*/ 35 h 186"/>
                <a:gd name="T14" fmla="*/ 46 w 159"/>
                <a:gd name="T15" fmla="*/ 40 h 186"/>
                <a:gd name="T16" fmla="*/ 37 w 159"/>
                <a:gd name="T17" fmla="*/ 50 h 186"/>
                <a:gd name="T18" fmla="*/ 33 w 159"/>
                <a:gd name="T19" fmla="*/ 62 h 186"/>
                <a:gd name="T20" fmla="*/ 33 w 159"/>
                <a:gd name="T21" fmla="*/ 77 h 186"/>
                <a:gd name="T22" fmla="*/ 126 w 159"/>
                <a:gd name="T23" fmla="*/ 77 h 186"/>
                <a:gd name="T24" fmla="*/ 79 w 159"/>
                <a:gd name="T25" fmla="*/ 186 h 186"/>
                <a:gd name="T26" fmla="*/ 49 w 159"/>
                <a:gd name="T27" fmla="*/ 182 h 186"/>
                <a:gd name="T28" fmla="*/ 24 w 159"/>
                <a:gd name="T29" fmla="*/ 171 h 186"/>
                <a:gd name="T30" fmla="*/ 7 w 159"/>
                <a:gd name="T31" fmla="*/ 151 h 186"/>
                <a:gd name="T32" fmla="*/ 0 w 159"/>
                <a:gd name="T33" fmla="*/ 123 h 186"/>
                <a:gd name="T34" fmla="*/ 0 w 159"/>
                <a:gd name="T35" fmla="*/ 62 h 186"/>
                <a:gd name="T36" fmla="*/ 7 w 159"/>
                <a:gd name="T37" fmla="*/ 35 h 186"/>
                <a:gd name="T38" fmla="*/ 23 w 159"/>
                <a:gd name="T39" fmla="*/ 16 h 186"/>
                <a:gd name="T40" fmla="*/ 48 w 159"/>
                <a:gd name="T41" fmla="*/ 4 h 186"/>
                <a:gd name="T42" fmla="*/ 79 w 159"/>
                <a:gd name="T43" fmla="*/ 0 h 186"/>
                <a:gd name="T44" fmla="*/ 110 w 159"/>
                <a:gd name="T45" fmla="*/ 4 h 186"/>
                <a:gd name="T46" fmla="*/ 135 w 159"/>
                <a:gd name="T47" fmla="*/ 15 h 186"/>
                <a:gd name="T48" fmla="*/ 152 w 159"/>
                <a:gd name="T49" fmla="*/ 34 h 186"/>
                <a:gd name="T50" fmla="*/ 159 w 159"/>
                <a:gd name="T51" fmla="*/ 62 h 186"/>
                <a:gd name="T52" fmla="*/ 159 w 159"/>
                <a:gd name="T53" fmla="*/ 109 h 186"/>
                <a:gd name="T54" fmla="*/ 33 w 159"/>
                <a:gd name="T55" fmla="*/ 109 h 186"/>
                <a:gd name="T56" fmla="*/ 33 w 159"/>
                <a:gd name="T57" fmla="*/ 124 h 186"/>
                <a:gd name="T58" fmla="*/ 37 w 159"/>
                <a:gd name="T59" fmla="*/ 136 h 186"/>
                <a:gd name="T60" fmla="*/ 47 w 159"/>
                <a:gd name="T61" fmla="*/ 146 h 186"/>
                <a:gd name="T62" fmla="*/ 61 w 159"/>
                <a:gd name="T63" fmla="*/ 152 h 186"/>
                <a:gd name="T64" fmla="*/ 79 w 159"/>
                <a:gd name="T65" fmla="*/ 154 h 186"/>
                <a:gd name="T66" fmla="*/ 105 w 159"/>
                <a:gd name="T67" fmla="*/ 149 h 186"/>
                <a:gd name="T68" fmla="*/ 125 w 159"/>
                <a:gd name="T69" fmla="*/ 136 h 186"/>
                <a:gd name="T70" fmla="*/ 125 w 159"/>
                <a:gd name="T71" fmla="*/ 135 h 186"/>
                <a:gd name="T72" fmla="*/ 155 w 159"/>
                <a:gd name="T73" fmla="*/ 152 h 186"/>
                <a:gd name="T74" fmla="*/ 154 w 159"/>
                <a:gd name="T75" fmla="*/ 153 h 186"/>
                <a:gd name="T76" fmla="*/ 123 w 159"/>
                <a:gd name="T77" fmla="*/ 178 h 186"/>
                <a:gd name="T78" fmla="*/ 79 w 159"/>
                <a:gd name="T79" fmla="*/ 186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59" h="186">
                  <a:moveTo>
                    <a:pt x="126" y="77"/>
                  </a:moveTo>
                  <a:cubicBezTo>
                    <a:pt x="126" y="62"/>
                    <a:pt x="126" y="62"/>
                    <a:pt x="126" y="62"/>
                  </a:cubicBezTo>
                  <a:cubicBezTo>
                    <a:pt x="126" y="57"/>
                    <a:pt x="125" y="53"/>
                    <a:pt x="122" y="49"/>
                  </a:cubicBezTo>
                  <a:cubicBezTo>
                    <a:pt x="120" y="46"/>
                    <a:pt x="116" y="42"/>
                    <a:pt x="112" y="40"/>
                  </a:cubicBezTo>
                  <a:cubicBezTo>
                    <a:pt x="108" y="38"/>
                    <a:pt x="103" y="36"/>
                    <a:pt x="97" y="35"/>
                  </a:cubicBezTo>
                  <a:cubicBezTo>
                    <a:pt x="92" y="33"/>
                    <a:pt x="86" y="33"/>
                    <a:pt x="79" y="33"/>
                  </a:cubicBezTo>
                  <a:cubicBezTo>
                    <a:pt x="73" y="33"/>
                    <a:pt x="67" y="33"/>
                    <a:pt x="61" y="35"/>
                  </a:cubicBezTo>
                  <a:cubicBezTo>
                    <a:pt x="56" y="36"/>
                    <a:pt x="51" y="38"/>
                    <a:pt x="46" y="40"/>
                  </a:cubicBezTo>
                  <a:cubicBezTo>
                    <a:pt x="42" y="43"/>
                    <a:pt x="39" y="46"/>
                    <a:pt x="37" y="50"/>
                  </a:cubicBezTo>
                  <a:cubicBezTo>
                    <a:pt x="34" y="53"/>
                    <a:pt x="33" y="57"/>
                    <a:pt x="33" y="62"/>
                  </a:cubicBezTo>
                  <a:cubicBezTo>
                    <a:pt x="33" y="77"/>
                    <a:pt x="33" y="77"/>
                    <a:pt x="33" y="77"/>
                  </a:cubicBezTo>
                  <a:cubicBezTo>
                    <a:pt x="126" y="77"/>
                    <a:pt x="126" y="77"/>
                    <a:pt x="126" y="77"/>
                  </a:cubicBezTo>
                  <a:close/>
                  <a:moveTo>
                    <a:pt x="79" y="186"/>
                  </a:moveTo>
                  <a:cubicBezTo>
                    <a:pt x="69" y="186"/>
                    <a:pt x="59" y="185"/>
                    <a:pt x="49" y="182"/>
                  </a:cubicBezTo>
                  <a:cubicBezTo>
                    <a:pt x="40" y="180"/>
                    <a:pt x="32" y="176"/>
                    <a:pt x="24" y="171"/>
                  </a:cubicBezTo>
                  <a:cubicBezTo>
                    <a:pt x="17" y="166"/>
                    <a:pt x="11" y="159"/>
                    <a:pt x="7" y="151"/>
                  </a:cubicBezTo>
                  <a:cubicBezTo>
                    <a:pt x="3" y="143"/>
                    <a:pt x="0" y="134"/>
                    <a:pt x="0" y="123"/>
                  </a:cubicBezTo>
                  <a:cubicBezTo>
                    <a:pt x="0" y="62"/>
                    <a:pt x="0" y="62"/>
                    <a:pt x="0" y="62"/>
                  </a:cubicBezTo>
                  <a:cubicBezTo>
                    <a:pt x="0" y="52"/>
                    <a:pt x="2" y="43"/>
                    <a:pt x="7" y="35"/>
                  </a:cubicBezTo>
                  <a:cubicBezTo>
                    <a:pt x="11" y="28"/>
                    <a:pt x="16" y="21"/>
                    <a:pt x="23" y="16"/>
                  </a:cubicBezTo>
                  <a:cubicBezTo>
                    <a:pt x="30" y="11"/>
                    <a:pt x="39" y="7"/>
                    <a:pt x="48" y="4"/>
                  </a:cubicBezTo>
                  <a:cubicBezTo>
                    <a:pt x="58" y="1"/>
                    <a:pt x="68" y="0"/>
                    <a:pt x="79" y="0"/>
                  </a:cubicBezTo>
                  <a:cubicBezTo>
                    <a:pt x="90" y="0"/>
                    <a:pt x="100" y="1"/>
                    <a:pt x="110" y="4"/>
                  </a:cubicBezTo>
                  <a:cubicBezTo>
                    <a:pt x="120" y="6"/>
                    <a:pt x="128" y="10"/>
                    <a:pt x="135" y="15"/>
                  </a:cubicBezTo>
                  <a:cubicBezTo>
                    <a:pt x="142" y="20"/>
                    <a:pt x="148" y="26"/>
                    <a:pt x="152" y="34"/>
                  </a:cubicBezTo>
                  <a:cubicBezTo>
                    <a:pt x="156" y="42"/>
                    <a:pt x="159" y="51"/>
                    <a:pt x="159" y="62"/>
                  </a:cubicBezTo>
                  <a:cubicBezTo>
                    <a:pt x="159" y="109"/>
                    <a:pt x="159" y="109"/>
                    <a:pt x="159" y="109"/>
                  </a:cubicBezTo>
                  <a:cubicBezTo>
                    <a:pt x="33" y="109"/>
                    <a:pt x="33" y="109"/>
                    <a:pt x="33" y="109"/>
                  </a:cubicBezTo>
                  <a:cubicBezTo>
                    <a:pt x="33" y="124"/>
                    <a:pt x="33" y="124"/>
                    <a:pt x="33" y="124"/>
                  </a:cubicBezTo>
                  <a:cubicBezTo>
                    <a:pt x="33" y="129"/>
                    <a:pt x="35" y="133"/>
                    <a:pt x="37" y="136"/>
                  </a:cubicBezTo>
                  <a:cubicBezTo>
                    <a:pt x="39" y="140"/>
                    <a:pt x="43" y="143"/>
                    <a:pt x="47" y="146"/>
                  </a:cubicBezTo>
                  <a:cubicBezTo>
                    <a:pt x="51" y="148"/>
                    <a:pt x="56" y="150"/>
                    <a:pt x="61" y="152"/>
                  </a:cubicBezTo>
                  <a:cubicBezTo>
                    <a:pt x="67" y="153"/>
                    <a:pt x="73" y="154"/>
                    <a:pt x="79" y="154"/>
                  </a:cubicBezTo>
                  <a:cubicBezTo>
                    <a:pt x="88" y="154"/>
                    <a:pt x="97" y="152"/>
                    <a:pt x="105" y="149"/>
                  </a:cubicBezTo>
                  <a:cubicBezTo>
                    <a:pt x="113" y="146"/>
                    <a:pt x="120" y="142"/>
                    <a:pt x="125" y="136"/>
                  </a:cubicBezTo>
                  <a:cubicBezTo>
                    <a:pt x="125" y="135"/>
                    <a:pt x="125" y="135"/>
                    <a:pt x="125" y="135"/>
                  </a:cubicBezTo>
                  <a:cubicBezTo>
                    <a:pt x="155" y="152"/>
                    <a:pt x="155" y="152"/>
                    <a:pt x="155" y="152"/>
                  </a:cubicBezTo>
                  <a:cubicBezTo>
                    <a:pt x="154" y="153"/>
                    <a:pt x="154" y="153"/>
                    <a:pt x="154" y="153"/>
                  </a:cubicBezTo>
                  <a:cubicBezTo>
                    <a:pt x="147" y="164"/>
                    <a:pt x="136" y="172"/>
                    <a:pt x="123" y="178"/>
                  </a:cubicBezTo>
                  <a:cubicBezTo>
                    <a:pt x="109" y="183"/>
                    <a:pt x="95" y="186"/>
                    <a:pt x="79" y="18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Freeform 12">
              <a:extLst>
                <a:ext uri="{FF2B5EF4-FFF2-40B4-BE49-F238E27FC236}">
                  <a16:creationId xmlns:a16="http://schemas.microsoft.com/office/drawing/2014/main" id="{FC65BB15-A77F-2AE6-5826-990B7E7B4F74}"/>
                </a:ext>
              </a:extLst>
            </p:cNvPr>
            <p:cNvSpPr>
              <a:spLocks/>
            </p:cNvSpPr>
            <p:nvPr userDrawn="1"/>
          </p:nvSpPr>
          <p:spPr bwMode="auto">
            <a:xfrm>
              <a:off x="4569" y="426"/>
              <a:ext cx="219" cy="339"/>
            </a:xfrm>
            <a:custGeom>
              <a:avLst/>
              <a:gdLst>
                <a:gd name="T0" fmla="*/ 0 w 118"/>
                <a:gd name="T1" fmla="*/ 130 h 181"/>
                <a:gd name="T2" fmla="*/ 0 w 118"/>
                <a:gd name="T3" fmla="*/ 61 h 181"/>
                <a:gd name="T4" fmla="*/ 21 w 118"/>
                <a:gd name="T5" fmla="*/ 16 h 181"/>
                <a:gd name="T6" fmla="*/ 76 w 118"/>
                <a:gd name="T7" fmla="*/ 0 h 181"/>
                <a:gd name="T8" fmla="*/ 118 w 118"/>
                <a:gd name="T9" fmla="*/ 0 h 181"/>
                <a:gd name="T10" fmla="*/ 118 w 118"/>
                <a:gd name="T11" fmla="*/ 32 h 181"/>
                <a:gd name="T12" fmla="*/ 76 w 118"/>
                <a:gd name="T13" fmla="*/ 32 h 181"/>
                <a:gd name="T14" fmla="*/ 45 w 118"/>
                <a:gd name="T15" fmla="*/ 40 h 181"/>
                <a:gd name="T16" fmla="*/ 33 w 118"/>
                <a:gd name="T17" fmla="*/ 61 h 181"/>
                <a:gd name="T18" fmla="*/ 33 w 118"/>
                <a:gd name="T19" fmla="*/ 181 h 181"/>
                <a:gd name="T20" fmla="*/ 0 w 118"/>
                <a:gd name="T21" fmla="*/ 13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8" h="181">
                  <a:moveTo>
                    <a:pt x="0" y="130"/>
                  </a:moveTo>
                  <a:cubicBezTo>
                    <a:pt x="0" y="61"/>
                    <a:pt x="0" y="61"/>
                    <a:pt x="0" y="61"/>
                  </a:cubicBezTo>
                  <a:cubicBezTo>
                    <a:pt x="0" y="42"/>
                    <a:pt x="7" y="27"/>
                    <a:pt x="21" y="16"/>
                  </a:cubicBezTo>
                  <a:cubicBezTo>
                    <a:pt x="34" y="5"/>
                    <a:pt x="53" y="0"/>
                    <a:pt x="76" y="0"/>
                  </a:cubicBezTo>
                  <a:cubicBezTo>
                    <a:pt x="118" y="0"/>
                    <a:pt x="118" y="0"/>
                    <a:pt x="118" y="0"/>
                  </a:cubicBezTo>
                  <a:cubicBezTo>
                    <a:pt x="118" y="32"/>
                    <a:pt x="118" y="32"/>
                    <a:pt x="118" y="32"/>
                  </a:cubicBezTo>
                  <a:cubicBezTo>
                    <a:pt x="76" y="32"/>
                    <a:pt x="76" y="32"/>
                    <a:pt x="76" y="32"/>
                  </a:cubicBezTo>
                  <a:cubicBezTo>
                    <a:pt x="63" y="32"/>
                    <a:pt x="53" y="35"/>
                    <a:pt x="45" y="40"/>
                  </a:cubicBezTo>
                  <a:cubicBezTo>
                    <a:pt x="37" y="45"/>
                    <a:pt x="33" y="52"/>
                    <a:pt x="33" y="61"/>
                  </a:cubicBezTo>
                  <a:cubicBezTo>
                    <a:pt x="33" y="181"/>
                    <a:pt x="33" y="181"/>
                    <a:pt x="33" y="181"/>
                  </a:cubicBezTo>
                  <a:cubicBezTo>
                    <a:pt x="33" y="181"/>
                    <a:pt x="0" y="168"/>
                    <a:pt x="0" y="13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 name="Freeform 13">
              <a:extLst>
                <a:ext uri="{FF2B5EF4-FFF2-40B4-BE49-F238E27FC236}">
                  <a16:creationId xmlns:a16="http://schemas.microsoft.com/office/drawing/2014/main" id="{02A2518A-A389-0B40-24F1-955A74596A0F}"/>
                </a:ext>
              </a:extLst>
            </p:cNvPr>
            <p:cNvSpPr>
              <a:spLocks/>
            </p:cNvSpPr>
            <p:nvPr userDrawn="1"/>
          </p:nvSpPr>
          <p:spPr bwMode="auto">
            <a:xfrm>
              <a:off x="6394" y="426"/>
              <a:ext cx="62" cy="339"/>
            </a:xfrm>
            <a:custGeom>
              <a:avLst/>
              <a:gdLst>
                <a:gd name="T0" fmla="*/ 0 w 62"/>
                <a:gd name="T1" fmla="*/ 339 h 339"/>
                <a:gd name="T2" fmla="*/ 0 w 62"/>
                <a:gd name="T3" fmla="*/ 0 h 339"/>
                <a:gd name="T4" fmla="*/ 62 w 62"/>
                <a:gd name="T5" fmla="*/ 0 h 339"/>
                <a:gd name="T6" fmla="*/ 62 w 62"/>
                <a:gd name="T7" fmla="*/ 339 h 339"/>
                <a:gd name="T8" fmla="*/ 0 w 62"/>
                <a:gd name="T9" fmla="*/ 339 h 339"/>
                <a:gd name="T10" fmla="*/ 0 w 62"/>
                <a:gd name="T11" fmla="*/ 339 h 339"/>
              </a:gdLst>
              <a:ahLst/>
              <a:cxnLst>
                <a:cxn ang="0">
                  <a:pos x="T0" y="T1"/>
                </a:cxn>
                <a:cxn ang="0">
                  <a:pos x="T2" y="T3"/>
                </a:cxn>
                <a:cxn ang="0">
                  <a:pos x="T4" y="T5"/>
                </a:cxn>
                <a:cxn ang="0">
                  <a:pos x="T6" y="T7"/>
                </a:cxn>
                <a:cxn ang="0">
                  <a:pos x="T8" y="T9"/>
                </a:cxn>
                <a:cxn ang="0">
                  <a:pos x="T10" y="T11"/>
                </a:cxn>
              </a:cxnLst>
              <a:rect l="0" t="0" r="r" b="b"/>
              <a:pathLst>
                <a:path w="62" h="339">
                  <a:moveTo>
                    <a:pt x="0" y="339"/>
                  </a:moveTo>
                  <a:lnTo>
                    <a:pt x="0" y="0"/>
                  </a:lnTo>
                  <a:lnTo>
                    <a:pt x="62" y="0"/>
                  </a:lnTo>
                  <a:lnTo>
                    <a:pt x="62" y="339"/>
                  </a:lnTo>
                  <a:lnTo>
                    <a:pt x="0" y="339"/>
                  </a:lnTo>
                  <a:lnTo>
                    <a:pt x="0" y="3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Freeform 14">
              <a:extLst>
                <a:ext uri="{FF2B5EF4-FFF2-40B4-BE49-F238E27FC236}">
                  <a16:creationId xmlns:a16="http://schemas.microsoft.com/office/drawing/2014/main" id="{7EC9E9DE-84F9-F9F1-FC9E-30CB0F33A645}"/>
                </a:ext>
              </a:extLst>
            </p:cNvPr>
            <p:cNvSpPr>
              <a:spLocks noEditPoints="1"/>
            </p:cNvSpPr>
            <p:nvPr userDrawn="1"/>
          </p:nvSpPr>
          <p:spPr bwMode="auto">
            <a:xfrm>
              <a:off x="6545" y="421"/>
              <a:ext cx="293" cy="348"/>
            </a:xfrm>
            <a:custGeom>
              <a:avLst/>
              <a:gdLst>
                <a:gd name="T0" fmla="*/ 79 w 158"/>
                <a:gd name="T1" fmla="*/ 33 h 186"/>
                <a:gd name="T2" fmla="*/ 61 w 158"/>
                <a:gd name="T3" fmla="*/ 35 h 186"/>
                <a:gd name="T4" fmla="*/ 46 w 158"/>
                <a:gd name="T5" fmla="*/ 40 h 186"/>
                <a:gd name="T6" fmla="*/ 36 w 158"/>
                <a:gd name="T7" fmla="*/ 50 h 186"/>
                <a:gd name="T8" fmla="*/ 33 w 158"/>
                <a:gd name="T9" fmla="*/ 62 h 186"/>
                <a:gd name="T10" fmla="*/ 33 w 158"/>
                <a:gd name="T11" fmla="*/ 123 h 186"/>
                <a:gd name="T12" fmla="*/ 36 w 158"/>
                <a:gd name="T13" fmla="*/ 136 h 186"/>
                <a:gd name="T14" fmla="*/ 46 w 158"/>
                <a:gd name="T15" fmla="*/ 146 h 186"/>
                <a:gd name="T16" fmla="*/ 61 w 158"/>
                <a:gd name="T17" fmla="*/ 151 h 186"/>
                <a:gd name="T18" fmla="*/ 79 w 158"/>
                <a:gd name="T19" fmla="*/ 154 h 186"/>
                <a:gd name="T20" fmla="*/ 96 w 158"/>
                <a:gd name="T21" fmla="*/ 151 h 186"/>
                <a:gd name="T22" fmla="*/ 111 w 158"/>
                <a:gd name="T23" fmla="*/ 146 h 186"/>
                <a:gd name="T24" fmla="*/ 121 w 158"/>
                <a:gd name="T25" fmla="*/ 136 h 186"/>
                <a:gd name="T26" fmla="*/ 125 w 158"/>
                <a:gd name="T27" fmla="*/ 123 h 186"/>
                <a:gd name="T28" fmla="*/ 125 w 158"/>
                <a:gd name="T29" fmla="*/ 62 h 186"/>
                <a:gd name="T30" fmla="*/ 121 w 158"/>
                <a:gd name="T31" fmla="*/ 50 h 186"/>
                <a:gd name="T32" fmla="*/ 111 w 158"/>
                <a:gd name="T33" fmla="*/ 40 h 186"/>
                <a:gd name="T34" fmla="*/ 96 w 158"/>
                <a:gd name="T35" fmla="*/ 35 h 186"/>
                <a:gd name="T36" fmla="*/ 79 w 158"/>
                <a:gd name="T37" fmla="*/ 33 h 186"/>
                <a:gd name="T38" fmla="*/ 79 w 158"/>
                <a:gd name="T39" fmla="*/ 186 h 186"/>
                <a:gd name="T40" fmla="*/ 48 w 158"/>
                <a:gd name="T41" fmla="*/ 182 h 186"/>
                <a:gd name="T42" fmla="*/ 23 w 158"/>
                <a:gd name="T43" fmla="*/ 170 h 186"/>
                <a:gd name="T44" fmla="*/ 6 w 158"/>
                <a:gd name="T45" fmla="*/ 150 h 186"/>
                <a:gd name="T46" fmla="*/ 0 w 158"/>
                <a:gd name="T47" fmla="*/ 123 h 186"/>
                <a:gd name="T48" fmla="*/ 0 w 158"/>
                <a:gd name="T49" fmla="*/ 62 h 186"/>
                <a:gd name="T50" fmla="*/ 6 w 158"/>
                <a:gd name="T51" fmla="*/ 35 h 186"/>
                <a:gd name="T52" fmla="*/ 23 w 158"/>
                <a:gd name="T53" fmla="*/ 16 h 186"/>
                <a:gd name="T54" fmla="*/ 48 w 158"/>
                <a:gd name="T55" fmla="*/ 4 h 186"/>
                <a:gd name="T56" fmla="*/ 79 w 158"/>
                <a:gd name="T57" fmla="*/ 0 h 186"/>
                <a:gd name="T58" fmla="*/ 110 w 158"/>
                <a:gd name="T59" fmla="*/ 4 h 186"/>
                <a:gd name="T60" fmla="*/ 135 w 158"/>
                <a:gd name="T61" fmla="*/ 16 h 186"/>
                <a:gd name="T62" fmla="*/ 152 w 158"/>
                <a:gd name="T63" fmla="*/ 35 h 186"/>
                <a:gd name="T64" fmla="*/ 158 w 158"/>
                <a:gd name="T65" fmla="*/ 62 h 186"/>
                <a:gd name="T66" fmla="*/ 158 w 158"/>
                <a:gd name="T67" fmla="*/ 123 h 186"/>
                <a:gd name="T68" fmla="*/ 152 w 158"/>
                <a:gd name="T69" fmla="*/ 150 h 186"/>
                <a:gd name="T70" fmla="*/ 135 w 158"/>
                <a:gd name="T71" fmla="*/ 170 h 186"/>
                <a:gd name="T72" fmla="*/ 110 w 158"/>
                <a:gd name="T73" fmla="*/ 182 h 186"/>
                <a:gd name="T74" fmla="*/ 79 w 158"/>
                <a:gd name="T75" fmla="*/ 186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8" h="186">
                  <a:moveTo>
                    <a:pt x="79" y="33"/>
                  </a:moveTo>
                  <a:cubicBezTo>
                    <a:pt x="73" y="33"/>
                    <a:pt x="67" y="33"/>
                    <a:pt x="61" y="35"/>
                  </a:cubicBezTo>
                  <a:cubicBezTo>
                    <a:pt x="56" y="36"/>
                    <a:pt x="51" y="38"/>
                    <a:pt x="46" y="40"/>
                  </a:cubicBezTo>
                  <a:cubicBezTo>
                    <a:pt x="42" y="43"/>
                    <a:pt x="39" y="46"/>
                    <a:pt x="36" y="50"/>
                  </a:cubicBezTo>
                  <a:cubicBezTo>
                    <a:pt x="34" y="53"/>
                    <a:pt x="33" y="57"/>
                    <a:pt x="33" y="62"/>
                  </a:cubicBezTo>
                  <a:cubicBezTo>
                    <a:pt x="33" y="123"/>
                    <a:pt x="33" y="123"/>
                    <a:pt x="33" y="123"/>
                  </a:cubicBezTo>
                  <a:cubicBezTo>
                    <a:pt x="33" y="128"/>
                    <a:pt x="34" y="133"/>
                    <a:pt x="36" y="136"/>
                  </a:cubicBezTo>
                  <a:cubicBezTo>
                    <a:pt x="39" y="140"/>
                    <a:pt x="42" y="143"/>
                    <a:pt x="46" y="146"/>
                  </a:cubicBezTo>
                  <a:cubicBezTo>
                    <a:pt x="51" y="148"/>
                    <a:pt x="56" y="150"/>
                    <a:pt x="61" y="151"/>
                  </a:cubicBezTo>
                  <a:cubicBezTo>
                    <a:pt x="67" y="153"/>
                    <a:pt x="73" y="154"/>
                    <a:pt x="79" y="154"/>
                  </a:cubicBezTo>
                  <a:cubicBezTo>
                    <a:pt x="85" y="154"/>
                    <a:pt x="91" y="153"/>
                    <a:pt x="96" y="151"/>
                  </a:cubicBezTo>
                  <a:cubicBezTo>
                    <a:pt x="102" y="150"/>
                    <a:pt x="107" y="148"/>
                    <a:pt x="111" y="146"/>
                  </a:cubicBezTo>
                  <a:cubicBezTo>
                    <a:pt x="115" y="143"/>
                    <a:pt x="119" y="140"/>
                    <a:pt x="121" y="136"/>
                  </a:cubicBezTo>
                  <a:cubicBezTo>
                    <a:pt x="124" y="133"/>
                    <a:pt x="125" y="128"/>
                    <a:pt x="125" y="123"/>
                  </a:cubicBezTo>
                  <a:cubicBezTo>
                    <a:pt x="125" y="62"/>
                    <a:pt x="125" y="62"/>
                    <a:pt x="125" y="62"/>
                  </a:cubicBezTo>
                  <a:cubicBezTo>
                    <a:pt x="125" y="57"/>
                    <a:pt x="124" y="53"/>
                    <a:pt x="121" y="50"/>
                  </a:cubicBezTo>
                  <a:cubicBezTo>
                    <a:pt x="119" y="46"/>
                    <a:pt x="115" y="43"/>
                    <a:pt x="111" y="40"/>
                  </a:cubicBezTo>
                  <a:cubicBezTo>
                    <a:pt x="107" y="38"/>
                    <a:pt x="102" y="36"/>
                    <a:pt x="96" y="35"/>
                  </a:cubicBezTo>
                  <a:cubicBezTo>
                    <a:pt x="91" y="33"/>
                    <a:pt x="85" y="33"/>
                    <a:pt x="79" y="33"/>
                  </a:cubicBezTo>
                  <a:close/>
                  <a:moveTo>
                    <a:pt x="79" y="186"/>
                  </a:moveTo>
                  <a:cubicBezTo>
                    <a:pt x="68" y="186"/>
                    <a:pt x="57" y="185"/>
                    <a:pt x="48" y="182"/>
                  </a:cubicBezTo>
                  <a:cubicBezTo>
                    <a:pt x="38" y="179"/>
                    <a:pt x="30" y="175"/>
                    <a:pt x="23" y="170"/>
                  </a:cubicBezTo>
                  <a:cubicBezTo>
                    <a:pt x="16" y="165"/>
                    <a:pt x="10" y="158"/>
                    <a:pt x="6" y="150"/>
                  </a:cubicBezTo>
                  <a:cubicBezTo>
                    <a:pt x="2" y="142"/>
                    <a:pt x="0" y="133"/>
                    <a:pt x="0" y="123"/>
                  </a:cubicBezTo>
                  <a:cubicBezTo>
                    <a:pt x="0" y="62"/>
                    <a:pt x="0" y="62"/>
                    <a:pt x="0" y="62"/>
                  </a:cubicBezTo>
                  <a:cubicBezTo>
                    <a:pt x="0" y="52"/>
                    <a:pt x="2" y="43"/>
                    <a:pt x="6" y="35"/>
                  </a:cubicBezTo>
                  <a:cubicBezTo>
                    <a:pt x="10" y="28"/>
                    <a:pt x="16" y="21"/>
                    <a:pt x="23" y="16"/>
                  </a:cubicBezTo>
                  <a:cubicBezTo>
                    <a:pt x="30" y="11"/>
                    <a:pt x="38" y="7"/>
                    <a:pt x="48" y="4"/>
                  </a:cubicBezTo>
                  <a:cubicBezTo>
                    <a:pt x="57" y="1"/>
                    <a:pt x="68" y="0"/>
                    <a:pt x="79" y="0"/>
                  </a:cubicBezTo>
                  <a:cubicBezTo>
                    <a:pt x="90" y="0"/>
                    <a:pt x="100" y="1"/>
                    <a:pt x="110" y="4"/>
                  </a:cubicBezTo>
                  <a:cubicBezTo>
                    <a:pt x="120" y="7"/>
                    <a:pt x="128" y="11"/>
                    <a:pt x="135" y="16"/>
                  </a:cubicBezTo>
                  <a:cubicBezTo>
                    <a:pt x="142" y="21"/>
                    <a:pt x="148" y="28"/>
                    <a:pt x="152" y="35"/>
                  </a:cubicBezTo>
                  <a:cubicBezTo>
                    <a:pt x="156" y="43"/>
                    <a:pt x="158" y="52"/>
                    <a:pt x="158" y="62"/>
                  </a:cubicBezTo>
                  <a:cubicBezTo>
                    <a:pt x="158" y="123"/>
                    <a:pt x="158" y="123"/>
                    <a:pt x="158" y="123"/>
                  </a:cubicBezTo>
                  <a:cubicBezTo>
                    <a:pt x="158" y="133"/>
                    <a:pt x="156" y="142"/>
                    <a:pt x="152" y="150"/>
                  </a:cubicBezTo>
                  <a:cubicBezTo>
                    <a:pt x="148" y="158"/>
                    <a:pt x="142" y="165"/>
                    <a:pt x="135" y="170"/>
                  </a:cubicBezTo>
                  <a:cubicBezTo>
                    <a:pt x="128" y="175"/>
                    <a:pt x="120" y="179"/>
                    <a:pt x="110" y="182"/>
                  </a:cubicBezTo>
                  <a:cubicBezTo>
                    <a:pt x="100" y="185"/>
                    <a:pt x="90" y="186"/>
                    <a:pt x="79" y="18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 name="Freeform 15">
              <a:extLst>
                <a:ext uri="{FF2B5EF4-FFF2-40B4-BE49-F238E27FC236}">
                  <a16:creationId xmlns:a16="http://schemas.microsoft.com/office/drawing/2014/main" id="{5E96BD99-29DC-3386-8B68-180073750A64}"/>
                </a:ext>
              </a:extLst>
            </p:cNvPr>
            <p:cNvSpPr>
              <a:spLocks/>
            </p:cNvSpPr>
            <p:nvPr userDrawn="1"/>
          </p:nvSpPr>
          <p:spPr bwMode="auto">
            <a:xfrm>
              <a:off x="6925" y="421"/>
              <a:ext cx="293" cy="344"/>
            </a:xfrm>
            <a:custGeom>
              <a:avLst/>
              <a:gdLst>
                <a:gd name="T0" fmla="*/ 126 w 158"/>
                <a:gd name="T1" fmla="*/ 62 h 184"/>
                <a:gd name="T2" fmla="*/ 121 w 158"/>
                <a:gd name="T3" fmla="*/ 48 h 184"/>
                <a:gd name="T4" fmla="*/ 110 w 158"/>
                <a:gd name="T5" fmla="*/ 39 h 184"/>
                <a:gd name="T6" fmla="*/ 94 w 158"/>
                <a:gd name="T7" fmla="*/ 34 h 184"/>
                <a:gd name="T8" fmla="*/ 79 w 158"/>
                <a:gd name="T9" fmla="*/ 33 h 184"/>
                <a:gd name="T10" fmla="*/ 63 w 158"/>
                <a:gd name="T11" fmla="*/ 34 h 184"/>
                <a:gd name="T12" fmla="*/ 48 w 158"/>
                <a:gd name="T13" fmla="*/ 39 h 184"/>
                <a:gd name="T14" fmla="*/ 37 w 158"/>
                <a:gd name="T15" fmla="*/ 48 h 184"/>
                <a:gd name="T16" fmla="*/ 33 w 158"/>
                <a:gd name="T17" fmla="*/ 62 h 184"/>
                <a:gd name="T18" fmla="*/ 33 w 158"/>
                <a:gd name="T19" fmla="*/ 184 h 184"/>
                <a:gd name="T20" fmla="*/ 0 w 158"/>
                <a:gd name="T21" fmla="*/ 184 h 184"/>
                <a:gd name="T22" fmla="*/ 0 w 158"/>
                <a:gd name="T23" fmla="*/ 62 h 184"/>
                <a:gd name="T24" fmla="*/ 6 w 158"/>
                <a:gd name="T25" fmla="*/ 35 h 184"/>
                <a:gd name="T26" fmla="*/ 23 w 158"/>
                <a:gd name="T27" fmla="*/ 16 h 184"/>
                <a:gd name="T28" fmla="*/ 48 w 158"/>
                <a:gd name="T29" fmla="*/ 4 h 184"/>
                <a:gd name="T30" fmla="*/ 79 w 158"/>
                <a:gd name="T31" fmla="*/ 0 h 184"/>
                <a:gd name="T32" fmla="*/ 110 w 158"/>
                <a:gd name="T33" fmla="*/ 4 h 184"/>
                <a:gd name="T34" fmla="*/ 135 w 158"/>
                <a:gd name="T35" fmla="*/ 16 h 184"/>
                <a:gd name="T36" fmla="*/ 152 w 158"/>
                <a:gd name="T37" fmla="*/ 35 h 184"/>
                <a:gd name="T38" fmla="*/ 158 w 158"/>
                <a:gd name="T39" fmla="*/ 62 h 184"/>
                <a:gd name="T40" fmla="*/ 158 w 158"/>
                <a:gd name="T41" fmla="*/ 135 h 184"/>
                <a:gd name="T42" fmla="*/ 126 w 158"/>
                <a:gd name="T43" fmla="*/ 184 h 184"/>
                <a:gd name="T44" fmla="*/ 126 w 158"/>
                <a:gd name="T45" fmla="*/ 62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8" h="184">
                  <a:moveTo>
                    <a:pt x="126" y="62"/>
                  </a:moveTo>
                  <a:cubicBezTo>
                    <a:pt x="126" y="56"/>
                    <a:pt x="124" y="52"/>
                    <a:pt x="121" y="48"/>
                  </a:cubicBezTo>
                  <a:cubicBezTo>
                    <a:pt x="118" y="45"/>
                    <a:pt x="114" y="42"/>
                    <a:pt x="110" y="39"/>
                  </a:cubicBezTo>
                  <a:cubicBezTo>
                    <a:pt x="105" y="37"/>
                    <a:pt x="100" y="35"/>
                    <a:pt x="94" y="34"/>
                  </a:cubicBezTo>
                  <a:cubicBezTo>
                    <a:pt x="89" y="33"/>
                    <a:pt x="84" y="33"/>
                    <a:pt x="79" y="33"/>
                  </a:cubicBezTo>
                  <a:cubicBezTo>
                    <a:pt x="74" y="33"/>
                    <a:pt x="69" y="33"/>
                    <a:pt x="63" y="34"/>
                  </a:cubicBezTo>
                  <a:cubicBezTo>
                    <a:pt x="58" y="35"/>
                    <a:pt x="53" y="37"/>
                    <a:pt x="48" y="39"/>
                  </a:cubicBezTo>
                  <a:cubicBezTo>
                    <a:pt x="44" y="42"/>
                    <a:pt x="40" y="45"/>
                    <a:pt x="37" y="48"/>
                  </a:cubicBezTo>
                  <a:cubicBezTo>
                    <a:pt x="34" y="52"/>
                    <a:pt x="33" y="56"/>
                    <a:pt x="33" y="62"/>
                  </a:cubicBezTo>
                  <a:cubicBezTo>
                    <a:pt x="33" y="184"/>
                    <a:pt x="33" y="184"/>
                    <a:pt x="33" y="184"/>
                  </a:cubicBezTo>
                  <a:cubicBezTo>
                    <a:pt x="0" y="184"/>
                    <a:pt x="0" y="184"/>
                    <a:pt x="0" y="184"/>
                  </a:cubicBezTo>
                  <a:cubicBezTo>
                    <a:pt x="0" y="62"/>
                    <a:pt x="0" y="62"/>
                    <a:pt x="0" y="62"/>
                  </a:cubicBezTo>
                  <a:cubicBezTo>
                    <a:pt x="0" y="52"/>
                    <a:pt x="2" y="43"/>
                    <a:pt x="6" y="35"/>
                  </a:cubicBezTo>
                  <a:cubicBezTo>
                    <a:pt x="10" y="28"/>
                    <a:pt x="16" y="21"/>
                    <a:pt x="23" y="16"/>
                  </a:cubicBezTo>
                  <a:cubicBezTo>
                    <a:pt x="30" y="11"/>
                    <a:pt x="38" y="7"/>
                    <a:pt x="48" y="4"/>
                  </a:cubicBezTo>
                  <a:cubicBezTo>
                    <a:pt x="58" y="1"/>
                    <a:pt x="68" y="0"/>
                    <a:pt x="79" y="0"/>
                  </a:cubicBezTo>
                  <a:cubicBezTo>
                    <a:pt x="90" y="0"/>
                    <a:pt x="101" y="1"/>
                    <a:pt x="110" y="4"/>
                  </a:cubicBezTo>
                  <a:cubicBezTo>
                    <a:pt x="120" y="7"/>
                    <a:pt x="128" y="11"/>
                    <a:pt x="135" y="16"/>
                  </a:cubicBezTo>
                  <a:cubicBezTo>
                    <a:pt x="143" y="21"/>
                    <a:pt x="148" y="28"/>
                    <a:pt x="152" y="35"/>
                  </a:cubicBezTo>
                  <a:cubicBezTo>
                    <a:pt x="156" y="43"/>
                    <a:pt x="158" y="52"/>
                    <a:pt x="158" y="62"/>
                  </a:cubicBezTo>
                  <a:cubicBezTo>
                    <a:pt x="158" y="135"/>
                    <a:pt x="158" y="135"/>
                    <a:pt x="158" y="135"/>
                  </a:cubicBezTo>
                  <a:cubicBezTo>
                    <a:pt x="158" y="170"/>
                    <a:pt x="126" y="184"/>
                    <a:pt x="126" y="184"/>
                  </a:cubicBezTo>
                  <a:cubicBezTo>
                    <a:pt x="126" y="62"/>
                    <a:pt x="126" y="62"/>
                    <a:pt x="126" y="6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 name="Freeform 16">
              <a:extLst>
                <a:ext uri="{FF2B5EF4-FFF2-40B4-BE49-F238E27FC236}">
                  <a16:creationId xmlns:a16="http://schemas.microsoft.com/office/drawing/2014/main" id="{813D54D1-3FA4-9C83-06B0-D27EE71E72BA}"/>
                </a:ext>
              </a:extLst>
            </p:cNvPr>
            <p:cNvSpPr>
              <a:spLocks noEditPoints="1"/>
            </p:cNvSpPr>
            <p:nvPr userDrawn="1"/>
          </p:nvSpPr>
          <p:spPr bwMode="auto">
            <a:xfrm>
              <a:off x="7263" y="404"/>
              <a:ext cx="85" cy="88"/>
            </a:xfrm>
            <a:custGeom>
              <a:avLst/>
              <a:gdLst>
                <a:gd name="T0" fmla="*/ 24 w 46"/>
                <a:gd name="T1" fmla="*/ 15 h 47"/>
                <a:gd name="T2" fmla="*/ 20 w 46"/>
                <a:gd name="T3" fmla="*/ 15 h 47"/>
                <a:gd name="T4" fmla="*/ 20 w 46"/>
                <a:gd name="T5" fmla="*/ 23 h 47"/>
                <a:gd name="T6" fmla="*/ 24 w 46"/>
                <a:gd name="T7" fmla="*/ 23 h 47"/>
                <a:gd name="T8" fmla="*/ 28 w 46"/>
                <a:gd name="T9" fmla="*/ 19 h 47"/>
                <a:gd name="T10" fmla="*/ 24 w 46"/>
                <a:gd name="T11" fmla="*/ 15 h 47"/>
                <a:gd name="T12" fmla="*/ 28 w 46"/>
                <a:gd name="T13" fmla="*/ 36 h 47"/>
                <a:gd name="T14" fmla="*/ 23 w 46"/>
                <a:gd name="T15" fmla="*/ 26 h 47"/>
                <a:gd name="T16" fmla="*/ 20 w 46"/>
                <a:gd name="T17" fmla="*/ 26 h 47"/>
                <a:gd name="T18" fmla="*/ 20 w 46"/>
                <a:gd name="T19" fmla="*/ 36 h 47"/>
                <a:gd name="T20" fmla="*/ 15 w 46"/>
                <a:gd name="T21" fmla="*/ 36 h 47"/>
                <a:gd name="T22" fmla="*/ 15 w 46"/>
                <a:gd name="T23" fmla="*/ 11 h 47"/>
                <a:gd name="T24" fmla="*/ 24 w 46"/>
                <a:gd name="T25" fmla="*/ 11 h 47"/>
                <a:gd name="T26" fmla="*/ 33 w 46"/>
                <a:gd name="T27" fmla="*/ 19 h 47"/>
                <a:gd name="T28" fmla="*/ 28 w 46"/>
                <a:gd name="T29" fmla="*/ 26 h 47"/>
                <a:gd name="T30" fmla="*/ 33 w 46"/>
                <a:gd name="T31" fmla="*/ 36 h 47"/>
                <a:gd name="T32" fmla="*/ 28 w 46"/>
                <a:gd name="T33" fmla="*/ 36 h 47"/>
                <a:gd name="T34" fmla="*/ 23 w 46"/>
                <a:gd name="T35" fmla="*/ 5 h 47"/>
                <a:gd name="T36" fmla="*/ 4 w 46"/>
                <a:gd name="T37" fmla="*/ 24 h 47"/>
                <a:gd name="T38" fmla="*/ 23 w 46"/>
                <a:gd name="T39" fmla="*/ 43 h 47"/>
                <a:gd name="T40" fmla="*/ 42 w 46"/>
                <a:gd name="T41" fmla="*/ 24 h 47"/>
                <a:gd name="T42" fmla="*/ 23 w 46"/>
                <a:gd name="T43" fmla="*/ 5 h 47"/>
                <a:gd name="T44" fmla="*/ 23 w 46"/>
                <a:gd name="T45" fmla="*/ 47 h 47"/>
                <a:gd name="T46" fmla="*/ 0 w 46"/>
                <a:gd name="T47" fmla="*/ 24 h 47"/>
                <a:gd name="T48" fmla="*/ 23 w 46"/>
                <a:gd name="T49" fmla="*/ 0 h 47"/>
                <a:gd name="T50" fmla="*/ 46 w 46"/>
                <a:gd name="T51" fmla="*/ 24 h 47"/>
                <a:gd name="T52" fmla="*/ 23 w 46"/>
                <a:gd name="T53"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6" h="47">
                  <a:moveTo>
                    <a:pt x="24" y="15"/>
                  </a:moveTo>
                  <a:cubicBezTo>
                    <a:pt x="20" y="15"/>
                    <a:pt x="20" y="15"/>
                    <a:pt x="20" y="15"/>
                  </a:cubicBezTo>
                  <a:cubicBezTo>
                    <a:pt x="20" y="23"/>
                    <a:pt x="20" y="23"/>
                    <a:pt x="20" y="23"/>
                  </a:cubicBezTo>
                  <a:cubicBezTo>
                    <a:pt x="24" y="23"/>
                    <a:pt x="24" y="23"/>
                    <a:pt x="24" y="23"/>
                  </a:cubicBezTo>
                  <a:cubicBezTo>
                    <a:pt x="26" y="23"/>
                    <a:pt x="28" y="21"/>
                    <a:pt x="28" y="19"/>
                  </a:cubicBezTo>
                  <a:cubicBezTo>
                    <a:pt x="28" y="17"/>
                    <a:pt x="26" y="15"/>
                    <a:pt x="24" y="15"/>
                  </a:cubicBezTo>
                  <a:close/>
                  <a:moveTo>
                    <a:pt x="28" y="36"/>
                  </a:moveTo>
                  <a:cubicBezTo>
                    <a:pt x="23" y="26"/>
                    <a:pt x="23" y="26"/>
                    <a:pt x="23" y="26"/>
                  </a:cubicBezTo>
                  <a:cubicBezTo>
                    <a:pt x="20" y="26"/>
                    <a:pt x="20" y="26"/>
                    <a:pt x="20" y="26"/>
                  </a:cubicBezTo>
                  <a:cubicBezTo>
                    <a:pt x="20" y="36"/>
                    <a:pt x="20" y="36"/>
                    <a:pt x="20" y="36"/>
                  </a:cubicBezTo>
                  <a:cubicBezTo>
                    <a:pt x="15" y="36"/>
                    <a:pt x="15" y="36"/>
                    <a:pt x="15" y="36"/>
                  </a:cubicBezTo>
                  <a:cubicBezTo>
                    <a:pt x="15" y="11"/>
                    <a:pt x="15" y="11"/>
                    <a:pt x="15" y="11"/>
                  </a:cubicBezTo>
                  <a:cubicBezTo>
                    <a:pt x="24" y="11"/>
                    <a:pt x="24" y="11"/>
                    <a:pt x="24" y="11"/>
                  </a:cubicBezTo>
                  <a:cubicBezTo>
                    <a:pt x="29" y="11"/>
                    <a:pt x="33" y="15"/>
                    <a:pt x="33" y="19"/>
                  </a:cubicBezTo>
                  <a:cubicBezTo>
                    <a:pt x="33" y="22"/>
                    <a:pt x="30" y="25"/>
                    <a:pt x="28" y="26"/>
                  </a:cubicBezTo>
                  <a:cubicBezTo>
                    <a:pt x="33" y="36"/>
                    <a:pt x="33" y="36"/>
                    <a:pt x="33" y="36"/>
                  </a:cubicBezTo>
                  <a:cubicBezTo>
                    <a:pt x="28" y="36"/>
                    <a:pt x="28" y="36"/>
                    <a:pt x="28" y="36"/>
                  </a:cubicBezTo>
                  <a:close/>
                  <a:moveTo>
                    <a:pt x="23" y="5"/>
                  </a:moveTo>
                  <a:cubicBezTo>
                    <a:pt x="13" y="5"/>
                    <a:pt x="4" y="13"/>
                    <a:pt x="4" y="24"/>
                  </a:cubicBezTo>
                  <a:cubicBezTo>
                    <a:pt x="4" y="34"/>
                    <a:pt x="13" y="43"/>
                    <a:pt x="23" y="43"/>
                  </a:cubicBezTo>
                  <a:cubicBezTo>
                    <a:pt x="33" y="43"/>
                    <a:pt x="42" y="34"/>
                    <a:pt x="42" y="24"/>
                  </a:cubicBezTo>
                  <a:cubicBezTo>
                    <a:pt x="42" y="13"/>
                    <a:pt x="33" y="5"/>
                    <a:pt x="23" y="5"/>
                  </a:cubicBezTo>
                  <a:close/>
                  <a:moveTo>
                    <a:pt x="23" y="47"/>
                  </a:moveTo>
                  <a:cubicBezTo>
                    <a:pt x="10" y="47"/>
                    <a:pt x="0" y="37"/>
                    <a:pt x="0" y="24"/>
                  </a:cubicBezTo>
                  <a:cubicBezTo>
                    <a:pt x="0" y="11"/>
                    <a:pt x="10" y="0"/>
                    <a:pt x="23" y="0"/>
                  </a:cubicBezTo>
                  <a:cubicBezTo>
                    <a:pt x="36" y="0"/>
                    <a:pt x="46" y="11"/>
                    <a:pt x="46" y="24"/>
                  </a:cubicBezTo>
                  <a:cubicBezTo>
                    <a:pt x="46" y="37"/>
                    <a:pt x="36" y="47"/>
                    <a:pt x="23" y="4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16">
            <a:extLst>
              <a:ext uri="{FF2B5EF4-FFF2-40B4-BE49-F238E27FC236}">
                <a16:creationId xmlns:a16="http://schemas.microsoft.com/office/drawing/2014/main" id="{B4C5CD3A-C341-007D-03BC-CD08509962D4}"/>
              </a:ext>
            </a:extLst>
          </p:cNvPr>
          <p:cNvPicPr>
            <a:picLocks noChangeAspect="1"/>
          </p:cNvPicPr>
          <p:nvPr userDrawn="1"/>
        </p:nvPicPr>
        <p:blipFill rotWithShape="1">
          <a:blip r:embed="rId3">
            <a:alphaModFix amt="17000"/>
          </a:blip>
          <a:srcRect l="30368" t="33079"/>
          <a:stretch/>
        </p:blipFill>
        <p:spPr>
          <a:xfrm>
            <a:off x="-1" y="0"/>
            <a:ext cx="5905501" cy="5029200"/>
          </a:xfrm>
          <a:prstGeom prst="rect">
            <a:avLst/>
          </a:prstGeom>
        </p:spPr>
      </p:pic>
      <p:sp>
        <p:nvSpPr>
          <p:cNvPr id="2" name="Title 1">
            <a:extLst>
              <a:ext uri="{FF2B5EF4-FFF2-40B4-BE49-F238E27FC236}">
                <a16:creationId xmlns:a16="http://schemas.microsoft.com/office/drawing/2014/main" id="{2023DCAE-2650-4713-5F47-60C6BF4D5784}"/>
              </a:ext>
            </a:extLst>
          </p:cNvPr>
          <p:cNvSpPr>
            <a:spLocks noGrp="1"/>
          </p:cNvSpPr>
          <p:nvPr>
            <p:ph type="ctrTitle"/>
          </p:nvPr>
        </p:nvSpPr>
        <p:spPr>
          <a:xfrm>
            <a:off x="508000" y="648182"/>
            <a:ext cx="5854700" cy="2171217"/>
          </a:xfrm>
        </p:spPr>
        <p:txBody>
          <a:bodyPr anchor="b">
            <a:normAutofit/>
          </a:bodyPr>
          <a:lstStyle>
            <a:lvl1pPr algn="l">
              <a:defRPr sz="440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285CF858-0939-0CE4-E887-6A1D6AEA12B9}"/>
              </a:ext>
            </a:extLst>
          </p:cNvPr>
          <p:cNvSpPr>
            <a:spLocks noGrp="1"/>
          </p:cNvSpPr>
          <p:nvPr>
            <p:ph type="subTitle" idx="1"/>
          </p:nvPr>
        </p:nvSpPr>
        <p:spPr>
          <a:xfrm>
            <a:off x="508000" y="2965704"/>
            <a:ext cx="5854700" cy="421386"/>
          </a:xfrm>
        </p:spPr>
        <p:txBody>
          <a:bodyPr>
            <a:normAutofit/>
          </a:bodyPr>
          <a:lstStyle>
            <a:lvl1pPr marL="0" indent="0" algn="l">
              <a:buNone/>
              <a:defRPr sz="1800">
                <a:solidFill>
                  <a:schemeClr val="accent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ext Placeholder 8">
            <a:extLst>
              <a:ext uri="{FF2B5EF4-FFF2-40B4-BE49-F238E27FC236}">
                <a16:creationId xmlns:a16="http://schemas.microsoft.com/office/drawing/2014/main" id="{4681D4B3-46B8-830D-F301-B1BCA23E7013}"/>
              </a:ext>
            </a:extLst>
          </p:cNvPr>
          <p:cNvSpPr>
            <a:spLocks noGrp="1"/>
          </p:cNvSpPr>
          <p:nvPr>
            <p:ph type="body" sz="quarter" idx="13"/>
          </p:nvPr>
        </p:nvSpPr>
        <p:spPr>
          <a:xfrm>
            <a:off x="607653" y="3542665"/>
            <a:ext cx="1097280" cy="45720"/>
          </a:xfrm>
          <a:solidFill>
            <a:schemeClr val="accent2"/>
          </a:solidFill>
        </p:spPr>
        <p:txBody>
          <a:bodyPr>
            <a:noAutofit/>
          </a:bodyPr>
          <a:lstStyle>
            <a:lvl1pPr marL="0" indent="0">
              <a:buNone/>
              <a:defRPr sz="100">
                <a:noFill/>
              </a:defRPr>
            </a:lvl1pPr>
          </a:lstStyle>
          <a:p>
            <a:pPr lvl="0"/>
            <a:endParaRPr lang="en-US"/>
          </a:p>
        </p:txBody>
      </p:sp>
      <p:pic>
        <p:nvPicPr>
          <p:cNvPr id="11" name="Picture 10">
            <a:extLst>
              <a:ext uri="{FF2B5EF4-FFF2-40B4-BE49-F238E27FC236}">
                <a16:creationId xmlns:a16="http://schemas.microsoft.com/office/drawing/2014/main" id="{9FCEECA6-FB37-E751-C860-E532D7695DFE}"/>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a:stretch/>
        </p:blipFill>
        <p:spPr>
          <a:xfrm>
            <a:off x="8491538" y="243068"/>
            <a:ext cx="1038225" cy="1695691"/>
          </a:xfrm>
          <a:prstGeom prst="rect">
            <a:avLst/>
          </a:prstGeom>
        </p:spPr>
      </p:pic>
      <p:pic>
        <p:nvPicPr>
          <p:cNvPr id="24" name="Picture 23" descr="Logo, company name&#10;&#10;Description automatically generated">
            <a:extLst>
              <a:ext uri="{FF2B5EF4-FFF2-40B4-BE49-F238E27FC236}">
                <a16:creationId xmlns:a16="http://schemas.microsoft.com/office/drawing/2014/main" id="{19A61F88-BC35-44C9-8581-9441874C3A14}"/>
              </a:ext>
            </a:extLst>
          </p:cNvPr>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Lst>
          </a:blip>
          <a:stretch>
            <a:fillRect/>
          </a:stretch>
        </p:blipFill>
        <p:spPr>
          <a:xfrm>
            <a:off x="601302" y="5700447"/>
            <a:ext cx="1606550" cy="876299"/>
          </a:xfrm>
          <a:prstGeom prst="rect">
            <a:avLst/>
          </a:prstGeom>
        </p:spPr>
      </p:pic>
    </p:spTree>
    <p:extLst>
      <p:ext uri="{BB962C8B-B14F-4D97-AF65-F5344CB8AC3E}">
        <p14:creationId xmlns:p14="http://schemas.microsoft.com/office/powerpoint/2010/main" val="2144422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E2BA3E1-A487-917F-743E-237F89C04B86}"/>
              </a:ext>
            </a:extLst>
          </p:cNvPr>
          <p:cNvPicPr>
            <a:picLocks noChangeAspect="1"/>
          </p:cNvPicPr>
          <p:nvPr userDrawn="1"/>
        </p:nvPicPr>
        <p:blipFill>
          <a:blip r:embed="rId2">
            <a:extLst>
              <a:ext uri="{28A0092B-C50C-407E-A947-70E740481C1C}">
                <a14:useLocalDpi xmlns:a14="http://schemas.microsoft.com/office/drawing/2010/main"/>
              </a:ext>
            </a:extLst>
          </a:blip>
          <a:srcRect l="5" r="5"/>
          <a:stretch/>
        </p:blipFill>
        <p:spPr>
          <a:xfrm>
            <a:off x="1252" y="0"/>
            <a:ext cx="12190748" cy="6858000"/>
          </a:xfrm>
          <a:prstGeom prst="rect">
            <a:avLst/>
          </a:prstGeom>
        </p:spPr>
      </p:pic>
      <p:grpSp>
        <p:nvGrpSpPr>
          <p:cNvPr id="4" name="Group 4">
            <a:extLst>
              <a:ext uri="{FF2B5EF4-FFF2-40B4-BE49-F238E27FC236}">
                <a16:creationId xmlns:a16="http://schemas.microsoft.com/office/drawing/2014/main" id="{FEB7D14F-60EC-F337-42E9-152257ADC3C8}"/>
              </a:ext>
            </a:extLst>
          </p:cNvPr>
          <p:cNvGrpSpPr>
            <a:grpSpLocks noChangeAspect="1"/>
          </p:cNvGrpSpPr>
          <p:nvPr userDrawn="1"/>
        </p:nvGrpSpPr>
        <p:grpSpPr bwMode="auto">
          <a:xfrm>
            <a:off x="7253288" y="506413"/>
            <a:ext cx="4408487" cy="714375"/>
            <a:chOff x="4569" y="319"/>
            <a:chExt cx="2777" cy="450"/>
          </a:xfrm>
        </p:grpSpPr>
        <p:sp>
          <p:nvSpPr>
            <p:cNvPr id="5" name="AutoShape 3">
              <a:extLst>
                <a:ext uri="{FF2B5EF4-FFF2-40B4-BE49-F238E27FC236}">
                  <a16:creationId xmlns:a16="http://schemas.microsoft.com/office/drawing/2014/main" id="{2F1C37D4-1D80-D591-1F8A-CCB5B583EFB8}"/>
                </a:ext>
              </a:extLst>
            </p:cNvPr>
            <p:cNvSpPr>
              <a:spLocks noChangeAspect="1" noChangeArrowheads="1" noTextEdit="1"/>
            </p:cNvSpPr>
            <p:nvPr userDrawn="1"/>
          </p:nvSpPr>
          <p:spPr bwMode="auto">
            <a:xfrm>
              <a:off x="4569" y="319"/>
              <a:ext cx="2777" cy="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 name="Oval 5">
              <a:extLst>
                <a:ext uri="{FF2B5EF4-FFF2-40B4-BE49-F238E27FC236}">
                  <a16:creationId xmlns:a16="http://schemas.microsoft.com/office/drawing/2014/main" id="{BDB35688-4C75-6058-4F62-3400A7D471C0}"/>
                </a:ext>
              </a:extLst>
            </p:cNvPr>
            <p:cNvSpPr>
              <a:spLocks noChangeArrowheads="1"/>
            </p:cNvSpPr>
            <p:nvPr userDrawn="1"/>
          </p:nvSpPr>
          <p:spPr bwMode="auto">
            <a:xfrm>
              <a:off x="6094" y="323"/>
              <a:ext cx="74" cy="73"/>
            </a:xfrm>
            <a:prstGeom prst="ellipse">
              <a:avLst/>
            </a:prstGeom>
            <a:solidFill>
              <a:srgbClr val="00A7C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 name="Freeform 6">
              <a:extLst>
                <a:ext uri="{FF2B5EF4-FFF2-40B4-BE49-F238E27FC236}">
                  <a16:creationId xmlns:a16="http://schemas.microsoft.com/office/drawing/2014/main" id="{B3C0F009-C6EA-2052-A41A-608D0745751C}"/>
                </a:ext>
              </a:extLst>
            </p:cNvPr>
            <p:cNvSpPr>
              <a:spLocks noEditPoints="1"/>
            </p:cNvSpPr>
            <p:nvPr userDrawn="1"/>
          </p:nvSpPr>
          <p:spPr bwMode="auto">
            <a:xfrm>
              <a:off x="6070" y="417"/>
              <a:ext cx="252" cy="352"/>
            </a:xfrm>
            <a:custGeom>
              <a:avLst/>
              <a:gdLst>
                <a:gd name="T0" fmla="*/ 118 w 136"/>
                <a:gd name="T1" fmla="*/ 14 h 188"/>
                <a:gd name="T2" fmla="*/ 66 w 136"/>
                <a:gd name="T3" fmla="*/ 48 h 188"/>
                <a:gd name="T4" fmla="*/ 18 w 136"/>
                <a:gd name="T5" fmla="*/ 152 h 188"/>
                <a:gd name="T6" fmla="*/ 26 w 136"/>
                <a:gd name="T7" fmla="*/ 174 h 188"/>
                <a:gd name="T8" fmla="*/ 39 w 136"/>
                <a:gd name="T9" fmla="*/ 175 h 188"/>
                <a:gd name="T10" fmla="*/ 48 w 136"/>
                <a:gd name="T11" fmla="*/ 166 h 188"/>
                <a:gd name="T12" fmla="*/ 118 w 136"/>
                <a:gd name="T13" fmla="*/ 14 h 188"/>
                <a:gd name="T14" fmla="*/ 118 w 136"/>
                <a:gd name="T15" fmla="*/ 14 h 188"/>
                <a:gd name="T16" fmla="*/ 33 w 136"/>
                <a:gd name="T17" fmla="*/ 188 h 188"/>
                <a:gd name="T18" fmla="*/ 21 w 136"/>
                <a:gd name="T19" fmla="*/ 185 h 188"/>
                <a:gd name="T20" fmla="*/ 7 w 136"/>
                <a:gd name="T21" fmla="*/ 147 h 188"/>
                <a:gd name="T22" fmla="*/ 55 w 136"/>
                <a:gd name="T23" fmla="*/ 43 h 188"/>
                <a:gd name="T24" fmla="*/ 100 w 136"/>
                <a:gd name="T25" fmla="*/ 4 h 188"/>
                <a:gd name="T26" fmla="*/ 129 w 136"/>
                <a:gd name="T27" fmla="*/ 3 h 188"/>
                <a:gd name="T28" fmla="*/ 136 w 136"/>
                <a:gd name="T29" fmla="*/ 4 h 188"/>
                <a:gd name="T30" fmla="*/ 59 w 136"/>
                <a:gd name="T31" fmla="*/ 171 h 188"/>
                <a:gd name="T32" fmla="*/ 43 w 136"/>
                <a:gd name="T33" fmla="*/ 186 h 188"/>
                <a:gd name="T34" fmla="*/ 33 w 136"/>
                <a:gd name="T35" fmla="*/ 18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188">
                  <a:moveTo>
                    <a:pt x="118" y="14"/>
                  </a:moveTo>
                  <a:cubicBezTo>
                    <a:pt x="104" y="14"/>
                    <a:pt x="80" y="19"/>
                    <a:pt x="66" y="48"/>
                  </a:cubicBezTo>
                  <a:cubicBezTo>
                    <a:pt x="18" y="152"/>
                    <a:pt x="18" y="152"/>
                    <a:pt x="18" y="152"/>
                  </a:cubicBezTo>
                  <a:cubicBezTo>
                    <a:pt x="14" y="160"/>
                    <a:pt x="18" y="170"/>
                    <a:pt x="26" y="174"/>
                  </a:cubicBezTo>
                  <a:cubicBezTo>
                    <a:pt x="30" y="176"/>
                    <a:pt x="34" y="176"/>
                    <a:pt x="39" y="175"/>
                  </a:cubicBezTo>
                  <a:cubicBezTo>
                    <a:pt x="43" y="173"/>
                    <a:pt x="46" y="170"/>
                    <a:pt x="48" y="166"/>
                  </a:cubicBezTo>
                  <a:cubicBezTo>
                    <a:pt x="118" y="14"/>
                    <a:pt x="118" y="14"/>
                    <a:pt x="118" y="14"/>
                  </a:cubicBezTo>
                  <a:cubicBezTo>
                    <a:pt x="118" y="14"/>
                    <a:pt x="118" y="14"/>
                    <a:pt x="118" y="14"/>
                  </a:cubicBezTo>
                  <a:close/>
                  <a:moveTo>
                    <a:pt x="33" y="188"/>
                  </a:moveTo>
                  <a:cubicBezTo>
                    <a:pt x="29" y="188"/>
                    <a:pt x="25" y="187"/>
                    <a:pt x="21" y="185"/>
                  </a:cubicBezTo>
                  <a:cubicBezTo>
                    <a:pt x="7" y="179"/>
                    <a:pt x="0" y="161"/>
                    <a:pt x="7" y="147"/>
                  </a:cubicBezTo>
                  <a:cubicBezTo>
                    <a:pt x="55" y="43"/>
                    <a:pt x="55" y="43"/>
                    <a:pt x="55" y="43"/>
                  </a:cubicBezTo>
                  <a:cubicBezTo>
                    <a:pt x="67" y="17"/>
                    <a:pt x="86" y="7"/>
                    <a:pt x="100" y="4"/>
                  </a:cubicBezTo>
                  <a:cubicBezTo>
                    <a:pt x="116" y="0"/>
                    <a:pt x="128" y="3"/>
                    <a:pt x="129" y="3"/>
                  </a:cubicBezTo>
                  <a:cubicBezTo>
                    <a:pt x="136" y="4"/>
                    <a:pt x="136" y="4"/>
                    <a:pt x="136" y="4"/>
                  </a:cubicBezTo>
                  <a:cubicBezTo>
                    <a:pt x="59" y="171"/>
                    <a:pt x="59" y="171"/>
                    <a:pt x="59" y="171"/>
                  </a:cubicBezTo>
                  <a:cubicBezTo>
                    <a:pt x="56" y="178"/>
                    <a:pt x="50" y="184"/>
                    <a:pt x="43" y="186"/>
                  </a:cubicBezTo>
                  <a:cubicBezTo>
                    <a:pt x="40" y="187"/>
                    <a:pt x="36" y="188"/>
                    <a:pt x="33" y="188"/>
                  </a:cubicBezTo>
                  <a:close/>
                </a:path>
              </a:pathLst>
            </a:custGeom>
            <a:solidFill>
              <a:srgbClr val="00A7C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 name="Freeform 7">
              <a:extLst>
                <a:ext uri="{FF2B5EF4-FFF2-40B4-BE49-F238E27FC236}">
                  <a16:creationId xmlns:a16="http://schemas.microsoft.com/office/drawing/2014/main" id="{4024E27F-1351-0A24-FBA7-18404D38AE82}"/>
                </a:ext>
              </a:extLst>
            </p:cNvPr>
            <p:cNvSpPr>
              <a:spLocks/>
            </p:cNvSpPr>
            <p:nvPr userDrawn="1"/>
          </p:nvSpPr>
          <p:spPr bwMode="auto">
            <a:xfrm>
              <a:off x="5940" y="417"/>
              <a:ext cx="191" cy="320"/>
            </a:xfrm>
            <a:custGeom>
              <a:avLst/>
              <a:gdLst>
                <a:gd name="T0" fmla="*/ 77 w 103"/>
                <a:gd name="T1" fmla="*/ 147 h 171"/>
                <a:gd name="T2" fmla="*/ 78 w 103"/>
                <a:gd name="T3" fmla="*/ 144 h 171"/>
                <a:gd name="T4" fmla="*/ 18 w 103"/>
                <a:gd name="T5" fmla="*/ 14 h 171"/>
                <a:gd name="T6" fmla="*/ 19 w 103"/>
                <a:gd name="T7" fmla="*/ 14 h 171"/>
                <a:gd name="T8" fmla="*/ 70 w 103"/>
                <a:gd name="T9" fmla="*/ 48 h 171"/>
                <a:gd name="T10" fmla="*/ 96 w 103"/>
                <a:gd name="T11" fmla="*/ 105 h 171"/>
                <a:gd name="T12" fmla="*/ 103 w 103"/>
                <a:gd name="T13" fmla="*/ 90 h 171"/>
                <a:gd name="T14" fmla="*/ 81 w 103"/>
                <a:gd name="T15" fmla="*/ 43 h 171"/>
                <a:gd name="T16" fmla="*/ 36 w 103"/>
                <a:gd name="T17" fmla="*/ 4 h 171"/>
                <a:gd name="T18" fmla="*/ 7 w 103"/>
                <a:gd name="T19" fmla="*/ 3 h 171"/>
                <a:gd name="T20" fmla="*/ 0 w 103"/>
                <a:gd name="T21" fmla="*/ 4 h 171"/>
                <a:gd name="T22" fmla="*/ 77 w 103"/>
                <a:gd name="T23" fmla="*/ 171 h 171"/>
                <a:gd name="T24" fmla="*/ 77 w 103"/>
                <a:gd name="T25" fmla="*/ 171 h 171"/>
                <a:gd name="T26" fmla="*/ 77 w 103"/>
                <a:gd name="T27" fmla="*/ 147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3" h="171">
                  <a:moveTo>
                    <a:pt x="77" y="147"/>
                  </a:moveTo>
                  <a:cubicBezTo>
                    <a:pt x="78" y="144"/>
                    <a:pt x="78" y="144"/>
                    <a:pt x="78" y="144"/>
                  </a:cubicBezTo>
                  <a:cubicBezTo>
                    <a:pt x="18" y="14"/>
                    <a:pt x="18" y="14"/>
                    <a:pt x="18" y="14"/>
                  </a:cubicBezTo>
                  <a:cubicBezTo>
                    <a:pt x="18" y="14"/>
                    <a:pt x="18" y="14"/>
                    <a:pt x="19" y="14"/>
                  </a:cubicBezTo>
                  <a:cubicBezTo>
                    <a:pt x="32" y="14"/>
                    <a:pt x="56" y="19"/>
                    <a:pt x="70" y="48"/>
                  </a:cubicBezTo>
                  <a:cubicBezTo>
                    <a:pt x="96" y="105"/>
                    <a:pt x="96" y="105"/>
                    <a:pt x="96" y="105"/>
                  </a:cubicBezTo>
                  <a:cubicBezTo>
                    <a:pt x="103" y="90"/>
                    <a:pt x="103" y="90"/>
                    <a:pt x="103" y="90"/>
                  </a:cubicBezTo>
                  <a:cubicBezTo>
                    <a:pt x="81" y="43"/>
                    <a:pt x="81" y="43"/>
                    <a:pt x="81" y="43"/>
                  </a:cubicBezTo>
                  <a:cubicBezTo>
                    <a:pt x="69" y="17"/>
                    <a:pt x="50" y="7"/>
                    <a:pt x="36" y="4"/>
                  </a:cubicBezTo>
                  <a:cubicBezTo>
                    <a:pt x="20" y="0"/>
                    <a:pt x="8" y="3"/>
                    <a:pt x="7" y="3"/>
                  </a:cubicBezTo>
                  <a:cubicBezTo>
                    <a:pt x="0" y="4"/>
                    <a:pt x="0" y="4"/>
                    <a:pt x="0" y="4"/>
                  </a:cubicBezTo>
                  <a:cubicBezTo>
                    <a:pt x="77" y="171"/>
                    <a:pt x="77" y="171"/>
                    <a:pt x="77" y="171"/>
                  </a:cubicBezTo>
                  <a:cubicBezTo>
                    <a:pt x="77" y="171"/>
                    <a:pt x="77" y="171"/>
                    <a:pt x="77" y="171"/>
                  </a:cubicBezTo>
                  <a:cubicBezTo>
                    <a:pt x="74" y="164"/>
                    <a:pt x="73" y="155"/>
                    <a:pt x="77" y="14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 name="Freeform 8">
              <a:extLst>
                <a:ext uri="{FF2B5EF4-FFF2-40B4-BE49-F238E27FC236}">
                  <a16:creationId xmlns:a16="http://schemas.microsoft.com/office/drawing/2014/main" id="{E985C2E2-E7B1-732A-546F-1D40C1A167C2}"/>
                </a:ext>
              </a:extLst>
            </p:cNvPr>
            <p:cNvSpPr>
              <a:spLocks/>
            </p:cNvSpPr>
            <p:nvPr userDrawn="1"/>
          </p:nvSpPr>
          <p:spPr bwMode="auto">
            <a:xfrm>
              <a:off x="6131" y="614"/>
              <a:ext cx="46" cy="116"/>
            </a:xfrm>
            <a:custGeom>
              <a:avLst/>
              <a:gdLst>
                <a:gd name="T0" fmla="*/ 0 w 25"/>
                <a:gd name="T1" fmla="*/ 15 h 62"/>
                <a:gd name="T2" fmla="*/ 15 w 25"/>
                <a:gd name="T3" fmla="*/ 47 h 62"/>
                <a:gd name="T4" fmla="*/ 15 w 25"/>
                <a:gd name="T5" fmla="*/ 62 h 62"/>
                <a:gd name="T6" fmla="*/ 15 w 25"/>
                <a:gd name="T7" fmla="*/ 61 h 62"/>
                <a:gd name="T8" fmla="*/ 25 w 25"/>
                <a:gd name="T9" fmla="*/ 39 h 62"/>
                <a:gd name="T10" fmla="*/ 7 w 25"/>
                <a:gd name="T11" fmla="*/ 0 h 62"/>
                <a:gd name="T12" fmla="*/ 0 w 25"/>
                <a:gd name="T13" fmla="*/ 15 h 62"/>
              </a:gdLst>
              <a:ahLst/>
              <a:cxnLst>
                <a:cxn ang="0">
                  <a:pos x="T0" y="T1"/>
                </a:cxn>
                <a:cxn ang="0">
                  <a:pos x="T2" y="T3"/>
                </a:cxn>
                <a:cxn ang="0">
                  <a:pos x="T4" y="T5"/>
                </a:cxn>
                <a:cxn ang="0">
                  <a:pos x="T6" y="T7"/>
                </a:cxn>
                <a:cxn ang="0">
                  <a:pos x="T8" y="T9"/>
                </a:cxn>
                <a:cxn ang="0">
                  <a:pos x="T10" y="T11"/>
                </a:cxn>
                <a:cxn ang="0">
                  <a:pos x="T12" y="T13"/>
                </a:cxn>
              </a:cxnLst>
              <a:rect l="0" t="0" r="r" b="b"/>
              <a:pathLst>
                <a:path w="25" h="62">
                  <a:moveTo>
                    <a:pt x="0" y="15"/>
                  </a:moveTo>
                  <a:cubicBezTo>
                    <a:pt x="15" y="47"/>
                    <a:pt x="15" y="47"/>
                    <a:pt x="15" y="47"/>
                  </a:cubicBezTo>
                  <a:cubicBezTo>
                    <a:pt x="17" y="52"/>
                    <a:pt x="17" y="57"/>
                    <a:pt x="15" y="62"/>
                  </a:cubicBezTo>
                  <a:cubicBezTo>
                    <a:pt x="15" y="61"/>
                    <a:pt x="15" y="61"/>
                    <a:pt x="15" y="61"/>
                  </a:cubicBezTo>
                  <a:cubicBezTo>
                    <a:pt x="25" y="39"/>
                    <a:pt x="25" y="39"/>
                    <a:pt x="25" y="39"/>
                  </a:cubicBezTo>
                  <a:cubicBezTo>
                    <a:pt x="7" y="0"/>
                    <a:pt x="7" y="0"/>
                    <a:pt x="7" y="0"/>
                  </a:cubicBezTo>
                  <a:cubicBezTo>
                    <a:pt x="0" y="15"/>
                    <a:pt x="0" y="15"/>
                    <a:pt x="0" y="1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9">
              <a:extLst>
                <a:ext uri="{FF2B5EF4-FFF2-40B4-BE49-F238E27FC236}">
                  <a16:creationId xmlns:a16="http://schemas.microsoft.com/office/drawing/2014/main" id="{FD2D848C-48FC-A862-E764-F3B85EFB019D}"/>
                </a:ext>
              </a:extLst>
            </p:cNvPr>
            <p:cNvSpPr>
              <a:spLocks/>
            </p:cNvSpPr>
            <p:nvPr userDrawn="1"/>
          </p:nvSpPr>
          <p:spPr bwMode="auto">
            <a:xfrm>
              <a:off x="5578" y="426"/>
              <a:ext cx="293" cy="343"/>
            </a:xfrm>
            <a:custGeom>
              <a:avLst/>
              <a:gdLst>
                <a:gd name="T0" fmla="*/ 80 w 158"/>
                <a:gd name="T1" fmla="*/ 183 h 183"/>
                <a:gd name="T2" fmla="*/ 49 w 158"/>
                <a:gd name="T3" fmla="*/ 179 h 183"/>
                <a:gd name="T4" fmla="*/ 23 w 158"/>
                <a:gd name="T5" fmla="*/ 167 h 183"/>
                <a:gd name="T6" fmla="*/ 6 w 158"/>
                <a:gd name="T7" fmla="*/ 148 h 183"/>
                <a:gd name="T8" fmla="*/ 0 w 158"/>
                <a:gd name="T9" fmla="*/ 122 h 183"/>
                <a:gd name="T10" fmla="*/ 0 w 158"/>
                <a:gd name="T11" fmla="*/ 0 h 183"/>
                <a:gd name="T12" fmla="*/ 32 w 158"/>
                <a:gd name="T13" fmla="*/ 0 h 183"/>
                <a:gd name="T14" fmla="*/ 32 w 158"/>
                <a:gd name="T15" fmla="*/ 122 h 183"/>
                <a:gd name="T16" fmla="*/ 37 w 158"/>
                <a:gd name="T17" fmla="*/ 135 h 183"/>
                <a:gd name="T18" fmla="*/ 48 w 158"/>
                <a:gd name="T19" fmla="*/ 144 h 183"/>
                <a:gd name="T20" fmla="*/ 64 w 158"/>
                <a:gd name="T21" fmla="*/ 149 h 183"/>
                <a:gd name="T22" fmla="*/ 80 w 158"/>
                <a:gd name="T23" fmla="*/ 151 h 183"/>
                <a:gd name="T24" fmla="*/ 95 w 158"/>
                <a:gd name="T25" fmla="*/ 149 h 183"/>
                <a:gd name="T26" fmla="*/ 110 w 158"/>
                <a:gd name="T27" fmla="*/ 144 h 183"/>
                <a:gd name="T28" fmla="*/ 121 w 158"/>
                <a:gd name="T29" fmla="*/ 135 h 183"/>
                <a:gd name="T30" fmla="*/ 125 w 158"/>
                <a:gd name="T31" fmla="*/ 122 h 183"/>
                <a:gd name="T32" fmla="*/ 125 w 158"/>
                <a:gd name="T33" fmla="*/ 0 h 183"/>
                <a:gd name="T34" fmla="*/ 158 w 158"/>
                <a:gd name="T35" fmla="*/ 0 h 183"/>
                <a:gd name="T36" fmla="*/ 158 w 158"/>
                <a:gd name="T37" fmla="*/ 122 h 183"/>
                <a:gd name="T38" fmla="*/ 152 w 158"/>
                <a:gd name="T39" fmla="*/ 148 h 183"/>
                <a:gd name="T40" fmla="*/ 136 w 158"/>
                <a:gd name="T41" fmla="*/ 167 h 183"/>
                <a:gd name="T42" fmla="*/ 111 w 158"/>
                <a:gd name="T43" fmla="*/ 179 h 183"/>
                <a:gd name="T44" fmla="*/ 80 w 158"/>
                <a:gd name="T45" fmla="*/ 183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8" h="183">
                  <a:moveTo>
                    <a:pt x="80" y="183"/>
                  </a:moveTo>
                  <a:cubicBezTo>
                    <a:pt x="69" y="183"/>
                    <a:pt x="59" y="182"/>
                    <a:pt x="49" y="179"/>
                  </a:cubicBezTo>
                  <a:cubicBezTo>
                    <a:pt x="39" y="177"/>
                    <a:pt x="31" y="173"/>
                    <a:pt x="23" y="167"/>
                  </a:cubicBezTo>
                  <a:cubicBezTo>
                    <a:pt x="16" y="162"/>
                    <a:pt x="10" y="156"/>
                    <a:pt x="6" y="148"/>
                  </a:cubicBezTo>
                  <a:cubicBezTo>
                    <a:pt x="2" y="140"/>
                    <a:pt x="0" y="131"/>
                    <a:pt x="0" y="122"/>
                  </a:cubicBezTo>
                  <a:cubicBezTo>
                    <a:pt x="0" y="0"/>
                    <a:pt x="0" y="0"/>
                    <a:pt x="0" y="0"/>
                  </a:cubicBezTo>
                  <a:cubicBezTo>
                    <a:pt x="32" y="0"/>
                    <a:pt x="32" y="0"/>
                    <a:pt x="32" y="0"/>
                  </a:cubicBezTo>
                  <a:cubicBezTo>
                    <a:pt x="32" y="122"/>
                    <a:pt x="32" y="122"/>
                    <a:pt x="32" y="122"/>
                  </a:cubicBezTo>
                  <a:cubicBezTo>
                    <a:pt x="32" y="127"/>
                    <a:pt x="34" y="132"/>
                    <a:pt x="37" y="135"/>
                  </a:cubicBezTo>
                  <a:cubicBezTo>
                    <a:pt x="40" y="139"/>
                    <a:pt x="44" y="142"/>
                    <a:pt x="48" y="144"/>
                  </a:cubicBezTo>
                  <a:cubicBezTo>
                    <a:pt x="53" y="146"/>
                    <a:pt x="58" y="148"/>
                    <a:pt x="64" y="149"/>
                  </a:cubicBezTo>
                  <a:cubicBezTo>
                    <a:pt x="70" y="150"/>
                    <a:pt x="75" y="151"/>
                    <a:pt x="80" y="151"/>
                  </a:cubicBezTo>
                  <a:cubicBezTo>
                    <a:pt x="85" y="151"/>
                    <a:pt x="90" y="150"/>
                    <a:pt x="95" y="149"/>
                  </a:cubicBezTo>
                  <a:cubicBezTo>
                    <a:pt x="100" y="148"/>
                    <a:pt x="105" y="146"/>
                    <a:pt x="110" y="144"/>
                  </a:cubicBezTo>
                  <a:cubicBezTo>
                    <a:pt x="114" y="142"/>
                    <a:pt x="118" y="139"/>
                    <a:pt x="121" y="135"/>
                  </a:cubicBezTo>
                  <a:cubicBezTo>
                    <a:pt x="124" y="132"/>
                    <a:pt x="125" y="127"/>
                    <a:pt x="125" y="122"/>
                  </a:cubicBezTo>
                  <a:cubicBezTo>
                    <a:pt x="125" y="0"/>
                    <a:pt x="125" y="0"/>
                    <a:pt x="125" y="0"/>
                  </a:cubicBezTo>
                  <a:cubicBezTo>
                    <a:pt x="158" y="0"/>
                    <a:pt x="158" y="0"/>
                    <a:pt x="158" y="0"/>
                  </a:cubicBezTo>
                  <a:cubicBezTo>
                    <a:pt x="158" y="122"/>
                    <a:pt x="158" y="122"/>
                    <a:pt x="158" y="122"/>
                  </a:cubicBezTo>
                  <a:cubicBezTo>
                    <a:pt x="158" y="131"/>
                    <a:pt x="156" y="140"/>
                    <a:pt x="152" y="148"/>
                  </a:cubicBezTo>
                  <a:cubicBezTo>
                    <a:pt x="149" y="156"/>
                    <a:pt x="143" y="162"/>
                    <a:pt x="136" y="167"/>
                  </a:cubicBezTo>
                  <a:cubicBezTo>
                    <a:pt x="129" y="173"/>
                    <a:pt x="121" y="177"/>
                    <a:pt x="111" y="179"/>
                  </a:cubicBezTo>
                  <a:cubicBezTo>
                    <a:pt x="102" y="182"/>
                    <a:pt x="91" y="183"/>
                    <a:pt x="80" y="18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 name="Freeform 10">
              <a:extLst>
                <a:ext uri="{FF2B5EF4-FFF2-40B4-BE49-F238E27FC236}">
                  <a16:creationId xmlns:a16="http://schemas.microsoft.com/office/drawing/2014/main" id="{2BCE2F22-4C7C-1880-F508-0DD0C9DD0909}"/>
                </a:ext>
              </a:extLst>
            </p:cNvPr>
            <p:cNvSpPr>
              <a:spLocks/>
            </p:cNvSpPr>
            <p:nvPr userDrawn="1"/>
          </p:nvSpPr>
          <p:spPr bwMode="auto">
            <a:xfrm>
              <a:off x="5203" y="421"/>
              <a:ext cx="294" cy="344"/>
            </a:xfrm>
            <a:custGeom>
              <a:avLst/>
              <a:gdLst>
                <a:gd name="T0" fmla="*/ 126 w 158"/>
                <a:gd name="T1" fmla="*/ 184 h 184"/>
                <a:gd name="T2" fmla="*/ 126 w 158"/>
                <a:gd name="T3" fmla="*/ 62 h 184"/>
                <a:gd name="T4" fmla="*/ 121 w 158"/>
                <a:gd name="T5" fmla="*/ 48 h 184"/>
                <a:gd name="T6" fmla="*/ 110 w 158"/>
                <a:gd name="T7" fmla="*/ 39 h 184"/>
                <a:gd name="T8" fmla="*/ 94 w 158"/>
                <a:gd name="T9" fmla="*/ 34 h 184"/>
                <a:gd name="T10" fmla="*/ 79 w 158"/>
                <a:gd name="T11" fmla="*/ 33 h 184"/>
                <a:gd name="T12" fmla="*/ 63 w 158"/>
                <a:gd name="T13" fmla="*/ 34 h 184"/>
                <a:gd name="T14" fmla="*/ 48 w 158"/>
                <a:gd name="T15" fmla="*/ 39 h 184"/>
                <a:gd name="T16" fmla="*/ 37 w 158"/>
                <a:gd name="T17" fmla="*/ 48 h 184"/>
                <a:gd name="T18" fmla="*/ 33 w 158"/>
                <a:gd name="T19" fmla="*/ 62 h 184"/>
                <a:gd name="T20" fmla="*/ 33 w 158"/>
                <a:gd name="T21" fmla="*/ 184 h 184"/>
                <a:gd name="T22" fmla="*/ 0 w 158"/>
                <a:gd name="T23" fmla="*/ 184 h 184"/>
                <a:gd name="T24" fmla="*/ 0 w 158"/>
                <a:gd name="T25" fmla="*/ 62 h 184"/>
                <a:gd name="T26" fmla="*/ 6 w 158"/>
                <a:gd name="T27" fmla="*/ 35 h 184"/>
                <a:gd name="T28" fmla="*/ 23 w 158"/>
                <a:gd name="T29" fmla="*/ 16 h 184"/>
                <a:gd name="T30" fmla="*/ 48 w 158"/>
                <a:gd name="T31" fmla="*/ 4 h 184"/>
                <a:gd name="T32" fmla="*/ 79 w 158"/>
                <a:gd name="T33" fmla="*/ 0 h 184"/>
                <a:gd name="T34" fmla="*/ 110 w 158"/>
                <a:gd name="T35" fmla="*/ 4 h 184"/>
                <a:gd name="T36" fmla="*/ 135 w 158"/>
                <a:gd name="T37" fmla="*/ 16 h 184"/>
                <a:gd name="T38" fmla="*/ 152 w 158"/>
                <a:gd name="T39" fmla="*/ 35 h 184"/>
                <a:gd name="T40" fmla="*/ 158 w 158"/>
                <a:gd name="T41" fmla="*/ 62 h 184"/>
                <a:gd name="T42" fmla="*/ 158 w 158"/>
                <a:gd name="T43" fmla="*/ 184 h 184"/>
                <a:gd name="T44" fmla="*/ 126 w 158"/>
                <a:gd name="T45" fmla="*/ 1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8" h="184">
                  <a:moveTo>
                    <a:pt x="126" y="184"/>
                  </a:moveTo>
                  <a:cubicBezTo>
                    <a:pt x="126" y="62"/>
                    <a:pt x="126" y="62"/>
                    <a:pt x="126" y="62"/>
                  </a:cubicBezTo>
                  <a:cubicBezTo>
                    <a:pt x="126" y="56"/>
                    <a:pt x="124" y="52"/>
                    <a:pt x="121" y="48"/>
                  </a:cubicBezTo>
                  <a:cubicBezTo>
                    <a:pt x="118" y="45"/>
                    <a:pt x="114" y="41"/>
                    <a:pt x="110" y="39"/>
                  </a:cubicBezTo>
                  <a:cubicBezTo>
                    <a:pt x="105" y="37"/>
                    <a:pt x="100" y="35"/>
                    <a:pt x="94" y="34"/>
                  </a:cubicBezTo>
                  <a:cubicBezTo>
                    <a:pt x="89" y="33"/>
                    <a:pt x="84" y="33"/>
                    <a:pt x="79" y="33"/>
                  </a:cubicBezTo>
                  <a:cubicBezTo>
                    <a:pt x="74" y="33"/>
                    <a:pt x="69" y="33"/>
                    <a:pt x="63" y="34"/>
                  </a:cubicBezTo>
                  <a:cubicBezTo>
                    <a:pt x="58" y="35"/>
                    <a:pt x="53" y="37"/>
                    <a:pt x="48" y="39"/>
                  </a:cubicBezTo>
                  <a:cubicBezTo>
                    <a:pt x="44" y="41"/>
                    <a:pt x="40" y="45"/>
                    <a:pt x="37" y="48"/>
                  </a:cubicBezTo>
                  <a:cubicBezTo>
                    <a:pt x="34" y="52"/>
                    <a:pt x="33" y="56"/>
                    <a:pt x="33" y="62"/>
                  </a:cubicBezTo>
                  <a:cubicBezTo>
                    <a:pt x="33" y="184"/>
                    <a:pt x="33" y="184"/>
                    <a:pt x="33" y="184"/>
                  </a:cubicBezTo>
                  <a:cubicBezTo>
                    <a:pt x="0" y="184"/>
                    <a:pt x="0" y="184"/>
                    <a:pt x="0" y="184"/>
                  </a:cubicBezTo>
                  <a:cubicBezTo>
                    <a:pt x="0" y="62"/>
                    <a:pt x="0" y="62"/>
                    <a:pt x="0" y="62"/>
                  </a:cubicBezTo>
                  <a:cubicBezTo>
                    <a:pt x="0" y="52"/>
                    <a:pt x="2" y="43"/>
                    <a:pt x="6" y="35"/>
                  </a:cubicBezTo>
                  <a:cubicBezTo>
                    <a:pt x="10" y="27"/>
                    <a:pt x="16" y="21"/>
                    <a:pt x="23" y="16"/>
                  </a:cubicBezTo>
                  <a:cubicBezTo>
                    <a:pt x="30" y="11"/>
                    <a:pt x="38" y="7"/>
                    <a:pt x="48" y="4"/>
                  </a:cubicBezTo>
                  <a:cubicBezTo>
                    <a:pt x="58" y="1"/>
                    <a:pt x="68" y="0"/>
                    <a:pt x="79" y="0"/>
                  </a:cubicBezTo>
                  <a:cubicBezTo>
                    <a:pt x="90" y="0"/>
                    <a:pt x="101" y="1"/>
                    <a:pt x="110" y="4"/>
                  </a:cubicBezTo>
                  <a:cubicBezTo>
                    <a:pt x="120" y="7"/>
                    <a:pt x="128" y="11"/>
                    <a:pt x="135" y="16"/>
                  </a:cubicBezTo>
                  <a:cubicBezTo>
                    <a:pt x="143" y="21"/>
                    <a:pt x="148" y="28"/>
                    <a:pt x="152" y="35"/>
                  </a:cubicBezTo>
                  <a:cubicBezTo>
                    <a:pt x="156" y="43"/>
                    <a:pt x="158" y="52"/>
                    <a:pt x="158" y="62"/>
                  </a:cubicBezTo>
                  <a:cubicBezTo>
                    <a:pt x="158" y="184"/>
                    <a:pt x="158" y="184"/>
                    <a:pt x="158" y="184"/>
                  </a:cubicBezTo>
                  <a:cubicBezTo>
                    <a:pt x="126" y="184"/>
                    <a:pt x="126" y="184"/>
                    <a:pt x="126" y="1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 name="Freeform 11">
              <a:extLst>
                <a:ext uri="{FF2B5EF4-FFF2-40B4-BE49-F238E27FC236}">
                  <a16:creationId xmlns:a16="http://schemas.microsoft.com/office/drawing/2014/main" id="{A2A03A04-A074-A2F7-592F-A4D7FDEA4A88}"/>
                </a:ext>
              </a:extLst>
            </p:cNvPr>
            <p:cNvSpPr>
              <a:spLocks noEditPoints="1"/>
            </p:cNvSpPr>
            <p:nvPr userDrawn="1"/>
          </p:nvSpPr>
          <p:spPr bwMode="auto">
            <a:xfrm>
              <a:off x="4829" y="421"/>
              <a:ext cx="295" cy="348"/>
            </a:xfrm>
            <a:custGeom>
              <a:avLst/>
              <a:gdLst>
                <a:gd name="T0" fmla="*/ 126 w 159"/>
                <a:gd name="T1" fmla="*/ 77 h 186"/>
                <a:gd name="T2" fmla="*/ 126 w 159"/>
                <a:gd name="T3" fmla="*/ 62 h 186"/>
                <a:gd name="T4" fmla="*/ 122 w 159"/>
                <a:gd name="T5" fmla="*/ 49 h 186"/>
                <a:gd name="T6" fmla="*/ 112 w 159"/>
                <a:gd name="T7" fmla="*/ 40 h 186"/>
                <a:gd name="T8" fmla="*/ 97 w 159"/>
                <a:gd name="T9" fmla="*/ 35 h 186"/>
                <a:gd name="T10" fmla="*/ 79 w 159"/>
                <a:gd name="T11" fmla="*/ 33 h 186"/>
                <a:gd name="T12" fmla="*/ 61 w 159"/>
                <a:gd name="T13" fmla="*/ 35 h 186"/>
                <a:gd name="T14" fmla="*/ 46 w 159"/>
                <a:gd name="T15" fmla="*/ 40 h 186"/>
                <a:gd name="T16" fmla="*/ 37 w 159"/>
                <a:gd name="T17" fmla="*/ 50 h 186"/>
                <a:gd name="T18" fmla="*/ 33 w 159"/>
                <a:gd name="T19" fmla="*/ 62 h 186"/>
                <a:gd name="T20" fmla="*/ 33 w 159"/>
                <a:gd name="T21" fmla="*/ 77 h 186"/>
                <a:gd name="T22" fmla="*/ 126 w 159"/>
                <a:gd name="T23" fmla="*/ 77 h 186"/>
                <a:gd name="T24" fmla="*/ 79 w 159"/>
                <a:gd name="T25" fmla="*/ 186 h 186"/>
                <a:gd name="T26" fmla="*/ 49 w 159"/>
                <a:gd name="T27" fmla="*/ 182 h 186"/>
                <a:gd name="T28" fmla="*/ 24 w 159"/>
                <a:gd name="T29" fmla="*/ 171 h 186"/>
                <a:gd name="T30" fmla="*/ 7 w 159"/>
                <a:gd name="T31" fmla="*/ 151 h 186"/>
                <a:gd name="T32" fmla="*/ 0 w 159"/>
                <a:gd name="T33" fmla="*/ 123 h 186"/>
                <a:gd name="T34" fmla="*/ 0 w 159"/>
                <a:gd name="T35" fmla="*/ 62 h 186"/>
                <a:gd name="T36" fmla="*/ 7 w 159"/>
                <a:gd name="T37" fmla="*/ 35 h 186"/>
                <a:gd name="T38" fmla="*/ 23 w 159"/>
                <a:gd name="T39" fmla="*/ 16 h 186"/>
                <a:gd name="T40" fmla="*/ 48 w 159"/>
                <a:gd name="T41" fmla="*/ 4 h 186"/>
                <a:gd name="T42" fmla="*/ 79 w 159"/>
                <a:gd name="T43" fmla="*/ 0 h 186"/>
                <a:gd name="T44" fmla="*/ 110 w 159"/>
                <a:gd name="T45" fmla="*/ 4 h 186"/>
                <a:gd name="T46" fmla="*/ 135 w 159"/>
                <a:gd name="T47" fmla="*/ 15 h 186"/>
                <a:gd name="T48" fmla="*/ 152 w 159"/>
                <a:gd name="T49" fmla="*/ 34 h 186"/>
                <a:gd name="T50" fmla="*/ 159 w 159"/>
                <a:gd name="T51" fmla="*/ 62 h 186"/>
                <a:gd name="T52" fmla="*/ 159 w 159"/>
                <a:gd name="T53" fmla="*/ 109 h 186"/>
                <a:gd name="T54" fmla="*/ 33 w 159"/>
                <a:gd name="T55" fmla="*/ 109 h 186"/>
                <a:gd name="T56" fmla="*/ 33 w 159"/>
                <a:gd name="T57" fmla="*/ 124 h 186"/>
                <a:gd name="T58" fmla="*/ 37 w 159"/>
                <a:gd name="T59" fmla="*/ 136 h 186"/>
                <a:gd name="T60" fmla="*/ 47 w 159"/>
                <a:gd name="T61" fmla="*/ 146 h 186"/>
                <a:gd name="T62" fmla="*/ 61 w 159"/>
                <a:gd name="T63" fmla="*/ 152 h 186"/>
                <a:gd name="T64" fmla="*/ 79 w 159"/>
                <a:gd name="T65" fmla="*/ 154 h 186"/>
                <a:gd name="T66" fmla="*/ 105 w 159"/>
                <a:gd name="T67" fmla="*/ 149 h 186"/>
                <a:gd name="T68" fmla="*/ 125 w 159"/>
                <a:gd name="T69" fmla="*/ 136 h 186"/>
                <a:gd name="T70" fmla="*/ 125 w 159"/>
                <a:gd name="T71" fmla="*/ 135 h 186"/>
                <a:gd name="T72" fmla="*/ 155 w 159"/>
                <a:gd name="T73" fmla="*/ 152 h 186"/>
                <a:gd name="T74" fmla="*/ 154 w 159"/>
                <a:gd name="T75" fmla="*/ 153 h 186"/>
                <a:gd name="T76" fmla="*/ 123 w 159"/>
                <a:gd name="T77" fmla="*/ 178 h 186"/>
                <a:gd name="T78" fmla="*/ 79 w 159"/>
                <a:gd name="T79" fmla="*/ 186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59" h="186">
                  <a:moveTo>
                    <a:pt x="126" y="77"/>
                  </a:moveTo>
                  <a:cubicBezTo>
                    <a:pt x="126" y="62"/>
                    <a:pt x="126" y="62"/>
                    <a:pt x="126" y="62"/>
                  </a:cubicBezTo>
                  <a:cubicBezTo>
                    <a:pt x="126" y="57"/>
                    <a:pt x="125" y="53"/>
                    <a:pt x="122" y="49"/>
                  </a:cubicBezTo>
                  <a:cubicBezTo>
                    <a:pt x="120" y="46"/>
                    <a:pt x="116" y="42"/>
                    <a:pt x="112" y="40"/>
                  </a:cubicBezTo>
                  <a:cubicBezTo>
                    <a:pt x="108" y="38"/>
                    <a:pt x="103" y="36"/>
                    <a:pt x="97" y="35"/>
                  </a:cubicBezTo>
                  <a:cubicBezTo>
                    <a:pt x="92" y="33"/>
                    <a:pt x="86" y="33"/>
                    <a:pt x="79" y="33"/>
                  </a:cubicBezTo>
                  <a:cubicBezTo>
                    <a:pt x="73" y="33"/>
                    <a:pt x="67" y="33"/>
                    <a:pt x="61" y="35"/>
                  </a:cubicBezTo>
                  <a:cubicBezTo>
                    <a:pt x="56" y="36"/>
                    <a:pt x="51" y="38"/>
                    <a:pt x="46" y="40"/>
                  </a:cubicBezTo>
                  <a:cubicBezTo>
                    <a:pt x="42" y="43"/>
                    <a:pt x="39" y="46"/>
                    <a:pt x="37" y="50"/>
                  </a:cubicBezTo>
                  <a:cubicBezTo>
                    <a:pt x="34" y="53"/>
                    <a:pt x="33" y="57"/>
                    <a:pt x="33" y="62"/>
                  </a:cubicBezTo>
                  <a:cubicBezTo>
                    <a:pt x="33" y="77"/>
                    <a:pt x="33" y="77"/>
                    <a:pt x="33" y="77"/>
                  </a:cubicBezTo>
                  <a:cubicBezTo>
                    <a:pt x="126" y="77"/>
                    <a:pt x="126" y="77"/>
                    <a:pt x="126" y="77"/>
                  </a:cubicBezTo>
                  <a:close/>
                  <a:moveTo>
                    <a:pt x="79" y="186"/>
                  </a:moveTo>
                  <a:cubicBezTo>
                    <a:pt x="69" y="186"/>
                    <a:pt x="59" y="185"/>
                    <a:pt x="49" y="182"/>
                  </a:cubicBezTo>
                  <a:cubicBezTo>
                    <a:pt x="40" y="180"/>
                    <a:pt x="32" y="176"/>
                    <a:pt x="24" y="171"/>
                  </a:cubicBezTo>
                  <a:cubicBezTo>
                    <a:pt x="17" y="166"/>
                    <a:pt x="11" y="159"/>
                    <a:pt x="7" y="151"/>
                  </a:cubicBezTo>
                  <a:cubicBezTo>
                    <a:pt x="3" y="143"/>
                    <a:pt x="0" y="134"/>
                    <a:pt x="0" y="123"/>
                  </a:cubicBezTo>
                  <a:cubicBezTo>
                    <a:pt x="0" y="62"/>
                    <a:pt x="0" y="62"/>
                    <a:pt x="0" y="62"/>
                  </a:cubicBezTo>
                  <a:cubicBezTo>
                    <a:pt x="0" y="52"/>
                    <a:pt x="2" y="43"/>
                    <a:pt x="7" y="35"/>
                  </a:cubicBezTo>
                  <a:cubicBezTo>
                    <a:pt x="11" y="28"/>
                    <a:pt x="16" y="21"/>
                    <a:pt x="23" y="16"/>
                  </a:cubicBezTo>
                  <a:cubicBezTo>
                    <a:pt x="30" y="11"/>
                    <a:pt x="39" y="7"/>
                    <a:pt x="48" y="4"/>
                  </a:cubicBezTo>
                  <a:cubicBezTo>
                    <a:pt x="58" y="1"/>
                    <a:pt x="68" y="0"/>
                    <a:pt x="79" y="0"/>
                  </a:cubicBezTo>
                  <a:cubicBezTo>
                    <a:pt x="90" y="0"/>
                    <a:pt x="100" y="1"/>
                    <a:pt x="110" y="4"/>
                  </a:cubicBezTo>
                  <a:cubicBezTo>
                    <a:pt x="120" y="6"/>
                    <a:pt x="128" y="10"/>
                    <a:pt x="135" y="15"/>
                  </a:cubicBezTo>
                  <a:cubicBezTo>
                    <a:pt x="142" y="20"/>
                    <a:pt x="148" y="26"/>
                    <a:pt x="152" y="34"/>
                  </a:cubicBezTo>
                  <a:cubicBezTo>
                    <a:pt x="156" y="42"/>
                    <a:pt x="159" y="51"/>
                    <a:pt x="159" y="62"/>
                  </a:cubicBezTo>
                  <a:cubicBezTo>
                    <a:pt x="159" y="109"/>
                    <a:pt x="159" y="109"/>
                    <a:pt x="159" y="109"/>
                  </a:cubicBezTo>
                  <a:cubicBezTo>
                    <a:pt x="33" y="109"/>
                    <a:pt x="33" y="109"/>
                    <a:pt x="33" y="109"/>
                  </a:cubicBezTo>
                  <a:cubicBezTo>
                    <a:pt x="33" y="124"/>
                    <a:pt x="33" y="124"/>
                    <a:pt x="33" y="124"/>
                  </a:cubicBezTo>
                  <a:cubicBezTo>
                    <a:pt x="33" y="129"/>
                    <a:pt x="35" y="133"/>
                    <a:pt x="37" y="136"/>
                  </a:cubicBezTo>
                  <a:cubicBezTo>
                    <a:pt x="39" y="140"/>
                    <a:pt x="43" y="143"/>
                    <a:pt x="47" y="146"/>
                  </a:cubicBezTo>
                  <a:cubicBezTo>
                    <a:pt x="51" y="148"/>
                    <a:pt x="56" y="150"/>
                    <a:pt x="61" y="152"/>
                  </a:cubicBezTo>
                  <a:cubicBezTo>
                    <a:pt x="67" y="153"/>
                    <a:pt x="73" y="154"/>
                    <a:pt x="79" y="154"/>
                  </a:cubicBezTo>
                  <a:cubicBezTo>
                    <a:pt x="88" y="154"/>
                    <a:pt x="97" y="152"/>
                    <a:pt x="105" y="149"/>
                  </a:cubicBezTo>
                  <a:cubicBezTo>
                    <a:pt x="113" y="146"/>
                    <a:pt x="120" y="142"/>
                    <a:pt x="125" y="136"/>
                  </a:cubicBezTo>
                  <a:cubicBezTo>
                    <a:pt x="125" y="135"/>
                    <a:pt x="125" y="135"/>
                    <a:pt x="125" y="135"/>
                  </a:cubicBezTo>
                  <a:cubicBezTo>
                    <a:pt x="155" y="152"/>
                    <a:pt x="155" y="152"/>
                    <a:pt x="155" y="152"/>
                  </a:cubicBezTo>
                  <a:cubicBezTo>
                    <a:pt x="154" y="153"/>
                    <a:pt x="154" y="153"/>
                    <a:pt x="154" y="153"/>
                  </a:cubicBezTo>
                  <a:cubicBezTo>
                    <a:pt x="147" y="164"/>
                    <a:pt x="136" y="172"/>
                    <a:pt x="123" y="178"/>
                  </a:cubicBezTo>
                  <a:cubicBezTo>
                    <a:pt x="109" y="183"/>
                    <a:pt x="95" y="186"/>
                    <a:pt x="79" y="18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Freeform 12">
              <a:extLst>
                <a:ext uri="{FF2B5EF4-FFF2-40B4-BE49-F238E27FC236}">
                  <a16:creationId xmlns:a16="http://schemas.microsoft.com/office/drawing/2014/main" id="{FC65BB15-A77F-2AE6-5826-990B7E7B4F74}"/>
                </a:ext>
              </a:extLst>
            </p:cNvPr>
            <p:cNvSpPr>
              <a:spLocks/>
            </p:cNvSpPr>
            <p:nvPr userDrawn="1"/>
          </p:nvSpPr>
          <p:spPr bwMode="auto">
            <a:xfrm>
              <a:off x="4569" y="426"/>
              <a:ext cx="219" cy="339"/>
            </a:xfrm>
            <a:custGeom>
              <a:avLst/>
              <a:gdLst>
                <a:gd name="T0" fmla="*/ 0 w 118"/>
                <a:gd name="T1" fmla="*/ 130 h 181"/>
                <a:gd name="T2" fmla="*/ 0 w 118"/>
                <a:gd name="T3" fmla="*/ 61 h 181"/>
                <a:gd name="T4" fmla="*/ 21 w 118"/>
                <a:gd name="T5" fmla="*/ 16 h 181"/>
                <a:gd name="T6" fmla="*/ 76 w 118"/>
                <a:gd name="T7" fmla="*/ 0 h 181"/>
                <a:gd name="T8" fmla="*/ 118 w 118"/>
                <a:gd name="T9" fmla="*/ 0 h 181"/>
                <a:gd name="T10" fmla="*/ 118 w 118"/>
                <a:gd name="T11" fmla="*/ 32 h 181"/>
                <a:gd name="T12" fmla="*/ 76 w 118"/>
                <a:gd name="T13" fmla="*/ 32 h 181"/>
                <a:gd name="T14" fmla="*/ 45 w 118"/>
                <a:gd name="T15" fmla="*/ 40 h 181"/>
                <a:gd name="T16" fmla="*/ 33 w 118"/>
                <a:gd name="T17" fmla="*/ 61 h 181"/>
                <a:gd name="T18" fmla="*/ 33 w 118"/>
                <a:gd name="T19" fmla="*/ 181 h 181"/>
                <a:gd name="T20" fmla="*/ 0 w 118"/>
                <a:gd name="T21" fmla="*/ 13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8" h="181">
                  <a:moveTo>
                    <a:pt x="0" y="130"/>
                  </a:moveTo>
                  <a:cubicBezTo>
                    <a:pt x="0" y="61"/>
                    <a:pt x="0" y="61"/>
                    <a:pt x="0" y="61"/>
                  </a:cubicBezTo>
                  <a:cubicBezTo>
                    <a:pt x="0" y="42"/>
                    <a:pt x="7" y="27"/>
                    <a:pt x="21" y="16"/>
                  </a:cubicBezTo>
                  <a:cubicBezTo>
                    <a:pt x="34" y="5"/>
                    <a:pt x="53" y="0"/>
                    <a:pt x="76" y="0"/>
                  </a:cubicBezTo>
                  <a:cubicBezTo>
                    <a:pt x="118" y="0"/>
                    <a:pt x="118" y="0"/>
                    <a:pt x="118" y="0"/>
                  </a:cubicBezTo>
                  <a:cubicBezTo>
                    <a:pt x="118" y="32"/>
                    <a:pt x="118" y="32"/>
                    <a:pt x="118" y="32"/>
                  </a:cubicBezTo>
                  <a:cubicBezTo>
                    <a:pt x="76" y="32"/>
                    <a:pt x="76" y="32"/>
                    <a:pt x="76" y="32"/>
                  </a:cubicBezTo>
                  <a:cubicBezTo>
                    <a:pt x="63" y="32"/>
                    <a:pt x="53" y="35"/>
                    <a:pt x="45" y="40"/>
                  </a:cubicBezTo>
                  <a:cubicBezTo>
                    <a:pt x="37" y="45"/>
                    <a:pt x="33" y="52"/>
                    <a:pt x="33" y="61"/>
                  </a:cubicBezTo>
                  <a:cubicBezTo>
                    <a:pt x="33" y="181"/>
                    <a:pt x="33" y="181"/>
                    <a:pt x="33" y="181"/>
                  </a:cubicBezTo>
                  <a:cubicBezTo>
                    <a:pt x="33" y="181"/>
                    <a:pt x="0" y="168"/>
                    <a:pt x="0" y="13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 name="Freeform 13">
              <a:extLst>
                <a:ext uri="{FF2B5EF4-FFF2-40B4-BE49-F238E27FC236}">
                  <a16:creationId xmlns:a16="http://schemas.microsoft.com/office/drawing/2014/main" id="{02A2518A-A389-0B40-24F1-955A74596A0F}"/>
                </a:ext>
              </a:extLst>
            </p:cNvPr>
            <p:cNvSpPr>
              <a:spLocks/>
            </p:cNvSpPr>
            <p:nvPr userDrawn="1"/>
          </p:nvSpPr>
          <p:spPr bwMode="auto">
            <a:xfrm>
              <a:off x="6394" y="426"/>
              <a:ext cx="62" cy="339"/>
            </a:xfrm>
            <a:custGeom>
              <a:avLst/>
              <a:gdLst>
                <a:gd name="T0" fmla="*/ 0 w 62"/>
                <a:gd name="T1" fmla="*/ 339 h 339"/>
                <a:gd name="T2" fmla="*/ 0 w 62"/>
                <a:gd name="T3" fmla="*/ 0 h 339"/>
                <a:gd name="T4" fmla="*/ 62 w 62"/>
                <a:gd name="T5" fmla="*/ 0 h 339"/>
                <a:gd name="T6" fmla="*/ 62 w 62"/>
                <a:gd name="T7" fmla="*/ 339 h 339"/>
                <a:gd name="T8" fmla="*/ 0 w 62"/>
                <a:gd name="T9" fmla="*/ 339 h 339"/>
                <a:gd name="T10" fmla="*/ 0 w 62"/>
                <a:gd name="T11" fmla="*/ 339 h 339"/>
              </a:gdLst>
              <a:ahLst/>
              <a:cxnLst>
                <a:cxn ang="0">
                  <a:pos x="T0" y="T1"/>
                </a:cxn>
                <a:cxn ang="0">
                  <a:pos x="T2" y="T3"/>
                </a:cxn>
                <a:cxn ang="0">
                  <a:pos x="T4" y="T5"/>
                </a:cxn>
                <a:cxn ang="0">
                  <a:pos x="T6" y="T7"/>
                </a:cxn>
                <a:cxn ang="0">
                  <a:pos x="T8" y="T9"/>
                </a:cxn>
                <a:cxn ang="0">
                  <a:pos x="T10" y="T11"/>
                </a:cxn>
              </a:cxnLst>
              <a:rect l="0" t="0" r="r" b="b"/>
              <a:pathLst>
                <a:path w="62" h="339">
                  <a:moveTo>
                    <a:pt x="0" y="339"/>
                  </a:moveTo>
                  <a:lnTo>
                    <a:pt x="0" y="0"/>
                  </a:lnTo>
                  <a:lnTo>
                    <a:pt x="62" y="0"/>
                  </a:lnTo>
                  <a:lnTo>
                    <a:pt x="62" y="339"/>
                  </a:lnTo>
                  <a:lnTo>
                    <a:pt x="0" y="339"/>
                  </a:lnTo>
                  <a:lnTo>
                    <a:pt x="0" y="3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Freeform 14">
              <a:extLst>
                <a:ext uri="{FF2B5EF4-FFF2-40B4-BE49-F238E27FC236}">
                  <a16:creationId xmlns:a16="http://schemas.microsoft.com/office/drawing/2014/main" id="{7EC9E9DE-84F9-F9F1-FC9E-30CB0F33A645}"/>
                </a:ext>
              </a:extLst>
            </p:cNvPr>
            <p:cNvSpPr>
              <a:spLocks noEditPoints="1"/>
            </p:cNvSpPr>
            <p:nvPr userDrawn="1"/>
          </p:nvSpPr>
          <p:spPr bwMode="auto">
            <a:xfrm>
              <a:off x="6545" y="421"/>
              <a:ext cx="293" cy="348"/>
            </a:xfrm>
            <a:custGeom>
              <a:avLst/>
              <a:gdLst>
                <a:gd name="T0" fmla="*/ 79 w 158"/>
                <a:gd name="T1" fmla="*/ 33 h 186"/>
                <a:gd name="T2" fmla="*/ 61 w 158"/>
                <a:gd name="T3" fmla="*/ 35 h 186"/>
                <a:gd name="T4" fmla="*/ 46 w 158"/>
                <a:gd name="T5" fmla="*/ 40 h 186"/>
                <a:gd name="T6" fmla="*/ 36 w 158"/>
                <a:gd name="T7" fmla="*/ 50 h 186"/>
                <a:gd name="T8" fmla="*/ 33 w 158"/>
                <a:gd name="T9" fmla="*/ 62 h 186"/>
                <a:gd name="T10" fmla="*/ 33 w 158"/>
                <a:gd name="T11" fmla="*/ 123 h 186"/>
                <a:gd name="T12" fmla="*/ 36 w 158"/>
                <a:gd name="T13" fmla="*/ 136 h 186"/>
                <a:gd name="T14" fmla="*/ 46 w 158"/>
                <a:gd name="T15" fmla="*/ 146 h 186"/>
                <a:gd name="T16" fmla="*/ 61 w 158"/>
                <a:gd name="T17" fmla="*/ 151 h 186"/>
                <a:gd name="T18" fmla="*/ 79 w 158"/>
                <a:gd name="T19" fmla="*/ 154 h 186"/>
                <a:gd name="T20" fmla="*/ 96 w 158"/>
                <a:gd name="T21" fmla="*/ 151 h 186"/>
                <a:gd name="T22" fmla="*/ 111 w 158"/>
                <a:gd name="T23" fmla="*/ 146 h 186"/>
                <a:gd name="T24" fmla="*/ 121 w 158"/>
                <a:gd name="T25" fmla="*/ 136 h 186"/>
                <a:gd name="T26" fmla="*/ 125 w 158"/>
                <a:gd name="T27" fmla="*/ 123 h 186"/>
                <a:gd name="T28" fmla="*/ 125 w 158"/>
                <a:gd name="T29" fmla="*/ 62 h 186"/>
                <a:gd name="T30" fmla="*/ 121 w 158"/>
                <a:gd name="T31" fmla="*/ 50 h 186"/>
                <a:gd name="T32" fmla="*/ 111 w 158"/>
                <a:gd name="T33" fmla="*/ 40 h 186"/>
                <a:gd name="T34" fmla="*/ 96 w 158"/>
                <a:gd name="T35" fmla="*/ 35 h 186"/>
                <a:gd name="T36" fmla="*/ 79 w 158"/>
                <a:gd name="T37" fmla="*/ 33 h 186"/>
                <a:gd name="T38" fmla="*/ 79 w 158"/>
                <a:gd name="T39" fmla="*/ 186 h 186"/>
                <a:gd name="T40" fmla="*/ 48 w 158"/>
                <a:gd name="T41" fmla="*/ 182 h 186"/>
                <a:gd name="T42" fmla="*/ 23 w 158"/>
                <a:gd name="T43" fmla="*/ 170 h 186"/>
                <a:gd name="T44" fmla="*/ 6 w 158"/>
                <a:gd name="T45" fmla="*/ 150 h 186"/>
                <a:gd name="T46" fmla="*/ 0 w 158"/>
                <a:gd name="T47" fmla="*/ 123 h 186"/>
                <a:gd name="T48" fmla="*/ 0 w 158"/>
                <a:gd name="T49" fmla="*/ 62 h 186"/>
                <a:gd name="T50" fmla="*/ 6 w 158"/>
                <a:gd name="T51" fmla="*/ 35 h 186"/>
                <a:gd name="T52" fmla="*/ 23 w 158"/>
                <a:gd name="T53" fmla="*/ 16 h 186"/>
                <a:gd name="T54" fmla="*/ 48 w 158"/>
                <a:gd name="T55" fmla="*/ 4 h 186"/>
                <a:gd name="T56" fmla="*/ 79 w 158"/>
                <a:gd name="T57" fmla="*/ 0 h 186"/>
                <a:gd name="T58" fmla="*/ 110 w 158"/>
                <a:gd name="T59" fmla="*/ 4 h 186"/>
                <a:gd name="T60" fmla="*/ 135 w 158"/>
                <a:gd name="T61" fmla="*/ 16 h 186"/>
                <a:gd name="T62" fmla="*/ 152 w 158"/>
                <a:gd name="T63" fmla="*/ 35 h 186"/>
                <a:gd name="T64" fmla="*/ 158 w 158"/>
                <a:gd name="T65" fmla="*/ 62 h 186"/>
                <a:gd name="T66" fmla="*/ 158 w 158"/>
                <a:gd name="T67" fmla="*/ 123 h 186"/>
                <a:gd name="T68" fmla="*/ 152 w 158"/>
                <a:gd name="T69" fmla="*/ 150 h 186"/>
                <a:gd name="T70" fmla="*/ 135 w 158"/>
                <a:gd name="T71" fmla="*/ 170 h 186"/>
                <a:gd name="T72" fmla="*/ 110 w 158"/>
                <a:gd name="T73" fmla="*/ 182 h 186"/>
                <a:gd name="T74" fmla="*/ 79 w 158"/>
                <a:gd name="T75" fmla="*/ 186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8" h="186">
                  <a:moveTo>
                    <a:pt x="79" y="33"/>
                  </a:moveTo>
                  <a:cubicBezTo>
                    <a:pt x="73" y="33"/>
                    <a:pt x="67" y="33"/>
                    <a:pt x="61" y="35"/>
                  </a:cubicBezTo>
                  <a:cubicBezTo>
                    <a:pt x="56" y="36"/>
                    <a:pt x="51" y="38"/>
                    <a:pt x="46" y="40"/>
                  </a:cubicBezTo>
                  <a:cubicBezTo>
                    <a:pt x="42" y="43"/>
                    <a:pt x="39" y="46"/>
                    <a:pt x="36" y="50"/>
                  </a:cubicBezTo>
                  <a:cubicBezTo>
                    <a:pt x="34" y="53"/>
                    <a:pt x="33" y="57"/>
                    <a:pt x="33" y="62"/>
                  </a:cubicBezTo>
                  <a:cubicBezTo>
                    <a:pt x="33" y="123"/>
                    <a:pt x="33" y="123"/>
                    <a:pt x="33" y="123"/>
                  </a:cubicBezTo>
                  <a:cubicBezTo>
                    <a:pt x="33" y="128"/>
                    <a:pt x="34" y="133"/>
                    <a:pt x="36" y="136"/>
                  </a:cubicBezTo>
                  <a:cubicBezTo>
                    <a:pt x="39" y="140"/>
                    <a:pt x="42" y="143"/>
                    <a:pt x="46" y="146"/>
                  </a:cubicBezTo>
                  <a:cubicBezTo>
                    <a:pt x="51" y="148"/>
                    <a:pt x="56" y="150"/>
                    <a:pt x="61" y="151"/>
                  </a:cubicBezTo>
                  <a:cubicBezTo>
                    <a:pt x="67" y="153"/>
                    <a:pt x="73" y="154"/>
                    <a:pt x="79" y="154"/>
                  </a:cubicBezTo>
                  <a:cubicBezTo>
                    <a:pt x="85" y="154"/>
                    <a:pt x="91" y="153"/>
                    <a:pt x="96" y="151"/>
                  </a:cubicBezTo>
                  <a:cubicBezTo>
                    <a:pt x="102" y="150"/>
                    <a:pt x="107" y="148"/>
                    <a:pt x="111" y="146"/>
                  </a:cubicBezTo>
                  <a:cubicBezTo>
                    <a:pt x="115" y="143"/>
                    <a:pt x="119" y="140"/>
                    <a:pt x="121" y="136"/>
                  </a:cubicBezTo>
                  <a:cubicBezTo>
                    <a:pt x="124" y="133"/>
                    <a:pt x="125" y="128"/>
                    <a:pt x="125" y="123"/>
                  </a:cubicBezTo>
                  <a:cubicBezTo>
                    <a:pt x="125" y="62"/>
                    <a:pt x="125" y="62"/>
                    <a:pt x="125" y="62"/>
                  </a:cubicBezTo>
                  <a:cubicBezTo>
                    <a:pt x="125" y="57"/>
                    <a:pt x="124" y="53"/>
                    <a:pt x="121" y="50"/>
                  </a:cubicBezTo>
                  <a:cubicBezTo>
                    <a:pt x="119" y="46"/>
                    <a:pt x="115" y="43"/>
                    <a:pt x="111" y="40"/>
                  </a:cubicBezTo>
                  <a:cubicBezTo>
                    <a:pt x="107" y="38"/>
                    <a:pt x="102" y="36"/>
                    <a:pt x="96" y="35"/>
                  </a:cubicBezTo>
                  <a:cubicBezTo>
                    <a:pt x="91" y="33"/>
                    <a:pt x="85" y="33"/>
                    <a:pt x="79" y="33"/>
                  </a:cubicBezTo>
                  <a:close/>
                  <a:moveTo>
                    <a:pt x="79" y="186"/>
                  </a:moveTo>
                  <a:cubicBezTo>
                    <a:pt x="68" y="186"/>
                    <a:pt x="57" y="185"/>
                    <a:pt x="48" y="182"/>
                  </a:cubicBezTo>
                  <a:cubicBezTo>
                    <a:pt x="38" y="179"/>
                    <a:pt x="30" y="175"/>
                    <a:pt x="23" y="170"/>
                  </a:cubicBezTo>
                  <a:cubicBezTo>
                    <a:pt x="16" y="165"/>
                    <a:pt x="10" y="158"/>
                    <a:pt x="6" y="150"/>
                  </a:cubicBezTo>
                  <a:cubicBezTo>
                    <a:pt x="2" y="142"/>
                    <a:pt x="0" y="133"/>
                    <a:pt x="0" y="123"/>
                  </a:cubicBezTo>
                  <a:cubicBezTo>
                    <a:pt x="0" y="62"/>
                    <a:pt x="0" y="62"/>
                    <a:pt x="0" y="62"/>
                  </a:cubicBezTo>
                  <a:cubicBezTo>
                    <a:pt x="0" y="52"/>
                    <a:pt x="2" y="43"/>
                    <a:pt x="6" y="35"/>
                  </a:cubicBezTo>
                  <a:cubicBezTo>
                    <a:pt x="10" y="28"/>
                    <a:pt x="16" y="21"/>
                    <a:pt x="23" y="16"/>
                  </a:cubicBezTo>
                  <a:cubicBezTo>
                    <a:pt x="30" y="11"/>
                    <a:pt x="38" y="7"/>
                    <a:pt x="48" y="4"/>
                  </a:cubicBezTo>
                  <a:cubicBezTo>
                    <a:pt x="57" y="1"/>
                    <a:pt x="68" y="0"/>
                    <a:pt x="79" y="0"/>
                  </a:cubicBezTo>
                  <a:cubicBezTo>
                    <a:pt x="90" y="0"/>
                    <a:pt x="100" y="1"/>
                    <a:pt x="110" y="4"/>
                  </a:cubicBezTo>
                  <a:cubicBezTo>
                    <a:pt x="120" y="7"/>
                    <a:pt x="128" y="11"/>
                    <a:pt x="135" y="16"/>
                  </a:cubicBezTo>
                  <a:cubicBezTo>
                    <a:pt x="142" y="21"/>
                    <a:pt x="148" y="28"/>
                    <a:pt x="152" y="35"/>
                  </a:cubicBezTo>
                  <a:cubicBezTo>
                    <a:pt x="156" y="43"/>
                    <a:pt x="158" y="52"/>
                    <a:pt x="158" y="62"/>
                  </a:cubicBezTo>
                  <a:cubicBezTo>
                    <a:pt x="158" y="123"/>
                    <a:pt x="158" y="123"/>
                    <a:pt x="158" y="123"/>
                  </a:cubicBezTo>
                  <a:cubicBezTo>
                    <a:pt x="158" y="133"/>
                    <a:pt x="156" y="142"/>
                    <a:pt x="152" y="150"/>
                  </a:cubicBezTo>
                  <a:cubicBezTo>
                    <a:pt x="148" y="158"/>
                    <a:pt x="142" y="165"/>
                    <a:pt x="135" y="170"/>
                  </a:cubicBezTo>
                  <a:cubicBezTo>
                    <a:pt x="128" y="175"/>
                    <a:pt x="120" y="179"/>
                    <a:pt x="110" y="182"/>
                  </a:cubicBezTo>
                  <a:cubicBezTo>
                    <a:pt x="100" y="185"/>
                    <a:pt x="90" y="186"/>
                    <a:pt x="79" y="18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 name="Freeform 15">
              <a:extLst>
                <a:ext uri="{FF2B5EF4-FFF2-40B4-BE49-F238E27FC236}">
                  <a16:creationId xmlns:a16="http://schemas.microsoft.com/office/drawing/2014/main" id="{5E96BD99-29DC-3386-8B68-180073750A64}"/>
                </a:ext>
              </a:extLst>
            </p:cNvPr>
            <p:cNvSpPr>
              <a:spLocks/>
            </p:cNvSpPr>
            <p:nvPr userDrawn="1"/>
          </p:nvSpPr>
          <p:spPr bwMode="auto">
            <a:xfrm>
              <a:off x="6925" y="421"/>
              <a:ext cx="293" cy="344"/>
            </a:xfrm>
            <a:custGeom>
              <a:avLst/>
              <a:gdLst>
                <a:gd name="T0" fmla="*/ 126 w 158"/>
                <a:gd name="T1" fmla="*/ 62 h 184"/>
                <a:gd name="T2" fmla="*/ 121 w 158"/>
                <a:gd name="T3" fmla="*/ 48 h 184"/>
                <a:gd name="T4" fmla="*/ 110 w 158"/>
                <a:gd name="T5" fmla="*/ 39 h 184"/>
                <a:gd name="T6" fmla="*/ 94 w 158"/>
                <a:gd name="T7" fmla="*/ 34 h 184"/>
                <a:gd name="T8" fmla="*/ 79 w 158"/>
                <a:gd name="T9" fmla="*/ 33 h 184"/>
                <a:gd name="T10" fmla="*/ 63 w 158"/>
                <a:gd name="T11" fmla="*/ 34 h 184"/>
                <a:gd name="T12" fmla="*/ 48 w 158"/>
                <a:gd name="T13" fmla="*/ 39 h 184"/>
                <a:gd name="T14" fmla="*/ 37 w 158"/>
                <a:gd name="T15" fmla="*/ 48 h 184"/>
                <a:gd name="T16" fmla="*/ 33 w 158"/>
                <a:gd name="T17" fmla="*/ 62 h 184"/>
                <a:gd name="T18" fmla="*/ 33 w 158"/>
                <a:gd name="T19" fmla="*/ 184 h 184"/>
                <a:gd name="T20" fmla="*/ 0 w 158"/>
                <a:gd name="T21" fmla="*/ 184 h 184"/>
                <a:gd name="T22" fmla="*/ 0 w 158"/>
                <a:gd name="T23" fmla="*/ 62 h 184"/>
                <a:gd name="T24" fmla="*/ 6 w 158"/>
                <a:gd name="T25" fmla="*/ 35 h 184"/>
                <a:gd name="T26" fmla="*/ 23 w 158"/>
                <a:gd name="T27" fmla="*/ 16 h 184"/>
                <a:gd name="T28" fmla="*/ 48 w 158"/>
                <a:gd name="T29" fmla="*/ 4 h 184"/>
                <a:gd name="T30" fmla="*/ 79 w 158"/>
                <a:gd name="T31" fmla="*/ 0 h 184"/>
                <a:gd name="T32" fmla="*/ 110 w 158"/>
                <a:gd name="T33" fmla="*/ 4 h 184"/>
                <a:gd name="T34" fmla="*/ 135 w 158"/>
                <a:gd name="T35" fmla="*/ 16 h 184"/>
                <a:gd name="T36" fmla="*/ 152 w 158"/>
                <a:gd name="T37" fmla="*/ 35 h 184"/>
                <a:gd name="T38" fmla="*/ 158 w 158"/>
                <a:gd name="T39" fmla="*/ 62 h 184"/>
                <a:gd name="T40" fmla="*/ 158 w 158"/>
                <a:gd name="T41" fmla="*/ 135 h 184"/>
                <a:gd name="T42" fmla="*/ 126 w 158"/>
                <a:gd name="T43" fmla="*/ 184 h 184"/>
                <a:gd name="T44" fmla="*/ 126 w 158"/>
                <a:gd name="T45" fmla="*/ 62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8" h="184">
                  <a:moveTo>
                    <a:pt x="126" y="62"/>
                  </a:moveTo>
                  <a:cubicBezTo>
                    <a:pt x="126" y="56"/>
                    <a:pt x="124" y="52"/>
                    <a:pt x="121" y="48"/>
                  </a:cubicBezTo>
                  <a:cubicBezTo>
                    <a:pt x="118" y="45"/>
                    <a:pt x="114" y="42"/>
                    <a:pt x="110" y="39"/>
                  </a:cubicBezTo>
                  <a:cubicBezTo>
                    <a:pt x="105" y="37"/>
                    <a:pt x="100" y="35"/>
                    <a:pt x="94" y="34"/>
                  </a:cubicBezTo>
                  <a:cubicBezTo>
                    <a:pt x="89" y="33"/>
                    <a:pt x="84" y="33"/>
                    <a:pt x="79" y="33"/>
                  </a:cubicBezTo>
                  <a:cubicBezTo>
                    <a:pt x="74" y="33"/>
                    <a:pt x="69" y="33"/>
                    <a:pt x="63" y="34"/>
                  </a:cubicBezTo>
                  <a:cubicBezTo>
                    <a:pt x="58" y="35"/>
                    <a:pt x="53" y="37"/>
                    <a:pt x="48" y="39"/>
                  </a:cubicBezTo>
                  <a:cubicBezTo>
                    <a:pt x="44" y="42"/>
                    <a:pt x="40" y="45"/>
                    <a:pt x="37" y="48"/>
                  </a:cubicBezTo>
                  <a:cubicBezTo>
                    <a:pt x="34" y="52"/>
                    <a:pt x="33" y="56"/>
                    <a:pt x="33" y="62"/>
                  </a:cubicBezTo>
                  <a:cubicBezTo>
                    <a:pt x="33" y="184"/>
                    <a:pt x="33" y="184"/>
                    <a:pt x="33" y="184"/>
                  </a:cubicBezTo>
                  <a:cubicBezTo>
                    <a:pt x="0" y="184"/>
                    <a:pt x="0" y="184"/>
                    <a:pt x="0" y="184"/>
                  </a:cubicBezTo>
                  <a:cubicBezTo>
                    <a:pt x="0" y="62"/>
                    <a:pt x="0" y="62"/>
                    <a:pt x="0" y="62"/>
                  </a:cubicBezTo>
                  <a:cubicBezTo>
                    <a:pt x="0" y="52"/>
                    <a:pt x="2" y="43"/>
                    <a:pt x="6" y="35"/>
                  </a:cubicBezTo>
                  <a:cubicBezTo>
                    <a:pt x="10" y="28"/>
                    <a:pt x="16" y="21"/>
                    <a:pt x="23" y="16"/>
                  </a:cubicBezTo>
                  <a:cubicBezTo>
                    <a:pt x="30" y="11"/>
                    <a:pt x="38" y="7"/>
                    <a:pt x="48" y="4"/>
                  </a:cubicBezTo>
                  <a:cubicBezTo>
                    <a:pt x="58" y="1"/>
                    <a:pt x="68" y="0"/>
                    <a:pt x="79" y="0"/>
                  </a:cubicBezTo>
                  <a:cubicBezTo>
                    <a:pt x="90" y="0"/>
                    <a:pt x="101" y="1"/>
                    <a:pt x="110" y="4"/>
                  </a:cubicBezTo>
                  <a:cubicBezTo>
                    <a:pt x="120" y="7"/>
                    <a:pt x="128" y="11"/>
                    <a:pt x="135" y="16"/>
                  </a:cubicBezTo>
                  <a:cubicBezTo>
                    <a:pt x="143" y="21"/>
                    <a:pt x="148" y="28"/>
                    <a:pt x="152" y="35"/>
                  </a:cubicBezTo>
                  <a:cubicBezTo>
                    <a:pt x="156" y="43"/>
                    <a:pt x="158" y="52"/>
                    <a:pt x="158" y="62"/>
                  </a:cubicBezTo>
                  <a:cubicBezTo>
                    <a:pt x="158" y="135"/>
                    <a:pt x="158" y="135"/>
                    <a:pt x="158" y="135"/>
                  </a:cubicBezTo>
                  <a:cubicBezTo>
                    <a:pt x="158" y="170"/>
                    <a:pt x="126" y="184"/>
                    <a:pt x="126" y="184"/>
                  </a:cubicBezTo>
                  <a:cubicBezTo>
                    <a:pt x="126" y="62"/>
                    <a:pt x="126" y="62"/>
                    <a:pt x="126" y="6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 name="Freeform 16">
              <a:extLst>
                <a:ext uri="{FF2B5EF4-FFF2-40B4-BE49-F238E27FC236}">
                  <a16:creationId xmlns:a16="http://schemas.microsoft.com/office/drawing/2014/main" id="{813D54D1-3FA4-9C83-06B0-D27EE71E72BA}"/>
                </a:ext>
              </a:extLst>
            </p:cNvPr>
            <p:cNvSpPr>
              <a:spLocks noEditPoints="1"/>
            </p:cNvSpPr>
            <p:nvPr userDrawn="1"/>
          </p:nvSpPr>
          <p:spPr bwMode="auto">
            <a:xfrm>
              <a:off x="7263" y="404"/>
              <a:ext cx="85" cy="88"/>
            </a:xfrm>
            <a:custGeom>
              <a:avLst/>
              <a:gdLst>
                <a:gd name="T0" fmla="*/ 24 w 46"/>
                <a:gd name="T1" fmla="*/ 15 h 47"/>
                <a:gd name="T2" fmla="*/ 20 w 46"/>
                <a:gd name="T3" fmla="*/ 15 h 47"/>
                <a:gd name="T4" fmla="*/ 20 w 46"/>
                <a:gd name="T5" fmla="*/ 23 h 47"/>
                <a:gd name="T6" fmla="*/ 24 w 46"/>
                <a:gd name="T7" fmla="*/ 23 h 47"/>
                <a:gd name="T8" fmla="*/ 28 w 46"/>
                <a:gd name="T9" fmla="*/ 19 h 47"/>
                <a:gd name="T10" fmla="*/ 24 w 46"/>
                <a:gd name="T11" fmla="*/ 15 h 47"/>
                <a:gd name="T12" fmla="*/ 28 w 46"/>
                <a:gd name="T13" fmla="*/ 36 h 47"/>
                <a:gd name="T14" fmla="*/ 23 w 46"/>
                <a:gd name="T15" fmla="*/ 26 h 47"/>
                <a:gd name="T16" fmla="*/ 20 w 46"/>
                <a:gd name="T17" fmla="*/ 26 h 47"/>
                <a:gd name="T18" fmla="*/ 20 w 46"/>
                <a:gd name="T19" fmla="*/ 36 h 47"/>
                <a:gd name="T20" fmla="*/ 15 w 46"/>
                <a:gd name="T21" fmla="*/ 36 h 47"/>
                <a:gd name="T22" fmla="*/ 15 w 46"/>
                <a:gd name="T23" fmla="*/ 11 h 47"/>
                <a:gd name="T24" fmla="*/ 24 w 46"/>
                <a:gd name="T25" fmla="*/ 11 h 47"/>
                <a:gd name="T26" fmla="*/ 33 w 46"/>
                <a:gd name="T27" fmla="*/ 19 h 47"/>
                <a:gd name="T28" fmla="*/ 28 w 46"/>
                <a:gd name="T29" fmla="*/ 26 h 47"/>
                <a:gd name="T30" fmla="*/ 33 w 46"/>
                <a:gd name="T31" fmla="*/ 36 h 47"/>
                <a:gd name="T32" fmla="*/ 28 w 46"/>
                <a:gd name="T33" fmla="*/ 36 h 47"/>
                <a:gd name="T34" fmla="*/ 23 w 46"/>
                <a:gd name="T35" fmla="*/ 5 h 47"/>
                <a:gd name="T36" fmla="*/ 4 w 46"/>
                <a:gd name="T37" fmla="*/ 24 h 47"/>
                <a:gd name="T38" fmla="*/ 23 w 46"/>
                <a:gd name="T39" fmla="*/ 43 h 47"/>
                <a:gd name="T40" fmla="*/ 42 w 46"/>
                <a:gd name="T41" fmla="*/ 24 h 47"/>
                <a:gd name="T42" fmla="*/ 23 w 46"/>
                <a:gd name="T43" fmla="*/ 5 h 47"/>
                <a:gd name="T44" fmla="*/ 23 w 46"/>
                <a:gd name="T45" fmla="*/ 47 h 47"/>
                <a:gd name="T46" fmla="*/ 0 w 46"/>
                <a:gd name="T47" fmla="*/ 24 h 47"/>
                <a:gd name="T48" fmla="*/ 23 w 46"/>
                <a:gd name="T49" fmla="*/ 0 h 47"/>
                <a:gd name="T50" fmla="*/ 46 w 46"/>
                <a:gd name="T51" fmla="*/ 24 h 47"/>
                <a:gd name="T52" fmla="*/ 23 w 46"/>
                <a:gd name="T53"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6" h="47">
                  <a:moveTo>
                    <a:pt x="24" y="15"/>
                  </a:moveTo>
                  <a:cubicBezTo>
                    <a:pt x="20" y="15"/>
                    <a:pt x="20" y="15"/>
                    <a:pt x="20" y="15"/>
                  </a:cubicBezTo>
                  <a:cubicBezTo>
                    <a:pt x="20" y="23"/>
                    <a:pt x="20" y="23"/>
                    <a:pt x="20" y="23"/>
                  </a:cubicBezTo>
                  <a:cubicBezTo>
                    <a:pt x="24" y="23"/>
                    <a:pt x="24" y="23"/>
                    <a:pt x="24" y="23"/>
                  </a:cubicBezTo>
                  <a:cubicBezTo>
                    <a:pt x="26" y="23"/>
                    <a:pt x="28" y="21"/>
                    <a:pt x="28" y="19"/>
                  </a:cubicBezTo>
                  <a:cubicBezTo>
                    <a:pt x="28" y="17"/>
                    <a:pt x="26" y="15"/>
                    <a:pt x="24" y="15"/>
                  </a:cubicBezTo>
                  <a:close/>
                  <a:moveTo>
                    <a:pt x="28" y="36"/>
                  </a:moveTo>
                  <a:cubicBezTo>
                    <a:pt x="23" y="26"/>
                    <a:pt x="23" y="26"/>
                    <a:pt x="23" y="26"/>
                  </a:cubicBezTo>
                  <a:cubicBezTo>
                    <a:pt x="20" y="26"/>
                    <a:pt x="20" y="26"/>
                    <a:pt x="20" y="26"/>
                  </a:cubicBezTo>
                  <a:cubicBezTo>
                    <a:pt x="20" y="36"/>
                    <a:pt x="20" y="36"/>
                    <a:pt x="20" y="36"/>
                  </a:cubicBezTo>
                  <a:cubicBezTo>
                    <a:pt x="15" y="36"/>
                    <a:pt x="15" y="36"/>
                    <a:pt x="15" y="36"/>
                  </a:cubicBezTo>
                  <a:cubicBezTo>
                    <a:pt x="15" y="11"/>
                    <a:pt x="15" y="11"/>
                    <a:pt x="15" y="11"/>
                  </a:cubicBezTo>
                  <a:cubicBezTo>
                    <a:pt x="24" y="11"/>
                    <a:pt x="24" y="11"/>
                    <a:pt x="24" y="11"/>
                  </a:cubicBezTo>
                  <a:cubicBezTo>
                    <a:pt x="29" y="11"/>
                    <a:pt x="33" y="15"/>
                    <a:pt x="33" y="19"/>
                  </a:cubicBezTo>
                  <a:cubicBezTo>
                    <a:pt x="33" y="22"/>
                    <a:pt x="30" y="25"/>
                    <a:pt x="28" y="26"/>
                  </a:cubicBezTo>
                  <a:cubicBezTo>
                    <a:pt x="33" y="36"/>
                    <a:pt x="33" y="36"/>
                    <a:pt x="33" y="36"/>
                  </a:cubicBezTo>
                  <a:cubicBezTo>
                    <a:pt x="28" y="36"/>
                    <a:pt x="28" y="36"/>
                    <a:pt x="28" y="36"/>
                  </a:cubicBezTo>
                  <a:close/>
                  <a:moveTo>
                    <a:pt x="23" y="5"/>
                  </a:moveTo>
                  <a:cubicBezTo>
                    <a:pt x="13" y="5"/>
                    <a:pt x="4" y="13"/>
                    <a:pt x="4" y="24"/>
                  </a:cubicBezTo>
                  <a:cubicBezTo>
                    <a:pt x="4" y="34"/>
                    <a:pt x="13" y="43"/>
                    <a:pt x="23" y="43"/>
                  </a:cubicBezTo>
                  <a:cubicBezTo>
                    <a:pt x="33" y="43"/>
                    <a:pt x="42" y="34"/>
                    <a:pt x="42" y="24"/>
                  </a:cubicBezTo>
                  <a:cubicBezTo>
                    <a:pt x="42" y="13"/>
                    <a:pt x="33" y="5"/>
                    <a:pt x="23" y="5"/>
                  </a:cubicBezTo>
                  <a:close/>
                  <a:moveTo>
                    <a:pt x="23" y="47"/>
                  </a:moveTo>
                  <a:cubicBezTo>
                    <a:pt x="10" y="47"/>
                    <a:pt x="0" y="37"/>
                    <a:pt x="0" y="24"/>
                  </a:cubicBezTo>
                  <a:cubicBezTo>
                    <a:pt x="0" y="11"/>
                    <a:pt x="10" y="0"/>
                    <a:pt x="23" y="0"/>
                  </a:cubicBezTo>
                  <a:cubicBezTo>
                    <a:pt x="36" y="0"/>
                    <a:pt x="46" y="11"/>
                    <a:pt x="46" y="24"/>
                  </a:cubicBezTo>
                  <a:cubicBezTo>
                    <a:pt x="46" y="37"/>
                    <a:pt x="36" y="47"/>
                    <a:pt x="23" y="4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16">
            <a:extLst>
              <a:ext uri="{FF2B5EF4-FFF2-40B4-BE49-F238E27FC236}">
                <a16:creationId xmlns:a16="http://schemas.microsoft.com/office/drawing/2014/main" id="{B4C5CD3A-C341-007D-03BC-CD08509962D4}"/>
              </a:ext>
            </a:extLst>
          </p:cNvPr>
          <p:cNvPicPr>
            <a:picLocks noChangeAspect="1"/>
          </p:cNvPicPr>
          <p:nvPr userDrawn="1"/>
        </p:nvPicPr>
        <p:blipFill rotWithShape="1">
          <a:blip r:embed="rId3">
            <a:alphaModFix amt="17000"/>
          </a:blip>
          <a:srcRect l="30368" t="33079"/>
          <a:stretch/>
        </p:blipFill>
        <p:spPr>
          <a:xfrm>
            <a:off x="-1" y="0"/>
            <a:ext cx="5905501" cy="5029200"/>
          </a:xfrm>
          <a:prstGeom prst="rect">
            <a:avLst/>
          </a:prstGeom>
        </p:spPr>
      </p:pic>
      <p:sp>
        <p:nvSpPr>
          <p:cNvPr id="2" name="Title 1">
            <a:extLst>
              <a:ext uri="{FF2B5EF4-FFF2-40B4-BE49-F238E27FC236}">
                <a16:creationId xmlns:a16="http://schemas.microsoft.com/office/drawing/2014/main" id="{2023DCAE-2650-4713-5F47-60C6BF4D5784}"/>
              </a:ext>
            </a:extLst>
          </p:cNvPr>
          <p:cNvSpPr>
            <a:spLocks noGrp="1"/>
          </p:cNvSpPr>
          <p:nvPr>
            <p:ph type="ctrTitle"/>
          </p:nvPr>
        </p:nvSpPr>
        <p:spPr>
          <a:xfrm>
            <a:off x="508000" y="648182"/>
            <a:ext cx="5854700" cy="2171217"/>
          </a:xfrm>
        </p:spPr>
        <p:txBody>
          <a:bodyPr anchor="b">
            <a:normAutofit/>
          </a:bodyPr>
          <a:lstStyle>
            <a:lvl1pPr algn="l">
              <a:defRPr sz="440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285CF858-0939-0CE4-E887-6A1D6AEA12B9}"/>
              </a:ext>
            </a:extLst>
          </p:cNvPr>
          <p:cNvSpPr>
            <a:spLocks noGrp="1"/>
          </p:cNvSpPr>
          <p:nvPr>
            <p:ph type="subTitle" idx="1"/>
          </p:nvPr>
        </p:nvSpPr>
        <p:spPr>
          <a:xfrm>
            <a:off x="508000" y="2965704"/>
            <a:ext cx="5854700" cy="421386"/>
          </a:xfrm>
        </p:spPr>
        <p:txBody>
          <a:bodyPr>
            <a:normAutofit/>
          </a:bodyPr>
          <a:lstStyle>
            <a:lvl1pPr marL="0" indent="0" algn="l">
              <a:buNone/>
              <a:defRPr sz="1800">
                <a:solidFill>
                  <a:schemeClr val="accent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ext Placeholder 8">
            <a:extLst>
              <a:ext uri="{FF2B5EF4-FFF2-40B4-BE49-F238E27FC236}">
                <a16:creationId xmlns:a16="http://schemas.microsoft.com/office/drawing/2014/main" id="{4681D4B3-46B8-830D-F301-B1BCA23E7013}"/>
              </a:ext>
            </a:extLst>
          </p:cNvPr>
          <p:cNvSpPr>
            <a:spLocks noGrp="1"/>
          </p:cNvSpPr>
          <p:nvPr>
            <p:ph type="body" sz="quarter" idx="13"/>
          </p:nvPr>
        </p:nvSpPr>
        <p:spPr>
          <a:xfrm>
            <a:off x="607653" y="3542665"/>
            <a:ext cx="1097280" cy="45720"/>
          </a:xfrm>
          <a:solidFill>
            <a:schemeClr val="accent2"/>
          </a:solidFill>
        </p:spPr>
        <p:txBody>
          <a:bodyPr>
            <a:noAutofit/>
          </a:bodyPr>
          <a:lstStyle>
            <a:lvl1pPr marL="0" indent="0">
              <a:buNone/>
              <a:defRPr sz="100">
                <a:noFill/>
              </a:defRPr>
            </a:lvl1pPr>
          </a:lstStyle>
          <a:p>
            <a:pPr lvl="0"/>
            <a:endParaRPr lang="en-US"/>
          </a:p>
        </p:txBody>
      </p:sp>
      <p:pic>
        <p:nvPicPr>
          <p:cNvPr id="19" name="Picture 18">
            <a:extLst>
              <a:ext uri="{FF2B5EF4-FFF2-40B4-BE49-F238E27FC236}">
                <a16:creationId xmlns:a16="http://schemas.microsoft.com/office/drawing/2014/main" id="{2B72251E-156E-46D4-2BF9-A315833CCA55}"/>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8199438" y="1059180"/>
            <a:ext cx="1836737" cy="754711"/>
          </a:xfrm>
          <a:prstGeom prst="rect">
            <a:avLst/>
          </a:prstGeom>
        </p:spPr>
      </p:pic>
      <p:pic>
        <p:nvPicPr>
          <p:cNvPr id="24" name="Picture 23" descr="Logo, company name&#10;&#10;Description automatically generated">
            <a:extLst>
              <a:ext uri="{FF2B5EF4-FFF2-40B4-BE49-F238E27FC236}">
                <a16:creationId xmlns:a16="http://schemas.microsoft.com/office/drawing/2014/main" id="{F4BFDC06-7EF0-4DA1-AE91-124AFC0348C4}"/>
              </a:ext>
            </a:extLst>
          </p:cNvPr>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Lst>
          </a:blip>
          <a:stretch>
            <a:fillRect/>
          </a:stretch>
        </p:blipFill>
        <p:spPr>
          <a:xfrm>
            <a:off x="601302" y="5700447"/>
            <a:ext cx="1606550" cy="876299"/>
          </a:xfrm>
          <a:prstGeom prst="rect">
            <a:avLst/>
          </a:prstGeom>
        </p:spPr>
      </p:pic>
    </p:spTree>
    <p:extLst>
      <p:ext uri="{BB962C8B-B14F-4D97-AF65-F5344CB8AC3E}">
        <p14:creationId xmlns:p14="http://schemas.microsoft.com/office/powerpoint/2010/main" val="759787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E2BA3E1-A487-917F-743E-237F89C04B86}"/>
              </a:ext>
            </a:extLst>
          </p:cNvPr>
          <p:cNvPicPr>
            <a:picLocks noChangeAspect="1"/>
          </p:cNvPicPr>
          <p:nvPr userDrawn="1"/>
        </p:nvPicPr>
        <p:blipFill>
          <a:blip r:embed="rId2">
            <a:extLst>
              <a:ext uri="{28A0092B-C50C-407E-A947-70E740481C1C}">
                <a14:useLocalDpi xmlns:a14="http://schemas.microsoft.com/office/drawing/2010/main"/>
              </a:ext>
            </a:extLst>
          </a:blip>
          <a:srcRect t="206" b="206"/>
          <a:stretch/>
        </p:blipFill>
        <p:spPr>
          <a:xfrm>
            <a:off x="1252" y="0"/>
            <a:ext cx="12242466" cy="6858000"/>
          </a:xfrm>
          <a:prstGeom prst="rect">
            <a:avLst/>
          </a:prstGeom>
        </p:spPr>
      </p:pic>
      <p:grpSp>
        <p:nvGrpSpPr>
          <p:cNvPr id="4" name="Group 4">
            <a:extLst>
              <a:ext uri="{FF2B5EF4-FFF2-40B4-BE49-F238E27FC236}">
                <a16:creationId xmlns:a16="http://schemas.microsoft.com/office/drawing/2014/main" id="{FEB7D14F-60EC-F337-42E9-152257ADC3C8}"/>
              </a:ext>
            </a:extLst>
          </p:cNvPr>
          <p:cNvGrpSpPr>
            <a:grpSpLocks noChangeAspect="1"/>
          </p:cNvGrpSpPr>
          <p:nvPr userDrawn="1"/>
        </p:nvGrpSpPr>
        <p:grpSpPr bwMode="auto">
          <a:xfrm>
            <a:off x="7253288" y="506413"/>
            <a:ext cx="4408487" cy="714375"/>
            <a:chOff x="4569" y="319"/>
            <a:chExt cx="2777" cy="450"/>
          </a:xfrm>
        </p:grpSpPr>
        <p:sp>
          <p:nvSpPr>
            <p:cNvPr id="5" name="AutoShape 3">
              <a:extLst>
                <a:ext uri="{FF2B5EF4-FFF2-40B4-BE49-F238E27FC236}">
                  <a16:creationId xmlns:a16="http://schemas.microsoft.com/office/drawing/2014/main" id="{2F1C37D4-1D80-D591-1F8A-CCB5B583EFB8}"/>
                </a:ext>
              </a:extLst>
            </p:cNvPr>
            <p:cNvSpPr>
              <a:spLocks noChangeAspect="1" noChangeArrowheads="1" noTextEdit="1"/>
            </p:cNvSpPr>
            <p:nvPr userDrawn="1"/>
          </p:nvSpPr>
          <p:spPr bwMode="auto">
            <a:xfrm>
              <a:off x="4569" y="319"/>
              <a:ext cx="2777" cy="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 name="Oval 5">
              <a:extLst>
                <a:ext uri="{FF2B5EF4-FFF2-40B4-BE49-F238E27FC236}">
                  <a16:creationId xmlns:a16="http://schemas.microsoft.com/office/drawing/2014/main" id="{BDB35688-4C75-6058-4F62-3400A7D471C0}"/>
                </a:ext>
              </a:extLst>
            </p:cNvPr>
            <p:cNvSpPr>
              <a:spLocks noChangeArrowheads="1"/>
            </p:cNvSpPr>
            <p:nvPr userDrawn="1"/>
          </p:nvSpPr>
          <p:spPr bwMode="auto">
            <a:xfrm>
              <a:off x="6094" y="323"/>
              <a:ext cx="74" cy="73"/>
            </a:xfrm>
            <a:prstGeom prst="ellipse">
              <a:avLst/>
            </a:prstGeom>
            <a:solidFill>
              <a:srgbClr val="00A7C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 name="Freeform 6">
              <a:extLst>
                <a:ext uri="{FF2B5EF4-FFF2-40B4-BE49-F238E27FC236}">
                  <a16:creationId xmlns:a16="http://schemas.microsoft.com/office/drawing/2014/main" id="{B3C0F009-C6EA-2052-A41A-608D0745751C}"/>
                </a:ext>
              </a:extLst>
            </p:cNvPr>
            <p:cNvSpPr>
              <a:spLocks noEditPoints="1"/>
            </p:cNvSpPr>
            <p:nvPr userDrawn="1"/>
          </p:nvSpPr>
          <p:spPr bwMode="auto">
            <a:xfrm>
              <a:off x="6070" y="417"/>
              <a:ext cx="252" cy="352"/>
            </a:xfrm>
            <a:custGeom>
              <a:avLst/>
              <a:gdLst>
                <a:gd name="T0" fmla="*/ 118 w 136"/>
                <a:gd name="T1" fmla="*/ 14 h 188"/>
                <a:gd name="T2" fmla="*/ 66 w 136"/>
                <a:gd name="T3" fmla="*/ 48 h 188"/>
                <a:gd name="T4" fmla="*/ 18 w 136"/>
                <a:gd name="T5" fmla="*/ 152 h 188"/>
                <a:gd name="T6" fmla="*/ 26 w 136"/>
                <a:gd name="T7" fmla="*/ 174 h 188"/>
                <a:gd name="T8" fmla="*/ 39 w 136"/>
                <a:gd name="T9" fmla="*/ 175 h 188"/>
                <a:gd name="T10" fmla="*/ 48 w 136"/>
                <a:gd name="T11" fmla="*/ 166 h 188"/>
                <a:gd name="T12" fmla="*/ 118 w 136"/>
                <a:gd name="T13" fmla="*/ 14 h 188"/>
                <a:gd name="T14" fmla="*/ 118 w 136"/>
                <a:gd name="T15" fmla="*/ 14 h 188"/>
                <a:gd name="T16" fmla="*/ 33 w 136"/>
                <a:gd name="T17" fmla="*/ 188 h 188"/>
                <a:gd name="T18" fmla="*/ 21 w 136"/>
                <a:gd name="T19" fmla="*/ 185 h 188"/>
                <a:gd name="T20" fmla="*/ 7 w 136"/>
                <a:gd name="T21" fmla="*/ 147 h 188"/>
                <a:gd name="T22" fmla="*/ 55 w 136"/>
                <a:gd name="T23" fmla="*/ 43 h 188"/>
                <a:gd name="T24" fmla="*/ 100 w 136"/>
                <a:gd name="T25" fmla="*/ 4 h 188"/>
                <a:gd name="T26" fmla="*/ 129 w 136"/>
                <a:gd name="T27" fmla="*/ 3 h 188"/>
                <a:gd name="T28" fmla="*/ 136 w 136"/>
                <a:gd name="T29" fmla="*/ 4 h 188"/>
                <a:gd name="T30" fmla="*/ 59 w 136"/>
                <a:gd name="T31" fmla="*/ 171 h 188"/>
                <a:gd name="T32" fmla="*/ 43 w 136"/>
                <a:gd name="T33" fmla="*/ 186 h 188"/>
                <a:gd name="T34" fmla="*/ 33 w 136"/>
                <a:gd name="T35" fmla="*/ 18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188">
                  <a:moveTo>
                    <a:pt x="118" y="14"/>
                  </a:moveTo>
                  <a:cubicBezTo>
                    <a:pt x="104" y="14"/>
                    <a:pt x="80" y="19"/>
                    <a:pt x="66" y="48"/>
                  </a:cubicBezTo>
                  <a:cubicBezTo>
                    <a:pt x="18" y="152"/>
                    <a:pt x="18" y="152"/>
                    <a:pt x="18" y="152"/>
                  </a:cubicBezTo>
                  <a:cubicBezTo>
                    <a:pt x="14" y="160"/>
                    <a:pt x="18" y="170"/>
                    <a:pt x="26" y="174"/>
                  </a:cubicBezTo>
                  <a:cubicBezTo>
                    <a:pt x="30" y="176"/>
                    <a:pt x="34" y="176"/>
                    <a:pt x="39" y="175"/>
                  </a:cubicBezTo>
                  <a:cubicBezTo>
                    <a:pt x="43" y="173"/>
                    <a:pt x="46" y="170"/>
                    <a:pt x="48" y="166"/>
                  </a:cubicBezTo>
                  <a:cubicBezTo>
                    <a:pt x="118" y="14"/>
                    <a:pt x="118" y="14"/>
                    <a:pt x="118" y="14"/>
                  </a:cubicBezTo>
                  <a:cubicBezTo>
                    <a:pt x="118" y="14"/>
                    <a:pt x="118" y="14"/>
                    <a:pt x="118" y="14"/>
                  </a:cubicBezTo>
                  <a:close/>
                  <a:moveTo>
                    <a:pt x="33" y="188"/>
                  </a:moveTo>
                  <a:cubicBezTo>
                    <a:pt x="29" y="188"/>
                    <a:pt x="25" y="187"/>
                    <a:pt x="21" y="185"/>
                  </a:cubicBezTo>
                  <a:cubicBezTo>
                    <a:pt x="7" y="179"/>
                    <a:pt x="0" y="161"/>
                    <a:pt x="7" y="147"/>
                  </a:cubicBezTo>
                  <a:cubicBezTo>
                    <a:pt x="55" y="43"/>
                    <a:pt x="55" y="43"/>
                    <a:pt x="55" y="43"/>
                  </a:cubicBezTo>
                  <a:cubicBezTo>
                    <a:pt x="67" y="17"/>
                    <a:pt x="86" y="7"/>
                    <a:pt x="100" y="4"/>
                  </a:cubicBezTo>
                  <a:cubicBezTo>
                    <a:pt x="116" y="0"/>
                    <a:pt x="128" y="3"/>
                    <a:pt x="129" y="3"/>
                  </a:cubicBezTo>
                  <a:cubicBezTo>
                    <a:pt x="136" y="4"/>
                    <a:pt x="136" y="4"/>
                    <a:pt x="136" y="4"/>
                  </a:cubicBezTo>
                  <a:cubicBezTo>
                    <a:pt x="59" y="171"/>
                    <a:pt x="59" y="171"/>
                    <a:pt x="59" y="171"/>
                  </a:cubicBezTo>
                  <a:cubicBezTo>
                    <a:pt x="56" y="178"/>
                    <a:pt x="50" y="184"/>
                    <a:pt x="43" y="186"/>
                  </a:cubicBezTo>
                  <a:cubicBezTo>
                    <a:pt x="40" y="187"/>
                    <a:pt x="36" y="188"/>
                    <a:pt x="33" y="188"/>
                  </a:cubicBezTo>
                  <a:close/>
                </a:path>
              </a:pathLst>
            </a:custGeom>
            <a:solidFill>
              <a:srgbClr val="00A7C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 name="Freeform 7">
              <a:extLst>
                <a:ext uri="{FF2B5EF4-FFF2-40B4-BE49-F238E27FC236}">
                  <a16:creationId xmlns:a16="http://schemas.microsoft.com/office/drawing/2014/main" id="{4024E27F-1351-0A24-FBA7-18404D38AE82}"/>
                </a:ext>
              </a:extLst>
            </p:cNvPr>
            <p:cNvSpPr>
              <a:spLocks/>
            </p:cNvSpPr>
            <p:nvPr userDrawn="1"/>
          </p:nvSpPr>
          <p:spPr bwMode="auto">
            <a:xfrm>
              <a:off x="5940" y="417"/>
              <a:ext cx="191" cy="320"/>
            </a:xfrm>
            <a:custGeom>
              <a:avLst/>
              <a:gdLst>
                <a:gd name="T0" fmla="*/ 77 w 103"/>
                <a:gd name="T1" fmla="*/ 147 h 171"/>
                <a:gd name="T2" fmla="*/ 78 w 103"/>
                <a:gd name="T3" fmla="*/ 144 h 171"/>
                <a:gd name="T4" fmla="*/ 18 w 103"/>
                <a:gd name="T5" fmla="*/ 14 h 171"/>
                <a:gd name="T6" fmla="*/ 19 w 103"/>
                <a:gd name="T7" fmla="*/ 14 h 171"/>
                <a:gd name="T8" fmla="*/ 70 w 103"/>
                <a:gd name="T9" fmla="*/ 48 h 171"/>
                <a:gd name="T10" fmla="*/ 96 w 103"/>
                <a:gd name="T11" fmla="*/ 105 h 171"/>
                <a:gd name="T12" fmla="*/ 103 w 103"/>
                <a:gd name="T13" fmla="*/ 90 h 171"/>
                <a:gd name="T14" fmla="*/ 81 w 103"/>
                <a:gd name="T15" fmla="*/ 43 h 171"/>
                <a:gd name="T16" fmla="*/ 36 w 103"/>
                <a:gd name="T17" fmla="*/ 4 h 171"/>
                <a:gd name="T18" fmla="*/ 7 w 103"/>
                <a:gd name="T19" fmla="*/ 3 h 171"/>
                <a:gd name="T20" fmla="*/ 0 w 103"/>
                <a:gd name="T21" fmla="*/ 4 h 171"/>
                <a:gd name="T22" fmla="*/ 77 w 103"/>
                <a:gd name="T23" fmla="*/ 171 h 171"/>
                <a:gd name="T24" fmla="*/ 77 w 103"/>
                <a:gd name="T25" fmla="*/ 171 h 171"/>
                <a:gd name="T26" fmla="*/ 77 w 103"/>
                <a:gd name="T27" fmla="*/ 147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3" h="171">
                  <a:moveTo>
                    <a:pt x="77" y="147"/>
                  </a:moveTo>
                  <a:cubicBezTo>
                    <a:pt x="78" y="144"/>
                    <a:pt x="78" y="144"/>
                    <a:pt x="78" y="144"/>
                  </a:cubicBezTo>
                  <a:cubicBezTo>
                    <a:pt x="18" y="14"/>
                    <a:pt x="18" y="14"/>
                    <a:pt x="18" y="14"/>
                  </a:cubicBezTo>
                  <a:cubicBezTo>
                    <a:pt x="18" y="14"/>
                    <a:pt x="18" y="14"/>
                    <a:pt x="19" y="14"/>
                  </a:cubicBezTo>
                  <a:cubicBezTo>
                    <a:pt x="32" y="14"/>
                    <a:pt x="56" y="19"/>
                    <a:pt x="70" y="48"/>
                  </a:cubicBezTo>
                  <a:cubicBezTo>
                    <a:pt x="96" y="105"/>
                    <a:pt x="96" y="105"/>
                    <a:pt x="96" y="105"/>
                  </a:cubicBezTo>
                  <a:cubicBezTo>
                    <a:pt x="103" y="90"/>
                    <a:pt x="103" y="90"/>
                    <a:pt x="103" y="90"/>
                  </a:cubicBezTo>
                  <a:cubicBezTo>
                    <a:pt x="81" y="43"/>
                    <a:pt x="81" y="43"/>
                    <a:pt x="81" y="43"/>
                  </a:cubicBezTo>
                  <a:cubicBezTo>
                    <a:pt x="69" y="17"/>
                    <a:pt x="50" y="7"/>
                    <a:pt x="36" y="4"/>
                  </a:cubicBezTo>
                  <a:cubicBezTo>
                    <a:pt x="20" y="0"/>
                    <a:pt x="8" y="3"/>
                    <a:pt x="7" y="3"/>
                  </a:cubicBezTo>
                  <a:cubicBezTo>
                    <a:pt x="0" y="4"/>
                    <a:pt x="0" y="4"/>
                    <a:pt x="0" y="4"/>
                  </a:cubicBezTo>
                  <a:cubicBezTo>
                    <a:pt x="77" y="171"/>
                    <a:pt x="77" y="171"/>
                    <a:pt x="77" y="171"/>
                  </a:cubicBezTo>
                  <a:cubicBezTo>
                    <a:pt x="77" y="171"/>
                    <a:pt x="77" y="171"/>
                    <a:pt x="77" y="171"/>
                  </a:cubicBezTo>
                  <a:cubicBezTo>
                    <a:pt x="74" y="164"/>
                    <a:pt x="73" y="155"/>
                    <a:pt x="77" y="14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 name="Freeform 8">
              <a:extLst>
                <a:ext uri="{FF2B5EF4-FFF2-40B4-BE49-F238E27FC236}">
                  <a16:creationId xmlns:a16="http://schemas.microsoft.com/office/drawing/2014/main" id="{E985C2E2-E7B1-732A-546F-1D40C1A167C2}"/>
                </a:ext>
              </a:extLst>
            </p:cNvPr>
            <p:cNvSpPr>
              <a:spLocks/>
            </p:cNvSpPr>
            <p:nvPr userDrawn="1"/>
          </p:nvSpPr>
          <p:spPr bwMode="auto">
            <a:xfrm>
              <a:off x="6131" y="614"/>
              <a:ext cx="46" cy="116"/>
            </a:xfrm>
            <a:custGeom>
              <a:avLst/>
              <a:gdLst>
                <a:gd name="T0" fmla="*/ 0 w 25"/>
                <a:gd name="T1" fmla="*/ 15 h 62"/>
                <a:gd name="T2" fmla="*/ 15 w 25"/>
                <a:gd name="T3" fmla="*/ 47 h 62"/>
                <a:gd name="T4" fmla="*/ 15 w 25"/>
                <a:gd name="T5" fmla="*/ 62 h 62"/>
                <a:gd name="T6" fmla="*/ 15 w 25"/>
                <a:gd name="T7" fmla="*/ 61 h 62"/>
                <a:gd name="T8" fmla="*/ 25 w 25"/>
                <a:gd name="T9" fmla="*/ 39 h 62"/>
                <a:gd name="T10" fmla="*/ 7 w 25"/>
                <a:gd name="T11" fmla="*/ 0 h 62"/>
                <a:gd name="T12" fmla="*/ 0 w 25"/>
                <a:gd name="T13" fmla="*/ 15 h 62"/>
              </a:gdLst>
              <a:ahLst/>
              <a:cxnLst>
                <a:cxn ang="0">
                  <a:pos x="T0" y="T1"/>
                </a:cxn>
                <a:cxn ang="0">
                  <a:pos x="T2" y="T3"/>
                </a:cxn>
                <a:cxn ang="0">
                  <a:pos x="T4" y="T5"/>
                </a:cxn>
                <a:cxn ang="0">
                  <a:pos x="T6" y="T7"/>
                </a:cxn>
                <a:cxn ang="0">
                  <a:pos x="T8" y="T9"/>
                </a:cxn>
                <a:cxn ang="0">
                  <a:pos x="T10" y="T11"/>
                </a:cxn>
                <a:cxn ang="0">
                  <a:pos x="T12" y="T13"/>
                </a:cxn>
              </a:cxnLst>
              <a:rect l="0" t="0" r="r" b="b"/>
              <a:pathLst>
                <a:path w="25" h="62">
                  <a:moveTo>
                    <a:pt x="0" y="15"/>
                  </a:moveTo>
                  <a:cubicBezTo>
                    <a:pt x="15" y="47"/>
                    <a:pt x="15" y="47"/>
                    <a:pt x="15" y="47"/>
                  </a:cubicBezTo>
                  <a:cubicBezTo>
                    <a:pt x="17" y="52"/>
                    <a:pt x="17" y="57"/>
                    <a:pt x="15" y="62"/>
                  </a:cubicBezTo>
                  <a:cubicBezTo>
                    <a:pt x="15" y="61"/>
                    <a:pt x="15" y="61"/>
                    <a:pt x="15" y="61"/>
                  </a:cubicBezTo>
                  <a:cubicBezTo>
                    <a:pt x="25" y="39"/>
                    <a:pt x="25" y="39"/>
                    <a:pt x="25" y="39"/>
                  </a:cubicBezTo>
                  <a:cubicBezTo>
                    <a:pt x="7" y="0"/>
                    <a:pt x="7" y="0"/>
                    <a:pt x="7" y="0"/>
                  </a:cubicBezTo>
                  <a:cubicBezTo>
                    <a:pt x="0" y="15"/>
                    <a:pt x="0" y="15"/>
                    <a:pt x="0" y="1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9">
              <a:extLst>
                <a:ext uri="{FF2B5EF4-FFF2-40B4-BE49-F238E27FC236}">
                  <a16:creationId xmlns:a16="http://schemas.microsoft.com/office/drawing/2014/main" id="{FD2D848C-48FC-A862-E764-F3B85EFB019D}"/>
                </a:ext>
              </a:extLst>
            </p:cNvPr>
            <p:cNvSpPr>
              <a:spLocks/>
            </p:cNvSpPr>
            <p:nvPr userDrawn="1"/>
          </p:nvSpPr>
          <p:spPr bwMode="auto">
            <a:xfrm>
              <a:off x="5578" y="426"/>
              <a:ext cx="293" cy="343"/>
            </a:xfrm>
            <a:custGeom>
              <a:avLst/>
              <a:gdLst>
                <a:gd name="T0" fmla="*/ 80 w 158"/>
                <a:gd name="T1" fmla="*/ 183 h 183"/>
                <a:gd name="T2" fmla="*/ 49 w 158"/>
                <a:gd name="T3" fmla="*/ 179 h 183"/>
                <a:gd name="T4" fmla="*/ 23 w 158"/>
                <a:gd name="T5" fmla="*/ 167 h 183"/>
                <a:gd name="T6" fmla="*/ 6 w 158"/>
                <a:gd name="T7" fmla="*/ 148 h 183"/>
                <a:gd name="T8" fmla="*/ 0 w 158"/>
                <a:gd name="T9" fmla="*/ 122 h 183"/>
                <a:gd name="T10" fmla="*/ 0 w 158"/>
                <a:gd name="T11" fmla="*/ 0 h 183"/>
                <a:gd name="T12" fmla="*/ 32 w 158"/>
                <a:gd name="T13" fmla="*/ 0 h 183"/>
                <a:gd name="T14" fmla="*/ 32 w 158"/>
                <a:gd name="T15" fmla="*/ 122 h 183"/>
                <a:gd name="T16" fmla="*/ 37 w 158"/>
                <a:gd name="T17" fmla="*/ 135 h 183"/>
                <a:gd name="T18" fmla="*/ 48 w 158"/>
                <a:gd name="T19" fmla="*/ 144 h 183"/>
                <a:gd name="T20" fmla="*/ 64 w 158"/>
                <a:gd name="T21" fmla="*/ 149 h 183"/>
                <a:gd name="T22" fmla="*/ 80 w 158"/>
                <a:gd name="T23" fmla="*/ 151 h 183"/>
                <a:gd name="T24" fmla="*/ 95 w 158"/>
                <a:gd name="T25" fmla="*/ 149 h 183"/>
                <a:gd name="T26" fmla="*/ 110 w 158"/>
                <a:gd name="T27" fmla="*/ 144 h 183"/>
                <a:gd name="T28" fmla="*/ 121 w 158"/>
                <a:gd name="T29" fmla="*/ 135 h 183"/>
                <a:gd name="T30" fmla="*/ 125 w 158"/>
                <a:gd name="T31" fmla="*/ 122 h 183"/>
                <a:gd name="T32" fmla="*/ 125 w 158"/>
                <a:gd name="T33" fmla="*/ 0 h 183"/>
                <a:gd name="T34" fmla="*/ 158 w 158"/>
                <a:gd name="T35" fmla="*/ 0 h 183"/>
                <a:gd name="T36" fmla="*/ 158 w 158"/>
                <a:gd name="T37" fmla="*/ 122 h 183"/>
                <a:gd name="T38" fmla="*/ 152 w 158"/>
                <a:gd name="T39" fmla="*/ 148 h 183"/>
                <a:gd name="T40" fmla="*/ 136 w 158"/>
                <a:gd name="T41" fmla="*/ 167 h 183"/>
                <a:gd name="T42" fmla="*/ 111 w 158"/>
                <a:gd name="T43" fmla="*/ 179 h 183"/>
                <a:gd name="T44" fmla="*/ 80 w 158"/>
                <a:gd name="T45" fmla="*/ 183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8" h="183">
                  <a:moveTo>
                    <a:pt x="80" y="183"/>
                  </a:moveTo>
                  <a:cubicBezTo>
                    <a:pt x="69" y="183"/>
                    <a:pt x="59" y="182"/>
                    <a:pt x="49" y="179"/>
                  </a:cubicBezTo>
                  <a:cubicBezTo>
                    <a:pt x="39" y="177"/>
                    <a:pt x="31" y="173"/>
                    <a:pt x="23" y="167"/>
                  </a:cubicBezTo>
                  <a:cubicBezTo>
                    <a:pt x="16" y="162"/>
                    <a:pt x="10" y="156"/>
                    <a:pt x="6" y="148"/>
                  </a:cubicBezTo>
                  <a:cubicBezTo>
                    <a:pt x="2" y="140"/>
                    <a:pt x="0" y="131"/>
                    <a:pt x="0" y="122"/>
                  </a:cubicBezTo>
                  <a:cubicBezTo>
                    <a:pt x="0" y="0"/>
                    <a:pt x="0" y="0"/>
                    <a:pt x="0" y="0"/>
                  </a:cubicBezTo>
                  <a:cubicBezTo>
                    <a:pt x="32" y="0"/>
                    <a:pt x="32" y="0"/>
                    <a:pt x="32" y="0"/>
                  </a:cubicBezTo>
                  <a:cubicBezTo>
                    <a:pt x="32" y="122"/>
                    <a:pt x="32" y="122"/>
                    <a:pt x="32" y="122"/>
                  </a:cubicBezTo>
                  <a:cubicBezTo>
                    <a:pt x="32" y="127"/>
                    <a:pt x="34" y="132"/>
                    <a:pt x="37" y="135"/>
                  </a:cubicBezTo>
                  <a:cubicBezTo>
                    <a:pt x="40" y="139"/>
                    <a:pt x="44" y="142"/>
                    <a:pt x="48" y="144"/>
                  </a:cubicBezTo>
                  <a:cubicBezTo>
                    <a:pt x="53" y="146"/>
                    <a:pt x="58" y="148"/>
                    <a:pt x="64" y="149"/>
                  </a:cubicBezTo>
                  <a:cubicBezTo>
                    <a:pt x="70" y="150"/>
                    <a:pt x="75" y="151"/>
                    <a:pt x="80" y="151"/>
                  </a:cubicBezTo>
                  <a:cubicBezTo>
                    <a:pt x="85" y="151"/>
                    <a:pt x="90" y="150"/>
                    <a:pt x="95" y="149"/>
                  </a:cubicBezTo>
                  <a:cubicBezTo>
                    <a:pt x="100" y="148"/>
                    <a:pt x="105" y="146"/>
                    <a:pt x="110" y="144"/>
                  </a:cubicBezTo>
                  <a:cubicBezTo>
                    <a:pt x="114" y="142"/>
                    <a:pt x="118" y="139"/>
                    <a:pt x="121" y="135"/>
                  </a:cubicBezTo>
                  <a:cubicBezTo>
                    <a:pt x="124" y="132"/>
                    <a:pt x="125" y="127"/>
                    <a:pt x="125" y="122"/>
                  </a:cubicBezTo>
                  <a:cubicBezTo>
                    <a:pt x="125" y="0"/>
                    <a:pt x="125" y="0"/>
                    <a:pt x="125" y="0"/>
                  </a:cubicBezTo>
                  <a:cubicBezTo>
                    <a:pt x="158" y="0"/>
                    <a:pt x="158" y="0"/>
                    <a:pt x="158" y="0"/>
                  </a:cubicBezTo>
                  <a:cubicBezTo>
                    <a:pt x="158" y="122"/>
                    <a:pt x="158" y="122"/>
                    <a:pt x="158" y="122"/>
                  </a:cubicBezTo>
                  <a:cubicBezTo>
                    <a:pt x="158" y="131"/>
                    <a:pt x="156" y="140"/>
                    <a:pt x="152" y="148"/>
                  </a:cubicBezTo>
                  <a:cubicBezTo>
                    <a:pt x="149" y="156"/>
                    <a:pt x="143" y="162"/>
                    <a:pt x="136" y="167"/>
                  </a:cubicBezTo>
                  <a:cubicBezTo>
                    <a:pt x="129" y="173"/>
                    <a:pt x="121" y="177"/>
                    <a:pt x="111" y="179"/>
                  </a:cubicBezTo>
                  <a:cubicBezTo>
                    <a:pt x="102" y="182"/>
                    <a:pt x="91" y="183"/>
                    <a:pt x="80" y="18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 name="Freeform 10">
              <a:extLst>
                <a:ext uri="{FF2B5EF4-FFF2-40B4-BE49-F238E27FC236}">
                  <a16:creationId xmlns:a16="http://schemas.microsoft.com/office/drawing/2014/main" id="{2BCE2F22-4C7C-1880-F508-0DD0C9DD0909}"/>
                </a:ext>
              </a:extLst>
            </p:cNvPr>
            <p:cNvSpPr>
              <a:spLocks/>
            </p:cNvSpPr>
            <p:nvPr userDrawn="1"/>
          </p:nvSpPr>
          <p:spPr bwMode="auto">
            <a:xfrm>
              <a:off x="5203" y="421"/>
              <a:ext cx="294" cy="344"/>
            </a:xfrm>
            <a:custGeom>
              <a:avLst/>
              <a:gdLst>
                <a:gd name="T0" fmla="*/ 126 w 158"/>
                <a:gd name="T1" fmla="*/ 184 h 184"/>
                <a:gd name="T2" fmla="*/ 126 w 158"/>
                <a:gd name="T3" fmla="*/ 62 h 184"/>
                <a:gd name="T4" fmla="*/ 121 w 158"/>
                <a:gd name="T5" fmla="*/ 48 h 184"/>
                <a:gd name="T6" fmla="*/ 110 w 158"/>
                <a:gd name="T7" fmla="*/ 39 h 184"/>
                <a:gd name="T8" fmla="*/ 94 w 158"/>
                <a:gd name="T9" fmla="*/ 34 h 184"/>
                <a:gd name="T10" fmla="*/ 79 w 158"/>
                <a:gd name="T11" fmla="*/ 33 h 184"/>
                <a:gd name="T12" fmla="*/ 63 w 158"/>
                <a:gd name="T13" fmla="*/ 34 h 184"/>
                <a:gd name="T14" fmla="*/ 48 w 158"/>
                <a:gd name="T15" fmla="*/ 39 h 184"/>
                <a:gd name="T16" fmla="*/ 37 w 158"/>
                <a:gd name="T17" fmla="*/ 48 h 184"/>
                <a:gd name="T18" fmla="*/ 33 w 158"/>
                <a:gd name="T19" fmla="*/ 62 h 184"/>
                <a:gd name="T20" fmla="*/ 33 w 158"/>
                <a:gd name="T21" fmla="*/ 184 h 184"/>
                <a:gd name="T22" fmla="*/ 0 w 158"/>
                <a:gd name="T23" fmla="*/ 184 h 184"/>
                <a:gd name="T24" fmla="*/ 0 w 158"/>
                <a:gd name="T25" fmla="*/ 62 h 184"/>
                <a:gd name="T26" fmla="*/ 6 w 158"/>
                <a:gd name="T27" fmla="*/ 35 h 184"/>
                <a:gd name="T28" fmla="*/ 23 w 158"/>
                <a:gd name="T29" fmla="*/ 16 h 184"/>
                <a:gd name="T30" fmla="*/ 48 w 158"/>
                <a:gd name="T31" fmla="*/ 4 h 184"/>
                <a:gd name="T32" fmla="*/ 79 w 158"/>
                <a:gd name="T33" fmla="*/ 0 h 184"/>
                <a:gd name="T34" fmla="*/ 110 w 158"/>
                <a:gd name="T35" fmla="*/ 4 h 184"/>
                <a:gd name="T36" fmla="*/ 135 w 158"/>
                <a:gd name="T37" fmla="*/ 16 h 184"/>
                <a:gd name="T38" fmla="*/ 152 w 158"/>
                <a:gd name="T39" fmla="*/ 35 h 184"/>
                <a:gd name="T40" fmla="*/ 158 w 158"/>
                <a:gd name="T41" fmla="*/ 62 h 184"/>
                <a:gd name="T42" fmla="*/ 158 w 158"/>
                <a:gd name="T43" fmla="*/ 184 h 184"/>
                <a:gd name="T44" fmla="*/ 126 w 158"/>
                <a:gd name="T45" fmla="*/ 1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8" h="184">
                  <a:moveTo>
                    <a:pt x="126" y="184"/>
                  </a:moveTo>
                  <a:cubicBezTo>
                    <a:pt x="126" y="62"/>
                    <a:pt x="126" y="62"/>
                    <a:pt x="126" y="62"/>
                  </a:cubicBezTo>
                  <a:cubicBezTo>
                    <a:pt x="126" y="56"/>
                    <a:pt x="124" y="52"/>
                    <a:pt x="121" y="48"/>
                  </a:cubicBezTo>
                  <a:cubicBezTo>
                    <a:pt x="118" y="45"/>
                    <a:pt x="114" y="41"/>
                    <a:pt x="110" y="39"/>
                  </a:cubicBezTo>
                  <a:cubicBezTo>
                    <a:pt x="105" y="37"/>
                    <a:pt x="100" y="35"/>
                    <a:pt x="94" y="34"/>
                  </a:cubicBezTo>
                  <a:cubicBezTo>
                    <a:pt x="89" y="33"/>
                    <a:pt x="84" y="33"/>
                    <a:pt x="79" y="33"/>
                  </a:cubicBezTo>
                  <a:cubicBezTo>
                    <a:pt x="74" y="33"/>
                    <a:pt x="69" y="33"/>
                    <a:pt x="63" y="34"/>
                  </a:cubicBezTo>
                  <a:cubicBezTo>
                    <a:pt x="58" y="35"/>
                    <a:pt x="53" y="37"/>
                    <a:pt x="48" y="39"/>
                  </a:cubicBezTo>
                  <a:cubicBezTo>
                    <a:pt x="44" y="41"/>
                    <a:pt x="40" y="45"/>
                    <a:pt x="37" y="48"/>
                  </a:cubicBezTo>
                  <a:cubicBezTo>
                    <a:pt x="34" y="52"/>
                    <a:pt x="33" y="56"/>
                    <a:pt x="33" y="62"/>
                  </a:cubicBezTo>
                  <a:cubicBezTo>
                    <a:pt x="33" y="184"/>
                    <a:pt x="33" y="184"/>
                    <a:pt x="33" y="184"/>
                  </a:cubicBezTo>
                  <a:cubicBezTo>
                    <a:pt x="0" y="184"/>
                    <a:pt x="0" y="184"/>
                    <a:pt x="0" y="184"/>
                  </a:cubicBezTo>
                  <a:cubicBezTo>
                    <a:pt x="0" y="62"/>
                    <a:pt x="0" y="62"/>
                    <a:pt x="0" y="62"/>
                  </a:cubicBezTo>
                  <a:cubicBezTo>
                    <a:pt x="0" y="52"/>
                    <a:pt x="2" y="43"/>
                    <a:pt x="6" y="35"/>
                  </a:cubicBezTo>
                  <a:cubicBezTo>
                    <a:pt x="10" y="27"/>
                    <a:pt x="16" y="21"/>
                    <a:pt x="23" y="16"/>
                  </a:cubicBezTo>
                  <a:cubicBezTo>
                    <a:pt x="30" y="11"/>
                    <a:pt x="38" y="7"/>
                    <a:pt x="48" y="4"/>
                  </a:cubicBezTo>
                  <a:cubicBezTo>
                    <a:pt x="58" y="1"/>
                    <a:pt x="68" y="0"/>
                    <a:pt x="79" y="0"/>
                  </a:cubicBezTo>
                  <a:cubicBezTo>
                    <a:pt x="90" y="0"/>
                    <a:pt x="101" y="1"/>
                    <a:pt x="110" y="4"/>
                  </a:cubicBezTo>
                  <a:cubicBezTo>
                    <a:pt x="120" y="7"/>
                    <a:pt x="128" y="11"/>
                    <a:pt x="135" y="16"/>
                  </a:cubicBezTo>
                  <a:cubicBezTo>
                    <a:pt x="143" y="21"/>
                    <a:pt x="148" y="28"/>
                    <a:pt x="152" y="35"/>
                  </a:cubicBezTo>
                  <a:cubicBezTo>
                    <a:pt x="156" y="43"/>
                    <a:pt x="158" y="52"/>
                    <a:pt x="158" y="62"/>
                  </a:cubicBezTo>
                  <a:cubicBezTo>
                    <a:pt x="158" y="184"/>
                    <a:pt x="158" y="184"/>
                    <a:pt x="158" y="184"/>
                  </a:cubicBezTo>
                  <a:cubicBezTo>
                    <a:pt x="126" y="184"/>
                    <a:pt x="126" y="184"/>
                    <a:pt x="126" y="1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 name="Freeform 11">
              <a:extLst>
                <a:ext uri="{FF2B5EF4-FFF2-40B4-BE49-F238E27FC236}">
                  <a16:creationId xmlns:a16="http://schemas.microsoft.com/office/drawing/2014/main" id="{A2A03A04-A074-A2F7-592F-A4D7FDEA4A88}"/>
                </a:ext>
              </a:extLst>
            </p:cNvPr>
            <p:cNvSpPr>
              <a:spLocks noEditPoints="1"/>
            </p:cNvSpPr>
            <p:nvPr userDrawn="1"/>
          </p:nvSpPr>
          <p:spPr bwMode="auto">
            <a:xfrm>
              <a:off x="4829" y="421"/>
              <a:ext cx="295" cy="348"/>
            </a:xfrm>
            <a:custGeom>
              <a:avLst/>
              <a:gdLst>
                <a:gd name="T0" fmla="*/ 126 w 159"/>
                <a:gd name="T1" fmla="*/ 77 h 186"/>
                <a:gd name="T2" fmla="*/ 126 w 159"/>
                <a:gd name="T3" fmla="*/ 62 h 186"/>
                <a:gd name="T4" fmla="*/ 122 w 159"/>
                <a:gd name="T5" fmla="*/ 49 h 186"/>
                <a:gd name="T6" fmla="*/ 112 w 159"/>
                <a:gd name="T7" fmla="*/ 40 h 186"/>
                <a:gd name="T8" fmla="*/ 97 w 159"/>
                <a:gd name="T9" fmla="*/ 35 h 186"/>
                <a:gd name="T10" fmla="*/ 79 w 159"/>
                <a:gd name="T11" fmla="*/ 33 h 186"/>
                <a:gd name="T12" fmla="*/ 61 w 159"/>
                <a:gd name="T13" fmla="*/ 35 h 186"/>
                <a:gd name="T14" fmla="*/ 46 w 159"/>
                <a:gd name="T15" fmla="*/ 40 h 186"/>
                <a:gd name="T16" fmla="*/ 37 w 159"/>
                <a:gd name="T17" fmla="*/ 50 h 186"/>
                <a:gd name="T18" fmla="*/ 33 w 159"/>
                <a:gd name="T19" fmla="*/ 62 h 186"/>
                <a:gd name="T20" fmla="*/ 33 w 159"/>
                <a:gd name="T21" fmla="*/ 77 h 186"/>
                <a:gd name="T22" fmla="*/ 126 w 159"/>
                <a:gd name="T23" fmla="*/ 77 h 186"/>
                <a:gd name="T24" fmla="*/ 79 w 159"/>
                <a:gd name="T25" fmla="*/ 186 h 186"/>
                <a:gd name="T26" fmla="*/ 49 w 159"/>
                <a:gd name="T27" fmla="*/ 182 h 186"/>
                <a:gd name="T28" fmla="*/ 24 w 159"/>
                <a:gd name="T29" fmla="*/ 171 h 186"/>
                <a:gd name="T30" fmla="*/ 7 w 159"/>
                <a:gd name="T31" fmla="*/ 151 h 186"/>
                <a:gd name="T32" fmla="*/ 0 w 159"/>
                <a:gd name="T33" fmla="*/ 123 h 186"/>
                <a:gd name="T34" fmla="*/ 0 w 159"/>
                <a:gd name="T35" fmla="*/ 62 h 186"/>
                <a:gd name="T36" fmla="*/ 7 w 159"/>
                <a:gd name="T37" fmla="*/ 35 h 186"/>
                <a:gd name="T38" fmla="*/ 23 w 159"/>
                <a:gd name="T39" fmla="*/ 16 h 186"/>
                <a:gd name="T40" fmla="*/ 48 w 159"/>
                <a:gd name="T41" fmla="*/ 4 h 186"/>
                <a:gd name="T42" fmla="*/ 79 w 159"/>
                <a:gd name="T43" fmla="*/ 0 h 186"/>
                <a:gd name="T44" fmla="*/ 110 w 159"/>
                <a:gd name="T45" fmla="*/ 4 h 186"/>
                <a:gd name="T46" fmla="*/ 135 w 159"/>
                <a:gd name="T47" fmla="*/ 15 h 186"/>
                <a:gd name="T48" fmla="*/ 152 w 159"/>
                <a:gd name="T49" fmla="*/ 34 h 186"/>
                <a:gd name="T50" fmla="*/ 159 w 159"/>
                <a:gd name="T51" fmla="*/ 62 h 186"/>
                <a:gd name="T52" fmla="*/ 159 w 159"/>
                <a:gd name="T53" fmla="*/ 109 h 186"/>
                <a:gd name="T54" fmla="*/ 33 w 159"/>
                <a:gd name="T55" fmla="*/ 109 h 186"/>
                <a:gd name="T56" fmla="*/ 33 w 159"/>
                <a:gd name="T57" fmla="*/ 124 h 186"/>
                <a:gd name="T58" fmla="*/ 37 w 159"/>
                <a:gd name="T59" fmla="*/ 136 h 186"/>
                <a:gd name="T60" fmla="*/ 47 w 159"/>
                <a:gd name="T61" fmla="*/ 146 h 186"/>
                <a:gd name="T62" fmla="*/ 61 w 159"/>
                <a:gd name="T63" fmla="*/ 152 h 186"/>
                <a:gd name="T64" fmla="*/ 79 w 159"/>
                <a:gd name="T65" fmla="*/ 154 h 186"/>
                <a:gd name="T66" fmla="*/ 105 w 159"/>
                <a:gd name="T67" fmla="*/ 149 h 186"/>
                <a:gd name="T68" fmla="*/ 125 w 159"/>
                <a:gd name="T69" fmla="*/ 136 h 186"/>
                <a:gd name="T70" fmla="*/ 125 w 159"/>
                <a:gd name="T71" fmla="*/ 135 h 186"/>
                <a:gd name="T72" fmla="*/ 155 w 159"/>
                <a:gd name="T73" fmla="*/ 152 h 186"/>
                <a:gd name="T74" fmla="*/ 154 w 159"/>
                <a:gd name="T75" fmla="*/ 153 h 186"/>
                <a:gd name="T76" fmla="*/ 123 w 159"/>
                <a:gd name="T77" fmla="*/ 178 h 186"/>
                <a:gd name="T78" fmla="*/ 79 w 159"/>
                <a:gd name="T79" fmla="*/ 186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59" h="186">
                  <a:moveTo>
                    <a:pt x="126" y="77"/>
                  </a:moveTo>
                  <a:cubicBezTo>
                    <a:pt x="126" y="62"/>
                    <a:pt x="126" y="62"/>
                    <a:pt x="126" y="62"/>
                  </a:cubicBezTo>
                  <a:cubicBezTo>
                    <a:pt x="126" y="57"/>
                    <a:pt x="125" y="53"/>
                    <a:pt x="122" y="49"/>
                  </a:cubicBezTo>
                  <a:cubicBezTo>
                    <a:pt x="120" y="46"/>
                    <a:pt x="116" y="42"/>
                    <a:pt x="112" y="40"/>
                  </a:cubicBezTo>
                  <a:cubicBezTo>
                    <a:pt x="108" y="38"/>
                    <a:pt x="103" y="36"/>
                    <a:pt x="97" y="35"/>
                  </a:cubicBezTo>
                  <a:cubicBezTo>
                    <a:pt x="92" y="33"/>
                    <a:pt x="86" y="33"/>
                    <a:pt x="79" y="33"/>
                  </a:cubicBezTo>
                  <a:cubicBezTo>
                    <a:pt x="73" y="33"/>
                    <a:pt x="67" y="33"/>
                    <a:pt x="61" y="35"/>
                  </a:cubicBezTo>
                  <a:cubicBezTo>
                    <a:pt x="56" y="36"/>
                    <a:pt x="51" y="38"/>
                    <a:pt x="46" y="40"/>
                  </a:cubicBezTo>
                  <a:cubicBezTo>
                    <a:pt x="42" y="43"/>
                    <a:pt x="39" y="46"/>
                    <a:pt x="37" y="50"/>
                  </a:cubicBezTo>
                  <a:cubicBezTo>
                    <a:pt x="34" y="53"/>
                    <a:pt x="33" y="57"/>
                    <a:pt x="33" y="62"/>
                  </a:cubicBezTo>
                  <a:cubicBezTo>
                    <a:pt x="33" y="77"/>
                    <a:pt x="33" y="77"/>
                    <a:pt x="33" y="77"/>
                  </a:cubicBezTo>
                  <a:cubicBezTo>
                    <a:pt x="126" y="77"/>
                    <a:pt x="126" y="77"/>
                    <a:pt x="126" y="77"/>
                  </a:cubicBezTo>
                  <a:close/>
                  <a:moveTo>
                    <a:pt x="79" y="186"/>
                  </a:moveTo>
                  <a:cubicBezTo>
                    <a:pt x="69" y="186"/>
                    <a:pt x="59" y="185"/>
                    <a:pt x="49" y="182"/>
                  </a:cubicBezTo>
                  <a:cubicBezTo>
                    <a:pt x="40" y="180"/>
                    <a:pt x="32" y="176"/>
                    <a:pt x="24" y="171"/>
                  </a:cubicBezTo>
                  <a:cubicBezTo>
                    <a:pt x="17" y="166"/>
                    <a:pt x="11" y="159"/>
                    <a:pt x="7" y="151"/>
                  </a:cubicBezTo>
                  <a:cubicBezTo>
                    <a:pt x="3" y="143"/>
                    <a:pt x="0" y="134"/>
                    <a:pt x="0" y="123"/>
                  </a:cubicBezTo>
                  <a:cubicBezTo>
                    <a:pt x="0" y="62"/>
                    <a:pt x="0" y="62"/>
                    <a:pt x="0" y="62"/>
                  </a:cubicBezTo>
                  <a:cubicBezTo>
                    <a:pt x="0" y="52"/>
                    <a:pt x="2" y="43"/>
                    <a:pt x="7" y="35"/>
                  </a:cubicBezTo>
                  <a:cubicBezTo>
                    <a:pt x="11" y="28"/>
                    <a:pt x="16" y="21"/>
                    <a:pt x="23" y="16"/>
                  </a:cubicBezTo>
                  <a:cubicBezTo>
                    <a:pt x="30" y="11"/>
                    <a:pt x="39" y="7"/>
                    <a:pt x="48" y="4"/>
                  </a:cubicBezTo>
                  <a:cubicBezTo>
                    <a:pt x="58" y="1"/>
                    <a:pt x="68" y="0"/>
                    <a:pt x="79" y="0"/>
                  </a:cubicBezTo>
                  <a:cubicBezTo>
                    <a:pt x="90" y="0"/>
                    <a:pt x="100" y="1"/>
                    <a:pt x="110" y="4"/>
                  </a:cubicBezTo>
                  <a:cubicBezTo>
                    <a:pt x="120" y="6"/>
                    <a:pt x="128" y="10"/>
                    <a:pt x="135" y="15"/>
                  </a:cubicBezTo>
                  <a:cubicBezTo>
                    <a:pt x="142" y="20"/>
                    <a:pt x="148" y="26"/>
                    <a:pt x="152" y="34"/>
                  </a:cubicBezTo>
                  <a:cubicBezTo>
                    <a:pt x="156" y="42"/>
                    <a:pt x="159" y="51"/>
                    <a:pt x="159" y="62"/>
                  </a:cubicBezTo>
                  <a:cubicBezTo>
                    <a:pt x="159" y="109"/>
                    <a:pt x="159" y="109"/>
                    <a:pt x="159" y="109"/>
                  </a:cubicBezTo>
                  <a:cubicBezTo>
                    <a:pt x="33" y="109"/>
                    <a:pt x="33" y="109"/>
                    <a:pt x="33" y="109"/>
                  </a:cubicBezTo>
                  <a:cubicBezTo>
                    <a:pt x="33" y="124"/>
                    <a:pt x="33" y="124"/>
                    <a:pt x="33" y="124"/>
                  </a:cubicBezTo>
                  <a:cubicBezTo>
                    <a:pt x="33" y="129"/>
                    <a:pt x="35" y="133"/>
                    <a:pt x="37" y="136"/>
                  </a:cubicBezTo>
                  <a:cubicBezTo>
                    <a:pt x="39" y="140"/>
                    <a:pt x="43" y="143"/>
                    <a:pt x="47" y="146"/>
                  </a:cubicBezTo>
                  <a:cubicBezTo>
                    <a:pt x="51" y="148"/>
                    <a:pt x="56" y="150"/>
                    <a:pt x="61" y="152"/>
                  </a:cubicBezTo>
                  <a:cubicBezTo>
                    <a:pt x="67" y="153"/>
                    <a:pt x="73" y="154"/>
                    <a:pt x="79" y="154"/>
                  </a:cubicBezTo>
                  <a:cubicBezTo>
                    <a:pt x="88" y="154"/>
                    <a:pt x="97" y="152"/>
                    <a:pt x="105" y="149"/>
                  </a:cubicBezTo>
                  <a:cubicBezTo>
                    <a:pt x="113" y="146"/>
                    <a:pt x="120" y="142"/>
                    <a:pt x="125" y="136"/>
                  </a:cubicBezTo>
                  <a:cubicBezTo>
                    <a:pt x="125" y="135"/>
                    <a:pt x="125" y="135"/>
                    <a:pt x="125" y="135"/>
                  </a:cubicBezTo>
                  <a:cubicBezTo>
                    <a:pt x="155" y="152"/>
                    <a:pt x="155" y="152"/>
                    <a:pt x="155" y="152"/>
                  </a:cubicBezTo>
                  <a:cubicBezTo>
                    <a:pt x="154" y="153"/>
                    <a:pt x="154" y="153"/>
                    <a:pt x="154" y="153"/>
                  </a:cubicBezTo>
                  <a:cubicBezTo>
                    <a:pt x="147" y="164"/>
                    <a:pt x="136" y="172"/>
                    <a:pt x="123" y="178"/>
                  </a:cubicBezTo>
                  <a:cubicBezTo>
                    <a:pt x="109" y="183"/>
                    <a:pt x="95" y="186"/>
                    <a:pt x="79" y="18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Freeform 12">
              <a:extLst>
                <a:ext uri="{FF2B5EF4-FFF2-40B4-BE49-F238E27FC236}">
                  <a16:creationId xmlns:a16="http://schemas.microsoft.com/office/drawing/2014/main" id="{FC65BB15-A77F-2AE6-5826-990B7E7B4F74}"/>
                </a:ext>
              </a:extLst>
            </p:cNvPr>
            <p:cNvSpPr>
              <a:spLocks/>
            </p:cNvSpPr>
            <p:nvPr userDrawn="1"/>
          </p:nvSpPr>
          <p:spPr bwMode="auto">
            <a:xfrm>
              <a:off x="4569" y="426"/>
              <a:ext cx="219" cy="339"/>
            </a:xfrm>
            <a:custGeom>
              <a:avLst/>
              <a:gdLst>
                <a:gd name="T0" fmla="*/ 0 w 118"/>
                <a:gd name="T1" fmla="*/ 130 h 181"/>
                <a:gd name="T2" fmla="*/ 0 w 118"/>
                <a:gd name="T3" fmla="*/ 61 h 181"/>
                <a:gd name="T4" fmla="*/ 21 w 118"/>
                <a:gd name="T5" fmla="*/ 16 h 181"/>
                <a:gd name="T6" fmla="*/ 76 w 118"/>
                <a:gd name="T7" fmla="*/ 0 h 181"/>
                <a:gd name="T8" fmla="*/ 118 w 118"/>
                <a:gd name="T9" fmla="*/ 0 h 181"/>
                <a:gd name="T10" fmla="*/ 118 w 118"/>
                <a:gd name="T11" fmla="*/ 32 h 181"/>
                <a:gd name="T12" fmla="*/ 76 w 118"/>
                <a:gd name="T13" fmla="*/ 32 h 181"/>
                <a:gd name="T14" fmla="*/ 45 w 118"/>
                <a:gd name="T15" fmla="*/ 40 h 181"/>
                <a:gd name="T16" fmla="*/ 33 w 118"/>
                <a:gd name="T17" fmla="*/ 61 h 181"/>
                <a:gd name="T18" fmla="*/ 33 w 118"/>
                <a:gd name="T19" fmla="*/ 181 h 181"/>
                <a:gd name="T20" fmla="*/ 0 w 118"/>
                <a:gd name="T21" fmla="*/ 13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8" h="181">
                  <a:moveTo>
                    <a:pt x="0" y="130"/>
                  </a:moveTo>
                  <a:cubicBezTo>
                    <a:pt x="0" y="61"/>
                    <a:pt x="0" y="61"/>
                    <a:pt x="0" y="61"/>
                  </a:cubicBezTo>
                  <a:cubicBezTo>
                    <a:pt x="0" y="42"/>
                    <a:pt x="7" y="27"/>
                    <a:pt x="21" y="16"/>
                  </a:cubicBezTo>
                  <a:cubicBezTo>
                    <a:pt x="34" y="5"/>
                    <a:pt x="53" y="0"/>
                    <a:pt x="76" y="0"/>
                  </a:cubicBezTo>
                  <a:cubicBezTo>
                    <a:pt x="118" y="0"/>
                    <a:pt x="118" y="0"/>
                    <a:pt x="118" y="0"/>
                  </a:cubicBezTo>
                  <a:cubicBezTo>
                    <a:pt x="118" y="32"/>
                    <a:pt x="118" y="32"/>
                    <a:pt x="118" y="32"/>
                  </a:cubicBezTo>
                  <a:cubicBezTo>
                    <a:pt x="76" y="32"/>
                    <a:pt x="76" y="32"/>
                    <a:pt x="76" y="32"/>
                  </a:cubicBezTo>
                  <a:cubicBezTo>
                    <a:pt x="63" y="32"/>
                    <a:pt x="53" y="35"/>
                    <a:pt x="45" y="40"/>
                  </a:cubicBezTo>
                  <a:cubicBezTo>
                    <a:pt x="37" y="45"/>
                    <a:pt x="33" y="52"/>
                    <a:pt x="33" y="61"/>
                  </a:cubicBezTo>
                  <a:cubicBezTo>
                    <a:pt x="33" y="181"/>
                    <a:pt x="33" y="181"/>
                    <a:pt x="33" y="181"/>
                  </a:cubicBezTo>
                  <a:cubicBezTo>
                    <a:pt x="33" y="181"/>
                    <a:pt x="0" y="168"/>
                    <a:pt x="0" y="13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 name="Freeform 13">
              <a:extLst>
                <a:ext uri="{FF2B5EF4-FFF2-40B4-BE49-F238E27FC236}">
                  <a16:creationId xmlns:a16="http://schemas.microsoft.com/office/drawing/2014/main" id="{02A2518A-A389-0B40-24F1-955A74596A0F}"/>
                </a:ext>
              </a:extLst>
            </p:cNvPr>
            <p:cNvSpPr>
              <a:spLocks/>
            </p:cNvSpPr>
            <p:nvPr userDrawn="1"/>
          </p:nvSpPr>
          <p:spPr bwMode="auto">
            <a:xfrm>
              <a:off x="6394" y="426"/>
              <a:ext cx="62" cy="339"/>
            </a:xfrm>
            <a:custGeom>
              <a:avLst/>
              <a:gdLst>
                <a:gd name="T0" fmla="*/ 0 w 62"/>
                <a:gd name="T1" fmla="*/ 339 h 339"/>
                <a:gd name="T2" fmla="*/ 0 w 62"/>
                <a:gd name="T3" fmla="*/ 0 h 339"/>
                <a:gd name="T4" fmla="*/ 62 w 62"/>
                <a:gd name="T5" fmla="*/ 0 h 339"/>
                <a:gd name="T6" fmla="*/ 62 w 62"/>
                <a:gd name="T7" fmla="*/ 339 h 339"/>
                <a:gd name="T8" fmla="*/ 0 w 62"/>
                <a:gd name="T9" fmla="*/ 339 h 339"/>
                <a:gd name="T10" fmla="*/ 0 w 62"/>
                <a:gd name="T11" fmla="*/ 339 h 339"/>
              </a:gdLst>
              <a:ahLst/>
              <a:cxnLst>
                <a:cxn ang="0">
                  <a:pos x="T0" y="T1"/>
                </a:cxn>
                <a:cxn ang="0">
                  <a:pos x="T2" y="T3"/>
                </a:cxn>
                <a:cxn ang="0">
                  <a:pos x="T4" y="T5"/>
                </a:cxn>
                <a:cxn ang="0">
                  <a:pos x="T6" y="T7"/>
                </a:cxn>
                <a:cxn ang="0">
                  <a:pos x="T8" y="T9"/>
                </a:cxn>
                <a:cxn ang="0">
                  <a:pos x="T10" y="T11"/>
                </a:cxn>
              </a:cxnLst>
              <a:rect l="0" t="0" r="r" b="b"/>
              <a:pathLst>
                <a:path w="62" h="339">
                  <a:moveTo>
                    <a:pt x="0" y="339"/>
                  </a:moveTo>
                  <a:lnTo>
                    <a:pt x="0" y="0"/>
                  </a:lnTo>
                  <a:lnTo>
                    <a:pt x="62" y="0"/>
                  </a:lnTo>
                  <a:lnTo>
                    <a:pt x="62" y="339"/>
                  </a:lnTo>
                  <a:lnTo>
                    <a:pt x="0" y="339"/>
                  </a:lnTo>
                  <a:lnTo>
                    <a:pt x="0" y="3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Freeform 14">
              <a:extLst>
                <a:ext uri="{FF2B5EF4-FFF2-40B4-BE49-F238E27FC236}">
                  <a16:creationId xmlns:a16="http://schemas.microsoft.com/office/drawing/2014/main" id="{7EC9E9DE-84F9-F9F1-FC9E-30CB0F33A645}"/>
                </a:ext>
              </a:extLst>
            </p:cNvPr>
            <p:cNvSpPr>
              <a:spLocks noEditPoints="1"/>
            </p:cNvSpPr>
            <p:nvPr userDrawn="1"/>
          </p:nvSpPr>
          <p:spPr bwMode="auto">
            <a:xfrm>
              <a:off x="6545" y="421"/>
              <a:ext cx="293" cy="348"/>
            </a:xfrm>
            <a:custGeom>
              <a:avLst/>
              <a:gdLst>
                <a:gd name="T0" fmla="*/ 79 w 158"/>
                <a:gd name="T1" fmla="*/ 33 h 186"/>
                <a:gd name="T2" fmla="*/ 61 w 158"/>
                <a:gd name="T3" fmla="*/ 35 h 186"/>
                <a:gd name="T4" fmla="*/ 46 w 158"/>
                <a:gd name="T5" fmla="*/ 40 h 186"/>
                <a:gd name="T6" fmla="*/ 36 w 158"/>
                <a:gd name="T7" fmla="*/ 50 h 186"/>
                <a:gd name="T8" fmla="*/ 33 w 158"/>
                <a:gd name="T9" fmla="*/ 62 h 186"/>
                <a:gd name="T10" fmla="*/ 33 w 158"/>
                <a:gd name="T11" fmla="*/ 123 h 186"/>
                <a:gd name="T12" fmla="*/ 36 w 158"/>
                <a:gd name="T13" fmla="*/ 136 h 186"/>
                <a:gd name="T14" fmla="*/ 46 w 158"/>
                <a:gd name="T15" fmla="*/ 146 h 186"/>
                <a:gd name="T16" fmla="*/ 61 w 158"/>
                <a:gd name="T17" fmla="*/ 151 h 186"/>
                <a:gd name="T18" fmla="*/ 79 w 158"/>
                <a:gd name="T19" fmla="*/ 154 h 186"/>
                <a:gd name="T20" fmla="*/ 96 w 158"/>
                <a:gd name="T21" fmla="*/ 151 h 186"/>
                <a:gd name="T22" fmla="*/ 111 w 158"/>
                <a:gd name="T23" fmla="*/ 146 h 186"/>
                <a:gd name="T24" fmla="*/ 121 w 158"/>
                <a:gd name="T25" fmla="*/ 136 h 186"/>
                <a:gd name="T26" fmla="*/ 125 w 158"/>
                <a:gd name="T27" fmla="*/ 123 h 186"/>
                <a:gd name="T28" fmla="*/ 125 w 158"/>
                <a:gd name="T29" fmla="*/ 62 h 186"/>
                <a:gd name="T30" fmla="*/ 121 w 158"/>
                <a:gd name="T31" fmla="*/ 50 h 186"/>
                <a:gd name="T32" fmla="*/ 111 w 158"/>
                <a:gd name="T33" fmla="*/ 40 h 186"/>
                <a:gd name="T34" fmla="*/ 96 w 158"/>
                <a:gd name="T35" fmla="*/ 35 h 186"/>
                <a:gd name="T36" fmla="*/ 79 w 158"/>
                <a:gd name="T37" fmla="*/ 33 h 186"/>
                <a:gd name="T38" fmla="*/ 79 w 158"/>
                <a:gd name="T39" fmla="*/ 186 h 186"/>
                <a:gd name="T40" fmla="*/ 48 w 158"/>
                <a:gd name="T41" fmla="*/ 182 h 186"/>
                <a:gd name="T42" fmla="*/ 23 w 158"/>
                <a:gd name="T43" fmla="*/ 170 h 186"/>
                <a:gd name="T44" fmla="*/ 6 w 158"/>
                <a:gd name="T45" fmla="*/ 150 h 186"/>
                <a:gd name="T46" fmla="*/ 0 w 158"/>
                <a:gd name="T47" fmla="*/ 123 h 186"/>
                <a:gd name="T48" fmla="*/ 0 w 158"/>
                <a:gd name="T49" fmla="*/ 62 h 186"/>
                <a:gd name="T50" fmla="*/ 6 w 158"/>
                <a:gd name="T51" fmla="*/ 35 h 186"/>
                <a:gd name="T52" fmla="*/ 23 w 158"/>
                <a:gd name="T53" fmla="*/ 16 h 186"/>
                <a:gd name="T54" fmla="*/ 48 w 158"/>
                <a:gd name="T55" fmla="*/ 4 h 186"/>
                <a:gd name="T56" fmla="*/ 79 w 158"/>
                <a:gd name="T57" fmla="*/ 0 h 186"/>
                <a:gd name="T58" fmla="*/ 110 w 158"/>
                <a:gd name="T59" fmla="*/ 4 h 186"/>
                <a:gd name="T60" fmla="*/ 135 w 158"/>
                <a:gd name="T61" fmla="*/ 16 h 186"/>
                <a:gd name="T62" fmla="*/ 152 w 158"/>
                <a:gd name="T63" fmla="*/ 35 h 186"/>
                <a:gd name="T64" fmla="*/ 158 w 158"/>
                <a:gd name="T65" fmla="*/ 62 h 186"/>
                <a:gd name="T66" fmla="*/ 158 w 158"/>
                <a:gd name="T67" fmla="*/ 123 h 186"/>
                <a:gd name="T68" fmla="*/ 152 w 158"/>
                <a:gd name="T69" fmla="*/ 150 h 186"/>
                <a:gd name="T70" fmla="*/ 135 w 158"/>
                <a:gd name="T71" fmla="*/ 170 h 186"/>
                <a:gd name="T72" fmla="*/ 110 w 158"/>
                <a:gd name="T73" fmla="*/ 182 h 186"/>
                <a:gd name="T74" fmla="*/ 79 w 158"/>
                <a:gd name="T75" fmla="*/ 186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8" h="186">
                  <a:moveTo>
                    <a:pt x="79" y="33"/>
                  </a:moveTo>
                  <a:cubicBezTo>
                    <a:pt x="73" y="33"/>
                    <a:pt x="67" y="33"/>
                    <a:pt x="61" y="35"/>
                  </a:cubicBezTo>
                  <a:cubicBezTo>
                    <a:pt x="56" y="36"/>
                    <a:pt x="51" y="38"/>
                    <a:pt x="46" y="40"/>
                  </a:cubicBezTo>
                  <a:cubicBezTo>
                    <a:pt x="42" y="43"/>
                    <a:pt x="39" y="46"/>
                    <a:pt x="36" y="50"/>
                  </a:cubicBezTo>
                  <a:cubicBezTo>
                    <a:pt x="34" y="53"/>
                    <a:pt x="33" y="57"/>
                    <a:pt x="33" y="62"/>
                  </a:cubicBezTo>
                  <a:cubicBezTo>
                    <a:pt x="33" y="123"/>
                    <a:pt x="33" y="123"/>
                    <a:pt x="33" y="123"/>
                  </a:cubicBezTo>
                  <a:cubicBezTo>
                    <a:pt x="33" y="128"/>
                    <a:pt x="34" y="133"/>
                    <a:pt x="36" y="136"/>
                  </a:cubicBezTo>
                  <a:cubicBezTo>
                    <a:pt x="39" y="140"/>
                    <a:pt x="42" y="143"/>
                    <a:pt x="46" y="146"/>
                  </a:cubicBezTo>
                  <a:cubicBezTo>
                    <a:pt x="51" y="148"/>
                    <a:pt x="56" y="150"/>
                    <a:pt x="61" y="151"/>
                  </a:cubicBezTo>
                  <a:cubicBezTo>
                    <a:pt x="67" y="153"/>
                    <a:pt x="73" y="154"/>
                    <a:pt x="79" y="154"/>
                  </a:cubicBezTo>
                  <a:cubicBezTo>
                    <a:pt x="85" y="154"/>
                    <a:pt x="91" y="153"/>
                    <a:pt x="96" y="151"/>
                  </a:cubicBezTo>
                  <a:cubicBezTo>
                    <a:pt x="102" y="150"/>
                    <a:pt x="107" y="148"/>
                    <a:pt x="111" y="146"/>
                  </a:cubicBezTo>
                  <a:cubicBezTo>
                    <a:pt x="115" y="143"/>
                    <a:pt x="119" y="140"/>
                    <a:pt x="121" y="136"/>
                  </a:cubicBezTo>
                  <a:cubicBezTo>
                    <a:pt x="124" y="133"/>
                    <a:pt x="125" y="128"/>
                    <a:pt x="125" y="123"/>
                  </a:cubicBezTo>
                  <a:cubicBezTo>
                    <a:pt x="125" y="62"/>
                    <a:pt x="125" y="62"/>
                    <a:pt x="125" y="62"/>
                  </a:cubicBezTo>
                  <a:cubicBezTo>
                    <a:pt x="125" y="57"/>
                    <a:pt x="124" y="53"/>
                    <a:pt x="121" y="50"/>
                  </a:cubicBezTo>
                  <a:cubicBezTo>
                    <a:pt x="119" y="46"/>
                    <a:pt x="115" y="43"/>
                    <a:pt x="111" y="40"/>
                  </a:cubicBezTo>
                  <a:cubicBezTo>
                    <a:pt x="107" y="38"/>
                    <a:pt x="102" y="36"/>
                    <a:pt x="96" y="35"/>
                  </a:cubicBezTo>
                  <a:cubicBezTo>
                    <a:pt x="91" y="33"/>
                    <a:pt x="85" y="33"/>
                    <a:pt x="79" y="33"/>
                  </a:cubicBezTo>
                  <a:close/>
                  <a:moveTo>
                    <a:pt x="79" y="186"/>
                  </a:moveTo>
                  <a:cubicBezTo>
                    <a:pt x="68" y="186"/>
                    <a:pt x="57" y="185"/>
                    <a:pt x="48" y="182"/>
                  </a:cubicBezTo>
                  <a:cubicBezTo>
                    <a:pt x="38" y="179"/>
                    <a:pt x="30" y="175"/>
                    <a:pt x="23" y="170"/>
                  </a:cubicBezTo>
                  <a:cubicBezTo>
                    <a:pt x="16" y="165"/>
                    <a:pt x="10" y="158"/>
                    <a:pt x="6" y="150"/>
                  </a:cubicBezTo>
                  <a:cubicBezTo>
                    <a:pt x="2" y="142"/>
                    <a:pt x="0" y="133"/>
                    <a:pt x="0" y="123"/>
                  </a:cubicBezTo>
                  <a:cubicBezTo>
                    <a:pt x="0" y="62"/>
                    <a:pt x="0" y="62"/>
                    <a:pt x="0" y="62"/>
                  </a:cubicBezTo>
                  <a:cubicBezTo>
                    <a:pt x="0" y="52"/>
                    <a:pt x="2" y="43"/>
                    <a:pt x="6" y="35"/>
                  </a:cubicBezTo>
                  <a:cubicBezTo>
                    <a:pt x="10" y="28"/>
                    <a:pt x="16" y="21"/>
                    <a:pt x="23" y="16"/>
                  </a:cubicBezTo>
                  <a:cubicBezTo>
                    <a:pt x="30" y="11"/>
                    <a:pt x="38" y="7"/>
                    <a:pt x="48" y="4"/>
                  </a:cubicBezTo>
                  <a:cubicBezTo>
                    <a:pt x="57" y="1"/>
                    <a:pt x="68" y="0"/>
                    <a:pt x="79" y="0"/>
                  </a:cubicBezTo>
                  <a:cubicBezTo>
                    <a:pt x="90" y="0"/>
                    <a:pt x="100" y="1"/>
                    <a:pt x="110" y="4"/>
                  </a:cubicBezTo>
                  <a:cubicBezTo>
                    <a:pt x="120" y="7"/>
                    <a:pt x="128" y="11"/>
                    <a:pt x="135" y="16"/>
                  </a:cubicBezTo>
                  <a:cubicBezTo>
                    <a:pt x="142" y="21"/>
                    <a:pt x="148" y="28"/>
                    <a:pt x="152" y="35"/>
                  </a:cubicBezTo>
                  <a:cubicBezTo>
                    <a:pt x="156" y="43"/>
                    <a:pt x="158" y="52"/>
                    <a:pt x="158" y="62"/>
                  </a:cubicBezTo>
                  <a:cubicBezTo>
                    <a:pt x="158" y="123"/>
                    <a:pt x="158" y="123"/>
                    <a:pt x="158" y="123"/>
                  </a:cubicBezTo>
                  <a:cubicBezTo>
                    <a:pt x="158" y="133"/>
                    <a:pt x="156" y="142"/>
                    <a:pt x="152" y="150"/>
                  </a:cubicBezTo>
                  <a:cubicBezTo>
                    <a:pt x="148" y="158"/>
                    <a:pt x="142" y="165"/>
                    <a:pt x="135" y="170"/>
                  </a:cubicBezTo>
                  <a:cubicBezTo>
                    <a:pt x="128" y="175"/>
                    <a:pt x="120" y="179"/>
                    <a:pt x="110" y="182"/>
                  </a:cubicBezTo>
                  <a:cubicBezTo>
                    <a:pt x="100" y="185"/>
                    <a:pt x="90" y="186"/>
                    <a:pt x="79" y="18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 name="Freeform 15">
              <a:extLst>
                <a:ext uri="{FF2B5EF4-FFF2-40B4-BE49-F238E27FC236}">
                  <a16:creationId xmlns:a16="http://schemas.microsoft.com/office/drawing/2014/main" id="{5E96BD99-29DC-3386-8B68-180073750A64}"/>
                </a:ext>
              </a:extLst>
            </p:cNvPr>
            <p:cNvSpPr>
              <a:spLocks/>
            </p:cNvSpPr>
            <p:nvPr userDrawn="1"/>
          </p:nvSpPr>
          <p:spPr bwMode="auto">
            <a:xfrm>
              <a:off x="6925" y="421"/>
              <a:ext cx="293" cy="344"/>
            </a:xfrm>
            <a:custGeom>
              <a:avLst/>
              <a:gdLst>
                <a:gd name="T0" fmla="*/ 126 w 158"/>
                <a:gd name="T1" fmla="*/ 62 h 184"/>
                <a:gd name="T2" fmla="*/ 121 w 158"/>
                <a:gd name="T3" fmla="*/ 48 h 184"/>
                <a:gd name="T4" fmla="*/ 110 w 158"/>
                <a:gd name="T5" fmla="*/ 39 h 184"/>
                <a:gd name="T6" fmla="*/ 94 w 158"/>
                <a:gd name="T7" fmla="*/ 34 h 184"/>
                <a:gd name="T8" fmla="*/ 79 w 158"/>
                <a:gd name="T9" fmla="*/ 33 h 184"/>
                <a:gd name="T10" fmla="*/ 63 w 158"/>
                <a:gd name="T11" fmla="*/ 34 h 184"/>
                <a:gd name="T12" fmla="*/ 48 w 158"/>
                <a:gd name="T13" fmla="*/ 39 h 184"/>
                <a:gd name="T14" fmla="*/ 37 w 158"/>
                <a:gd name="T15" fmla="*/ 48 h 184"/>
                <a:gd name="T16" fmla="*/ 33 w 158"/>
                <a:gd name="T17" fmla="*/ 62 h 184"/>
                <a:gd name="T18" fmla="*/ 33 w 158"/>
                <a:gd name="T19" fmla="*/ 184 h 184"/>
                <a:gd name="T20" fmla="*/ 0 w 158"/>
                <a:gd name="T21" fmla="*/ 184 h 184"/>
                <a:gd name="T22" fmla="*/ 0 w 158"/>
                <a:gd name="T23" fmla="*/ 62 h 184"/>
                <a:gd name="T24" fmla="*/ 6 w 158"/>
                <a:gd name="T25" fmla="*/ 35 h 184"/>
                <a:gd name="T26" fmla="*/ 23 w 158"/>
                <a:gd name="T27" fmla="*/ 16 h 184"/>
                <a:gd name="T28" fmla="*/ 48 w 158"/>
                <a:gd name="T29" fmla="*/ 4 h 184"/>
                <a:gd name="T30" fmla="*/ 79 w 158"/>
                <a:gd name="T31" fmla="*/ 0 h 184"/>
                <a:gd name="T32" fmla="*/ 110 w 158"/>
                <a:gd name="T33" fmla="*/ 4 h 184"/>
                <a:gd name="T34" fmla="*/ 135 w 158"/>
                <a:gd name="T35" fmla="*/ 16 h 184"/>
                <a:gd name="T36" fmla="*/ 152 w 158"/>
                <a:gd name="T37" fmla="*/ 35 h 184"/>
                <a:gd name="T38" fmla="*/ 158 w 158"/>
                <a:gd name="T39" fmla="*/ 62 h 184"/>
                <a:gd name="T40" fmla="*/ 158 w 158"/>
                <a:gd name="T41" fmla="*/ 135 h 184"/>
                <a:gd name="T42" fmla="*/ 126 w 158"/>
                <a:gd name="T43" fmla="*/ 184 h 184"/>
                <a:gd name="T44" fmla="*/ 126 w 158"/>
                <a:gd name="T45" fmla="*/ 62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8" h="184">
                  <a:moveTo>
                    <a:pt x="126" y="62"/>
                  </a:moveTo>
                  <a:cubicBezTo>
                    <a:pt x="126" y="56"/>
                    <a:pt x="124" y="52"/>
                    <a:pt x="121" y="48"/>
                  </a:cubicBezTo>
                  <a:cubicBezTo>
                    <a:pt x="118" y="45"/>
                    <a:pt x="114" y="42"/>
                    <a:pt x="110" y="39"/>
                  </a:cubicBezTo>
                  <a:cubicBezTo>
                    <a:pt x="105" y="37"/>
                    <a:pt x="100" y="35"/>
                    <a:pt x="94" y="34"/>
                  </a:cubicBezTo>
                  <a:cubicBezTo>
                    <a:pt x="89" y="33"/>
                    <a:pt x="84" y="33"/>
                    <a:pt x="79" y="33"/>
                  </a:cubicBezTo>
                  <a:cubicBezTo>
                    <a:pt x="74" y="33"/>
                    <a:pt x="69" y="33"/>
                    <a:pt x="63" y="34"/>
                  </a:cubicBezTo>
                  <a:cubicBezTo>
                    <a:pt x="58" y="35"/>
                    <a:pt x="53" y="37"/>
                    <a:pt x="48" y="39"/>
                  </a:cubicBezTo>
                  <a:cubicBezTo>
                    <a:pt x="44" y="42"/>
                    <a:pt x="40" y="45"/>
                    <a:pt x="37" y="48"/>
                  </a:cubicBezTo>
                  <a:cubicBezTo>
                    <a:pt x="34" y="52"/>
                    <a:pt x="33" y="56"/>
                    <a:pt x="33" y="62"/>
                  </a:cubicBezTo>
                  <a:cubicBezTo>
                    <a:pt x="33" y="184"/>
                    <a:pt x="33" y="184"/>
                    <a:pt x="33" y="184"/>
                  </a:cubicBezTo>
                  <a:cubicBezTo>
                    <a:pt x="0" y="184"/>
                    <a:pt x="0" y="184"/>
                    <a:pt x="0" y="184"/>
                  </a:cubicBezTo>
                  <a:cubicBezTo>
                    <a:pt x="0" y="62"/>
                    <a:pt x="0" y="62"/>
                    <a:pt x="0" y="62"/>
                  </a:cubicBezTo>
                  <a:cubicBezTo>
                    <a:pt x="0" y="52"/>
                    <a:pt x="2" y="43"/>
                    <a:pt x="6" y="35"/>
                  </a:cubicBezTo>
                  <a:cubicBezTo>
                    <a:pt x="10" y="28"/>
                    <a:pt x="16" y="21"/>
                    <a:pt x="23" y="16"/>
                  </a:cubicBezTo>
                  <a:cubicBezTo>
                    <a:pt x="30" y="11"/>
                    <a:pt x="38" y="7"/>
                    <a:pt x="48" y="4"/>
                  </a:cubicBezTo>
                  <a:cubicBezTo>
                    <a:pt x="58" y="1"/>
                    <a:pt x="68" y="0"/>
                    <a:pt x="79" y="0"/>
                  </a:cubicBezTo>
                  <a:cubicBezTo>
                    <a:pt x="90" y="0"/>
                    <a:pt x="101" y="1"/>
                    <a:pt x="110" y="4"/>
                  </a:cubicBezTo>
                  <a:cubicBezTo>
                    <a:pt x="120" y="7"/>
                    <a:pt x="128" y="11"/>
                    <a:pt x="135" y="16"/>
                  </a:cubicBezTo>
                  <a:cubicBezTo>
                    <a:pt x="143" y="21"/>
                    <a:pt x="148" y="28"/>
                    <a:pt x="152" y="35"/>
                  </a:cubicBezTo>
                  <a:cubicBezTo>
                    <a:pt x="156" y="43"/>
                    <a:pt x="158" y="52"/>
                    <a:pt x="158" y="62"/>
                  </a:cubicBezTo>
                  <a:cubicBezTo>
                    <a:pt x="158" y="135"/>
                    <a:pt x="158" y="135"/>
                    <a:pt x="158" y="135"/>
                  </a:cubicBezTo>
                  <a:cubicBezTo>
                    <a:pt x="158" y="170"/>
                    <a:pt x="126" y="184"/>
                    <a:pt x="126" y="184"/>
                  </a:cubicBezTo>
                  <a:cubicBezTo>
                    <a:pt x="126" y="62"/>
                    <a:pt x="126" y="62"/>
                    <a:pt x="126" y="6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 name="Freeform 16">
              <a:extLst>
                <a:ext uri="{FF2B5EF4-FFF2-40B4-BE49-F238E27FC236}">
                  <a16:creationId xmlns:a16="http://schemas.microsoft.com/office/drawing/2014/main" id="{813D54D1-3FA4-9C83-06B0-D27EE71E72BA}"/>
                </a:ext>
              </a:extLst>
            </p:cNvPr>
            <p:cNvSpPr>
              <a:spLocks noEditPoints="1"/>
            </p:cNvSpPr>
            <p:nvPr userDrawn="1"/>
          </p:nvSpPr>
          <p:spPr bwMode="auto">
            <a:xfrm>
              <a:off x="7263" y="404"/>
              <a:ext cx="85" cy="88"/>
            </a:xfrm>
            <a:custGeom>
              <a:avLst/>
              <a:gdLst>
                <a:gd name="T0" fmla="*/ 24 w 46"/>
                <a:gd name="T1" fmla="*/ 15 h 47"/>
                <a:gd name="T2" fmla="*/ 20 w 46"/>
                <a:gd name="T3" fmla="*/ 15 h 47"/>
                <a:gd name="T4" fmla="*/ 20 w 46"/>
                <a:gd name="T5" fmla="*/ 23 h 47"/>
                <a:gd name="T6" fmla="*/ 24 w 46"/>
                <a:gd name="T7" fmla="*/ 23 h 47"/>
                <a:gd name="T8" fmla="*/ 28 w 46"/>
                <a:gd name="T9" fmla="*/ 19 h 47"/>
                <a:gd name="T10" fmla="*/ 24 w 46"/>
                <a:gd name="T11" fmla="*/ 15 h 47"/>
                <a:gd name="T12" fmla="*/ 28 w 46"/>
                <a:gd name="T13" fmla="*/ 36 h 47"/>
                <a:gd name="T14" fmla="*/ 23 w 46"/>
                <a:gd name="T15" fmla="*/ 26 h 47"/>
                <a:gd name="T16" fmla="*/ 20 w 46"/>
                <a:gd name="T17" fmla="*/ 26 h 47"/>
                <a:gd name="T18" fmla="*/ 20 w 46"/>
                <a:gd name="T19" fmla="*/ 36 h 47"/>
                <a:gd name="T20" fmla="*/ 15 w 46"/>
                <a:gd name="T21" fmla="*/ 36 h 47"/>
                <a:gd name="T22" fmla="*/ 15 w 46"/>
                <a:gd name="T23" fmla="*/ 11 h 47"/>
                <a:gd name="T24" fmla="*/ 24 w 46"/>
                <a:gd name="T25" fmla="*/ 11 h 47"/>
                <a:gd name="T26" fmla="*/ 33 w 46"/>
                <a:gd name="T27" fmla="*/ 19 h 47"/>
                <a:gd name="T28" fmla="*/ 28 w 46"/>
                <a:gd name="T29" fmla="*/ 26 h 47"/>
                <a:gd name="T30" fmla="*/ 33 w 46"/>
                <a:gd name="T31" fmla="*/ 36 h 47"/>
                <a:gd name="T32" fmla="*/ 28 w 46"/>
                <a:gd name="T33" fmla="*/ 36 h 47"/>
                <a:gd name="T34" fmla="*/ 23 w 46"/>
                <a:gd name="T35" fmla="*/ 5 h 47"/>
                <a:gd name="T36" fmla="*/ 4 w 46"/>
                <a:gd name="T37" fmla="*/ 24 h 47"/>
                <a:gd name="T38" fmla="*/ 23 w 46"/>
                <a:gd name="T39" fmla="*/ 43 h 47"/>
                <a:gd name="T40" fmla="*/ 42 w 46"/>
                <a:gd name="T41" fmla="*/ 24 h 47"/>
                <a:gd name="T42" fmla="*/ 23 w 46"/>
                <a:gd name="T43" fmla="*/ 5 h 47"/>
                <a:gd name="T44" fmla="*/ 23 w 46"/>
                <a:gd name="T45" fmla="*/ 47 h 47"/>
                <a:gd name="T46" fmla="*/ 0 w 46"/>
                <a:gd name="T47" fmla="*/ 24 h 47"/>
                <a:gd name="T48" fmla="*/ 23 w 46"/>
                <a:gd name="T49" fmla="*/ 0 h 47"/>
                <a:gd name="T50" fmla="*/ 46 w 46"/>
                <a:gd name="T51" fmla="*/ 24 h 47"/>
                <a:gd name="T52" fmla="*/ 23 w 46"/>
                <a:gd name="T53"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6" h="47">
                  <a:moveTo>
                    <a:pt x="24" y="15"/>
                  </a:moveTo>
                  <a:cubicBezTo>
                    <a:pt x="20" y="15"/>
                    <a:pt x="20" y="15"/>
                    <a:pt x="20" y="15"/>
                  </a:cubicBezTo>
                  <a:cubicBezTo>
                    <a:pt x="20" y="23"/>
                    <a:pt x="20" y="23"/>
                    <a:pt x="20" y="23"/>
                  </a:cubicBezTo>
                  <a:cubicBezTo>
                    <a:pt x="24" y="23"/>
                    <a:pt x="24" y="23"/>
                    <a:pt x="24" y="23"/>
                  </a:cubicBezTo>
                  <a:cubicBezTo>
                    <a:pt x="26" y="23"/>
                    <a:pt x="28" y="21"/>
                    <a:pt x="28" y="19"/>
                  </a:cubicBezTo>
                  <a:cubicBezTo>
                    <a:pt x="28" y="17"/>
                    <a:pt x="26" y="15"/>
                    <a:pt x="24" y="15"/>
                  </a:cubicBezTo>
                  <a:close/>
                  <a:moveTo>
                    <a:pt x="28" y="36"/>
                  </a:moveTo>
                  <a:cubicBezTo>
                    <a:pt x="23" y="26"/>
                    <a:pt x="23" y="26"/>
                    <a:pt x="23" y="26"/>
                  </a:cubicBezTo>
                  <a:cubicBezTo>
                    <a:pt x="20" y="26"/>
                    <a:pt x="20" y="26"/>
                    <a:pt x="20" y="26"/>
                  </a:cubicBezTo>
                  <a:cubicBezTo>
                    <a:pt x="20" y="36"/>
                    <a:pt x="20" y="36"/>
                    <a:pt x="20" y="36"/>
                  </a:cubicBezTo>
                  <a:cubicBezTo>
                    <a:pt x="15" y="36"/>
                    <a:pt x="15" y="36"/>
                    <a:pt x="15" y="36"/>
                  </a:cubicBezTo>
                  <a:cubicBezTo>
                    <a:pt x="15" y="11"/>
                    <a:pt x="15" y="11"/>
                    <a:pt x="15" y="11"/>
                  </a:cubicBezTo>
                  <a:cubicBezTo>
                    <a:pt x="24" y="11"/>
                    <a:pt x="24" y="11"/>
                    <a:pt x="24" y="11"/>
                  </a:cubicBezTo>
                  <a:cubicBezTo>
                    <a:pt x="29" y="11"/>
                    <a:pt x="33" y="15"/>
                    <a:pt x="33" y="19"/>
                  </a:cubicBezTo>
                  <a:cubicBezTo>
                    <a:pt x="33" y="22"/>
                    <a:pt x="30" y="25"/>
                    <a:pt x="28" y="26"/>
                  </a:cubicBezTo>
                  <a:cubicBezTo>
                    <a:pt x="33" y="36"/>
                    <a:pt x="33" y="36"/>
                    <a:pt x="33" y="36"/>
                  </a:cubicBezTo>
                  <a:cubicBezTo>
                    <a:pt x="28" y="36"/>
                    <a:pt x="28" y="36"/>
                    <a:pt x="28" y="36"/>
                  </a:cubicBezTo>
                  <a:close/>
                  <a:moveTo>
                    <a:pt x="23" y="5"/>
                  </a:moveTo>
                  <a:cubicBezTo>
                    <a:pt x="13" y="5"/>
                    <a:pt x="4" y="13"/>
                    <a:pt x="4" y="24"/>
                  </a:cubicBezTo>
                  <a:cubicBezTo>
                    <a:pt x="4" y="34"/>
                    <a:pt x="13" y="43"/>
                    <a:pt x="23" y="43"/>
                  </a:cubicBezTo>
                  <a:cubicBezTo>
                    <a:pt x="33" y="43"/>
                    <a:pt x="42" y="34"/>
                    <a:pt x="42" y="24"/>
                  </a:cubicBezTo>
                  <a:cubicBezTo>
                    <a:pt x="42" y="13"/>
                    <a:pt x="33" y="5"/>
                    <a:pt x="23" y="5"/>
                  </a:cubicBezTo>
                  <a:close/>
                  <a:moveTo>
                    <a:pt x="23" y="47"/>
                  </a:moveTo>
                  <a:cubicBezTo>
                    <a:pt x="10" y="47"/>
                    <a:pt x="0" y="37"/>
                    <a:pt x="0" y="24"/>
                  </a:cubicBezTo>
                  <a:cubicBezTo>
                    <a:pt x="0" y="11"/>
                    <a:pt x="10" y="0"/>
                    <a:pt x="23" y="0"/>
                  </a:cubicBezTo>
                  <a:cubicBezTo>
                    <a:pt x="36" y="0"/>
                    <a:pt x="46" y="11"/>
                    <a:pt x="46" y="24"/>
                  </a:cubicBezTo>
                  <a:cubicBezTo>
                    <a:pt x="46" y="37"/>
                    <a:pt x="36" y="47"/>
                    <a:pt x="23" y="4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16">
            <a:extLst>
              <a:ext uri="{FF2B5EF4-FFF2-40B4-BE49-F238E27FC236}">
                <a16:creationId xmlns:a16="http://schemas.microsoft.com/office/drawing/2014/main" id="{B4C5CD3A-C341-007D-03BC-CD08509962D4}"/>
              </a:ext>
            </a:extLst>
          </p:cNvPr>
          <p:cNvPicPr>
            <a:picLocks noChangeAspect="1"/>
          </p:cNvPicPr>
          <p:nvPr userDrawn="1"/>
        </p:nvPicPr>
        <p:blipFill rotWithShape="1">
          <a:blip r:embed="rId3">
            <a:alphaModFix amt="17000"/>
          </a:blip>
          <a:srcRect l="30368" t="33079"/>
          <a:stretch/>
        </p:blipFill>
        <p:spPr>
          <a:xfrm>
            <a:off x="-1" y="0"/>
            <a:ext cx="5905501" cy="5029200"/>
          </a:xfrm>
          <a:prstGeom prst="rect">
            <a:avLst/>
          </a:prstGeom>
        </p:spPr>
      </p:pic>
      <p:sp>
        <p:nvSpPr>
          <p:cNvPr id="2" name="Title 1">
            <a:extLst>
              <a:ext uri="{FF2B5EF4-FFF2-40B4-BE49-F238E27FC236}">
                <a16:creationId xmlns:a16="http://schemas.microsoft.com/office/drawing/2014/main" id="{2023DCAE-2650-4713-5F47-60C6BF4D5784}"/>
              </a:ext>
            </a:extLst>
          </p:cNvPr>
          <p:cNvSpPr>
            <a:spLocks noGrp="1"/>
          </p:cNvSpPr>
          <p:nvPr>
            <p:ph type="ctrTitle"/>
          </p:nvPr>
        </p:nvSpPr>
        <p:spPr>
          <a:xfrm>
            <a:off x="508000" y="648182"/>
            <a:ext cx="5854700" cy="2171217"/>
          </a:xfrm>
        </p:spPr>
        <p:txBody>
          <a:bodyPr anchor="b">
            <a:normAutofit/>
          </a:bodyPr>
          <a:lstStyle>
            <a:lvl1pPr algn="l">
              <a:defRPr sz="440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285CF858-0939-0CE4-E887-6A1D6AEA12B9}"/>
              </a:ext>
            </a:extLst>
          </p:cNvPr>
          <p:cNvSpPr>
            <a:spLocks noGrp="1"/>
          </p:cNvSpPr>
          <p:nvPr>
            <p:ph type="subTitle" idx="1"/>
          </p:nvPr>
        </p:nvSpPr>
        <p:spPr>
          <a:xfrm>
            <a:off x="508000" y="2965704"/>
            <a:ext cx="5854700" cy="421386"/>
          </a:xfrm>
        </p:spPr>
        <p:txBody>
          <a:bodyPr>
            <a:normAutofit/>
          </a:bodyPr>
          <a:lstStyle>
            <a:lvl1pPr marL="0" indent="0" algn="l">
              <a:buNone/>
              <a:defRPr sz="1800">
                <a:solidFill>
                  <a:schemeClr val="accent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ext Placeholder 8">
            <a:extLst>
              <a:ext uri="{FF2B5EF4-FFF2-40B4-BE49-F238E27FC236}">
                <a16:creationId xmlns:a16="http://schemas.microsoft.com/office/drawing/2014/main" id="{4681D4B3-46B8-830D-F301-B1BCA23E7013}"/>
              </a:ext>
            </a:extLst>
          </p:cNvPr>
          <p:cNvSpPr>
            <a:spLocks noGrp="1"/>
          </p:cNvSpPr>
          <p:nvPr>
            <p:ph type="body" sz="quarter" idx="13"/>
          </p:nvPr>
        </p:nvSpPr>
        <p:spPr>
          <a:xfrm>
            <a:off x="607653" y="3542665"/>
            <a:ext cx="1097280" cy="45720"/>
          </a:xfrm>
          <a:solidFill>
            <a:schemeClr val="accent2"/>
          </a:solidFill>
        </p:spPr>
        <p:txBody>
          <a:bodyPr>
            <a:noAutofit/>
          </a:bodyPr>
          <a:lstStyle>
            <a:lvl1pPr marL="0" indent="0">
              <a:buNone/>
              <a:defRPr sz="100">
                <a:noFill/>
              </a:defRPr>
            </a:lvl1pPr>
          </a:lstStyle>
          <a:p>
            <a:pPr lvl="0"/>
            <a:endParaRPr lang="en-US"/>
          </a:p>
        </p:txBody>
      </p:sp>
      <p:pic>
        <p:nvPicPr>
          <p:cNvPr id="24" name="Picture 23" descr="Logo, company name&#10;&#10;Description automatically generated">
            <a:extLst>
              <a:ext uri="{FF2B5EF4-FFF2-40B4-BE49-F238E27FC236}">
                <a16:creationId xmlns:a16="http://schemas.microsoft.com/office/drawing/2014/main" id="{AE54CCDE-A8FD-4F28-92AC-5B831DF33C83}"/>
              </a:ext>
            </a:extLst>
          </p:cNvPr>
          <p:cNvPicPr>
            <a:picLocks noChangeAspect="1"/>
          </p:cNvPicPr>
          <p:nvPr userDrawn="1"/>
        </p:nvPicPr>
        <p:blipFill>
          <a:blip r:embed="rId4">
            <a:extLst>
              <a:ext uri="{BEBA8EAE-BF5A-486C-A8C5-ECC9F3942E4B}">
                <a14:imgProps xmlns:a14="http://schemas.microsoft.com/office/drawing/2010/main">
                  <a14:imgLayer r:embed="rId5">
                    <a14:imgEffect>
                      <a14:brightnessContrast bright="100000"/>
                    </a14:imgEffect>
                  </a14:imgLayer>
                </a14:imgProps>
              </a:ext>
            </a:extLst>
          </a:blip>
          <a:stretch>
            <a:fillRect/>
          </a:stretch>
        </p:blipFill>
        <p:spPr>
          <a:xfrm>
            <a:off x="601302" y="5700447"/>
            <a:ext cx="1606550" cy="876299"/>
          </a:xfrm>
          <a:prstGeom prst="rect">
            <a:avLst/>
          </a:prstGeom>
        </p:spPr>
      </p:pic>
    </p:spTree>
    <p:extLst>
      <p:ext uri="{BB962C8B-B14F-4D97-AF65-F5344CB8AC3E}">
        <p14:creationId xmlns:p14="http://schemas.microsoft.com/office/powerpoint/2010/main" val="1495297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4" name="Picture 3" descr="A person in a garment sitting on a white cube&#10;&#10;Description automatically generated">
            <a:extLst>
              <a:ext uri="{FF2B5EF4-FFF2-40B4-BE49-F238E27FC236}">
                <a16:creationId xmlns:a16="http://schemas.microsoft.com/office/drawing/2014/main" id="{D51FE79C-1A9A-08DB-F4E9-597B03FE8415}"/>
              </a:ext>
            </a:extLst>
          </p:cNvPr>
          <p:cNvPicPr>
            <a:picLocks noChangeAspect="1"/>
          </p:cNvPicPr>
          <p:nvPr userDrawn="1"/>
        </p:nvPicPr>
        <p:blipFill rotWithShape="1">
          <a:blip r:embed="rId2">
            <a:extLst>
              <a:ext uri="{28A0092B-C50C-407E-A947-70E740481C1C}">
                <a14:useLocalDpi xmlns:a14="http://schemas.microsoft.com/office/drawing/2010/main"/>
              </a:ext>
            </a:extLst>
          </a:blip>
          <a:srcRect l="32484" t="549" r="550" b="549"/>
          <a:stretch/>
        </p:blipFill>
        <p:spPr>
          <a:xfrm flipH="1">
            <a:off x="0" y="0"/>
            <a:ext cx="12192000" cy="6858000"/>
          </a:xfrm>
          <a:prstGeom prst="rect">
            <a:avLst/>
          </a:prstGeom>
        </p:spPr>
      </p:pic>
      <p:pic>
        <p:nvPicPr>
          <p:cNvPr id="17" name="Picture 16">
            <a:extLst>
              <a:ext uri="{FF2B5EF4-FFF2-40B4-BE49-F238E27FC236}">
                <a16:creationId xmlns:a16="http://schemas.microsoft.com/office/drawing/2014/main" id="{B4C5CD3A-C341-007D-03BC-CD08509962D4}"/>
              </a:ext>
            </a:extLst>
          </p:cNvPr>
          <p:cNvPicPr>
            <a:picLocks noChangeAspect="1"/>
          </p:cNvPicPr>
          <p:nvPr userDrawn="1"/>
        </p:nvPicPr>
        <p:blipFill rotWithShape="1">
          <a:blip r:embed="rId3">
            <a:alphaModFix amt="17000"/>
          </a:blip>
          <a:srcRect l="30368" t="33079"/>
          <a:stretch/>
        </p:blipFill>
        <p:spPr>
          <a:xfrm>
            <a:off x="-1" y="0"/>
            <a:ext cx="5905501" cy="5029200"/>
          </a:xfrm>
          <a:prstGeom prst="rect">
            <a:avLst/>
          </a:prstGeom>
        </p:spPr>
      </p:pic>
      <p:sp>
        <p:nvSpPr>
          <p:cNvPr id="2" name="Title 1">
            <a:extLst>
              <a:ext uri="{FF2B5EF4-FFF2-40B4-BE49-F238E27FC236}">
                <a16:creationId xmlns:a16="http://schemas.microsoft.com/office/drawing/2014/main" id="{2023DCAE-2650-4713-5F47-60C6BF4D5784}"/>
              </a:ext>
            </a:extLst>
          </p:cNvPr>
          <p:cNvSpPr>
            <a:spLocks noGrp="1"/>
          </p:cNvSpPr>
          <p:nvPr>
            <p:ph type="ctrTitle"/>
          </p:nvPr>
        </p:nvSpPr>
        <p:spPr>
          <a:xfrm>
            <a:off x="508000" y="648182"/>
            <a:ext cx="5854700" cy="2171217"/>
          </a:xfrm>
        </p:spPr>
        <p:txBody>
          <a:bodyPr anchor="b">
            <a:normAutofit/>
          </a:bodyPr>
          <a:lstStyle>
            <a:lvl1pPr algn="l">
              <a:defRPr sz="440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285CF858-0939-0CE4-E887-6A1D6AEA12B9}"/>
              </a:ext>
            </a:extLst>
          </p:cNvPr>
          <p:cNvSpPr>
            <a:spLocks noGrp="1"/>
          </p:cNvSpPr>
          <p:nvPr>
            <p:ph type="subTitle" idx="1"/>
          </p:nvPr>
        </p:nvSpPr>
        <p:spPr>
          <a:xfrm>
            <a:off x="508000" y="2965704"/>
            <a:ext cx="5854700" cy="421386"/>
          </a:xfrm>
        </p:spPr>
        <p:txBody>
          <a:bodyPr>
            <a:normAutofit/>
          </a:bodyPr>
          <a:lstStyle>
            <a:lvl1pPr marL="0" indent="0" algn="l">
              <a:buNone/>
              <a:defRPr sz="1800">
                <a:solidFill>
                  <a:schemeClr val="accent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ext Placeholder 8">
            <a:extLst>
              <a:ext uri="{FF2B5EF4-FFF2-40B4-BE49-F238E27FC236}">
                <a16:creationId xmlns:a16="http://schemas.microsoft.com/office/drawing/2014/main" id="{4681D4B3-46B8-830D-F301-B1BCA23E7013}"/>
              </a:ext>
            </a:extLst>
          </p:cNvPr>
          <p:cNvSpPr>
            <a:spLocks noGrp="1"/>
          </p:cNvSpPr>
          <p:nvPr>
            <p:ph type="body" sz="quarter" idx="13"/>
          </p:nvPr>
        </p:nvSpPr>
        <p:spPr>
          <a:xfrm>
            <a:off x="607653" y="3542665"/>
            <a:ext cx="1097280" cy="45720"/>
          </a:xfrm>
          <a:solidFill>
            <a:schemeClr val="accent2"/>
          </a:solidFill>
        </p:spPr>
        <p:txBody>
          <a:bodyPr>
            <a:noAutofit/>
          </a:bodyPr>
          <a:lstStyle>
            <a:lvl1pPr marL="0" indent="0">
              <a:buNone/>
              <a:defRPr sz="100">
                <a:noFill/>
              </a:defRPr>
            </a:lvl1pPr>
          </a:lstStyle>
          <a:p>
            <a:pPr lvl="0"/>
            <a:endParaRPr lang="en-US"/>
          </a:p>
        </p:txBody>
      </p:sp>
      <p:grpSp>
        <p:nvGrpSpPr>
          <p:cNvPr id="24" name="Group 4">
            <a:extLst>
              <a:ext uri="{FF2B5EF4-FFF2-40B4-BE49-F238E27FC236}">
                <a16:creationId xmlns:a16="http://schemas.microsoft.com/office/drawing/2014/main" id="{FC10B51F-E60F-C70F-0941-40A6AD5949AD}"/>
              </a:ext>
            </a:extLst>
          </p:cNvPr>
          <p:cNvGrpSpPr>
            <a:grpSpLocks noChangeAspect="1"/>
          </p:cNvGrpSpPr>
          <p:nvPr userDrawn="1"/>
        </p:nvGrpSpPr>
        <p:grpSpPr bwMode="auto">
          <a:xfrm>
            <a:off x="7253288" y="506413"/>
            <a:ext cx="4408487" cy="714375"/>
            <a:chOff x="4569" y="319"/>
            <a:chExt cx="2777" cy="450"/>
          </a:xfrm>
        </p:grpSpPr>
        <p:sp>
          <p:nvSpPr>
            <p:cNvPr id="25" name="AutoShape 3">
              <a:extLst>
                <a:ext uri="{FF2B5EF4-FFF2-40B4-BE49-F238E27FC236}">
                  <a16:creationId xmlns:a16="http://schemas.microsoft.com/office/drawing/2014/main" id="{1C73558F-CDBF-525A-DE36-082EE35F869F}"/>
                </a:ext>
              </a:extLst>
            </p:cNvPr>
            <p:cNvSpPr>
              <a:spLocks noChangeAspect="1" noChangeArrowheads="1" noTextEdit="1"/>
            </p:cNvSpPr>
            <p:nvPr userDrawn="1"/>
          </p:nvSpPr>
          <p:spPr bwMode="auto">
            <a:xfrm>
              <a:off x="4569" y="319"/>
              <a:ext cx="2777" cy="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Oval 5">
              <a:extLst>
                <a:ext uri="{FF2B5EF4-FFF2-40B4-BE49-F238E27FC236}">
                  <a16:creationId xmlns:a16="http://schemas.microsoft.com/office/drawing/2014/main" id="{12089DED-611D-ABBC-98AD-272C4116E3F6}"/>
                </a:ext>
              </a:extLst>
            </p:cNvPr>
            <p:cNvSpPr>
              <a:spLocks noChangeArrowheads="1"/>
            </p:cNvSpPr>
            <p:nvPr userDrawn="1"/>
          </p:nvSpPr>
          <p:spPr bwMode="auto">
            <a:xfrm>
              <a:off x="6094" y="323"/>
              <a:ext cx="74" cy="73"/>
            </a:xfrm>
            <a:prstGeom prst="ellipse">
              <a:avLst/>
            </a:prstGeom>
            <a:solidFill>
              <a:srgbClr val="00A7C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 name="Freeform 6">
              <a:extLst>
                <a:ext uri="{FF2B5EF4-FFF2-40B4-BE49-F238E27FC236}">
                  <a16:creationId xmlns:a16="http://schemas.microsoft.com/office/drawing/2014/main" id="{5A9E768C-2231-B76D-BE16-E8C8007F6EDE}"/>
                </a:ext>
              </a:extLst>
            </p:cNvPr>
            <p:cNvSpPr>
              <a:spLocks noEditPoints="1"/>
            </p:cNvSpPr>
            <p:nvPr userDrawn="1"/>
          </p:nvSpPr>
          <p:spPr bwMode="auto">
            <a:xfrm>
              <a:off x="6070" y="417"/>
              <a:ext cx="252" cy="352"/>
            </a:xfrm>
            <a:custGeom>
              <a:avLst/>
              <a:gdLst>
                <a:gd name="T0" fmla="*/ 118 w 136"/>
                <a:gd name="T1" fmla="*/ 14 h 188"/>
                <a:gd name="T2" fmla="*/ 66 w 136"/>
                <a:gd name="T3" fmla="*/ 48 h 188"/>
                <a:gd name="T4" fmla="*/ 18 w 136"/>
                <a:gd name="T5" fmla="*/ 152 h 188"/>
                <a:gd name="T6" fmla="*/ 26 w 136"/>
                <a:gd name="T7" fmla="*/ 174 h 188"/>
                <a:gd name="T8" fmla="*/ 39 w 136"/>
                <a:gd name="T9" fmla="*/ 175 h 188"/>
                <a:gd name="T10" fmla="*/ 48 w 136"/>
                <a:gd name="T11" fmla="*/ 166 h 188"/>
                <a:gd name="T12" fmla="*/ 118 w 136"/>
                <a:gd name="T13" fmla="*/ 14 h 188"/>
                <a:gd name="T14" fmla="*/ 118 w 136"/>
                <a:gd name="T15" fmla="*/ 14 h 188"/>
                <a:gd name="T16" fmla="*/ 33 w 136"/>
                <a:gd name="T17" fmla="*/ 188 h 188"/>
                <a:gd name="T18" fmla="*/ 21 w 136"/>
                <a:gd name="T19" fmla="*/ 185 h 188"/>
                <a:gd name="T20" fmla="*/ 7 w 136"/>
                <a:gd name="T21" fmla="*/ 147 h 188"/>
                <a:gd name="T22" fmla="*/ 55 w 136"/>
                <a:gd name="T23" fmla="*/ 43 h 188"/>
                <a:gd name="T24" fmla="*/ 100 w 136"/>
                <a:gd name="T25" fmla="*/ 4 h 188"/>
                <a:gd name="T26" fmla="*/ 129 w 136"/>
                <a:gd name="T27" fmla="*/ 3 h 188"/>
                <a:gd name="T28" fmla="*/ 136 w 136"/>
                <a:gd name="T29" fmla="*/ 4 h 188"/>
                <a:gd name="T30" fmla="*/ 59 w 136"/>
                <a:gd name="T31" fmla="*/ 171 h 188"/>
                <a:gd name="T32" fmla="*/ 43 w 136"/>
                <a:gd name="T33" fmla="*/ 186 h 188"/>
                <a:gd name="T34" fmla="*/ 33 w 136"/>
                <a:gd name="T35" fmla="*/ 18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188">
                  <a:moveTo>
                    <a:pt x="118" y="14"/>
                  </a:moveTo>
                  <a:cubicBezTo>
                    <a:pt x="104" y="14"/>
                    <a:pt x="80" y="19"/>
                    <a:pt x="66" y="48"/>
                  </a:cubicBezTo>
                  <a:cubicBezTo>
                    <a:pt x="18" y="152"/>
                    <a:pt x="18" y="152"/>
                    <a:pt x="18" y="152"/>
                  </a:cubicBezTo>
                  <a:cubicBezTo>
                    <a:pt x="14" y="160"/>
                    <a:pt x="18" y="170"/>
                    <a:pt x="26" y="174"/>
                  </a:cubicBezTo>
                  <a:cubicBezTo>
                    <a:pt x="30" y="176"/>
                    <a:pt x="34" y="176"/>
                    <a:pt x="39" y="175"/>
                  </a:cubicBezTo>
                  <a:cubicBezTo>
                    <a:pt x="43" y="173"/>
                    <a:pt x="46" y="170"/>
                    <a:pt x="48" y="166"/>
                  </a:cubicBezTo>
                  <a:cubicBezTo>
                    <a:pt x="118" y="14"/>
                    <a:pt x="118" y="14"/>
                    <a:pt x="118" y="14"/>
                  </a:cubicBezTo>
                  <a:cubicBezTo>
                    <a:pt x="118" y="14"/>
                    <a:pt x="118" y="14"/>
                    <a:pt x="118" y="14"/>
                  </a:cubicBezTo>
                  <a:close/>
                  <a:moveTo>
                    <a:pt x="33" y="188"/>
                  </a:moveTo>
                  <a:cubicBezTo>
                    <a:pt x="29" y="188"/>
                    <a:pt x="25" y="187"/>
                    <a:pt x="21" y="185"/>
                  </a:cubicBezTo>
                  <a:cubicBezTo>
                    <a:pt x="7" y="179"/>
                    <a:pt x="0" y="161"/>
                    <a:pt x="7" y="147"/>
                  </a:cubicBezTo>
                  <a:cubicBezTo>
                    <a:pt x="55" y="43"/>
                    <a:pt x="55" y="43"/>
                    <a:pt x="55" y="43"/>
                  </a:cubicBezTo>
                  <a:cubicBezTo>
                    <a:pt x="67" y="17"/>
                    <a:pt x="86" y="7"/>
                    <a:pt x="100" y="4"/>
                  </a:cubicBezTo>
                  <a:cubicBezTo>
                    <a:pt x="116" y="0"/>
                    <a:pt x="128" y="3"/>
                    <a:pt x="129" y="3"/>
                  </a:cubicBezTo>
                  <a:cubicBezTo>
                    <a:pt x="136" y="4"/>
                    <a:pt x="136" y="4"/>
                    <a:pt x="136" y="4"/>
                  </a:cubicBezTo>
                  <a:cubicBezTo>
                    <a:pt x="59" y="171"/>
                    <a:pt x="59" y="171"/>
                    <a:pt x="59" y="171"/>
                  </a:cubicBezTo>
                  <a:cubicBezTo>
                    <a:pt x="56" y="178"/>
                    <a:pt x="50" y="184"/>
                    <a:pt x="43" y="186"/>
                  </a:cubicBezTo>
                  <a:cubicBezTo>
                    <a:pt x="40" y="187"/>
                    <a:pt x="36" y="188"/>
                    <a:pt x="33" y="188"/>
                  </a:cubicBezTo>
                  <a:close/>
                </a:path>
              </a:pathLst>
            </a:custGeom>
            <a:solidFill>
              <a:srgbClr val="00A7C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 name="Freeform 7">
              <a:extLst>
                <a:ext uri="{FF2B5EF4-FFF2-40B4-BE49-F238E27FC236}">
                  <a16:creationId xmlns:a16="http://schemas.microsoft.com/office/drawing/2014/main" id="{A49E62F0-0EE2-BC07-7599-EEC1A1715E3A}"/>
                </a:ext>
              </a:extLst>
            </p:cNvPr>
            <p:cNvSpPr>
              <a:spLocks/>
            </p:cNvSpPr>
            <p:nvPr userDrawn="1"/>
          </p:nvSpPr>
          <p:spPr bwMode="auto">
            <a:xfrm>
              <a:off x="5940" y="417"/>
              <a:ext cx="191" cy="320"/>
            </a:xfrm>
            <a:custGeom>
              <a:avLst/>
              <a:gdLst>
                <a:gd name="T0" fmla="*/ 77 w 103"/>
                <a:gd name="T1" fmla="*/ 147 h 171"/>
                <a:gd name="T2" fmla="*/ 78 w 103"/>
                <a:gd name="T3" fmla="*/ 144 h 171"/>
                <a:gd name="T4" fmla="*/ 18 w 103"/>
                <a:gd name="T5" fmla="*/ 14 h 171"/>
                <a:gd name="T6" fmla="*/ 19 w 103"/>
                <a:gd name="T7" fmla="*/ 14 h 171"/>
                <a:gd name="T8" fmla="*/ 70 w 103"/>
                <a:gd name="T9" fmla="*/ 48 h 171"/>
                <a:gd name="T10" fmla="*/ 96 w 103"/>
                <a:gd name="T11" fmla="*/ 105 h 171"/>
                <a:gd name="T12" fmla="*/ 103 w 103"/>
                <a:gd name="T13" fmla="*/ 90 h 171"/>
                <a:gd name="T14" fmla="*/ 81 w 103"/>
                <a:gd name="T15" fmla="*/ 43 h 171"/>
                <a:gd name="T16" fmla="*/ 36 w 103"/>
                <a:gd name="T17" fmla="*/ 4 h 171"/>
                <a:gd name="T18" fmla="*/ 7 w 103"/>
                <a:gd name="T19" fmla="*/ 3 h 171"/>
                <a:gd name="T20" fmla="*/ 0 w 103"/>
                <a:gd name="T21" fmla="*/ 4 h 171"/>
                <a:gd name="T22" fmla="*/ 77 w 103"/>
                <a:gd name="T23" fmla="*/ 171 h 171"/>
                <a:gd name="T24" fmla="*/ 77 w 103"/>
                <a:gd name="T25" fmla="*/ 171 h 171"/>
                <a:gd name="T26" fmla="*/ 77 w 103"/>
                <a:gd name="T27" fmla="*/ 147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3" h="171">
                  <a:moveTo>
                    <a:pt x="77" y="147"/>
                  </a:moveTo>
                  <a:cubicBezTo>
                    <a:pt x="78" y="144"/>
                    <a:pt x="78" y="144"/>
                    <a:pt x="78" y="144"/>
                  </a:cubicBezTo>
                  <a:cubicBezTo>
                    <a:pt x="18" y="14"/>
                    <a:pt x="18" y="14"/>
                    <a:pt x="18" y="14"/>
                  </a:cubicBezTo>
                  <a:cubicBezTo>
                    <a:pt x="18" y="14"/>
                    <a:pt x="18" y="14"/>
                    <a:pt x="19" y="14"/>
                  </a:cubicBezTo>
                  <a:cubicBezTo>
                    <a:pt x="32" y="14"/>
                    <a:pt x="56" y="19"/>
                    <a:pt x="70" y="48"/>
                  </a:cubicBezTo>
                  <a:cubicBezTo>
                    <a:pt x="96" y="105"/>
                    <a:pt x="96" y="105"/>
                    <a:pt x="96" y="105"/>
                  </a:cubicBezTo>
                  <a:cubicBezTo>
                    <a:pt x="103" y="90"/>
                    <a:pt x="103" y="90"/>
                    <a:pt x="103" y="90"/>
                  </a:cubicBezTo>
                  <a:cubicBezTo>
                    <a:pt x="81" y="43"/>
                    <a:pt x="81" y="43"/>
                    <a:pt x="81" y="43"/>
                  </a:cubicBezTo>
                  <a:cubicBezTo>
                    <a:pt x="69" y="17"/>
                    <a:pt x="50" y="7"/>
                    <a:pt x="36" y="4"/>
                  </a:cubicBezTo>
                  <a:cubicBezTo>
                    <a:pt x="20" y="0"/>
                    <a:pt x="8" y="3"/>
                    <a:pt x="7" y="3"/>
                  </a:cubicBezTo>
                  <a:cubicBezTo>
                    <a:pt x="0" y="4"/>
                    <a:pt x="0" y="4"/>
                    <a:pt x="0" y="4"/>
                  </a:cubicBezTo>
                  <a:cubicBezTo>
                    <a:pt x="77" y="171"/>
                    <a:pt x="77" y="171"/>
                    <a:pt x="77" y="171"/>
                  </a:cubicBezTo>
                  <a:cubicBezTo>
                    <a:pt x="77" y="171"/>
                    <a:pt x="77" y="171"/>
                    <a:pt x="77" y="171"/>
                  </a:cubicBezTo>
                  <a:cubicBezTo>
                    <a:pt x="74" y="164"/>
                    <a:pt x="73" y="155"/>
                    <a:pt x="77" y="14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8">
              <a:extLst>
                <a:ext uri="{FF2B5EF4-FFF2-40B4-BE49-F238E27FC236}">
                  <a16:creationId xmlns:a16="http://schemas.microsoft.com/office/drawing/2014/main" id="{C4EFBFC0-B05F-D2F9-724F-0B59BDDE1C84}"/>
                </a:ext>
              </a:extLst>
            </p:cNvPr>
            <p:cNvSpPr>
              <a:spLocks/>
            </p:cNvSpPr>
            <p:nvPr userDrawn="1"/>
          </p:nvSpPr>
          <p:spPr bwMode="auto">
            <a:xfrm>
              <a:off x="6131" y="614"/>
              <a:ext cx="46" cy="116"/>
            </a:xfrm>
            <a:custGeom>
              <a:avLst/>
              <a:gdLst>
                <a:gd name="T0" fmla="*/ 0 w 25"/>
                <a:gd name="T1" fmla="*/ 15 h 62"/>
                <a:gd name="T2" fmla="*/ 15 w 25"/>
                <a:gd name="T3" fmla="*/ 47 h 62"/>
                <a:gd name="T4" fmla="*/ 15 w 25"/>
                <a:gd name="T5" fmla="*/ 62 h 62"/>
                <a:gd name="T6" fmla="*/ 15 w 25"/>
                <a:gd name="T7" fmla="*/ 61 h 62"/>
                <a:gd name="T8" fmla="*/ 25 w 25"/>
                <a:gd name="T9" fmla="*/ 39 h 62"/>
                <a:gd name="T10" fmla="*/ 7 w 25"/>
                <a:gd name="T11" fmla="*/ 0 h 62"/>
                <a:gd name="T12" fmla="*/ 0 w 25"/>
                <a:gd name="T13" fmla="*/ 15 h 62"/>
              </a:gdLst>
              <a:ahLst/>
              <a:cxnLst>
                <a:cxn ang="0">
                  <a:pos x="T0" y="T1"/>
                </a:cxn>
                <a:cxn ang="0">
                  <a:pos x="T2" y="T3"/>
                </a:cxn>
                <a:cxn ang="0">
                  <a:pos x="T4" y="T5"/>
                </a:cxn>
                <a:cxn ang="0">
                  <a:pos x="T6" y="T7"/>
                </a:cxn>
                <a:cxn ang="0">
                  <a:pos x="T8" y="T9"/>
                </a:cxn>
                <a:cxn ang="0">
                  <a:pos x="T10" y="T11"/>
                </a:cxn>
                <a:cxn ang="0">
                  <a:pos x="T12" y="T13"/>
                </a:cxn>
              </a:cxnLst>
              <a:rect l="0" t="0" r="r" b="b"/>
              <a:pathLst>
                <a:path w="25" h="62">
                  <a:moveTo>
                    <a:pt x="0" y="15"/>
                  </a:moveTo>
                  <a:cubicBezTo>
                    <a:pt x="15" y="47"/>
                    <a:pt x="15" y="47"/>
                    <a:pt x="15" y="47"/>
                  </a:cubicBezTo>
                  <a:cubicBezTo>
                    <a:pt x="17" y="52"/>
                    <a:pt x="17" y="57"/>
                    <a:pt x="15" y="62"/>
                  </a:cubicBezTo>
                  <a:cubicBezTo>
                    <a:pt x="15" y="61"/>
                    <a:pt x="15" y="61"/>
                    <a:pt x="15" y="61"/>
                  </a:cubicBezTo>
                  <a:cubicBezTo>
                    <a:pt x="25" y="39"/>
                    <a:pt x="25" y="39"/>
                    <a:pt x="25" y="39"/>
                  </a:cubicBezTo>
                  <a:cubicBezTo>
                    <a:pt x="7" y="0"/>
                    <a:pt x="7" y="0"/>
                    <a:pt x="7" y="0"/>
                  </a:cubicBezTo>
                  <a:cubicBezTo>
                    <a:pt x="0" y="15"/>
                    <a:pt x="0" y="15"/>
                    <a:pt x="0" y="1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Freeform 9">
              <a:extLst>
                <a:ext uri="{FF2B5EF4-FFF2-40B4-BE49-F238E27FC236}">
                  <a16:creationId xmlns:a16="http://schemas.microsoft.com/office/drawing/2014/main" id="{79AE867B-2476-4CFE-86BC-75D56BE6FBC9}"/>
                </a:ext>
              </a:extLst>
            </p:cNvPr>
            <p:cNvSpPr>
              <a:spLocks/>
            </p:cNvSpPr>
            <p:nvPr userDrawn="1"/>
          </p:nvSpPr>
          <p:spPr bwMode="auto">
            <a:xfrm>
              <a:off x="5578" y="426"/>
              <a:ext cx="293" cy="343"/>
            </a:xfrm>
            <a:custGeom>
              <a:avLst/>
              <a:gdLst>
                <a:gd name="T0" fmla="*/ 80 w 158"/>
                <a:gd name="T1" fmla="*/ 183 h 183"/>
                <a:gd name="T2" fmla="*/ 49 w 158"/>
                <a:gd name="T3" fmla="*/ 179 h 183"/>
                <a:gd name="T4" fmla="*/ 23 w 158"/>
                <a:gd name="T5" fmla="*/ 167 h 183"/>
                <a:gd name="T6" fmla="*/ 6 w 158"/>
                <a:gd name="T7" fmla="*/ 148 h 183"/>
                <a:gd name="T8" fmla="*/ 0 w 158"/>
                <a:gd name="T9" fmla="*/ 122 h 183"/>
                <a:gd name="T10" fmla="*/ 0 w 158"/>
                <a:gd name="T11" fmla="*/ 0 h 183"/>
                <a:gd name="T12" fmla="*/ 32 w 158"/>
                <a:gd name="T13" fmla="*/ 0 h 183"/>
                <a:gd name="T14" fmla="*/ 32 w 158"/>
                <a:gd name="T15" fmla="*/ 122 h 183"/>
                <a:gd name="T16" fmla="*/ 37 w 158"/>
                <a:gd name="T17" fmla="*/ 135 h 183"/>
                <a:gd name="T18" fmla="*/ 48 w 158"/>
                <a:gd name="T19" fmla="*/ 144 h 183"/>
                <a:gd name="T20" fmla="*/ 64 w 158"/>
                <a:gd name="T21" fmla="*/ 149 h 183"/>
                <a:gd name="T22" fmla="*/ 80 w 158"/>
                <a:gd name="T23" fmla="*/ 151 h 183"/>
                <a:gd name="T24" fmla="*/ 95 w 158"/>
                <a:gd name="T25" fmla="*/ 149 h 183"/>
                <a:gd name="T26" fmla="*/ 110 w 158"/>
                <a:gd name="T27" fmla="*/ 144 h 183"/>
                <a:gd name="T28" fmla="*/ 121 w 158"/>
                <a:gd name="T29" fmla="*/ 135 h 183"/>
                <a:gd name="T30" fmla="*/ 125 w 158"/>
                <a:gd name="T31" fmla="*/ 122 h 183"/>
                <a:gd name="T32" fmla="*/ 125 w 158"/>
                <a:gd name="T33" fmla="*/ 0 h 183"/>
                <a:gd name="T34" fmla="*/ 158 w 158"/>
                <a:gd name="T35" fmla="*/ 0 h 183"/>
                <a:gd name="T36" fmla="*/ 158 w 158"/>
                <a:gd name="T37" fmla="*/ 122 h 183"/>
                <a:gd name="T38" fmla="*/ 152 w 158"/>
                <a:gd name="T39" fmla="*/ 148 h 183"/>
                <a:gd name="T40" fmla="*/ 136 w 158"/>
                <a:gd name="T41" fmla="*/ 167 h 183"/>
                <a:gd name="T42" fmla="*/ 111 w 158"/>
                <a:gd name="T43" fmla="*/ 179 h 183"/>
                <a:gd name="T44" fmla="*/ 80 w 158"/>
                <a:gd name="T45" fmla="*/ 183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8" h="183">
                  <a:moveTo>
                    <a:pt x="80" y="183"/>
                  </a:moveTo>
                  <a:cubicBezTo>
                    <a:pt x="69" y="183"/>
                    <a:pt x="59" y="182"/>
                    <a:pt x="49" y="179"/>
                  </a:cubicBezTo>
                  <a:cubicBezTo>
                    <a:pt x="39" y="177"/>
                    <a:pt x="31" y="173"/>
                    <a:pt x="23" y="167"/>
                  </a:cubicBezTo>
                  <a:cubicBezTo>
                    <a:pt x="16" y="162"/>
                    <a:pt x="10" y="156"/>
                    <a:pt x="6" y="148"/>
                  </a:cubicBezTo>
                  <a:cubicBezTo>
                    <a:pt x="2" y="140"/>
                    <a:pt x="0" y="131"/>
                    <a:pt x="0" y="122"/>
                  </a:cubicBezTo>
                  <a:cubicBezTo>
                    <a:pt x="0" y="0"/>
                    <a:pt x="0" y="0"/>
                    <a:pt x="0" y="0"/>
                  </a:cubicBezTo>
                  <a:cubicBezTo>
                    <a:pt x="32" y="0"/>
                    <a:pt x="32" y="0"/>
                    <a:pt x="32" y="0"/>
                  </a:cubicBezTo>
                  <a:cubicBezTo>
                    <a:pt x="32" y="122"/>
                    <a:pt x="32" y="122"/>
                    <a:pt x="32" y="122"/>
                  </a:cubicBezTo>
                  <a:cubicBezTo>
                    <a:pt x="32" y="127"/>
                    <a:pt x="34" y="132"/>
                    <a:pt x="37" y="135"/>
                  </a:cubicBezTo>
                  <a:cubicBezTo>
                    <a:pt x="40" y="139"/>
                    <a:pt x="44" y="142"/>
                    <a:pt x="48" y="144"/>
                  </a:cubicBezTo>
                  <a:cubicBezTo>
                    <a:pt x="53" y="146"/>
                    <a:pt x="58" y="148"/>
                    <a:pt x="64" y="149"/>
                  </a:cubicBezTo>
                  <a:cubicBezTo>
                    <a:pt x="70" y="150"/>
                    <a:pt x="75" y="151"/>
                    <a:pt x="80" y="151"/>
                  </a:cubicBezTo>
                  <a:cubicBezTo>
                    <a:pt x="85" y="151"/>
                    <a:pt x="90" y="150"/>
                    <a:pt x="95" y="149"/>
                  </a:cubicBezTo>
                  <a:cubicBezTo>
                    <a:pt x="100" y="148"/>
                    <a:pt x="105" y="146"/>
                    <a:pt x="110" y="144"/>
                  </a:cubicBezTo>
                  <a:cubicBezTo>
                    <a:pt x="114" y="142"/>
                    <a:pt x="118" y="139"/>
                    <a:pt x="121" y="135"/>
                  </a:cubicBezTo>
                  <a:cubicBezTo>
                    <a:pt x="124" y="132"/>
                    <a:pt x="125" y="127"/>
                    <a:pt x="125" y="122"/>
                  </a:cubicBezTo>
                  <a:cubicBezTo>
                    <a:pt x="125" y="0"/>
                    <a:pt x="125" y="0"/>
                    <a:pt x="125" y="0"/>
                  </a:cubicBezTo>
                  <a:cubicBezTo>
                    <a:pt x="158" y="0"/>
                    <a:pt x="158" y="0"/>
                    <a:pt x="158" y="0"/>
                  </a:cubicBezTo>
                  <a:cubicBezTo>
                    <a:pt x="158" y="122"/>
                    <a:pt x="158" y="122"/>
                    <a:pt x="158" y="122"/>
                  </a:cubicBezTo>
                  <a:cubicBezTo>
                    <a:pt x="158" y="131"/>
                    <a:pt x="156" y="140"/>
                    <a:pt x="152" y="148"/>
                  </a:cubicBezTo>
                  <a:cubicBezTo>
                    <a:pt x="149" y="156"/>
                    <a:pt x="143" y="162"/>
                    <a:pt x="136" y="167"/>
                  </a:cubicBezTo>
                  <a:cubicBezTo>
                    <a:pt x="129" y="173"/>
                    <a:pt x="121" y="177"/>
                    <a:pt x="111" y="179"/>
                  </a:cubicBezTo>
                  <a:cubicBezTo>
                    <a:pt x="102" y="182"/>
                    <a:pt x="91" y="183"/>
                    <a:pt x="80" y="18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0">
              <a:extLst>
                <a:ext uri="{FF2B5EF4-FFF2-40B4-BE49-F238E27FC236}">
                  <a16:creationId xmlns:a16="http://schemas.microsoft.com/office/drawing/2014/main" id="{5A22A53F-4E31-0CA6-3377-54916C413954}"/>
                </a:ext>
              </a:extLst>
            </p:cNvPr>
            <p:cNvSpPr>
              <a:spLocks/>
            </p:cNvSpPr>
            <p:nvPr userDrawn="1"/>
          </p:nvSpPr>
          <p:spPr bwMode="auto">
            <a:xfrm>
              <a:off x="5203" y="421"/>
              <a:ext cx="294" cy="344"/>
            </a:xfrm>
            <a:custGeom>
              <a:avLst/>
              <a:gdLst>
                <a:gd name="T0" fmla="*/ 126 w 158"/>
                <a:gd name="T1" fmla="*/ 184 h 184"/>
                <a:gd name="T2" fmla="*/ 126 w 158"/>
                <a:gd name="T3" fmla="*/ 62 h 184"/>
                <a:gd name="T4" fmla="*/ 121 w 158"/>
                <a:gd name="T5" fmla="*/ 48 h 184"/>
                <a:gd name="T6" fmla="*/ 110 w 158"/>
                <a:gd name="T7" fmla="*/ 39 h 184"/>
                <a:gd name="T8" fmla="*/ 94 w 158"/>
                <a:gd name="T9" fmla="*/ 34 h 184"/>
                <a:gd name="T10" fmla="*/ 79 w 158"/>
                <a:gd name="T11" fmla="*/ 33 h 184"/>
                <a:gd name="T12" fmla="*/ 63 w 158"/>
                <a:gd name="T13" fmla="*/ 34 h 184"/>
                <a:gd name="T14" fmla="*/ 48 w 158"/>
                <a:gd name="T15" fmla="*/ 39 h 184"/>
                <a:gd name="T16" fmla="*/ 37 w 158"/>
                <a:gd name="T17" fmla="*/ 48 h 184"/>
                <a:gd name="T18" fmla="*/ 33 w 158"/>
                <a:gd name="T19" fmla="*/ 62 h 184"/>
                <a:gd name="T20" fmla="*/ 33 w 158"/>
                <a:gd name="T21" fmla="*/ 184 h 184"/>
                <a:gd name="T22" fmla="*/ 0 w 158"/>
                <a:gd name="T23" fmla="*/ 184 h 184"/>
                <a:gd name="T24" fmla="*/ 0 w 158"/>
                <a:gd name="T25" fmla="*/ 62 h 184"/>
                <a:gd name="T26" fmla="*/ 6 w 158"/>
                <a:gd name="T27" fmla="*/ 35 h 184"/>
                <a:gd name="T28" fmla="*/ 23 w 158"/>
                <a:gd name="T29" fmla="*/ 16 h 184"/>
                <a:gd name="T30" fmla="*/ 48 w 158"/>
                <a:gd name="T31" fmla="*/ 4 h 184"/>
                <a:gd name="T32" fmla="*/ 79 w 158"/>
                <a:gd name="T33" fmla="*/ 0 h 184"/>
                <a:gd name="T34" fmla="*/ 110 w 158"/>
                <a:gd name="T35" fmla="*/ 4 h 184"/>
                <a:gd name="T36" fmla="*/ 135 w 158"/>
                <a:gd name="T37" fmla="*/ 16 h 184"/>
                <a:gd name="T38" fmla="*/ 152 w 158"/>
                <a:gd name="T39" fmla="*/ 35 h 184"/>
                <a:gd name="T40" fmla="*/ 158 w 158"/>
                <a:gd name="T41" fmla="*/ 62 h 184"/>
                <a:gd name="T42" fmla="*/ 158 w 158"/>
                <a:gd name="T43" fmla="*/ 184 h 184"/>
                <a:gd name="T44" fmla="*/ 126 w 158"/>
                <a:gd name="T45" fmla="*/ 1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8" h="184">
                  <a:moveTo>
                    <a:pt x="126" y="184"/>
                  </a:moveTo>
                  <a:cubicBezTo>
                    <a:pt x="126" y="62"/>
                    <a:pt x="126" y="62"/>
                    <a:pt x="126" y="62"/>
                  </a:cubicBezTo>
                  <a:cubicBezTo>
                    <a:pt x="126" y="56"/>
                    <a:pt x="124" y="52"/>
                    <a:pt x="121" y="48"/>
                  </a:cubicBezTo>
                  <a:cubicBezTo>
                    <a:pt x="118" y="45"/>
                    <a:pt x="114" y="41"/>
                    <a:pt x="110" y="39"/>
                  </a:cubicBezTo>
                  <a:cubicBezTo>
                    <a:pt x="105" y="37"/>
                    <a:pt x="100" y="35"/>
                    <a:pt x="94" y="34"/>
                  </a:cubicBezTo>
                  <a:cubicBezTo>
                    <a:pt x="89" y="33"/>
                    <a:pt x="84" y="33"/>
                    <a:pt x="79" y="33"/>
                  </a:cubicBezTo>
                  <a:cubicBezTo>
                    <a:pt x="74" y="33"/>
                    <a:pt x="69" y="33"/>
                    <a:pt x="63" y="34"/>
                  </a:cubicBezTo>
                  <a:cubicBezTo>
                    <a:pt x="58" y="35"/>
                    <a:pt x="53" y="37"/>
                    <a:pt x="48" y="39"/>
                  </a:cubicBezTo>
                  <a:cubicBezTo>
                    <a:pt x="44" y="41"/>
                    <a:pt x="40" y="45"/>
                    <a:pt x="37" y="48"/>
                  </a:cubicBezTo>
                  <a:cubicBezTo>
                    <a:pt x="34" y="52"/>
                    <a:pt x="33" y="56"/>
                    <a:pt x="33" y="62"/>
                  </a:cubicBezTo>
                  <a:cubicBezTo>
                    <a:pt x="33" y="184"/>
                    <a:pt x="33" y="184"/>
                    <a:pt x="33" y="184"/>
                  </a:cubicBezTo>
                  <a:cubicBezTo>
                    <a:pt x="0" y="184"/>
                    <a:pt x="0" y="184"/>
                    <a:pt x="0" y="184"/>
                  </a:cubicBezTo>
                  <a:cubicBezTo>
                    <a:pt x="0" y="62"/>
                    <a:pt x="0" y="62"/>
                    <a:pt x="0" y="62"/>
                  </a:cubicBezTo>
                  <a:cubicBezTo>
                    <a:pt x="0" y="52"/>
                    <a:pt x="2" y="43"/>
                    <a:pt x="6" y="35"/>
                  </a:cubicBezTo>
                  <a:cubicBezTo>
                    <a:pt x="10" y="27"/>
                    <a:pt x="16" y="21"/>
                    <a:pt x="23" y="16"/>
                  </a:cubicBezTo>
                  <a:cubicBezTo>
                    <a:pt x="30" y="11"/>
                    <a:pt x="38" y="7"/>
                    <a:pt x="48" y="4"/>
                  </a:cubicBezTo>
                  <a:cubicBezTo>
                    <a:pt x="58" y="1"/>
                    <a:pt x="68" y="0"/>
                    <a:pt x="79" y="0"/>
                  </a:cubicBezTo>
                  <a:cubicBezTo>
                    <a:pt x="90" y="0"/>
                    <a:pt x="101" y="1"/>
                    <a:pt x="110" y="4"/>
                  </a:cubicBezTo>
                  <a:cubicBezTo>
                    <a:pt x="120" y="7"/>
                    <a:pt x="128" y="11"/>
                    <a:pt x="135" y="16"/>
                  </a:cubicBezTo>
                  <a:cubicBezTo>
                    <a:pt x="143" y="21"/>
                    <a:pt x="148" y="28"/>
                    <a:pt x="152" y="35"/>
                  </a:cubicBezTo>
                  <a:cubicBezTo>
                    <a:pt x="156" y="43"/>
                    <a:pt x="158" y="52"/>
                    <a:pt x="158" y="62"/>
                  </a:cubicBezTo>
                  <a:cubicBezTo>
                    <a:pt x="158" y="184"/>
                    <a:pt x="158" y="184"/>
                    <a:pt x="158" y="184"/>
                  </a:cubicBezTo>
                  <a:cubicBezTo>
                    <a:pt x="126" y="184"/>
                    <a:pt x="126" y="184"/>
                    <a:pt x="126" y="1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11">
              <a:extLst>
                <a:ext uri="{FF2B5EF4-FFF2-40B4-BE49-F238E27FC236}">
                  <a16:creationId xmlns:a16="http://schemas.microsoft.com/office/drawing/2014/main" id="{0C19C237-E13C-76F6-D33E-DEB1522CDB6C}"/>
                </a:ext>
              </a:extLst>
            </p:cNvPr>
            <p:cNvSpPr>
              <a:spLocks noEditPoints="1"/>
            </p:cNvSpPr>
            <p:nvPr userDrawn="1"/>
          </p:nvSpPr>
          <p:spPr bwMode="auto">
            <a:xfrm>
              <a:off x="4829" y="421"/>
              <a:ext cx="295" cy="348"/>
            </a:xfrm>
            <a:custGeom>
              <a:avLst/>
              <a:gdLst>
                <a:gd name="T0" fmla="*/ 126 w 159"/>
                <a:gd name="T1" fmla="*/ 77 h 186"/>
                <a:gd name="T2" fmla="*/ 126 w 159"/>
                <a:gd name="T3" fmla="*/ 62 h 186"/>
                <a:gd name="T4" fmla="*/ 122 w 159"/>
                <a:gd name="T5" fmla="*/ 49 h 186"/>
                <a:gd name="T6" fmla="*/ 112 w 159"/>
                <a:gd name="T7" fmla="*/ 40 h 186"/>
                <a:gd name="T8" fmla="*/ 97 w 159"/>
                <a:gd name="T9" fmla="*/ 35 h 186"/>
                <a:gd name="T10" fmla="*/ 79 w 159"/>
                <a:gd name="T11" fmla="*/ 33 h 186"/>
                <a:gd name="T12" fmla="*/ 61 w 159"/>
                <a:gd name="T13" fmla="*/ 35 h 186"/>
                <a:gd name="T14" fmla="*/ 46 w 159"/>
                <a:gd name="T15" fmla="*/ 40 h 186"/>
                <a:gd name="T16" fmla="*/ 37 w 159"/>
                <a:gd name="T17" fmla="*/ 50 h 186"/>
                <a:gd name="T18" fmla="*/ 33 w 159"/>
                <a:gd name="T19" fmla="*/ 62 h 186"/>
                <a:gd name="T20" fmla="*/ 33 w 159"/>
                <a:gd name="T21" fmla="*/ 77 h 186"/>
                <a:gd name="T22" fmla="*/ 126 w 159"/>
                <a:gd name="T23" fmla="*/ 77 h 186"/>
                <a:gd name="T24" fmla="*/ 79 w 159"/>
                <a:gd name="T25" fmla="*/ 186 h 186"/>
                <a:gd name="T26" fmla="*/ 49 w 159"/>
                <a:gd name="T27" fmla="*/ 182 h 186"/>
                <a:gd name="T28" fmla="*/ 24 w 159"/>
                <a:gd name="T29" fmla="*/ 171 h 186"/>
                <a:gd name="T30" fmla="*/ 7 w 159"/>
                <a:gd name="T31" fmla="*/ 151 h 186"/>
                <a:gd name="T32" fmla="*/ 0 w 159"/>
                <a:gd name="T33" fmla="*/ 123 h 186"/>
                <a:gd name="T34" fmla="*/ 0 w 159"/>
                <a:gd name="T35" fmla="*/ 62 h 186"/>
                <a:gd name="T36" fmla="*/ 7 w 159"/>
                <a:gd name="T37" fmla="*/ 35 h 186"/>
                <a:gd name="T38" fmla="*/ 23 w 159"/>
                <a:gd name="T39" fmla="*/ 16 h 186"/>
                <a:gd name="T40" fmla="*/ 48 w 159"/>
                <a:gd name="T41" fmla="*/ 4 h 186"/>
                <a:gd name="T42" fmla="*/ 79 w 159"/>
                <a:gd name="T43" fmla="*/ 0 h 186"/>
                <a:gd name="T44" fmla="*/ 110 w 159"/>
                <a:gd name="T45" fmla="*/ 4 h 186"/>
                <a:gd name="T46" fmla="*/ 135 w 159"/>
                <a:gd name="T47" fmla="*/ 15 h 186"/>
                <a:gd name="T48" fmla="*/ 152 w 159"/>
                <a:gd name="T49" fmla="*/ 34 h 186"/>
                <a:gd name="T50" fmla="*/ 159 w 159"/>
                <a:gd name="T51" fmla="*/ 62 h 186"/>
                <a:gd name="T52" fmla="*/ 159 w 159"/>
                <a:gd name="T53" fmla="*/ 109 h 186"/>
                <a:gd name="T54" fmla="*/ 33 w 159"/>
                <a:gd name="T55" fmla="*/ 109 h 186"/>
                <a:gd name="T56" fmla="*/ 33 w 159"/>
                <a:gd name="T57" fmla="*/ 124 h 186"/>
                <a:gd name="T58" fmla="*/ 37 w 159"/>
                <a:gd name="T59" fmla="*/ 136 h 186"/>
                <a:gd name="T60" fmla="*/ 47 w 159"/>
                <a:gd name="T61" fmla="*/ 146 h 186"/>
                <a:gd name="T62" fmla="*/ 61 w 159"/>
                <a:gd name="T63" fmla="*/ 152 h 186"/>
                <a:gd name="T64" fmla="*/ 79 w 159"/>
                <a:gd name="T65" fmla="*/ 154 h 186"/>
                <a:gd name="T66" fmla="*/ 105 w 159"/>
                <a:gd name="T67" fmla="*/ 149 h 186"/>
                <a:gd name="T68" fmla="*/ 125 w 159"/>
                <a:gd name="T69" fmla="*/ 136 h 186"/>
                <a:gd name="T70" fmla="*/ 125 w 159"/>
                <a:gd name="T71" fmla="*/ 135 h 186"/>
                <a:gd name="T72" fmla="*/ 155 w 159"/>
                <a:gd name="T73" fmla="*/ 152 h 186"/>
                <a:gd name="T74" fmla="*/ 154 w 159"/>
                <a:gd name="T75" fmla="*/ 153 h 186"/>
                <a:gd name="T76" fmla="*/ 123 w 159"/>
                <a:gd name="T77" fmla="*/ 178 h 186"/>
                <a:gd name="T78" fmla="*/ 79 w 159"/>
                <a:gd name="T79" fmla="*/ 186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59" h="186">
                  <a:moveTo>
                    <a:pt x="126" y="77"/>
                  </a:moveTo>
                  <a:cubicBezTo>
                    <a:pt x="126" y="62"/>
                    <a:pt x="126" y="62"/>
                    <a:pt x="126" y="62"/>
                  </a:cubicBezTo>
                  <a:cubicBezTo>
                    <a:pt x="126" y="57"/>
                    <a:pt x="125" y="53"/>
                    <a:pt x="122" y="49"/>
                  </a:cubicBezTo>
                  <a:cubicBezTo>
                    <a:pt x="120" y="46"/>
                    <a:pt x="116" y="42"/>
                    <a:pt x="112" y="40"/>
                  </a:cubicBezTo>
                  <a:cubicBezTo>
                    <a:pt x="108" y="38"/>
                    <a:pt x="103" y="36"/>
                    <a:pt x="97" y="35"/>
                  </a:cubicBezTo>
                  <a:cubicBezTo>
                    <a:pt x="92" y="33"/>
                    <a:pt x="86" y="33"/>
                    <a:pt x="79" y="33"/>
                  </a:cubicBezTo>
                  <a:cubicBezTo>
                    <a:pt x="73" y="33"/>
                    <a:pt x="67" y="33"/>
                    <a:pt x="61" y="35"/>
                  </a:cubicBezTo>
                  <a:cubicBezTo>
                    <a:pt x="56" y="36"/>
                    <a:pt x="51" y="38"/>
                    <a:pt x="46" y="40"/>
                  </a:cubicBezTo>
                  <a:cubicBezTo>
                    <a:pt x="42" y="43"/>
                    <a:pt x="39" y="46"/>
                    <a:pt x="37" y="50"/>
                  </a:cubicBezTo>
                  <a:cubicBezTo>
                    <a:pt x="34" y="53"/>
                    <a:pt x="33" y="57"/>
                    <a:pt x="33" y="62"/>
                  </a:cubicBezTo>
                  <a:cubicBezTo>
                    <a:pt x="33" y="77"/>
                    <a:pt x="33" y="77"/>
                    <a:pt x="33" y="77"/>
                  </a:cubicBezTo>
                  <a:cubicBezTo>
                    <a:pt x="126" y="77"/>
                    <a:pt x="126" y="77"/>
                    <a:pt x="126" y="77"/>
                  </a:cubicBezTo>
                  <a:close/>
                  <a:moveTo>
                    <a:pt x="79" y="186"/>
                  </a:moveTo>
                  <a:cubicBezTo>
                    <a:pt x="69" y="186"/>
                    <a:pt x="59" y="185"/>
                    <a:pt x="49" y="182"/>
                  </a:cubicBezTo>
                  <a:cubicBezTo>
                    <a:pt x="40" y="180"/>
                    <a:pt x="32" y="176"/>
                    <a:pt x="24" y="171"/>
                  </a:cubicBezTo>
                  <a:cubicBezTo>
                    <a:pt x="17" y="166"/>
                    <a:pt x="11" y="159"/>
                    <a:pt x="7" y="151"/>
                  </a:cubicBezTo>
                  <a:cubicBezTo>
                    <a:pt x="3" y="143"/>
                    <a:pt x="0" y="134"/>
                    <a:pt x="0" y="123"/>
                  </a:cubicBezTo>
                  <a:cubicBezTo>
                    <a:pt x="0" y="62"/>
                    <a:pt x="0" y="62"/>
                    <a:pt x="0" y="62"/>
                  </a:cubicBezTo>
                  <a:cubicBezTo>
                    <a:pt x="0" y="52"/>
                    <a:pt x="2" y="43"/>
                    <a:pt x="7" y="35"/>
                  </a:cubicBezTo>
                  <a:cubicBezTo>
                    <a:pt x="11" y="28"/>
                    <a:pt x="16" y="21"/>
                    <a:pt x="23" y="16"/>
                  </a:cubicBezTo>
                  <a:cubicBezTo>
                    <a:pt x="30" y="11"/>
                    <a:pt x="39" y="7"/>
                    <a:pt x="48" y="4"/>
                  </a:cubicBezTo>
                  <a:cubicBezTo>
                    <a:pt x="58" y="1"/>
                    <a:pt x="68" y="0"/>
                    <a:pt x="79" y="0"/>
                  </a:cubicBezTo>
                  <a:cubicBezTo>
                    <a:pt x="90" y="0"/>
                    <a:pt x="100" y="1"/>
                    <a:pt x="110" y="4"/>
                  </a:cubicBezTo>
                  <a:cubicBezTo>
                    <a:pt x="120" y="6"/>
                    <a:pt x="128" y="10"/>
                    <a:pt x="135" y="15"/>
                  </a:cubicBezTo>
                  <a:cubicBezTo>
                    <a:pt x="142" y="20"/>
                    <a:pt x="148" y="26"/>
                    <a:pt x="152" y="34"/>
                  </a:cubicBezTo>
                  <a:cubicBezTo>
                    <a:pt x="156" y="42"/>
                    <a:pt x="159" y="51"/>
                    <a:pt x="159" y="62"/>
                  </a:cubicBezTo>
                  <a:cubicBezTo>
                    <a:pt x="159" y="109"/>
                    <a:pt x="159" y="109"/>
                    <a:pt x="159" y="109"/>
                  </a:cubicBezTo>
                  <a:cubicBezTo>
                    <a:pt x="33" y="109"/>
                    <a:pt x="33" y="109"/>
                    <a:pt x="33" y="109"/>
                  </a:cubicBezTo>
                  <a:cubicBezTo>
                    <a:pt x="33" y="124"/>
                    <a:pt x="33" y="124"/>
                    <a:pt x="33" y="124"/>
                  </a:cubicBezTo>
                  <a:cubicBezTo>
                    <a:pt x="33" y="129"/>
                    <a:pt x="35" y="133"/>
                    <a:pt x="37" y="136"/>
                  </a:cubicBezTo>
                  <a:cubicBezTo>
                    <a:pt x="39" y="140"/>
                    <a:pt x="43" y="143"/>
                    <a:pt x="47" y="146"/>
                  </a:cubicBezTo>
                  <a:cubicBezTo>
                    <a:pt x="51" y="148"/>
                    <a:pt x="56" y="150"/>
                    <a:pt x="61" y="152"/>
                  </a:cubicBezTo>
                  <a:cubicBezTo>
                    <a:pt x="67" y="153"/>
                    <a:pt x="73" y="154"/>
                    <a:pt x="79" y="154"/>
                  </a:cubicBezTo>
                  <a:cubicBezTo>
                    <a:pt x="88" y="154"/>
                    <a:pt x="97" y="152"/>
                    <a:pt x="105" y="149"/>
                  </a:cubicBezTo>
                  <a:cubicBezTo>
                    <a:pt x="113" y="146"/>
                    <a:pt x="120" y="142"/>
                    <a:pt x="125" y="136"/>
                  </a:cubicBezTo>
                  <a:cubicBezTo>
                    <a:pt x="125" y="135"/>
                    <a:pt x="125" y="135"/>
                    <a:pt x="125" y="135"/>
                  </a:cubicBezTo>
                  <a:cubicBezTo>
                    <a:pt x="155" y="152"/>
                    <a:pt x="155" y="152"/>
                    <a:pt x="155" y="152"/>
                  </a:cubicBezTo>
                  <a:cubicBezTo>
                    <a:pt x="154" y="153"/>
                    <a:pt x="154" y="153"/>
                    <a:pt x="154" y="153"/>
                  </a:cubicBezTo>
                  <a:cubicBezTo>
                    <a:pt x="147" y="164"/>
                    <a:pt x="136" y="172"/>
                    <a:pt x="123" y="178"/>
                  </a:cubicBezTo>
                  <a:cubicBezTo>
                    <a:pt x="109" y="183"/>
                    <a:pt x="95" y="186"/>
                    <a:pt x="79" y="18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Freeform 12">
              <a:extLst>
                <a:ext uri="{FF2B5EF4-FFF2-40B4-BE49-F238E27FC236}">
                  <a16:creationId xmlns:a16="http://schemas.microsoft.com/office/drawing/2014/main" id="{E6951ED8-3F2C-5399-AECF-10A52B71D1D7}"/>
                </a:ext>
              </a:extLst>
            </p:cNvPr>
            <p:cNvSpPr>
              <a:spLocks/>
            </p:cNvSpPr>
            <p:nvPr userDrawn="1"/>
          </p:nvSpPr>
          <p:spPr bwMode="auto">
            <a:xfrm>
              <a:off x="4569" y="426"/>
              <a:ext cx="219" cy="339"/>
            </a:xfrm>
            <a:custGeom>
              <a:avLst/>
              <a:gdLst>
                <a:gd name="T0" fmla="*/ 0 w 118"/>
                <a:gd name="T1" fmla="*/ 130 h 181"/>
                <a:gd name="T2" fmla="*/ 0 w 118"/>
                <a:gd name="T3" fmla="*/ 61 h 181"/>
                <a:gd name="T4" fmla="*/ 21 w 118"/>
                <a:gd name="T5" fmla="*/ 16 h 181"/>
                <a:gd name="T6" fmla="*/ 76 w 118"/>
                <a:gd name="T7" fmla="*/ 0 h 181"/>
                <a:gd name="T8" fmla="*/ 118 w 118"/>
                <a:gd name="T9" fmla="*/ 0 h 181"/>
                <a:gd name="T10" fmla="*/ 118 w 118"/>
                <a:gd name="T11" fmla="*/ 32 h 181"/>
                <a:gd name="T12" fmla="*/ 76 w 118"/>
                <a:gd name="T13" fmla="*/ 32 h 181"/>
                <a:gd name="T14" fmla="*/ 45 w 118"/>
                <a:gd name="T15" fmla="*/ 40 h 181"/>
                <a:gd name="T16" fmla="*/ 33 w 118"/>
                <a:gd name="T17" fmla="*/ 61 h 181"/>
                <a:gd name="T18" fmla="*/ 33 w 118"/>
                <a:gd name="T19" fmla="*/ 181 h 181"/>
                <a:gd name="T20" fmla="*/ 0 w 118"/>
                <a:gd name="T21" fmla="*/ 13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8" h="181">
                  <a:moveTo>
                    <a:pt x="0" y="130"/>
                  </a:moveTo>
                  <a:cubicBezTo>
                    <a:pt x="0" y="61"/>
                    <a:pt x="0" y="61"/>
                    <a:pt x="0" y="61"/>
                  </a:cubicBezTo>
                  <a:cubicBezTo>
                    <a:pt x="0" y="42"/>
                    <a:pt x="7" y="27"/>
                    <a:pt x="21" y="16"/>
                  </a:cubicBezTo>
                  <a:cubicBezTo>
                    <a:pt x="34" y="5"/>
                    <a:pt x="53" y="0"/>
                    <a:pt x="76" y="0"/>
                  </a:cubicBezTo>
                  <a:cubicBezTo>
                    <a:pt x="118" y="0"/>
                    <a:pt x="118" y="0"/>
                    <a:pt x="118" y="0"/>
                  </a:cubicBezTo>
                  <a:cubicBezTo>
                    <a:pt x="118" y="32"/>
                    <a:pt x="118" y="32"/>
                    <a:pt x="118" y="32"/>
                  </a:cubicBezTo>
                  <a:cubicBezTo>
                    <a:pt x="76" y="32"/>
                    <a:pt x="76" y="32"/>
                    <a:pt x="76" y="32"/>
                  </a:cubicBezTo>
                  <a:cubicBezTo>
                    <a:pt x="63" y="32"/>
                    <a:pt x="53" y="35"/>
                    <a:pt x="45" y="40"/>
                  </a:cubicBezTo>
                  <a:cubicBezTo>
                    <a:pt x="37" y="45"/>
                    <a:pt x="33" y="52"/>
                    <a:pt x="33" y="61"/>
                  </a:cubicBezTo>
                  <a:cubicBezTo>
                    <a:pt x="33" y="181"/>
                    <a:pt x="33" y="181"/>
                    <a:pt x="33" y="181"/>
                  </a:cubicBezTo>
                  <a:cubicBezTo>
                    <a:pt x="33" y="181"/>
                    <a:pt x="0" y="168"/>
                    <a:pt x="0" y="13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13">
              <a:extLst>
                <a:ext uri="{FF2B5EF4-FFF2-40B4-BE49-F238E27FC236}">
                  <a16:creationId xmlns:a16="http://schemas.microsoft.com/office/drawing/2014/main" id="{B1EEBA57-FBBF-1B84-C012-CA1A797B9C81}"/>
                </a:ext>
              </a:extLst>
            </p:cNvPr>
            <p:cNvSpPr>
              <a:spLocks/>
            </p:cNvSpPr>
            <p:nvPr userDrawn="1"/>
          </p:nvSpPr>
          <p:spPr bwMode="auto">
            <a:xfrm>
              <a:off x="6394" y="426"/>
              <a:ext cx="62" cy="339"/>
            </a:xfrm>
            <a:custGeom>
              <a:avLst/>
              <a:gdLst>
                <a:gd name="T0" fmla="*/ 0 w 62"/>
                <a:gd name="T1" fmla="*/ 339 h 339"/>
                <a:gd name="T2" fmla="*/ 0 w 62"/>
                <a:gd name="T3" fmla="*/ 0 h 339"/>
                <a:gd name="T4" fmla="*/ 62 w 62"/>
                <a:gd name="T5" fmla="*/ 0 h 339"/>
                <a:gd name="T6" fmla="*/ 62 w 62"/>
                <a:gd name="T7" fmla="*/ 339 h 339"/>
                <a:gd name="T8" fmla="*/ 0 w 62"/>
                <a:gd name="T9" fmla="*/ 339 h 339"/>
                <a:gd name="T10" fmla="*/ 0 w 62"/>
                <a:gd name="T11" fmla="*/ 339 h 339"/>
              </a:gdLst>
              <a:ahLst/>
              <a:cxnLst>
                <a:cxn ang="0">
                  <a:pos x="T0" y="T1"/>
                </a:cxn>
                <a:cxn ang="0">
                  <a:pos x="T2" y="T3"/>
                </a:cxn>
                <a:cxn ang="0">
                  <a:pos x="T4" y="T5"/>
                </a:cxn>
                <a:cxn ang="0">
                  <a:pos x="T6" y="T7"/>
                </a:cxn>
                <a:cxn ang="0">
                  <a:pos x="T8" y="T9"/>
                </a:cxn>
                <a:cxn ang="0">
                  <a:pos x="T10" y="T11"/>
                </a:cxn>
              </a:cxnLst>
              <a:rect l="0" t="0" r="r" b="b"/>
              <a:pathLst>
                <a:path w="62" h="339">
                  <a:moveTo>
                    <a:pt x="0" y="339"/>
                  </a:moveTo>
                  <a:lnTo>
                    <a:pt x="0" y="0"/>
                  </a:lnTo>
                  <a:lnTo>
                    <a:pt x="62" y="0"/>
                  </a:lnTo>
                  <a:lnTo>
                    <a:pt x="62" y="339"/>
                  </a:lnTo>
                  <a:lnTo>
                    <a:pt x="0" y="339"/>
                  </a:lnTo>
                  <a:lnTo>
                    <a:pt x="0" y="3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Freeform 14">
              <a:extLst>
                <a:ext uri="{FF2B5EF4-FFF2-40B4-BE49-F238E27FC236}">
                  <a16:creationId xmlns:a16="http://schemas.microsoft.com/office/drawing/2014/main" id="{3C41B354-40BF-DFC5-20F8-B7645B06A65F}"/>
                </a:ext>
              </a:extLst>
            </p:cNvPr>
            <p:cNvSpPr>
              <a:spLocks noEditPoints="1"/>
            </p:cNvSpPr>
            <p:nvPr userDrawn="1"/>
          </p:nvSpPr>
          <p:spPr bwMode="auto">
            <a:xfrm>
              <a:off x="6545" y="421"/>
              <a:ext cx="293" cy="348"/>
            </a:xfrm>
            <a:custGeom>
              <a:avLst/>
              <a:gdLst>
                <a:gd name="T0" fmla="*/ 79 w 158"/>
                <a:gd name="T1" fmla="*/ 33 h 186"/>
                <a:gd name="T2" fmla="*/ 61 w 158"/>
                <a:gd name="T3" fmla="*/ 35 h 186"/>
                <a:gd name="T4" fmla="*/ 46 w 158"/>
                <a:gd name="T5" fmla="*/ 40 h 186"/>
                <a:gd name="T6" fmla="*/ 36 w 158"/>
                <a:gd name="T7" fmla="*/ 50 h 186"/>
                <a:gd name="T8" fmla="*/ 33 w 158"/>
                <a:gd name="T9" fmla="*/ 62 h 186"/>
                <a:gd name="T10" fmla="*/ 33 w 158"/>
                <a:gd name="T11" fmla="*/ 123 h 186"/>
                <a:gd name="T12" fmla="*/ 36 w 158"/>
                <a:gd name="T13" fmla="*/ 136 h 186"/>
                <a:gd name="T14" fmla="*/ 46 w 158"/>
                <a:gd name="T15" fmla="*/ 146 h 186"/>
                <a:gd name="T16" fmla="*/ 61 w 158"/>
                <a:gd name="T17" fmla="*/ 151 h 186"/>
                <a:gd name="T18" fmla="*/ 79 w 158"/>
                <a:gd name="T19" fmla="*/ 154 h 186"/>
                <a:gd name="T20" fmla="*/ 96 w 158"/>
                <a:gd name="T21" fmla="*/ 151 h 186"/>
                <a:gd name="T22" fmla="*/ 111 w 158"/>
                <a:gd name="T23" fmla="*/ 146 h 186"/>
                <a:gd name="T24" fmla="*/ 121 w 158"/>
                <a:gd name="T25" fmla="*/ 136 h 186"/>
                <a:gd name="T26" fmla="*/ 125 w 158"/>
                <a:gd name="T27" fmla="*/ 123 h 186"/>
                <a:gd name="T28" fmla="*/ 125 w 158"/>
                <a:gd name="T29" fmla="*/ 62 h 186"/>
                <a:gd name="T30" fmla="*/ 121 w 158"/>
                <a:gd name="T31" fmla="*/ 50 h 186"/>
                <a:gd name="T32" fmla="*/ 111 w 158"/>
                <a:gd name="T33" fmla="*/ 40 h 186"/>
                <a:gd name="T34" fmla="*/ 96 w 158"/>
                <a:gd name="T35" fmla="*/ 35 h 186"/>
                <a:gd name="T36" fmla="*/ 79 w 158"/>
                <a:gd name="T37" fmla="*/ 33 h 186"/>
                <a:gd name="T38" fmla="*/ 79 w 158"/>
                <a:gd name="T39" fmla="*/ 186 h 186"/>
                <a:gd name="T40" fmla="*/ 48 w 158"/>
                <a:gd name="T41" fmla="*/ 182 h 186"/>
                <a:gd name="T42" fmla="*/ 23 w 158"/>
                <a:gd name="T43" fmla="*/ 170 h 186"/>
                <a:gd name="T44" fmla="*/ 6 w 158"/>
                <a:gd name="T45" fmla="*/ 150 h 186"/>
                <a:gd name="T46" fmla="*/ 0 w 158"/>
                <a:gd name="T47" fmla="*/ 123 h 186"/>
                <a:gd name="T48" fmla="*/ 0 w 158"/>
                <a:gd name="T49" fmla="*/ 62 h 186"/>
                <a:gd name="T50" fmla="*/ 6 w 158"/>
                <a:gd name="T51" fmla="*/ 35 h 186"/>
                <a:gd name="T52" fmla="*/ 23 w 158"/>
                <a:gd name="T53" fmla="*/ 16 h 186"/>
                <a:gd name="T54" fmla="*/ 48 w 158"/>
                <a:gd name="T55" fmla="*/ 4 h 186"/>
                <a:gd name="T56" fmla="*/ 79 w 158"/>
                <a:gd name="T57" fmla="*/ 0 h 186"/>
                <a:gd name="T58" fmla="*/ 110 w 158"/>
                <a:gd name="T59" fmla="*/ 4 h 186"/>
                <a:gd name="T60" fmla="*/ 135 w 158"/>
                <a:gd name="T61" fmla="*/ 16 h 186"/>
                <a:gd name="T62" fmla="*/ 152 w 158"/>
                <a:gd name="T63" fmla="*/ 35 h 186"/>
                <a:gd name="T64" fmla="*/ 158 w 158"/>
                <a:gd name="T65" fmla="*/ 62 h 186"/>
                <a:gd name="T66" fmla="*/ 158 w 158"/>
                <a:gd name="T67" fmla="*/ 123 h 186"/>
                <a:gd name="T68" fmla="*/ 152 w 158"/>
                <a:gd name="T69" fmla="*/ 150 h 186"/>
                <a:gd name="T70" fmla="*/ 135 w 158"/>
                <a:gd name="T71" fmla="*/ 170 h 186"/>
                <a:gd name="T72" fmla="*/ 110 w 158"/>
                <a:gd name="T73" fmla="*/ 182 h 186"/>
                <a:gd name="T74" fmla="*/ 79 w 158"/>
                <a:gd name="T75" fmla="*/ 186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8" h="186">
                  <a:moveTo>
                    <a:pt x="79" y="33"/>
                  </a:moveTo>
                  <a:cubicBezTo>
                    <a:pt x="73" y="33"/>
                    <a:pt x="67" y="33"/>
                    <a:pt x="61" y="35"/>
                  </a:cubicBezTo>
                  <a:cubicBezTo>
                    <a:pt x="56" y="36"/>
                    <a:pt x="51" y="38"/>
                    <a:pt x="46" y="40"/>
                  </a:cubicBezTo>
                  <a:cubicBezTo>
                    <a:pt x="42" y="43"/>
                    <a:pt x="39" y="46"/>
                    <a:pt x="36" y="50"/>
                  </a:cubicBezTo>
                  <a:cubicBezTo>
                    <a:pt x="34" y="53"/>
                    <a:pt x="33" y="57"/>
                    <a:pt x="33" y="62"/>
                  </a:cubicBezTo>
                  <a:cubicBezTo>
                    <a:pt x="33" y="123"/>
                    <a:pt x="33" y="123"/>
                    <a:pt x="33" y="123"/>
                  </a:cubicBezTo>
                  <a:cubicBezTo>
                    <a:pt x="33" y="128"/>
                    <a:pt x="34" y="133"/>
                    <a:pt x="36" y="136"/>
                  </a:cubicBezTo>
                  <a:cubicBezTo>
                    <a:pt x="39" y="140"/>
                    <a:pt x="42" y="143"/>
                    <a:pt x="46" y="146"/>
                  </a:cubicBezTo>
                  <a:cubicBezTo>
                    <a:pt x="51" y="148"/>
                    <a:pt x="56" y="150"/>
                    <a:pt x="61" y="151"/>
                  </a:cubicBezTo>
                  <a:cubicBezTo>
                    <a:pt x="67" y="153"/>
                    <a:pt x="73" y="154"/>
                    <a:pt x="79" y="154"/>
                  </a:cubicBezTo>
                  <a:cubicBezTo>
                    <a:pt x="85" y="154"/>
                    <a:pt x="91" y="153"/>
                    <a:pt x="96" y="151"/>
                  </a:cubicBezTo>
                  <a:cubicBezTo>
                    <a:pt x="102" y="150"/>
                    <a:pt x="107" y="148"/>
                    <a:pt x="111" y="146"/>
                  </a:cubicBezTo>
                  <a:cubicBezTo>
                    <a:pt x="115" y="143"/>
                    <a:pt x="119" y="140"/>
                    <a:pt x="121" y="136"/>
                  </a:cubicBezTo>
                  <a:cubicBezTo>
                    <a:pt x="124" y="133"/>
                    <a:pt x="125" y="128"/>
                    <a:pt x="125" y="123"/>
                  </a:cubicBezTo>
                  <a:cubicBezTo>
                    <a:pt x="125" y="62"/>
                    <a:pt x="125" y="62"/>
                    <a:pt x="125" y="62"/>
                  </a:cubicBezTo>
                  <a:cubicBezTo>
                    <a:pt x="125" y="57"/>
                    <a:pt x="124" y="53"/>
                    <a:pt x="121" y="50"/>
                  </a:cubicBezTo>
                  <a:cubicBezTo>
                    <a:pt x="119" y="46"/>
                    <a:pt x="115" y="43"/>
                    <a:pt x="111" y="40"/>
                  </a:cubicBezTo>
                  <a:cubicBezTo>
                    <a:pt x="107" y="38"/>
                    <a:pt x="102" y="36"/>
                    <a:pt x="96" y="35"/>
                  </a:cubicBezTo>
                  <a:cubicBezTo>
                    <a:pt x="91" y="33"/>
                    <a:pt x="85" y="33"/>
                    <a:pt x="79" y="33"/>
                  </a:cubicBezTo>
                  <a:close/>
                  <a:moveTo>
                    <a:pt x="79" y="186"/>
                  </a:moveTo>
                  <a:cubicBezTo>
                    <a:pt x="68" y="186"/>
                    <a:pt x="57" y="185"/>
                    <a:pt x="48" y="182"/>
                  </a:cubicBezTo>
                  <a:cubicBezTo>
                    <a:pt x="38" y="179"/>
                    <a:pt x="30" y="175"/>
                    <a:pt x="23" y="170"/>
                  </a:cubicBezTo>
                  <a:cubicBezTo>
                    <a:pt x="16" y="165"/>
                    <a:pt x="10" y="158"/>
                    <a:pt x="6" y="150"/>
                  </a:cubicBezTo>
                  <a:cubicBezTo>
                    <a:pt x="2" y="142"/>
                    <a:pt x="0" y="133"/>
                    <a:pt x="0" y="123"/>
                  </a:cubicBezTo>
                  <a:cubicBezTo>
                    <a:pt x="0" y="62"/>
                    <a:pt x="0" y="62"/>
                    <a:pt x="0" y="62"/>
                  </a:cubicBezTo>
                  <a:cubicBezTo>
                    <a:pt x="0" y="52"/>
                    <a:pt x="2" y="43"/>
                    <a:pt x="6" y="35"/>
                  </a:cubicBezTo>
                  <a:cubicBezTo>
                    <a:pt x="10" y="28"/>
                    <a:pt x="16" y="21"/>
                    <a:pt x="23" y="16"/>
                  </a:cubicBezTo>
                  <a:cubicBezTo>
                    <a:pt x="30" y="11"/>
                    <a:pt x="38" y="7"/>
                    <a:pt x="48" y="4"/>
                  </a:cubicBezTo>
                  <a:cubicBezTo>
                    <a:pt x="57" y="1"/>
                    <a:pt x="68" y="0"/>
                    <a:pt x="79" y="0"/>
                  </a:cubicBezTo>
                  <a:cubicBezTo>
                    <a:pt x="90" y="0"/>
                    <a:pt x="100" y="1"/>
                    <a:pt x="110" y="4"/>
                  </a:cubicBezTo>
                  <a:cubicBezTo>
                    <a:pt x="120" y="7"/>
                    <a:pt x="128" y="11"/>
                    <a:pt x="135" y="16"/>
                  </a:cubicBezTo>
                  <a:cubicBezTo>
                    <a:pt x="142" y="21"/>
                    <a:pt x="148" y="28"/>
                    <a:pt x="152" y="35"/>
                  </a:cubicBezTo>
                  <a:cubicBezTo>
                    <a:pt x="156" y="43"/>
                    <a:pt x="158" y="52"/>
                    <a:pt x="158" y="62"/>
                  </a:cubicBezTo>
                  <a:cubicBezTo>
                    <a:pt x="158" y="123"/>
                    <a:pt x="158" y="123"/>
                    <a:pt x="158" y="123"/>
                  </a:cubicBezTo>
                  <a:cubicBezTo>
                    <a:pt x="158" y="133"/>
                    <a:pt x="156" y="142"/>
                    <a:pt x="152" y="150"/>
                  </a:cubicBezTo>
                  <a:cubicBezTo>
                    <a:pt x="148" y="158"/>
                    <a:pt x="142" y="165"/>
                    <a:pt x="135" y="170"/>
                  </a:cubicBezTo>
                  <a:cubicBezTo>
                    <a:pt x="128" y="175"/>
                    <a:pt x="120" y="179"/>
                    <a:pt x="110" y="182"/>
                  </a:cubicBezTo>
                  <a:cubicBezTo>
                    <a:pt x="100" y="185"/>
                    <a:pt x="90" y="186"/>
                    <a:pt x="79" y="18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 name="Freeform 15">
              <a:extLst>
                <a:ext uri="{FF2B5EF4-FFF2-40B4-BE49-F238E27FC236}">
                  <a16:creationId xmlns:a16="http://schemas.microsoft.com/office/drawing/2014/main" id="{D0EB43C8-2BC7-F841-4CB4-D36B3D2D6EB9}"/>
                </a:ext>
              </a:extLst>
            </p:cNvPr>
            <p:cNvSpPr>
              <a:spLocks/>
            </p:cNvSpPr>
            <p:nvPr userDrawn="1"/>
          </p:nvSpPr>
          <p:spPr bwMode="auto">
            <a:xfrm>
              <a:off x="6925" y="421"/>
              <a:ext cx="293" cy="344"/>
            </a:xfrm>
            <a:custGeom>
              <a:avLst/>
              <a:gdLst>
                <a:gd name="T0" fmla="*/ 126 w 158"/>
                <a:gd name="T1" fmla="*/ 62 h 184"/>
                <a:gd name="T2" fmla="*/ 121 w 158"/>
                <a:gd name="T3" fmla="*/ 48 h 184"/>
                <a:gd name="T4" fmla="*/ 110 w 158"/>
                <a:gd name="T5" fmla="*/ 39 h 184"/>
                <a:gd name="T6" fmla="*/ 94 w 158"/>
                <a:gd name="T7" fmla="*/ 34 h 184"/>
                <a:gd name="T8" fmla="*/ 79 w 158"/>
                <a:gd name="T9" fmla="*/ 33 h 184"/>
                <a:gd name="T10" fmla="*/ 63 w 158"/>
                <a:gd name="T11" fmla="*/ 34 h 184"/>
                <a:gd name="T12" fmla="*/ 48 w 158"/>
                <a:gd name="T13" fmla="*/ 39 h 184"/>
                <a:gd name="T14" fmla="*/ 37 w 158"/>
                <a:gd name="T15" fmla="*/ 48 h 184"/>
                <a:gd name="T16" fmla="*/ 33 w 158"/>
                <a:gd name="T17" fmla="*/ 62 h 184"/>
                <a:gd name="T18" fmla="*/ 33 w 158"/>
                <a:gd name="T19" fmla="*/ 184 h 184"/>
                <a:gd name="T20" fmla="*/ 0 w 158"/>
                <a:gd name="T21" fmla="*/ 184 h 184"/>
                <a:gd name="T22" fmla="*/ 0 w 158"/>
                <a:gd name="T23" fmla="*/ 62 h 184"/>
                <a:gd name="T24" fmla="*/ 6 w 158"/>
                <a:gd name="T25" fmla="*/ 35 h 184"/>
                <a:gd name="T26" fmla="*/ 23 w 158"/>
                <a:gd name="T27" fmla="*/ 16 h 184"/>
                <a:gd name="T28" fmla="*/ 48 w 158"/>
                <a:gd name="T29" fmla="*/ 4 h 184"/>
                <a:gd name="T30" fmla="*/ 79 w 158"/>
                <a:gd name="T31" fmla="*/ 0 h 184"/>
                <a:gd name="T32" fmla="*/ 110 w 158"/>
                <a:gd name="T33" fmla="*/ 4 h 184"/>
                <a:gd name="T34" fmla="*/ 135 w 158"/>
                <a:gd name="T35" fmla="*/ 16 h 184"/>
                <a:gd name="T36" fmla="*/ 152 w 158"/>
                <a:gd name="T37" fmla="*/ 35 h 184"/>
                <a:gd name="T38" fmla="*/ 158 w 158"/>
                <a:gd name="T39" fmla="*/ 62 h 184"/>
                <a:gd name="T40" fmla="*/ 158 w 158"/>
                <a:gd name="T41" fmla="*/ 135 h 184"/>
                <a:gd name="T42" fmla="*/ 126 w 158"/>
                <a:gd name="T43" fmla="*/ 184 h 184"/>
                <a:gd name="T44" fmla="*/ 126 w 158"/>
                <a:gd name="T45" fmla="*/ 62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8" h="184">
                  <a:moveTo>
                    <a:pt x="126" y="62"/>
                  </a:moveTo>
                  <a:cubicBezTo>
                    <a:pt x="126" y="56"/>
                    <a:pt x="124" y="52"/>
                    <a:pt x="121" y="48"/>
                  </a:cubicBezTo>
                  <a:cubicBezTo>
                    <a:pt x="118" y="45"/>
                    <a:pt x="114" y="42"/>
                    <a:pt x="110" y="39"/>
                  </a:cubicBezTo>
                  <a:cubicBezTo>
                    <a:pt x="105" y="37"/>
                    <a:pt x="100" y="35"/>
                    <a:pt x="94" y="34"/>
                  </a:cubicBezTo>
                  <a:cubicBezTo>
                    <a:pt x="89" y="33"/>
                    <a:pt x="84" y="33"/>
                    <a:pt x="79" y="33"/>
                  </a:cubicBezTo>
                  <a:cubicBezTo>
                    <a:pt x="74" y="33"/>
                    <a:pt x="69" y="33"/>
                    <a:pt x="63" y="34"/>
                  </a:cubicBezTo>
                  <a:cubicBezTo>
                    <a:pt x="58" y="35"/>
                    <a:pt x="53" y="37"/>
                    <a:pt x="48" y="39"/>
                  </a:cubicBezTo>
                  <a:cubicBezTo>
                    <a:pt x="44" y="42"/>
                    <a:pt x="40" y="45"/>
                    <a:pt x="37" y="48"/>
                  </a:cubicBezTo>
                  <a:cubicBezTo>
                    <a:pt x="34" y="52"/>
                    <a:pt x="33" y="56"/>
                    <a:pt x="33" y="62"/>
                  </a:cubicBezTo>
                  <a:cubicBezTo>
                    <a:pt x="33" y="184"/>
                    <a:pt x="33" y="184"/>
                    <a:pt x="33" y="184"/>
                  </a:cubicBezTo>
                  <a:cubicBezTo>
                    <a:pt x="0" y="184"/>
                    <a:pt x="0" y="184"/>
                    <a:pt x="0" y="184"/>
                  </a:cubicBezTo>
                  <a:cubicBezTo>
                    <a:pt x="0" y="62"/>
                    <a:pt x="0" y="62"/>
                    <a:pt x="0" y="62"/>
                  </a:cubicBezTo>
                  <a:cubicBezTo>
                    <a:pt x="0" y="52"/>
                    <a:pt x="2" y="43"/>
                    <a:pt x="6" y="35"/>
                  </a:cubicBezTo>
                  <a:cubicBezTo>
                    <a:pt x="10" y="28"/>
                    <a:pt x="16" y="21"/>
                    <a:pt x="23" y="16"/>
                  </a:cubicBezTo>
                  <a:cubicBezTo>
                    <a:pt x="30" y="11"/>
                    <a:pt x="38" y="7"/>
                    <a:pt x="48" y="4"/>
                  </a:cubicBezTo>
                  <a:cubicBezTo>
                    <a:pt x="58" y="1"/>
                    <a:pt x="68" y="0"/>
                    <a:pt x="79" y="0"/>
                  </a:cubicBezTo>
                  <a:cubicBezTo>
                    <a:pt x="90" y="0"/>
                    <a:pt x="101" y="1"/>
                    <a:pt x="110" y="4"/>
                  </a:cubicBezTo>
                  <a:cubicBezTo>
                    <a:pt x="120" y="7"/>
                    <a:pt x="128" y="11"/>
                    <a:pt x="135" y="16"/>
                  </a:cubicBezTo>
                  <a:cubicBezTo>
                    <a:pt x="143" y="21"/>
                    <a:pt x="148" y="28"/>
                    <a:pt x="152" y="35"/>
                  </a:cubicBezTo>
                  <a:cubicBezTo>
                    <a:pt x="156" y="43"/>
                    <a:pt x="158" y="52"/>
                    <a:pt x="158" y="62"/>
                  </a:cubicBezTo>
                  <a:cubicBezTo>
                    <a:pt x="158" y="135"/>
                    <a:pt x="158" y="135"/>
                    <a:pt x="158" y="135"/>
                  </a:cubicBezTo>
                  <a:cubicBezTo>
                    <a:pt x="158" y="170"/>
                    <a:pt x="126" y="184"/>
                    <a:pt x="126" y="184"/>
                  </a:cubicBezTo>
                  <a:cubicBezTo>
                    <a:pt x="126" y="62"/>
                    <a:pt x="126" y="62"/>
                    <a:pt x="126" y="6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Freeform 16">
              <a:extLst>
                <a:ext uri="{FF2B5EF4-FFF2-40B4-BE49-F238E27FC236}">
                  <a16:creationId xmlns:a16="http://schemas.microsoft.com/office/drawing/2014/main" id="{833504E8-AB9E-8F49-064E-CCD4713FA9B5}"/>
                </a:ext>
              </a:extLst>
            </p:cNvPr>
            <p:cNvSpPr>
              <a:spLocks noEditPoints="1"/>
            </p:cNvSpPr>
            <p:nvPr userDrawn="1"/>
          </p:nvSpPr>
          <p:spPr bwMode="auto">
            <a:xfrm>
              <a:off x="7263" y="404"/>
              <a:ext cx="85" cy="88"/>
            </a:xfrm>
            <a:custGeom>
              <a:avLst/>
              <a:gdLst>
                <a:gd name="T0" fmla="*/ 24 w 46"/>
                <a:gd name="T1" fmla="*/ 15 h 47"/>
                <a:gd name="T2" fmla="*/ 20 w 46"/>
                <a:gd name="T3" fmla="*/ 15 h 47"/>
                <a:gd name="T4" fmla="*/ 20 w 46"/>
                <a:gd name="T5" fmla="*/ 23 h 47"/>
                <a:gd name="T6" fmla="*/ 24 w 46"/>
                <a:gd name="T7" fmla="*/ 23 h 47"/>
                <a:gd name="T8" fmla="*/ 28 w 46"/>
                <a:gd name="T9" fmla="*/ 19 h 47"/>
                <a:gd name="T10" fmla="*/ 24 w 46"/>
                <a:gd name="T11" fmla="*/ 15 h 47"/>
                <a:gd name="T12" fmla="*/ 28 w 46"/>
                <a:gd name="T13" fmla="*/ 36 h 47"/>
                <a:gd name="T14" fmla="*/ 23 w 46"/>
                <a:gd name="T15" fmla="*/ 26 h 47"/>
                <a:gd name="T16" fmla="*/ 20 w 46"/>
                <a:gd name="T17" fmla="*/ 26 h 47"/>
                <a:gd name="T18" fmla="*/ 20 w 46"/>
                <a:gd name="T19" fmla="*/ 36 h 47"/>
                <a:gd name="T20" fmla="*/ 15 w 46"/>
                <a:gd name="T21" fmla="*/ 36 h 47"/>
                <a:gd name="T22" fmla="*/ 15 w 46"/>
                <a:gd name="T23" fmla="*/ 11 h 47"/>
                <a:gd name="T24" fmla="*/ 24 w 46"/>
                <a:gd name="T25" fmla="*/ 11 h 47"/>
                <a:gd name="T26" fmla="*/ 33 w 46"/>
                <a:gd name="T27" fmla="*/ 19 h 47"/>
                <a:gd name="T28" fmla="*/ 28 w 46"/>
                <a:gd name="T29" fmla="*/ 26 h 47"/>
                <a:gd name="T30" fmla="*/ 33 w 46"/>
                <a:gd name="T31" fmla="*/ 36 h 47"/>
                <a:gd name="T32" fmla="*/ 28 w 46"/>
                <a:gd name="T33" fmla="*/ 36 h 47"/>
                <a:gd name="T34" fmla="*/ 23 w 46"/>
                <a:gd name="T35" fmla="*/ 5 h 47"/>
                <a:gd name="T36" fmla="*/ 4 w 46"/>
                <a:gd name="T37" fmla="*/ 24 h 47"/>
                <a:gd name="T38" fmla="*/ 23 w 46"/>
                <a:gd name="T39" fmla="*/ 43 h 47"/>
                <a:gd name="T40" fmla="*/ 42 w 46"/>
                <a:gd name="T41" fmla="*/ 24 h 47"/>
                <a:gd name="T42" fmla="*/ 23 w 46"/>
                <a:gd name="T43" fmla="*/ 5 h 47"/>
                <a:gd name="T44" fmla="*/ 23 w 46"/>
                <a:gd name="T45" fmla="*/ 47 h 47"/>
                <a:gd name="T46" fmla="*/ 0 w 46"/>
                <a:gd name="T47" fmla="*/ 24 h 47"/>
                <a:gd name="T48" fmla="*/ 23 w 46"/>
                <a:gd name="T49" fmla="*/ 0 h 47"/>
                <a:gd name="T50" fmla="*/ 46 w 46"/>
                <a:gd name="T51" fmla="*/ 24 h 47"/>
                <a:gd name="T52" fmla="*/ 23 w 46"/>
                <a:gd name="T53"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6" h="47">
                  <a:moveTo>
                    <a:pt x="24" y="15"/>
                  </a:moveTo>
                  <a:cubicBezTo>
                    <a:pt x="20" y="15"/>
                    <a:pt x="20" y="15"/>
                    <a:pt x="20" y="15"/>
                  </a:cubicBezTo>
                  <a:cubicBezTo>
                    <a:pt x="20" y="23"/>
                    <a:pt x="20" y="23"/>
                    <a:pt x="20" y="23"/>
                  </a:cubicBezTo>
                  <a:cubicBezTo>
                    <a:pt x="24" y="23"/>
                    <a:pt x="24" y="23"/>
                    <a:pt x="24" y="23"/>
                  </a:cubicBezTo>
                  <a:cubicBezTo>
                    <a:pt x="26" y="23"/>
                    <a:pt x="28" y="21"/>
                    <a:pt x="28" y="19"/>
                  </a:cubicBezTo>
                  <a:cubicBezTo>
                    <a:pt x="28" y="17"/>
                    <a:pt x="26" y="15"/>
                    <a:pt x="24" y="15"/>
                  </a:cubicBezTo>
                  <a:close/>
                  <a:moveTo>
                    <a:pt x="28" y="36"/>
                  </a:moveTo>
                  <a:cubicBezTo>
                    <a:pt x="23" y="26"/>
                    <a:pt x="23" y="26"/>
                    <a:pt x="23" y="26"/>
                  </a:cubicBezTo>
                  <a:cubicBezTo>
                    <a:pt x="20" y="26"/>
                    <a:pt x="20" y="26"/>
                    <a:pt x="20" y="26"/>
                  </a:cubicBezTo>
                  <a:cubicBezTo>
                    <a:pt x="20" y="36"/>
                    <a:pt x="20" y="36"/>
                    <a:pt x="20" y="36"/>
                  </a:cubicBezTo>
                  <a:cubicBezTo>
                    <a:pt x="15" y="36"/>
                    <a:pt x="15" y="36"/>
                    <a:pt x="15" y="36"/>
                  </a:cubicBezTo>
                  <a:cubicBezTo>
                    <a:pt x="15" y="11"/>
                    <a:pt x="15" y="11"/>
                    <a:pt x="15" y="11"/>
                  </a:cubicBezTo>
                  <a:cubicBezTo>
                    <a:pt x="24" y="11"/>
                    <a:pt x="24" y="11"/>
                    <a:pt x="24" y="11"/>
                  </a:cubicBezTo>
                  <a:cubicBezTo>
                    <a:pt x="29" y="11"/>
                    <a:pt x="33" y="15"/>
                    <a:pt x="33" y="19"/>
                  </a:cubicBezTo>
                  <a:cubicBezTo>
                    <a:pt x="33" y="22"/>
                    <a:pt x="30" y="25"/>
                    <a:pt x="28" y="26"/>
                  </a:cubicBezTo>
                  <a:cubicBezTo>
                    <a:pt x="33" y="36"/>
                    <a:pt x="33" y="36"/>
                    <a:pt x="33" y="36"/>
                  </a:cubicBezTo>
                  <a:cubicBezTo>
                    <a:pt x="28" y="36"/>
                    <a:pt x="28" y="36"/>
                    <a:pt x="28" y="36"/>
                  </a:cubicBezTo>
                  <a:close/>
                  <a:moveTo>
                    <a:pt x="23" y="5"/>
                  </a:moveTo>
                  <a:cubicBezTo>
                    <a:pt x="13" y="5"/>
                    <a:pt x="4" y="13"/>
                    <a:pt x="4" y="24"/>
                  </a:cubicBezTo>
                  <a:cubicBezTo>
                    <a:pt x="4" y="34"/>
                    <a:pt x="13" y="43"/>
                    <a:pt x="23" y="43"/>
                  </a:cubicBezTo>
                  <a:cubicBezTo>
                    <a:pt x="33" y="43"/>
                    <a:pt x="42" y="34"/>
                    <a:pt x="42" y="24"/>
                  </a:cubicBezTo>
                  <a:cubicBezTo>
                    <a:pt x="42" y="13"/>
                    <a:pt x="33" y="5"/>
                    <a:pt x="23" y="5"/>
                  </a:cubicBezTo>
                  <a:close/>
                  <a:moveTo>
                    <a:pt x="23" y="47"/>
                  </a:moveTo>
                  <a:cubicBezTo>
                    <a:pt x="10" y="47"/>
                    <a:pt x="0" y="37"/>
                    <a:pt x="0" y="24"/>
                  </a:cubicBezTo>
                  <a:cubicBezTo>
                    <a:pt x="0" y="11"/>
                    <a:pt x="10" y="0"/>
                    <a:pt x="23" y="0"/>
                  </a:cubicBezTo>
                  <a:cubicBezTo>
                    <a:pt x="36" y="0"/>
                    <a:pt x="46" y="11"/>
                    <a:pt x="46" y="24"/>
                  </a:cubicBezTo>
                  <a:cubicBezTo>
                    <a:pt x="46" y="37"/>
                    <a:pt x="36" y="47"/>
                    <a:pt x="23" y="4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5" name="Picture 4">
            <a:extLst>
              <a:ext uri="{FF2B5EF4-FFF2-40B4-BE49-F238E27FC236}">
                <a16:creationId xmlns:a16="http://schemas.microsoft.com/office/drawing/2014/main" id="{56140AE0-6596-4F5D-6300-C1CCFCB7AB5D}"/>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144" r="-2144"/>
          <a:stretch/>
        </p:blipFill>
        <p:spPr>
          <a:xfrm>
            <a:off x="6344920" y="518834"/>
            <a:ext cx="5532021" cy="6339166"/>
          </a:xfrm>
          <a:prstGeom prst="rect">
            <a:avLst/>
          </a:prstGeom>
        </p:spPr>
      </p:pic>
      <p:pic>
        <p:nvPicPr>
          <p:cNvPr id="23" name="Picture 22" descr="Logo, company name&#10;&#10;Description automatically generated">
            <a:extLst>
              <a:ext uri="{FF2B5EF4-FFF2-40B4-BE49-F238E27FC236}">
                <a16:creationId xmlns:a16="http://schemas.microsoft.com/office/drawing/2014/main" id="{10301D47-0E1B-4A02-8F1F-B1E52CA3326D}"/>
              </a:ext>
            </a:extLst>
          </p:cNvPr>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Lst>
          </a:blip>
          <a:stretch>
            <a:fillRect/>
          </a:stretch>
        </p:blipFill>
        <p:spPr>
          <a:xfrm>
            <a:off x="601302" y="5700447"/>
            <a:ext cx="1606550" cy="876299"/>
          </a:xfrm>
          <a:prstGeom prst="rect">
            <a:avLst/>
          </a:prstGeom>
        </p:spPr>
      </p:pic>
    </p:spTree>
    <p:extLst>
      <p:ext uri="{BB962C8B-B14F-4D97-AF65-F5344CB8AC3E}">
        <p14:creationId xmlns:p14="http://schemas.microsoft.com/office/powerpoint/2010/main" val="4928127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168121-03C9-F8E4-A14F-D64FA22DC8F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6186E89-C96C-2AAC-F8B2-E554528FF7E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2108D8F-0B41-7CC3-2BEE-8B1F8DA28655}"/>
              </a:ext>
            </a:extLst>
          </p:cNvPr>
          <p:cNvSpPr>
            <a:spLocks noGrp="1"/>
          </p:cNvSpPr>
          <p:nvPr>
            <p:ph type="dt" sz="half" idx="10"/>
          </p:nvPr>
        </p:nvSpPr>
        <p:spPr/>
        <p:txBody>
          <a:bodyPr/>
          <a:lstStyle/>
          <a:p>
            <a:fld id="{06A56C61-58BC-460A-ADEC-362F8459BFD7}" type="datetime1">
              <a:rPr lang="en-US" smtClean="0"/>
              <a:t>1/9/2026</a:t>
            </a:fld>
            <a:endParaRPr lang="en-US" dirty="0"/>
          </a:p>
        </p:txBody>
      </p:sp>
      <p:sp>
        <p:nvSpPr>
          <p:cNvPr id="5" name="Footer Placeholder 4">
            <a:extLst>
              <a:ext uri="{FF2B5EF4-FFF2-40B4-BE49-F238E27FC236}">
                <a16:creationId xmlns:a16="http://schemas.microsoft.com/office/drawing/2014/main" id="{96963BE8-080F-32B8-CE41-87ED7DED6B58}"/>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0E00B79C-5F0B-559E-B1CF-2F0B51F5F1F3}"/>
              </a:ext>
            </a:extLst>
          </p:cNvPr>
          <p:cNvSpPr>
            <a:spLocks noGrp="1"/>
          </p:cNvSpPr>
          <p:nvPr>
            <p:ph type="sldNum" sz="quarter" idx="12"/>
          </p:nvPr>
        </p:nvSpPr>
        <p:spPr/>
        <p:txBody>
          <a:bodyPr/>
          <a:lstStyle/>
          <a:p>
            <a:fld id="{2255CA7B-1B59-4C07-BE3D-E8AE49649A7D}" type="slidenum">
              <a:rPr lang="en-US" smtClean="0"/>
              <a:t>‹#›</a:t>
            </a:fld>
            <a:endParaRPr lang="en-US" dirty="0"/>
          </a:p>
        </p:txBody>
      </p:sp>
    </p:spTree>
    <p:extLst>
      <p:ext uri="{BB962C8B-B14F-4D97-AF65-F5344CB8AC3E}">
        <p14:creationId xmlns:p14="http://schemas.microsoft.com/office/powerpoint/2010/main" val="3168360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8" name="Picture 7" descr="A person in a garment sitting on a white cube&#10;&#10;Description automatically generated">
            <a:extLst>
              <a:ext uri="{FF2B5EF4-FFF2-40B4-BE49-F238E27FC236}">
                <a16:creationId xmlns:a16="http://schemas.microsoft.com/office/drawing/2014/main" id="{92F3E450-94AA-7E71-110C-42673DE7AF50}"/>
              </a:ext>
            </a:extLst>
          </p:cNvPr>
          <p:cNvPicPr>
            <a:picLocks noChangeAspect="1"/>
          </p:cNvPicPr>
          <p:nvPr userDrawn="1"/>
        </p:nvPicPr>
        <p:blipFill rotWithShape="1">
          <a:blip r:embed="rId2">
            <a:extLst>
              <a:ext uri="{28A0092B-C50C-407E-A947-70E740481C1C}">
                <a14:useLocalDpi xmlns:a14="http://schemas.microsoft.com/office/drawing/2010/main"/>
              </a:ext>
            </a:extLst>
          </a:blip>
          <a:srcRect l="311" t="311" r="311" b="311"/>
          <a:stretch/>
        </p:blipFill>
        <p:spPr>
          <a:xfrm>
            <a:off x="0" y="0"/>
            <a:ext cx="12192000" cy="6858000"/>
          </a:xfrm>
          <a:prstGeom prst="rect">
            <a:avLst/>
          </a:prstGeom>
        </p:spPr>
      </p:pic>
      <p:pic>
        <p:nvPicPr>
          <p:cNvPr id="9" name="Picture 8">
            <a:extLst>
              <a:ext uri="{FF2B5EF4-FFF2-40B4-BE49-F238E27FC236}">
                <a16:creationId xmlns:a16="http://schemas.microsoft.com/office/drawing/2014/main" id="{FAA2D013-E260-29F7-C363-B018D933F629}"/>
              </a:ext>
            </a:extLst>
          </p:cNvPr>
          <p:cNvPicPr>
            <a:picLocks noChangeAspect="1"/>
          </p:cNvPicPr>
          <p:nvPr userDrawn="1"/>
        </p:nvPicPr>
        <p:blipFill rotWithShape="1">
          <a:blip r:embed="rId3">
            <a:alphaModFix amt="17000"/>
          </a:blip>
          <a:srcRect l="-198" t="4284" r="20597" b="4461"/>
          <a:stretch/>
        </p:blipFill>
        <p:spPr>
          <a:xfrm>
            <a:off x="5441092" y="0"/>
            <a:ext cx="6750908" cy="6858000"/>
          </a:xfrm>
          <a:prstGeom prst="rect">
            <a:avLst/>
          </a:prstGeom>
        </p:spPr>
      </p:pic>
      <p:sp>
        <p:nvSpPr>
          <p:cNvPr id="2" name="Title 1">
            <a:extLst>
              <a:ext uri="{FF2B5EF4-FFF2-40B4-BE49-F238E27FC236}">
                <a16:creationId xmlns:a16="http://schemas.microsoft.com/office/drawing/2014/main" id="{A70C5B9B-DD75-4EAC-1BF1-FAB839B384DA}"/>
              </a:ext>
            </a:extLst>
          </p:cNvPr>
          <p:cNvSpPr>
            <a:spLocks noGrp="1"/>
          </p:cNvSpPr>
          <p:nvPr>
            <p:ph type="title"/>
          </p:nvPr>
        </p:nvSpPr>
        <p:spPr>
          <a:xfrm>
            <a:off x="6887632" y="1612371"/>
            <a:ext cx="4459817" cy="2852737"/>
          </a:xfrm>
        </p:spPr>
        <p:txBody>
          <a:bodyPr anchor="b">
            <a:normAutofit/>
          </a:bodyPr>
          <a:lstStyle>
            <a:lvl1pPr>
              <a:defRPr sz="4000">
                <a:solidFill>
                  <a:schemeClr val="bg1"/>
                </a:solidFill>
              </a:defRPr>
            </a:lvl1pPr>
          </a:lstStyle>
          <a:p>
            <a:r>
              <a:rPr lang="en-US"/>
              <a:t>Click to edit Master title style</a:t>
            </a:r>
          </a:p>
        </p:txBody>
      </p:sp>
      <p:sp>
        <p:nvSpPr>
          <p:cNvPr id="3" name="Text Placeholder 2">
            <a:extLst>
              <a:ext uri="{FF2B5EF4-FFF2-40B4-BE49-F238E27FC236}">
                <a16:creationId xmlns:a16="http://schemas.microsoft.com/office/drawing/2014/main" id="{F8A69308-2E5C-995C-2D80-E3296135903B}"/>
              </a:ext>
            </a:extLst>
          </p:cNvPr>
          <p:cNvSpPr>
            <a:spLocks noGrp="1"/>
          </p:cNvSpPr>
          <p:nvPr>
            <p:ph type="body" idx="1"/>
          </p:nvPr>
        </p:nvSpPr>
        <p:spPr>
          <a:xfrm>
            <a:off x="6887632" y="4589463"/>
            <a:ext cx="4459817" cy="457099"/>
          </a:xfrm>
        </p:spPr>
        <p:txBody>
          <a:bodyPr>
            <a:normAutofit/>
          </a:bodyPr>
          <a:lstStyle>
            <a:lvl1pPr marL="0" indent="0">
              <a:buNone/>
              <a:defRPr sz="1800">
                <a:solidFill>
                  <a:schemeClr val="accent3"/>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14" name="Text Placeholder 8">
            <a:extLst>
              <a:ext uri="{FF2B5EF4-FFF2-40B4-BE49-F238E27FC236}">
                <a16:creationId xmlns:a16="http://schemas.microsoft.com/office/drawing/2014/main" id="{E1FD1B2B-D43E-096C-1A24-DD7D90C8195D}"/>
              </a:ext>
            </a:extLst>
          </p:cNvPr>
          <p:cNvSpPr>
            <a:spLocks noGrp="1"/>
          </p:cNvSpPr>
          <p:nvPr>
            <p:ph type="body" sz="quarter" idx="13"/>
          </p:nvPr>
        </p:nvSpPr>
        <p:spPr>
          <a:xfrm>
            <a:off x="7021153" y="5103519"/>
            <a:ext cx="1097280" cy="45720"/>
          </a:xfrm>
          <a:solidFill>
            <a:schemeClr val="accent2"/>
          </a:solidFill>
        </p:spPr>
        <p:txBody>
          <a:bodyPr>
            <a:noAutofit/>
          </a:bodyPr>
          <a:lstStyle>
            <a:lvl1pPr marL="0" indent="0">
              <a:buNone/>
              <a:defRPr sz="100">
                <a:noFill/>
              </a:defRPr>
            </a:lvl1pPr>
          </a:lstStyle>
          <a:p>
            <a:pPr lvl="0"/>
            <a:endParaRPr lang="en-US"/>
          </a:p>
        </p:txBody>
      </p:sp>
      <p:grpSp>
        <p:nvGrpSpPr>
          <p:cNvPr id="4" name="Group 4">
            <a:extLst>
              <a:ext uri="{FF2B5EF4-FFF2-40B4-BE49-F238E27FC236}">
                <a16:creationId xmlns:a16="http://schemas.microsoft.com/office/drawing/2014/main" id="{00BFA15D-98EF-6210-9A35-4D49858A762F}"/>
              </a:ext>
            </a:extLst>
          </p:cNvPr>
          <p:cNvGrpSpPr>
            <a:grpSpLocks noChangeAspect="1"/>
          </p:cNvGrpSpPr>
          <p:nvPr userDrawn="1"/>
        </p:nvGrpSpPr>
        <p:grpSpPr bwMode="auto">
          <a:xfrm>
            <a:off x="9263731" y="515328"/>
            <a:ext cx="2399878" cy="383280"/>
            <a:chOff x="5837" y="325"/>
            <a:chExt cx="1509" cy="241"/>
          </a:xfrm>
        </p:grpSpPr>
        <p:sp>
          <p:nvSpPr>
            <p:cNvPr id="5" name="AutoShape 3">
              <a:extLst>
                <a:ext uri="{FF2B5EF4-FFF2-40B4-BE49-F238E27FC236}">
                  <a16:creationId xmlns:a16="http://schemas.microsoft.com/office/drawing/2014/main" id="{25CC7C9E-34A6-C1FF-2D81-6320CBD8CC80}"/>
                </a:ext>
              </a:extLst>
            </p:cNvPr>
            <p:cNvSpPr>
              <a:spLocks noChangeAspect="1" noChangeArrowheads="1" noTextEdit="1"/>
            </p:cNvSpPr>
            <p:nvPr userDrawn="1"/>
          </p:nvSpPr>
          <p:spPr bwMode="auto">
            <a:xfrm>
              <a:off x="5837" y="325"/>
              <a:ext cx="1509" cy="2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 name="Oval 5">
              <a:extLst>
                <a:ext uri="{FF2B5EF4-FFF2-40B4-BE49-F238E27FC236}">
                  <a16:creationId xmlns:a16="http://schemas.microsoft.com/office/drawing/2014/main" id="{5CE6B0A3-3EED-B61E-CF36-4837E322EF86}"/>
                </a:ext>
              </a:extLst>
            </p:cNvPr>
            <p:cNvSpPr>
              <a:spLocks noChangeArrowheads="1"/>
            </p:cNvSpPr>
            <p:nvPr userDrawn="1"/>
          </p:nvSpPr>
          <p:spPr bwMode="auto">
            <a:xfrm>
              <a:off x="6666" y="324"/>
              <a:ext cx="40" cy="40"/>
            </a:xfrm>
            <a:prstGeom prst="ellipse">
              <a:avLst/>
            </a:prstGeom>
            <a:solidFill>
              <a:srgbClr val="00A7C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 name="Freeform 6">
              <a:extLst>
                <a:ext uri="{FF2B5EF4-FFF2-40B4-BE49-F238E27FC236}">
                  <a16:creationId xmlns:a16="http://schemas.microsoft.com/office/drawing/2014/main" id="{356E5068-D08A-3CD0-A079-E9D5D56DD4CC}"/>
                </a:ext>
              </a:extLst>
            </p:cNvPr>
            <p:cNvSpPr>
              <a:spLocks noEditPoints="1"/>
            </p:cNvSpPr>
            <p:nvPr userDrawn="1"/>
          </p:nvSpPr>
          <p:spPr bwMode="auto">
            <a:xfrm>
              <a:off x="6653" y="375"/>
              <a:ext cx="137" cy="191"/>
            </a:xfrm>
            <a:custGeom>
              <a:avLst/>
              <a:gdLst>
                <a:gd name="T0" fmla="*/ 118 w 136"/>
                <a:gd name="T1" fmla="*/ 14 h 188"/>
                <a:gd name="T2" fmla="*/ 66 w 136"/>
                <a:gd name="T3" fmla="*/ 48 h 188"/>
                <a:gd name="T4" fmla="*/ 18 w 136"/>
                <a:gd name="T5" fmla="*/ 152 h 188"/>
                <a:gd name="T6" fmla="*/ 26 w 136"/>
                <a:gd name="T7" fmla="*/ 174 h 188"/>
                <a:gd name="T8" fmla="*/ 39 w 136"/>
                <a:gd name="T9" fmla="*/ 175 h 188"/>
                <a:gd name="T10" fmla="*/ 48 w 136"/>
                <a:gd name="T11" fmla="*/ 166 h 188"/>
                <a:gd name="T12" fmla="*/ 118 w 136"/>
                <a:gd name="T13" fmla="*/ 14 h 188"/>
                <a:gd name="T14" fmla="*/ 118 w 136"/>
                <a:gd name="T15" fmla="*/ 14 h 188"/>
                <a:gd name="T16" fmla="*/ 33 w 136"/>
                <a:gd name="T17" fmla="*/ 188 h 188"/>
                <a:gd name="T18" fmla="*/ 21 w 136"/>
                <a:gd name="T19" fmla="*/ 185 h 188"/>
                <a:gd name="T20" fmla="*/ 7 w 136"/>
                <a:gd name="T21" fmla="*/ 147 h 188"/>
                <a:gd name="T22" fmla="*/ 55 w 136"/>
                <a:gd name="T23" fmla="*/ 43 h 188"/>
                <a:gd name="T24" fmla="*/ 100 w 136"/>
                <a:gd name="T25" fmla="*/ 4 h 188"/>
                <a:gd name="T26" fmla="*/ 129 w 136"/>
                <a:gd name="T27" fmla="*/ 3 h 188"/>
                <a:gd name="T28" fmla="*/ 136 w 136"/>
                <a:gd name="T29" fmla="*/ 4 h 188"/>
                <a:gd name="T30" fmla="*/ 59 w 136"/>
                <a:gd name="T31" fmla="*/ 171 h 188"/>
                <a:gd name="T32" fmla="*/ 43 w 136"/>
                <a:gd name="T33" fmla="*/ 186 h 188"/>
                <a:gd name="T34" fmla="*/ 33 w 136"/>
                <a:gd name="T35" fmla="*/ 18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188">
                  <a:moveTo>
                    <a:pt x="118" y="14"/>
                  </a:moveTo>
                  <a:cubicBezTo>
                    <a:pt x="104" y="14"/>
                    <a:pt x="80" y="19"/>
                    <a:pt x="66" y="48"/>
                  </a:cubicBezTo>
                  <a:cubicBezTo>
                    <a:pt x="18" y="152"/>
                    <a:pt x="18" y="152"/>
                    <a:pt x="18" y="152"/>
                  </a:cubicBezTo>
                  <a:cubicBezTo>
                    <a:pt x="14" y="160"/>
                    <a:pt x="18" y="170"/>
                    <a:pt x="26" y="174"/>
                  </a:cubicBezTo>
                  <a:cubicBezTo>
                    <a:pt x="30" y="176"/>
                    <a:pt x="34" y="176"/>
                    <a:pt x="39" y="175"/>
                  </a:cubicBezTo>
                  <a:cubicBezTo>
                    <a:pt x="43" y="173"/>
                    <a:pt x="46" y="170"/>
                    <a:pt x="48" y="166"/>
                  </a:cubicBezTo>
                  <a:cubicBezTo>
                    <a:pt x="118" y="14"/>
                    <a:pt x="118" y="14"/>
                    <a:pt x="118" y="14"/>
                  </a:cubicBezTo>
                  <a:cubicBezTo>
                    <a:pt x="118" y="14"/>
                    <a:pt x="118" y="14"/>
                    <a:pt x="118" y="14"/>
                  </a:cubicBezTo>
                  <a:close/>
                  <a:moveTo>
                    <a:pt x="33" y="188"/>
                  </a:moveTo>
                  <a:cubicBezTo>
                    <a:pt x="29" y="188"/>
                    <a:pt x="25" y="187"/>
                    <a:pt x="21" y="185"/>
                  </a:cubicBezTo>
                  <a:cubicBezTo>
                    <a:pt x="7" y="179"/>
                    <a:pt x="0" y="161"/>
                    <a:pt x="7" y="147"/>
                  </a:cubicBezTo>
                  <a:cubicBezTo>
                    <a:pt x="55" y="43"/>
                    <a:pt x="55" y="43"/>
                    <a:pt x="55" y="43"/>
                  </a:cubicBezTo>
                  <a:cubicBezTo>
                    <a:pt x="67" y="17"/>
                    <a:pt x="86" y="7"/>
                    <a:pt x="100" y="4"/>
                  </a:cubicBezTo>
                  <a:cubicBezTo>
                    <a:pt x="116" y="0"/>
                    <a:pt x="128" y="3"/>
                    <a:pt x="129" y="3"/>
                  </a:cubicBezTo>
                  <a:cubicBezTo>
                    <a:pt x="136" y="4"/>
                    <a:pt x="136" y="4"/>
                    <a:pt x="136" y="4"/>
                  </a:cubicBezTo>
                  <a:cubicBezTo>
                    <a:pt x="59" y="171"/>
                    <a:pt x="59" y="171"/>
                    <a:pt x="59" y="171"/>
                  </a:cubicBezTo>
                  <a:cubicBezTo>
                    <a:pt x="56" y="178"/>
                    <a:pt x="50" y="184"/>
                    <a:pt x="43" y="186"/>
                  </a:cubicBezTo>
                  <a:cubicBezTo>
                    <a:pt x="40" y="187"/>
                    <a:pt x="36" y="188"/>
                    <a:pt x="33" y="188"/>
                  </a:cubicBezTo>
                  <a:close/>
                </a:path>
              </a:pathLst>
            </a:custGeom>
            <a:solidFill>
              <a:srgbClr val="00A7C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 name="Freeform 7">
              <a:extLst>
                <a:ext uri="{FF2B5EF4-FFF2-40B4-BE49-F238E27FC236}">
                  <a16:creationId xmlns:a16="http://schemas.microsoft.com/office/drawing/2014/main" id="{DAE972F2-4065-3D52-AAC5-E4BD5738D491}"/>
                </a:ext>
              </a:extLst>
            </p:cNvPr>
            <p:cNvSpPr>
              <a:spLocks/>
            </p:cNvSpPr>
            <p:nvPr userDrawn="1"/>
          </p:nvSpPr>
          <p:spPr bwMode="auto">
            <a:xfrm>
              <a:off x="6582" y="375"/>
              <a:ext cx="104" cy="174"/>
            </a:xfrm>
            <a:custGeom>
              <a:avLst/>
              <a:gdLst>
                <a:gd name="T0" fmla="*/ 77 w 103"/>
                <a:gd name="T1" fmla="*/ 147 h 171"/>
                <a:gd name="T2" fmla="*/ 78 w 103"/>
                <a:gd name="T3" fmla="*/ 144 h 171"/>
                <a:gd name="T4" fmla="*/ 18 w 103"/>
                <a:gd name="T5" fmla="*/ 14 h 171"/>
                <a:gd name="T6" fmla="*/ 19 w 103"/>
                <a:gd name="T7" fmla="*/ 14 h 171"/>
                <a:gd name="T8" fmla="*/ 70 w 103"/>
                <a:gd name="T9" fmla="*/ 48 h 171"/>
                <a:gd name="T10" fmla="*/ 96 w 103"/>
                <a:gd name="T11" fmla="*/ 105 h 171"/>
                <a:gd name="T12" fmla="*/ 103 w 103"/>
                <a:gd name="T13" fmla="*/ 90 h 171"/>
                <a:gd name="T14" fmla="*/ 81 w 103"/>
                <a:gd name="T15" fmla="*/ 43 h 171"/>
                <a:gd name="T16" fmla="*/ 36 w 103"/>
                <a:gd name="T17" fmla="*/ 4 h 171"/>
                <a:gd name="T18" fmla="*/ 7 w 103"/>
                <a:gd name="T19" fmla="*/ 3 h 171"/>
                <a:gd name="T20" fmla="*/ 0 w 103"/>
                <a:gd name="T21" fmla="*/ 4 h 171"/>
                <a:gd name="T22" fmla="*/ 77 w 103"/>
                <a:gd name="T23" fmla="*/ 171 h 171"/>
                <a:gd name="T24" fmla="*/ 77 w 103"/>
                <a:gd name="T25" fmla="*/ 171 h 171"/>
                <a:gd name="T26" fmla="*/ 77 w 103"/>
                <a:gd name="T27" fmla="*/ 147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3" h="171">
                  <a:moveTo>
                    <a:pt x="77" y="147"/>
                  </a:moveTo>
                  <a:cubicBezTo>
                    <a:pt x="78" y="144"/>
                    <a:pt x="78" y="144"/>
                    <a:pt x="78" y="144"/>
                  </a:cubicBezTo>
                  <a:cubicBezTo>
                    <a:pt x="18" y="14"/>
                    <a:pt x="18" y="14"/>
                    <a:pt x="18" y="14"/>
                  </a:cubicBezTo>
                  <a:cubicBezTo>
                    <a:pt x="18" y="14"/>
                    <a:pt x="18" y="14"/>
                    <a:pt x="19" y="14"/>
                  </a:cubicBezTo>
                  <a:cubicBezTo>
                    <a:pt x="32" y="14"/>
                    <a:pt x="56" y="19"/>
                    <a:pt x="70" y="48"/>
                  </a:cubicBezTo>
                  <a:cubicBezTo>
                    <a:pt x="96" y="105"/>
                    <a:pt x="96" y="105"/>
                    <a:pt x="96" y="105"/>
                  </a:cubicBezTo>
                  <a:cubicBezTo>
                    <a:pt x="103" y="90"/>
                    <a:pt x="103" y="90"/>
                    <a:pt x="103" y="90"/>
                  </a:cubicBezTo>
                  <a:cubicBezTo>
                    <a:pt x="81" y="43"/>
                    <a:pt x="81" y="43"/>
                    <a:pt x="81" y="43"/>
                  </a:cubicBezTo>
                  <a:cubicBezTo>
                    <a:pt x="69" y="17"/>
                    <a:pt x="50" y="7"/>
                    <a:pt x="36" y="4"/>
                  </a:cubicBezTo>
                  <a:cubicBezTo>
                    <a:pt x="20" y="0"/>
                    <a:pt x="8" y="3"/>
                    <a:pt x="7" y="3"/>
                  </a:cubicBezTo>
                  <a:cubicBezTo>
                    <a:pt x="0" y="4"/>
                    <a:pt x="0" y="4"/>
                    <a:pt x="0" y="4"/>
                  </a:cubicBezTo>
                  <a:cubicBezTo>
                    <a:pt x="77" y="171"/>
                    <a:pt x="77" y="171"/>
                    <a:pt x="77" y="171"/>
                  </a:cubicBezTo>
                  <a:cubicBezTo>
                    <a:pt x="77" y="171"/>
                    <a:pt x="77" y="171"/>
                    <a:pt x="77" y="171"/>
                  </a:cubicBezTo>
                  <a:cubicBezTo>
                    <a:pt x="74" y="164"/>
                    <a:pt x="73" y="155"/>
                    <a:pt x="77" y="14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8">
              <a:extLst>
                <a:ext uri="{FF2B5EF4-FFF2-40B4-BE49-F238E27FC236}">
                  <a16:creationId xmlns:a16="http://schemas.microsoft.com/office/drawing/2014/main" id="{38AF261C-C959-5455-73AF-9474D137DBEF}"/>
                </a:ext>
              </a:extLst>
            </p:cNvPr>
            <p:cNvSpPr>
              <a:spLocks/>
            </p:cNvSpPr>
            <p:nvPr userDrawn="1"/>
          </p:nvSpPr>
          <p:spPr bwMode="auto">
            <a:xfrm>
              <a:off x="6686" y="482"/>
              <a:ext cx="25" cy="63"/>
            </a:xfrm>
            <a:custGeom>
              <a:avLst/>
              <a:gdLst>
                <a:gd name="T0" fmla="*/ 0 w 25"/>
                <a:gd name="T1" fmla="*/ 15 h 62"/>
                <a:gd name="T2" fmla="*/ 15 w 25"/>
                <a:gd name="T3" fmla="*/ 47 h 62"/>
                <a:gd name="T4" fmla="*/ 15 w 25"/>
                <a:gd name="T5" fmla="*/ 62 h 62"/>
                <a:gd name="T6" fmla="*/ 15 w 25"/>
                <a:gd name="T7" fmla="*/ 61 h 62"/>
                <a:gd name="T8" fmla="*/ 25 w 25"/>
                <a:gd name="T9" fmla="*/ 39 h 62"/>
                <a:gd name="T10" fmla="*/ 7 w 25"/>
                <a:gd name="T11" fmla="*/ 0 h 62"/>
                <a:gd name="T12" fmla="*/ 0 w 25"/>
                <a:gd name="T13" fmla="*/ 15 h 62"/>
              </a:gdLst>
              <a:ahLst/>
              <a:cxnLst>
                <a:cxn ang="0">
                  <a:pos x="T0" y="T1"/>
                </a:cxn>
                <a:cxn ang="0">
                  <a:pos x="T2" y="T3"/>
                </a:cxn>
                <a:cxn ang="0">
                  <a:pos x="T4" y="T5"/>
                </a:cxn>
                <a:cxn ang="0">
                  <a:pos x="T6" y="T7"/>
                </a:cxn>
                <a:cxn ang="0">
                  <a:pos x="T8" y="T9"/>
                </a:cxn>
                <a:cxn ang="0">
                  <a:pos x="T10" y="T11"/>
                </a:cxn>
                <a:cxn ang="0">
                  <a:pos x="T12" y="T13"/>
                </a:cxn>
              </a:cxnLst>
              <a:rect l="0" t="0" r="r" b="b"/>
              <a:pathLst>
                <a:path w="25" h="62">
                  <a:moveTo>
                    <a:pt x="0" y="15"/>
                  </a:moveTo>
                  <a:cubicBezTo>
                    <a:pt x="15" y="47"/>
                    <a:pt x="15" y="47"/>
                    <a:pt x="15" y="47"/>
                  </a:cubicBezTo>
                  <a:cubicBezTo>
                    <a:pt x="17" y="52"/>
                    <a:pt x="17" y="57"/>
                    <a:pt x="15" y="62"/>
                  </a:cubicBezTo>
                  <a:cubicBezTo>
                    <a:pt x="15" y="61"/>
                    <a:pt x="15" y="61"/>
                    <a:pt x="15" y="61"/>
                  </a:cubicBezTo>
                  <a:cubicBezTo>
                    <a:pt x="25" y="39"/>
                    <a:pt x="25" y="39"/>
                    <a:pt x="25" y="39"/>
                  </a:cubicBezTo>
                  <a:cubicBezTo>
                    <a:pt x="7" y="0"/>
                    <a:pt x="7" y="0"/>
                    <a:pt x="7" y="0"/>
                  </a:cubicBezTo>
                  <a:cubicBezTo>
                    <a:pt x="0" y="15"/>
                    <a:pt x="0" y="15"/>
                    <a:pt x="0" y="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dirty="0"/>
            </a:p>
          </p:txBody>
        </p:sp>
        <p:sp>
          <p:nvSpPr>
            <p:cNvPr id="15" name="Freeform 9">
              <a:extLst>
                <a:ext uri="{FF2B5EF4-FFF2-40B4-BE49-F238E27FC236}">
                  <a16:creationId xmlns:a16="http://schemas.microsoft.com/office/drawing/2014/main" id="{CF0DA96D-0F0C-D26E-8C51-226360648E38}"/>
                </a:ext>
              </a:extLst>
            </p:cNvPr>
            <p:cNvSpPr>
              <a:spLocks/>
            </p:cNvSpPr>
            <p:nvPr userDrawn="1"/>
          </p:nvSpPr>
          <p:spPr bwMode="auto">
            <a:xfrm>
              <a:off x="6385" y="380"/>
              <a:ext cx="160" cy="186"/>
            </a:xfrm>
            <a:custGeom>
              <a:avLst/>
              <a:gdLst>
                <a:gd name="T0" fmla="*/ 80 w 158"/>
                <a:gd name="T1" fmla="*/ 183 h 183"/>
                <a:gd name="T2" fmla="*/ 49 w 158"/>
                <a:gd name="T3" fmla="*/ 179 h 183"/>
                <a:gd name="T4" fmla="*/ 23 w 158"/>
                <a:gd name="T5" fmla="*/ 167 h 183"/>
                <a:gd name="T6" fmla="*/ 6 w 158"/>
                <a:gd name="T7" fmla="*/ 148 h 183"/>
                <a:gd name="T8" fmla="*/ 0 w 158"/>
                <a:gd name="T9" fmla="*/ 122 h 183"/>
                <a:gd name="T10" fmla="*/ 0 w 158"/>
                <a:gd name="T11" fmla="*/ 0 h 183"/>
                <a:gd name="T12" fmla="*/ 32 w 158"/>
                <a:gd name="T13" fmla="*/ 0 h 183"/>
                <a:gd name="T14" fmla="*/ 32 w 158"/>
                <a:gd name="T15" fmla="*/ 122 h 183"/>
                <a:gd name="T16" fmla="*/ 37 w 158"/>
                <a:gd name="T17" fmla="*/ 135 h 183"/>
                <a:gd name="T18" fmla="*/ 48 w 158"/>
                <a:gd name="T19" fmla="*/ 144 h 183"/>
                <a:gd name="T20" fmla="*/ 64 w 158"/>
                <a:gd name="T21" fmla="*/ 149 h 183"/>
                <a:gd name="T22" fmla="*/ 80 w 158"/>
                <a:gd name="T23" fmla="*/ 151 h 183"/>
                <a:gd name="T24" fmla="*/ 95 w 158"/>
                <a:gd name="T25" fmla="*/ 149 h 183"/>
                <a:gd name="T26" fmla="*/ 110 w 158"/>
                <a:gd name="T27" fmla="*/ 144 h 183"/>
                <a:gd name="T28" fmla="*/ 121 w 158"/>
                <a:gd name="T29" fmla="*/ 135 h 183"/>
                <a:gd name="T30" fmla="*/ 125 w 158"/>
                <a:gd name="T31" fmla="*/ 122 h 183"/>
                <a:gd name="T32" fmla="*/ 125 w 158"/>
                <a:gd name="T33" fmla="*/ 0 h 183"/>
                <a:gd name="T34" fmla="*/ 158 w 158"/>
                <a:gd name="T35" fmla="*/ 0 h 183"/>
                <a:gd name="T36" fmla="*/ 158 w 158"/>
                <a:gd name="T37" fmla="*/ 122 h 183"/>
                <a:gd name="T38" fmla="*/ 152 w 158"/>
                <a:gd name="T39" fmla="*/ 148 h 183"/>
                <a:gd name="T40" fmla="*/ 136 w 158"/>
                <a:gd name="T41" fmla="*/ 167 h 183"/>
                <a:gd name="T42" fmla="*/ 111 w 158"/>
                <a:gd name="T43" fmla="*/ 179 h 183"/>
                <a:gd name="T44" fmla="*/ 80 w 158"/>
                <a:gd name="T45" fmla="*/ 183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8" h="183">
                  <a:moveTo>
                    <a:pt x="80" y="183"/>
                  </a:moveTo>
                  <a:cubicBezTo>
                    <a:pt x="69" y="183"/>
                    <a:pt x="59" y="182"/>
                    <a:pt x="49" y="179"/>
                  </a:cubicBezTo>
                  <a:cubicBezTo>
                    <a:pt x="39" y="177"/>
                    <a:pt x="31" y="173"/>
                    <a:pt x="23" y="167"/>
                  </a:cubicBezTo>
                  <a:cubicBezTo>
                    <a:pt x="16" y="162"/>
                    <a:pt x="10" y="156"/>
                    <a:pt x="6" y="148"/>
                  </a:cubicBezTo>
                  <a:cubicBezTo>
                    <a:pt x="2" y="140"/>
                    <a:pt x="0" y="131"/>
                    <a:pt x="0" y="122"/>
                  </a:cubicBezTo>
                  <a:cubicBezTo>
                    <a:pt x="0" y="0"/>
                    <a:pt x="0" y="0"/>
                    <a:pt x="0" y="0"/>
                  </a:cubicBezTo>
                  <a:cubicBezTo>
                    <a:pt x="32" y="0"/>
                    <a:pt x="32" y="0"/>
                    <a:pt x="32" y="0"/>
                  </a:cubicBezTo>
                  <a:cubicBezTo>
                    <a:pt x="32" y="122"/>
                    <a:pt x="32" y="122"/>
                    <a:pt x="32" y="122"/>
                  </a:cubicBezTo>
                  <a:cubicBezTo>
                    <a:pt x="32" y="127"/>
                    <a:pt x="34" y="132"/>
                    <a:pt x="37" y="135"/>
                  </a:cubicBezTo>
                  <a:cubicBezTo>
                    <a:pt x="40" y="139"/>
                    <a:pt x="44" y="142"/>
                    <a:pt x="48" y="144"/>
                  </a:cubicBezTo>
                  <a:cubicBezTo>
                    <a:pt x="53" y="146"/>
                    <a:pt x="58" y="148"/>
                    <a:pt x="64" y="149"/>
                  </a:cubicBezTo>
                  <a:cubicBezTo>
                    <a:pt x="70" y="150"/>
                    <a:pt x="75" y="151"/>
                    <a:pt x="80" y="151"/>
                  </a:cubicBezTo>
                  <a:cubicBezTo>
                    <a:pt x="85" y="151"/>
                    <a:pt x="90" y="150"/>
                    <a:pt x="95" y="149"/>
                  </a:cubicBezTo>
                  <a:cubicBezTo>
                    <a:pt x="100" y="148"/>
                    <a:pt x="105" y="146"/>
                    <a:pt x="110" y="144"/>
                  </a:cubicBezTo>
                  <a:cubicBezTo>
                    <a:pt x="114" y="142"/>
                    <a:pt x="118" y="139"/>
                    <a:pt x="121" y="135"/>
                  </a:cubicBezTo>
                  <a:cubicBezTo>
                    <a:pt x="124" y="132"/>
                    <a:pt x="125" y="127"/>
                    <a:pt x="125" y="122"/>
                  </a:cubicBezTo>
                  <a:cubicBezTo>
                    <a:pt x="125" y="0"/>
                    <a:pt x="125" y="0"/>
                    <a:pt x="125" y="0"/>
                  </a:cubicBezTo>
                  <a:cubicBezTo>
                    <a:pt x="158" y="0"/>
                    <a:pt x="158" y="0"/>
                    <a:pt x="158" y="0"/>
                  </a:cubicBezTo>
                  <a:cubicBezTo>
                    <a:pt x="158" y="122"/>
                    <a:pt x="158" y="122"/>
                    <a:pt x="158" y="122"/>
                  </a:cubicBezTo>
                  <a:cubicBezTo>
                    <a:pt x="158" y="131"/>
                    <a:pt x="156" y="140"/>
                    <a:pt x="152" y="148"/>
                  </a:cubicBezTo>
                  <a:cubicBezTo>
                    <a:pt x="149" y="156"/>
                    <a:pt x="143" y="162"/>
                    <a:pt x="136" y="167"/>
                  </a:cubicBezTo>
                  <a:cubicBezTo>
                    <a:pt x="129" y="173"/>
                    <a:pt x="121" y="177"/>
                    <a:pt x="111" y="179"/>
                  </a:cubicBezTo>
                  <a:cubicBezTo>
                    <a:pt x="102" y="182"/>
                    <a:pt x="91" y="183"/>
                    <a:pt x="80" y="18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 name="Freeform 10">
              <a:extLst>
                <a:ext uri="{FF2B5EF4-FFF2-40B4-BE49-F238E27FC236}">
                  <a16:creationId xmlns:a16="http://schemas.microsoft.com/office/drawing/2014/main" id="{B9AA1CF1-0004-E840-999C-C490D675B0D0}"/>
                </a:ext>
              </a:extLst>
            </p:cNvPr>
            <p:cNvSpPr>
              <a:spLocks/>
            </p:cNvSpPr>
            <p:nvPr userDrawn="1"/>
          </p:nvSpPr>
          <p:spPr bwMode="auto">
            <a:xfrm>
              <a:off x="6182" y="377"/>
              <a:ext cx="159" cy="187"/>
            </a:xfrm>
            <a:custGeom>
              <a:avLst/>
              <a:gdLst>
                <a:gd name="T0" fmla="*/ 126 w 158"/>
                <a:gd name="T1" fmla="*/ 184 h 184"/>
                <a:gd name="T2" fmla="*/ 126 w 158"/>
                <a:gd name="T3" fmla="*/ 62 h 184"/>
                <a:gd name="T4" fmla="*/ 121 w 158"/>
                <a:gd name="T5" fmla="*/ 48 h 184"/>
                <a:gd name="T6" fmla="*/ 110 w 158"/>
                <a:gd name="T7" fmla="*/ 39 h 184"/>
                <a:gd name="T8" fmla="*/ 94 w 158"/>
                <a:gd name="T9" fmla="*/ 34 h 184"/>
                <a:gd name="T10" fmla="*/ 79 w 158"/>
                <a:gd name="T11" fmla="*/ 33 h 184"/>
                <a:gd name="T12" fmla="*/ 63 w 158"/>
                <a:gd name="T13" fmla="*/ 34 h 184"/>
                <a:gd name="T14" fmla="*/ 48 w 158"/>
                <a:gd name="T15" fmla="*/ 39 h 184"/>
                <a:gd name="T16" fmla="*/ 37 w 158"/>
                <a:gd name="T17" fmla="*/ 48 h 184"/>
                <a:gd name="T18" fmla="*/ 33 w 158"/>
                <a:gd name="T19" fmla="*/ 62 h 184"/>
                <a:gd name="T20" fmla="*/ 33 w 158"/>
                <a:gd name="T21" fmla="*/ 184 h 184"/>
                <a:gd name="T22" fmla="*/ 0 w 158"/>
                <a:gd name="T23" fmla="*/ 184 h 184"/>
                <a:gd name="T24" fmla="*/ 0 w 158"/>
                <a:gd name="T25" fmla="*/ 62 h 184"/>
                <a:gd name="T26" fmla="*/ 6 w 158"/>
                <a:gd name="T27" fmla="*/ 35 h 184"/>
                <a:gd name="T28" fmla="*/ 23 w 158"/>
                <a:gd name="T29" fmla="*/ 16 h 184"/>
                <a:gd name="T30" fmla="*/ 48 w 158"/>
                <a:gd name="T31" fmla="*/ 4 h 184"/>
                <a:gd name="T32" fmla="*/ 79 w 158"/>
                <a:gd name="T33" fmla="*/ 0 h 184"/>
                <a:gd name="T34" fmla="*/ 110 w 158"/>
                <a:gd name="T35" fmla="*/ 4 h 184"/>
                <a:gd name="T36" fmla="*/ 135 w 158"/>
                <a:gd name="T37" fmla="*/ 16 h 184"/>
                <a:gd name="T38" fmla="*/ 152 w 158"/>
                <a:gd name="T39" fmla="*/ 35 h 184"/>
                <a:gd name="T40" fmla="*/ 158 w 158"/>
                <a:gd name="T41" fmla="*/ 62 h 184"/>
                <a:gd name="T42" fmla="*/ 158 w 158"/>
                <a:gd name="T43" fmla="*/ 184 h 184"/>
                <a:gd name="T44" fmla="*/ 126 w 158"/>
                <a:gd name="T45" fmla="*/ 1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8" h="184">
                  <a:moveTo>
                    <a:pt x="126" y="184"/>
                  </a:moveTo>
                  <a:cubicBezTo>
                    <a:pt x="126" y="62"/>
                    <a:pt x="126" y="62"/>
                    <a:pt x="126" y="62"/>
                  </a:cubicBezTo>
                  <a:cubicBezTo>
                    <a:pt x="126" y="56"/>
                    <a:pt x="124" y="52"/>
                    <a:pt x="121" y="48"/>
                  </a:cubicBezTo>
                  <a:cubicBezTo>
                    <a:pt x="118" y="45"/>
                    <a:pt x="114" y="41"/>
                    <a:pt x="110" y="39"/>
                  </a:cubicBezTo>
                  <a:cubicBezTo>
                    <a:pt x="105" y="37"/>
                    <a:pt x="100" y="35"/>
                    <a:pt x="94" y="34"/>
                  </a:cubicBezTo>
                  <a:cubicBezTo>
                    <a:pt x="89" y="33"/>
                    <a:pt x="84" y="33"/>
                    <a:pt x="79" y="33"/>
                  </a:cubicBezTo>
                  <a:cubicBezTo>
                    <a:pt x="74" y="33"/>
                    <a:pt x="69" y="33"/>
                    <a:pt x="63" y="34"/>
                  </a:cubicBezTo>
                  <a:cubicBezTo>
                    <a:pt x="58" y="35"/>
                    <a:pt x="53" y="37"/>
                    <a:pt x="48" y="39"/>
                  </a:cubicBezTo>
                  <a:cubicBezTo>
                    <a:pt x="44" y="41"/>
                    <a:pt x="40" y="45"/>
                    <a:pt x="37" y="48"/>
                  </a:cubicBezTo>
                  <a:cubicBezTo>
                    <a:pt x="34" y="52"/>
                    <a:pt x="33" y="56"/>
                    <a:pt x="33" y="62"/>
                  </a:cubicBezTo>
                  <a:cubicBezTo>
                    <a:pt x="33" y="184"/>
                    <a:pt x="33" y="184"/>
                    <a:pt x="33" y="184"/>
                  </a:cubicBezTo>
                  <a:cubicBezTo>
                    <a:pt x="0" y="184"/>
                    <a:pt x="0" y="184"/>
                    <a:pt x="0" y="184"/>
                  </a:cubicBezTo>
                  <a:cubicBezTo>
                    <a:pt x="0" y="62"/>
                    <a:pt x="0" y="62"/>
                    <a:pt x="0" y="62"/>
                  </a:cubicBezTo>
                  <a:cubicBezTo>
                    <a:pt x="0" y="52"/>
                    <a:pt x="2" y="43"/>
                    <a:pt x="6" y="35"/>
                  </a:cubicBezTo>
                  <a:cubicBezTo>
                    <a:pt x="10" y="27"/>
                    <a:pt x="16" y="21"/>
                    <a:pt x="23" y="16"/>
                  </a:cubicBezTo>
                  <a:cubicBezTo>
                    <a:pt x="30" y="11"/>
                    <a:pt x="38" y="7"/>
                    <a:pt x="48" y="4"/>
                  </a:cubicBezTo>
                  <a:cubicBezTo>
                    <a:pt x="58" y="1"/>
                    <a:pt x="68" y="0"/>
                    <a:pt x="79" y="0"/>
                  </a:cubicBezTo>
                  <a:cubicBezTo>
                    <a:pt x="90" y="0"/>
                    <a:pt x="101" y="1"/>
                    <a:pt x="110" y="4"/>
                  </a:cubicBezTo>
                  <a:cubicBezTo>
                    <a:pt x="120" y="7"/>
                    <a:pt x="128" y="11"/>
                    <a:pt x="135" y="16"/>
                  </a:cubicBezTo>
                  <a:cubicBezTo>
                    <a:pt x="143" y="21"/>
                    <a:pt x="148" y="28"/>
                    <a:pt x="152" y="35"/>
                  </a:cubicBezTo>
                  <a:cubicBezTo>
                    <a:pt x="156" y="43"/>
                    <a:pt x="158" y="52"/>
                    <a:pt x="158" y="62"/>
                  </a:cubicBezTo>
                  <a:cubicBezTo>
                    <a:pt x="158" y="184"/>
                    <a:pt x="158" y="184"/>
                    <a:pt x="158" y="184"/>
                  </a:cubicBezTo>
                  <a:cubicBezTo>
                    <a:pt x="126" y="184"/>
                    <a:pt x="126" y="184"/>
                    <a:pt x="126" y="1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11">
              <a:extLst>
                <a:ext uri="{FF2B5EF4-FFF2-40B4-BE49-F238E27FC236}">
                  <a16:creationId xmlns:a16="http://schemas.microsoft.com/office/drawing/2014/main" id="{A7EBD343-6159-1BCE-A198-443EE49CB47C}"/>
                </a:ext>
              </a:extLst>
            </p:cNvPr>
            <p:cNvSpPr>
              <a:spLocks noEditPoints="1"/>
            </p:cNvSpPr>
            <p:nvPr userDrawn="1"/>
          </p:nvSpPr>
          <p:spPr bwMode="auto">
            <a:xfrm>
              <a:off x="5978" y="377"/>
              <a:ext cx="160" cy="189"/>
            </a:xfrm>
            <a:custGeom>
              <a:avLst/>
              <a:gdLst>
                <a:gd name="T0" fmla="*/ 126 w 159"/>
                <a:gd name="T1" fmla="*/ 77 h 186"/>
                <a:gd name="T2" fmla="*/ 126 w 159"/>
                <a:gd name="T3" fmla="*/ 62 h 186"/>
                <a:gd name="T4" fmla="*/ 122 w 159"/>
                <a:gd name="T5" fmla="*/ 49 h 186"/>
                <a:gd name="T6" fmla="*/ 112 w 159"/>
                <a:gd name="T7" fmla="*/ 40 h 186"/>
                <a:gd name="T8" fmla="*/ 97 w 159"/>
                <a:gd name="T9" fmla="*/ 35 h 186"/>
                <a:gd name="T10" fmla="*/ 79 w 159"/>
                <a:gd name="T11" fmla="*/ 33 h 186"/>
                <a:gd name="T12" fmla="*/ 61 w 159"/>
                <a:gd name="T13" fmla="*/ 35 h 186"/>
                <a:gd name="T14" fmla="*/ 46 w 159"/>
                <a:gd name="T15" fmla="*/ 40 h 186"/>
                <a:gd name="T16" fmla="*/ 37 w 159"/>
                <a:gd name="T17" fmla="*/ 50 h 186"/>
                <a:gd name="T18" fmla="*/ 33 w 159"/>
                <a:gd name="T19" fmla="*/ 62 h 186"/>
                <a:gd name="T20" fmla="*/ 33 w 159"/>
                <a:gd name="T21" fmla="*/ 77 h 186"/>
                <a:gd name="T22" fmla="*/ 126 w 159"/>
                <a:gd name="T23" fmla="*/ 77 h 186"/>
                <a:gd name="T24" fmla="*/ 79 w 159"/>
                <a:gd name="T25" fmla="*/ 186 h 186"/>
                <a:gd name="T26" fmla="*/ 49 w 159"/>
                <a:gd name="T27" fmla="*/ 182 h 186"/>
                <a:gd name="T28" fmla="*/ 24 w 159"/>
                <a:gd name="T29" fmla="*/ 171 h 186"/>
                <a:gd name="T30" fmla="*/ 7 w 159"/>
                <a:gd name="T31" fmla="*/ 151 h 186"/>
                <a:gd name="T32" fmla="*/ 0 w 159"/>
                <a:gd name="T33" fmla="*/ 123 h 186"/>
                <a:gd name="T34" fmla="*/ 0 w 159"/>
                <a:gd name="T35" fmla="*/ 62 h 186"/>
                <a:gd name="T36" fmla="*/ 7 w 159"/>
                <a:gd name="T37" fmla="*/ 35 h 186"/>
                <a:gd name="T38" fmla="*/ 23 w 159"/>
                <a:gd name="T39" fmla="*/ 16 h 186"/>
                <a:gd name="T40" fmla="*/ 48 w 159"/>
                <a:gd name="T41" fmla="*/ 4 h 186"/>
                <a:gd name="T42" fmla="*/ 79 w 159"/>
                <a:gd name="T43" fmla="*/ 0 h 186"/>
                <a:gd name="T44" fmla="*/ 110 w 159"/>
                <a:gd name="T45" fmla="*/ 4 h 186"/>
                <a:gd name="T46" fmla="*/ 135 w 159"/>
                <a:gd name="T47" fmla="*/ 15 h 186"/>
                <a:gd name="T48" fmla="*/ 152 w 159"/>
                <a:gd name="T49" fmla="*/ 34 h 186"/>
                <a:gd name="T50" fmla="*/ 159 w 159"/>
                <a:gd name="T51" fmla="*/ 62 h 186"/>
                <a:gd name="T52" fmla="*/ 159 w 159"/>
                <a:gd name="T53" fmla="*/ 109 h 186"/>
                <a:gd name="T54" fmla="*/ 33 w 159"/>
                <a:gd name="T55" fmla="*/ 109 h 186"/>
                <a:gd name="T56" fmla="*/ 33 w 159"/>
                <a:gd name="T57" fmla="*/ 124 h 186"/>
                <a:gd name="T58" fmla="*/ 37 w 159"/>
                <a:gd name="T59" fmla="*/ 136 h 186"/>
                <a:gd name="T60" fmla="*/ 47 w 159"/>
                <a:gd name="T61" fmla="*/ 146 h 186"/>
                <a:gd name="T62" fmla="*/ 61 w 159"/>
                <a:gd name="T63" fmla="*/ 152 h 186"/>
                <a:gd name="T64" fmla="*/ 79 w 159"/>
                <a:gd name="T65" fmla="*/ 154 h 186"/>
                <a:gd name="T66" fmla="*/ 105 w 159"/>
                <a:gd name="T67" fmla="*/ 149 h 186"/>
                <a:gd name="T68" fmla="*/ 125 w 159"/>
                <a:gd name="T69" fmla="*/ 136 h 186"/>
                <a:gd name="T70" fmla="*/ 125 w 159"/>
                <a:gd name="T71" fmla="*/ 135 h 186"/>
                <a:gd name="T72" fmla="*/ 155 w 159"/>
                <a:gd name="T73" fmla="*/ 152 h 186"/>
                <a:gd name="T74" fmla="*/ 154 w 159"/>
                <a:gd name="T75" fmla="*/ 153 h 186"/>
                <a:gd name="T76" fmla="*/ 123 w 159"/>
                <a:gd name="T77" fmla="*/ 178 h 186"/>
                <a:gd name="T78" fmla="*/ 79 w 159"/>
                <a:gd name="T79" fmla="*/ 186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59" h="186">
                  <a:moveTo>
                    <a:pt x="126" y="77"/>
                  </a:moveTo>
                  <a:cubicBezTo>
                    <a:pt x="126" y="62"/>
                    <a:pt x="126" y="62"/>
                    <a:pt x="126" y="62"/>
                  </a:cubicBezTo>
                  <a:cubicBezTo>
                    <a:pt x="126" y="57"/>
                    <a:pt x="125" y="53"/>
                    <a:pt x="122" y="49"/>
                  </a:cubicBezTo>
                  <a:cubicBezTo>
                    <a:pt x="120" y="46"/>
                    <a:pt x="116" y="42"/>
                    <a:pt x="112" y="40"/>
                  </a:cubicBezTo>
                  <a:cubicBezTo>
                    <a:pt x="108" y="38"/>
                    <a:pt x="103" y="36"/>
                    <a:pt x="97" y="35"/>
                  </a:cubicBezTo>
                  <a:cubicBezTo>
                    <a:pt x="92" y="33"/>
                    <a:pt x="86" y="33"/>
                    <a:pt x="79" y="33"/>
                  </a:cubicBezTo>
                  <a:cubicBezTo>
                    <a:pt x="73" y="33"/>
                    <a:pt x="67" y="33"/>
                    <a:pt x="61" y="35"/>
                  </a:cubicBezTo>
                  <a:cubicBezTo>
                    <a:pt x="56" y="36"/>
                    <a:pt x="51" y="38"/>
                    <a:pt x="46" y="40"/>
                  </a:cubicBezTo>
                  <a:cubicBezTo>
                    <a:pt x="42" y="43"/>
                    <a:pt x="39" y="46"/>
                    <a:pt x="37" y="50"/>
                  </a:cubicBezTo>
                  <a:cubicBezTo>
                    <a:pt x="34" y="53"/>
                    <a:pt x="33" y="57"/>
                    <a:pt x="33" y="62"/>
                  </a:cubicBezTo>
                  <a:cubicBezTo>
                    <a:pt x="33" y="77"/>
                    <a:pt x="33" y="77"/>
                    <a:pt x="33" y="77"/>
                  </a:cubicBezTo>
                  <a:cubicBezTo>
                    <a:pt x="126" y="77"/>
                    <a:pt x="126" y="77"/>
                    <a:pt x="126" y="77"/>
                  </a:cubicBezTo>
                  <a:close/>
                  <a:moveTo>
                    <a:pt x="79" y="186"/>
                  </a:moveTo>
                  <a:cubicBezTo>
                    <a:pt x="69" y="186"/>
                    <a:pt x="59" y="185"/>
                    <a:pt x="49" y="182"/>
                  </a:cubicBezTo>
                  <a:cubicBezTo>
                    <a:pt x="40" y="180"/>
                    <a:pt x="32" y="176"/>
                    <a:pt x="24" y="171"/>
                  </a:cubicBezTo>
                  <a:cubicBezTo>
                    <a:pt x="17" y="166"/>
                    <a:pt x="11" y="159"/>
                    <a:pt x="7" y="151"/>
                  </a:cubicBezTo>
                  <a:cubicBezTo>
                    <a:pt x="3" y="143"/>
                    <a:pt x="0" y="134"/>
                    <a:pt x="0" y="123"/>
                  </a:cubicBezTo>
                  <a:cubicBezTo>
                    <a:pt x="0" y="62"/>
                    <a:pt x="0" y="62"/>
                    <a:pt x="0" y="62"/>
                  </a:cubicBezTo>
                  <a:cubicBezTo>
                    <a:pt x="0" y="52"/>
                    <a:pt x="2" y="43"/>
                    <a:pt x="7" y="35"/>
                  </a:cubicBezTo>
                  <a:cubicBezTo>
                    <a:pt x="11" y="28"/>
                    <a:pt x="16" y="21"/>
                    <a:pt x="23" y="16"/>
                  </a:cubicBezTo>
                  <a:cubicBezTo>
                    <a:pt x="30" y="11"/>
                    <a:pt x="39" y="7"/>
                    <a:pt x="48" y="4"/>
                  </a:cubicBezTo>
                  <a:cubicBezTo>
                    <a:pt x="58" y="1"/>
                    <a:pt x="68" y="0"/>
                    <a:pt x="79" y="0"/>
                  </a:cubicBezTo>
                  <a:cubicBezTo>
                    <a:pt x="90" y="0"/>
                    <a:pt x="100" y="1"/>
                    <a:pt x="110" y="4"/>
                  </a:cubicBezTo>
                  <a:cubicBezTo>
                    <a:pt x="120" y="6"/>
                    <a:pt x="128" y="10"/>
                    <a:pt x="135" y="15"/>
                  </a:cubicBezTo>
                  <a:cubicBezTo>
                    <a:pt x="142" y="20"/>
                    <a:pt x="148" y="26"/>
                    <a:pt x="152" y="34"/>
                  </a:cubicBezTo>
                  <a:cubicBezTo>
                    <a:pt x="156" y="42"/>
                    <a:pt x="159" y="51"/>
                    <a:pt x="159" y="62"/>
                  </a:cubicBezTo>
                  <a:cubicBezTo>
                    <a:pt x="159" y="109"/>
                    <a:pt x="159" y="109"/>
                    <a:pt x="159" y="109"/>
                  </a:cubicBezTo>
                  <a:cubicBezTo>
                    <a:pt x="33" y="109"/>
                    <a:pt x="33" y="109"/>
                    <a:pt x="33" y="109"/>
                  </a:cubicBezTo>
                  <a:cubicBezTo>
                    <a:pt x="33" y="124"/>
                    <a:pt x="33" y="124"/>
                    <a:pt x="33" y="124"/>
                  </a:cubicBezTo>
                  <a:cubicBezTo>
                    <a:pt x="33" y="129"/>
                    <a:pt x="35" y="133"/>
                    <a:pt x="37" y="136"/>
                  </a:cubicBezTo>
                  <a:cubicBezTo>
                    <a:pt x="39" y="140"/>
                    <a:pt x="43" y="143"/>
                    <a:pt x="47" y="146"/>
                  </a:cubicBezTo>
                  <a:cubicBezTo>
                    <a:pt x="51" y="148"/>
                    <a:pt x="56" y="150"/>
                    <a:pt x="61" y="152"/>
                  </a:cubicBezTo>
                  <a:cubicBezTo>
                    <a:pt x="67" y="153"/>
                    <a:pt x="73" y="154"/>
                    <a:pt x="79" y="154"/>
                  </a:cubicBezTo>
                  <a:cubicBezTo>
                    <a:pt x="88" y="154"/>
                    <a:pt x="97" y="152"/>
                    <a:pt x="105" y="149"/>
                  </a:cubicBezTo>
                  <a:cubicBezTo>
                    <a:pt x="113" y="146"/>
                    <a:pt x="120" y="142"/>
                    <a:pt x="125" y="136"/>
                  </a:cubicBezTo>
                  <a:cubicBezTo>
                    <a:pt x="125" y="135"/>
                    <a:pt x="125" y="135"/>
                    <a:pt x="125" y="135"/>
                  </a:cubicBezTo>
                  <a:cubicBezTo>
                    <a:pt x="155" y="152"/>
                    <a:pt x="155" y="152"/>
                    <a:pt x="155" y="152"/>
                  </a:cubicBezTo>
                  <a:cubicBezTo>
                    <a:pt x="154" y="153"/>
                    <a:pt x="154" y="153"/>
                    <a:pt x="154" y="153"/>
                  </a:cubicBezTo>
                  <a:cubicBezTo>
                    <a:pt x="147" y="164"/>
                    <a:pt x="136" y="172"/>
                    <a:pt x="123" y="178"/>
                  </a:cubicBezTo>
                  <a:cubicBezTo>
                    <a:pt x="109" y="183"/>
                    <a:pt x="95" y="186"/>
                    <a:pt x="79" y="18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Freeform 12">
              <a:extLst>
                <a:ext uri="{FF2B5EF4-FFF2-40B4-BE49-F238E27FC236}">
                  <a16:creationId xmlns:a16="http://schemas.microsoft.com/office/drawing/2014/main" id="{DC77C5AC-DEC5-5435-A743-D3F24563B9F2}"/>
                </a:ext>
              </a:extLst>
            </p:cNvPr>
            <p:cNvSpPr>
              <a:spLocks/>
            </p:cNvSpPr>
            <p:nvPr userDrawn="1"/>
          </p:nvSpPr>
          <p:spPr bwMode="auto">
            <a:xfrm>
              <a:off x="5837" y="380"/>
              <a:ext cx="119" cy="184"/>
            </a:xfrm>
            <a:custGeom>
              <a:avLst/>
              <a:gdLst>
                <a:gd name="T0" fmla="*/ 0 w 118"/>
                <a:gd name="T1" fmla="*/ 130 h 181"/>
                <a:gd name="T2" fmla="*/ 0 w 118"/>
                <a:gd name="T3" fmla="*/ 61 h 181"/>
                <a:gd name="T4" fmla="*/ 21 w 118"/>
                <a:gd name="T5" fmla="*/ 16 h 181"/>
                <a:gd name="T6" fmla="*/ 76 w 118"/>
                <a:gd name="T7" fmla="*/ 0 h 181"/>
                <a:gd name="T8" fmla="*/ 118 w 118"/>
                <a:gd name="T9" fmla="*/ 0 h 181"/>
                <a:gd name="T10" fmla="*/ 118 w 118"/>
                <a:gd name="T11" fmla="*/ 32 h 181"/>
                <a:gd name="T12" fmla="*/ 76 w 118"/>
                <a:gd name="T13" fmla="*/ 32 h 181"/>
                <a:gd name="T14" fmla="*/ 45 w 118"/>
                <a:gd name="T15" fmla="*/ 40 h 181"/>
                <a:gd name="T16" fmla="*/ 33 w 118"/>
                <a:gd name="T17" fmla="*/ 61 h 181"/>
                <a:gd name="T18" fmla="*/ 33 w 118"/>
                <a:gd name="T19" fmla="*/ 181 h 181"/>
                <a:gd name="T20" fmla="*/ 0 w 118"/>
                <a:gd name="T21" fmla="*/ 13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8" h="181">
                  <a:moveTo>
                    <a:pt x="0" y="130"/>
                  </a:moveTo>
                  <a:cubicBezTo>
                    <a:pt x="0" y="61"/>
                    <a:pt x="0" y="61"/>
                    <a:pt x="0" y="61"/>
                  </a:cubicBezTo>
                  <a:cubicBezTo>
                    <a:pt x="0" y="42"/>
                    <a:pt x="7" y="27"/>
                    <a:pt x="21" y="16"/>
                  </a:cubicBezTo>
                  <a:cubicBezTo>
                    <a:pt x="34" y="5"/>
                    <a:pt x="53" y="0"/>
                    <a:pt x="76" y="0"/>
                  </a:cubicBezTo>
                  <a:cubicBezTo>
                    <a:pt x="118" y="0"/>
                    <a:pt x="118" y="0"/>
                    <a:pt x="118" y="0"/>
                  </a:cubicBezTo>
                  <a:cubicBezTo>
                    <a:pt x="118" y="32"/>
                    <a:pt x="118" y="32"/>
                    <a:pt x="118" y="32"/>
                  </a:cubicBezTo>
                  <a:cubicBezTo>
                    <a:pt x="76" y="32"/>
                    <a:pt x="76" y="32"/>
                    <a:pt x="76" y="32"/>
                  </a:cubicBezTo>
                  <a:cubicBezTo>
                    <a:pt x="63" y="32"/>
                    <a:pt x="53" y="35"/>
                    <a:pt x="45" y="40"/>
                  </a:cubicBezTo>
                  <a:cubicBezTo>
                    <a:pt x="37" y="45"/>
                    <a:pt x="33" y="52"/>
                    <a:pt x="33" y="61"/>
                  </a:cubicBezTo>
                  <a:cubicBezTo>
                    <a:pt x="33" y="181"/>
                    <a:pt x="33" y="181"/>
                    <a:pt x="33" y="181"/>
                  </a:cubicBezTo>
                  <a:cubicBezTo>
                    <a:pt x="33" y="181"/>
                    <a:pt x="0" y="168"/>
                    <a:pt x="0" y="13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 name="Freeform 13">
              <a:extLst>
                <a:ext uri="{FF2B5EF4-FFF2-40B4-BE49-F238E27FC236}">
                  <a16:creationId xmlns:a16="http://schemas.microsoft.com/office/drawing/2014/main" id="{D7E509E8-CFA0-B53F-74FF-4C7018B85044}"/>
                </a:ext>
              </a:extLst>
            </p:cNvPr>
            <p:cNvSpPr>
              <a:spLocks/>
            </p:cNvSpPr>
            <p:nvPr userDrawn="1"/>
          </p:nvSpPr>
          <p:spPr bwMode="auto">
            <a:xfrm>
              <a:off x="6829" y="380"/>
              <a:ext cx="33" cy="184"/>
            </a:xfrm>
            <a:custGeom>
              <a:avLst/>
              <a:gdLst>
                <a:gd name="T0" fmla="*/ 0 w 33"/>
                <a:gd name="T1" fmla="*/ 184 h 184"/>
                <a:gd name="T2" fmla="*/ 0 w 33"/>
                <a:gd name="T3" fmla="*/ 0 h 184"/>
                <a:gd name="T4" fmla="*/ 33 w 33"/>
                <a:gd name="T5" fmla="*/ 0 h 184"/>
                <a:gd name="T6" fmla="*/ 33 w 33"/>
                <a:gd name="T7" fmla="*/ 184 h 184"/>
                <a:gd name="T8" fmla="*/ 0 w 33"/>
                <a:gd name="T9" fmla="*/ 184 h 184"/>
                <a:gd name="T10" fmla="*/ 0 w 33"/>
                <a:gd name="T11" fmla="*/ 184 h 184"/>
              </a:gdLst>
              <a:ahLst/>
              <a:cxnLst>
                <a:cxn ang="0">
                  <a:pos x="T0" y="T1"/>
                </a:cxn>
                <a:cxn ang="0">
                  <a:pos x="T2" y="T3"/>
                </a:cxn>
                <a:cxn ang="0">
                  <a:pos x="T4" y="T5"/>
                </a:cxn>
                <a:cxn ang="0">
                  <a:pos x="T6" y="T7"/>
                </a:cxn>
                <a:cxn ang="0">
                  <a:pos x="T8" y="T9"/>
                </a:cxn>
                <a:cxn ang="0">
                  <a:pos x="T10" y="T11"/>
                </a:cxn>
              </a:cxnLst>
              <a:rect l="0" t="0" r="r" b="b"/>
              <a:pathLst>
                <a:path w="33" h="184">
                  <a:moveTo>
                    <a:pt x="0" y="184"/>
                  </a:moveTo>
                  <a:lnTo>
                    <a:pt x="0" y="0"/>
                  </a:lnTo>
                  <a:lnTo>
                    <a:pt x="33" y="0"/>
                  </a:lnTo>
                  <a:lnTo>
                    <a:pt x="33" y="184"/>
                  </a:lnTo>
                  <a:lnTo>
                    <a:pt x="0" y="184"/>
                  </a:lnTo>
                  <a:lnTo>
                    <a:pt x="0" y="18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 name="Freeform 14">
              <a:extLst>
                <a:ext uri="{FF2B5EF4-FFF2-40B4-BE49-F238E27FC236}">
                  <a16:creationId xmlns:a16="http://schemas.microsoft.com/office/drawing/2014/main" id="{0C5B8AF5-F2F0-0EA0-F2F2-6DA7E81A1286}"/>
                </a:ext>
              </a:extLst>
            </p:cNvPr>
            <p:cNvSpPr>
              <a:spLocks noEditPoints="1"/>
            </p:cNvSpPr>
            <p:nvPr userDrawn="1"/>
          </p:nvSpPr>
          <p:spPr bwMode="auto">
            <a:xfrm>
              <a:off x="6911" y="377"/>
              <a:ext cx="159" cy="189"/>
            </a:xfrm>
            <a:custGeom>
              <a:avLst/>
              <a:gdLst>
                <a:gd name="T0" fmla="*/ 79 w 158"/>
                <a:gd name="T1" fmla="*/ 33 h 186"/>
                <a:gd name="T2" fmla="*/ 61 w 158"/>
                <a:gd name="T3" fmla="*/ 35 h 186"/>
                <a:gd name="T4" fmla="*/ 46 w 158"/>
                <a:gd name="T5" fmla="*/ 40 h 186"/>
                <a:gd name="T6" fmla="*/ 36 w 158"/>
                <a:gd name="T7" fmla="*/ 50 h 186"/>
                <a:gd name="T8" fmla="*/ 33 w 158"/>
                <a:gd name="T9" fmla="*/ 62 h 186"/>
                <a:gd name="T10" fmla="*/ 33 w 158"/>
                <a:gd name="T11" fmla="*/ 123 h 186"/>
                <a:gd name="T12" fmla="*/ 36 w 158"/>
                <a:gd name="T13" fmla="*/ 136 h 186"/>
                <a:gd name="T14" fmla="*/ 46 w 158"/>
                <a:gd name="T15" fmla="*/ 146 h 186"/>
                <a:gd name="T16" fmla="*/ 61 w 158"/>
                <a:gd name="T17" fmla="*/ 151 h 186"/>
                <a:gd name="T18" fmla="*/ 79 w 158"/>
                <a:gd name="T19" fmla="*/ 154 h 186"/>
                <a:gd name="T20" fmla="*/ 96 w 158"/>
                <a:gd name="T21" fmla="*/ 151 h 186"/>
                <a:gd name="T22" fmla="*/ 111 w 158"/>
                <a:gd name="T23" fmla="*/ 146 h 186"/>
                <a:gd name="T24" fmla="*/ 121 w 158"/>
                <a:gd name="T25" fmla="*/ 136 h 186"/>
                <a:gd name="T26" fmla="*/ 125 w 158"/>
                <a:gd name="T27" fmla="*/ 123 h 186"/>
                <a:gd name="T28" fmla="*/ 125 w 158"/>
                <a:gd name="T29" fmla="*/ 62 h 186"/>
                <a:gd name="T30" fmla="*/ 121 w 158"/>
                <a:gd name="T31" fmla="*/ 50 h 186"/>
                <a:gd name="T32" fmla="*/ 111 w 158"/>
                <a:gd name="T33" fmla="*/ 40 h 186"/>
                <a:gd name="T34" fmla="*/ 96 w 158"/>
                <a:gd name="T35" fmla="*/ 35 h 186"/>
                <a:gd name="T36" fmla="*/ 79 w 158"/>
                <a:gd name="T37" fmla="*/ 33 h 186"/>
                <a:gd name="T38" fmla="*/ 79 w 158"/>
                <a:gd name="T39" fmla="*/ 186 h 186"/>
                <a:gd name="T40" fmla="*/ 48 w 158"/>
                <a:gd name="T41" fmla="*/ 182 h 186"/>
                <a:gd name="T42" fmla="*/ 23 w 158"/>
                <a:gd name="T43" fmla="*/ 170 h 186"/>
                <a:gd name="T44" fmla="*/ 6 w 158"/>
                <a:gd name="T45" fmla="*/ 150 h 186"/>
                <a:gd name="T46" fmla="*/ 0 w 158"/>
                <a:gd name="T47" fmla="*/ 123 h 186"/>
                <a:gd name="T48" fmla="*/ 0 w 158"/>
                <a:gd name="T49" fmla="*/ 62 h 186"/>
                <a:gd name="T50" fmla="*/ 6 w 158"/>
                <a:gd name="T51" fmla="*/ 35 h 186"/>
                <a:gd name="T52" fmla="*/ 23 w 158"/>
                <a:gd name="T53" fmla="*/ 16 h 186"/>
                <a:gd name="T54" fmla="*/ 48 w 158"/>
                <a:gd name="T55" fmla="*/ 4 h 186"/>
                <a:gd name="T56" fmla="*/ 79 w 158"/>
                <a:gd name="T57" fmla="*/ 0 h 186"/>
                <a:gd name="T58" fmla="*/ 110 w 158"/>
                <a:gd name="T59" fmla="*/ 4 h 186"/>
                <a:gd name="T60" fmla="*/ 135 w 158"/>
                <a:gd name="T61" fmla="*/ 16 h 186"/>
                <a:gd name="T62" fmla="*/ 152 w 158"/>
                <a:gd name="T63" fmla="*/ 35 h 186"/>
                <a:gd name="T64" fmla="*/ 158 w 158"/>
                <a:gd name="T65" fmla="*/ 62 h 186"/>
                <a:gd name="T66" fmla="*/ 158 w 158"/>
                <a:gd name="T67" fmla="*/ 123 h 186"/>
                <a:gd name="T68" fmla="*/ 152 w 158"/>
                <a:gd name="T69" fmla="*/ 150 h 186"/>
                <a:gd name="T70" fmla="*/ 135 w 158"/>
                <a:gd name="T71" fmla="*/ 170 h 186"/>
                <a:gd name="T72" fmla="*/ 110 w 158"/>
                <a:gd name="T73" fmla="*/ 182 h 186"/>
                <a:gd name="T74" fmla="*/ 79 w 158"/>
                <a:gd name="T75" fmla="*/ 186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8" h="186">
                  <a:moveTo>
                    <a:pt x="79" y="33"/>
                  </a:moveTo>
                  <a:cubicBezTo>
                    <a:pt x="73" y="33"/>
                    <a:pt x="67" y="33"/>
                    <a:pt x="61" y="35"/>
                  </a:cubicBezTo>
                  <a:cubicBezTo>
                    <a:pt x="56" y="36"/>
                    <a:pt x="51" y="38"/>
                    <a:pt x="46" y="40"/>
                  </a:cubicBezTo>
                  <a:cubicBezTo>
                    <a:pt x="42" y="43"/>
                    <a:pt x="39" y="46"/>
                    <a:pt x="36" y="50"/>
                  </a:cubicBezTo>
                  <a:cubicBezTo>
                    <a:pt x="34" y="53"/>
                    <a:pt x="33" y="57"/>
                    <a:pt x="33" y="62"/>
                  </a:cubicBezTo>
                  <a:cubicBezTo>
                    <a:pt x="33" y="123"/>
                    <a:pt x="33" y="123"/>
                    <a:pt x="33" y="123"/>
                  </a:cubicBezTo>
                  <a:cubicBezTo>
                    <a:pt x="33" y="128"/>
                    <a:pt x="34" y="133"/>
                    <a:pt x="36" y="136"/>
                  </a:cubicBezTo>
                  <a:cubicBezTo>
                    <a:pt x="39" y="140"/>
                    <a:pt x="42" y="143"/>
                    <a:pt x="46" y="146"/>
                  </a:cubicBezTo>
                  <a:cubicBezTo>
                    <a:pt x="51" y="148"/>
                    <a:pt x="56" y="150"/>
                    <a:pt x="61" y="151"/>
                  </a:cubicBezTo>
                  <a:cubicBezTo>
                    <a:pt x="67" y="153"/>
                    <a:pt x="73" y="154"/>
                    <a:pt x="79" y="154"/>
                  </a:cubicBezTo>
                  <a:cubicBezTo>
                    <a:pt x="85" y="154"/>
                    <a:pt x="91" y="153"/>
                    <a:pt x="96" y="151"/>
                  </a:cubicBezTo>
                  <a:cubicBezTo>
                    <a:pt x="102" y="150"/>
                    <a:pt x="107" y="148"/>
                    <a:pt x="111" y="146"/>
                  </a:cubicBezTo>
                  <a:cubicBezTo>
                    <a:pt x="115" y="143"/>
                    <a:pt x="119" y="140"/>
                    <a:pt x="121" y="136"/>
                  </a:cubicBezTo>
                  <a:cubicBezTo>
                    <a:pt x="124" y="133"/>
                    <a:pt x="125" y="128"/>
                    <a:pt x="125" y="123"/>
                  </a:cubicBezTo>
                  <a:cubicBezTo>
                    <a:pt x="125" y="62"/>
                    <a:pt x="125" y="62"/>
                    <a:pt x="125" y="62"/>
                  </a:cubicBezTo>
                  <a:cubicBezTo>
                    <a:pt x="125" y="57"/>
                    <a:pt x="124" y="53"/>
                    <a:pt x="121" y="50"/>
                  </a:cubicBezTo>
                  <a:cubicBezTo>
                    <a:pt x="119" y="46"/>
                    <a:pt x="115" y="43"/>
                    <a:pt x="111" y="40"/>
                  </a:cubicBezTo>
                  <a:cubicBezTo>
                    <a:pt x="107" y="38"/>
                    <a:pt x="102" y="36"/>
                    <a:pt x="96" y="35"/>
                  </a:cubicBezTo>
                  <a:cubicBezTo>
                    <a:pt x="91" y="33"/>
                    <a:pt x="85" y="33"/>
                    <a:pt x="79" y="33"/>
                  </a:cubicBezTo>
                  <a:close/>
                  <a:moveTo>
                    <a:pt x="79" y="186"/>
                  </a:moveTo>
                  <a:cubicBezTo>
                    <a:pt x="68" y="186"/>
                    <a:pt x="57" y="185"/>
                    <a:pt x="48" y="182"/>
                  </a:cubicBezTo>
                  <a:cubicBezTo>
                    <a:pt x="38" y="179"/>
                    <a:pt x="30" y="175"/>
                    <a:pt x="23" y="170"/>
                  </a:cubicBezTo>
                  <a:cubicBezTo>
                    <a:pt x="16" y="165"/>
                    <a:pt x="10" y="158"/>
                    <a:pt x="6" y="150"/>
                  </a:cubicBezTo>
                  <a:cubicBezTo>
                    <a:pt x="2" y="142"/>
                    <a:pt x="0" y="133"/>
                    <a:pt x="0" y="123"/>
                  </a:cubicBezTo>
                  <a:cubicBezTo>
                    <a:pt x="0" y="62"/>
                    <a:pt x="0" y="62"/>
                    <a:pt x="0" y="62"/>
                  </a:cubicBezTo>
                  <a:cubicBezTo>
                    <a:pt x="0" y="52"/>
                    <a:pt x="2" y="43"/>
                    <a:pt x="6" y="35"/>
                  </a:cubicBezTo>
                  <a:cubicBezTo>
                    <a:pt x="10" y="28"/>
                    <a:pt x="16" y="21"/>
                    <a:pt x="23" y="16"/>
                  </a:cubicBezTo>
                  <a:cubicBezTo>
                    <a:pt x="30" y="11"/>
                    <a:pt x="38" y="7"/>
                    <a:pt x="48" y="4"/>
                  </a:cubicBezTo>
                  <a:cubicBezTo>
                    <a:pt x="57" y="1"/>
                    <a:pt x="68" y="0"/>
                    <a:pt x="79" y="0"/>
                  </a:cubicBezTo>
                  <a:cubicBezTo>
                    <a:pt x="90" y="0"/>
                    <a:pt x="100" y="1"/>
                    <a:pt x="110" y="4"/>
                  </a:cubicBezTo>
                  <a:cubicBezTo>
                    <a:pt x="120" y="7"/>
                    <a:pt x="128" y="11"/>
                    <a:pt x="135" y="16"/>
                  </a:cubicBezTo>
                  <a:cubicBezTo>
                    <a:pt x="142" y="21"/>
                    <a:pt x="148" y="28"/>
                    <a:pt x="152" y="35"/>
                  </a:cubicBezTo>
                  <a:cubicBezTo>
                    <a:pt x="156" y="43"/>
                    <a:pt x="158" y="52"/>
                    <a:pt x="158" y="62"/>
                  </a:cubicBezTo>
                  <a:cubicBezTo>
                    <a:pt x="158" y="123"/>
                    <a:pt x="158" y="123"/>
                    <a:pt x="158" y="123"/>
                  </a:cubicBezTo>
                  <a:cubicBezTo>
                    <a:pt x="158" y="133"/>
                    <a:pt x="156" y="142"/>
                    <a:pt x="152" y="150"/>
                  </a:cubicBezTo>
                  <a:cubicBezTo>
                    <a:pt x="148" y="158"/>
                    <a:pt x="142" y="165"/>
                    <a:pt x="135" y="170"/>
                  </a:cubicBezTo>
                  <a:cubicBezTo>
                    <a:pt x="128" y="175"/>
                    <a:pt x="120" y="179"/>
                    <a:pt x="110" y="182"/>
                  </a:cubicBezTo>
                  <a:cubicBezTo>
                    <a:pt x="100" y="185"/>
                    <a:pt x="90" y="186"/>
                    <a:pt x="79" y="18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Freeform 15">
              <a:extLst>
                <a:ext uri="{FF2B5EF4-FFF2-40B4-BE49-F238E27FC236}">
                  <a16:creationId xmlns:a16="http://schemas.microsoft.com/office/drawing/2014/main" id="{D5F6AACC-B277-6595-A5B9-08E26AB35D3C}"/>
                </a:ext>
              </a:extLst>
            </p:cNvPr>
            <p:cNvSpPr>
              <a:spLocks/>
            </p:cNvSpPr>
            <p:nvPr userDrawn="1"/>
          </p:nvSpPr>
          <p:spPr bwMode="auto">
            <a:xfrm>
              <a:off x="7117" y="377"/>
              <a:ext cx="159" cy="187"/>
            </a:xfrm>
            <a:custGeom>
              <a:avLst/>
              <a:gdLst>
                <a:gd name="T0" fmla="*/ 126 w 158"/>
                <a:gd name="T1" fmla="*/ 62 h 184"/>
                <a:gd name="T2" fmla="*/ 121 w 158"/>
                <a:gd name="T3" fmla="*/ 48 h 184"/>
                <a:gd name="T4" fmla="*/ 110 w 158"/>
                <a:gd name="T5" fmla="*/ 39 h 184"/>
                <a:gd name="T6" fmla="*/ 94 w 158"/>
                <a:gd name="T7" fmla="*/ 34 h 184"/>
                <a:gd name="T8" fmla="*/ 79 w 158"/>
                <a:gd name="T9" fmla="*/ 33 h 184"/>
                <a:gd name="T10" fmla="*/ 63 w 158"/>
                <a:gd name="T11" fmla="*/ 34 h 184"/>
                <a:gd name="T12" fmla="*/ 48 w 158"/>
                <a:gd name="T13" fmla="*/ 39 h 184"/>
                <a:gd name="T14" fmla="*/ 37 w 158"/>
                <a:gd name="T15" fmla="*/ 48 h 184"/>
                <a:gd name="T16" fmla="*/ 33 w 158"/>
                <a:gd name="T17" fmla="*/ 62 h 184"/>
                <a:gd name="T18" fmla="*/ 33 w 158"/>
                <a:gd name="T19" fmla="*/ 184 h 184"/>
                <a:gd name="T20" fmla="*/ 0 w 158"/>
                <a:gd name="T21" fmla="*/ 184 h 184"/>
                <a:gd name="T22" fmla="*/ 0 w 158"/>
                <a:gd name="T23" fmla="*/ 62 h 184"/>
                <a:gd name="T24" fmla="*/ 6 w 158"/>
                <a:gd name="T25" fmla="*/ 35 h 184"/>
                <a:gd name="T26" fmla="*/ 23 w 158"/>
                <a:gd name="T27" fmla="*/ 16 h 184"/>
                <a:gd name="T28" fmla="*/ 48 w 158"/>
                <a:gd name="T29" fmla="*/ 4 h 184"/>
                <a:gd name="T30" fmla="*/ 79 w 158"/>
                <a:gd name="T31" fmla="*/ 0 h 184"/>
                <a:gd name="T32" fmla="*/ 110 w 158"/>
                <a:gd name="T33" fmla="*/ 4 h 184"/>
                <a:gd name="T34" fmla="*/ 135 w 158"/>
                <a:gd name="T35" fmla="*/ 16 h 184"/>
                <a:gd name="T36" fmla="*/ 152 w 158"/>
                <a:gd name="T37" fmla="*/ 35 h 184"/>
                <a:gd name="T38" fmla="*/ 158 w 158"/>
                <a:gd name="T39" fmla="*/ 62 h 184"/>
                <a:gd name="T40" fmla="*/ 158 w 158"/>
                <a:gd name="T41" fmla="*/ 135 h 184"/>
                <a:gd name="T42" fmla="*/ 126 w 158"/>
                <a:gd name="T43" fmla="*/ 184 h 184"/>
                <a:gd name="T44" fmla="*/ 126 w 158"/>
                <a:gd name="T45" fmla="*/ 62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8" h="184">
                  <a:moveTo>
                    <a:pt x="126" y="62"/>
                  </a:moveTo>
                  <a:cubicBezTo>
                    <a:pt x="126" y="56"/>
                    <a:pt x="124" y="52"/>
                    <a:pt x="121" y="48"/>
                  </a:cubicBezTo>
                  <a:cubicBezTo>
                    <a:pt x="118" y="45"/>
                    <a:pt x="114" y="42"/>
                    <a:pt x="110" y="39"/>
                  </a:cubicBezTo>
                  <a:cubicBezTo>
                    <a:pt x="105" y="37"/>
                    <a:pt x="100" y="35"/>
                    <a:pt x="94" y="34"/>
                  </a:cubicBezTo>
                  <a:cubicBezTo>
                    <a:pt x="89" y="33"/>
                    <a:pt x="84" y="33"/>
                    <a:pt x="79" y="33"/>
                  </a:cubicBezTo>
                  <a:cubicBezTo>
                    <a:pt x="74" y="33"/>
                    <a:pt x="69" y="33"/>
                    <a:pt x="63" y="34"/>
                  </a:cubicBezTo>
                  <a:cubicBezTo>
                    <a:pt x="58" y="35"/>
                    <a:pt x="53" y="37"/>
                    <a:pt x="48" y="39"/>
                  </a:cubicBezTo>
                  <a:cubicBezTo>
                    <a:pt x="44" y="42"/>
                    <a:pt x="40" y="45"/>
                    <a:pt x="37" y="48"/>
                  </a:cubicBezTo>
                  <a:cubicBezTo>
                    <a:pt x="34" y="52"/>
                    <a:pt x="33" y="56"/>
                    <a:pt x="33" y="62"/>
                  </a:cubicBezTo>
                  <a:cubicBezTo>
                    <a:pt x="33" y="184"/>
                    <a:pt x="33" y="184"/>
                    <a:pt x="33" y="184"/>
                  </a:cubicBezTo>
                  <a:cubicBezTo>
                    <a:pt x="0" y="184"/>
                    <a:pt x="0" y="184"/>
                    <a:pt x="0" y="184"/>
                  </a:cubicBezTo>
                  <a:cubicBezTo>
                    <a:pt x="0" y="62"/>
                    <a:pt x="0" y="62"/>
                    <a:pt x="0" y="62"/>
                  </a:cubicBezTo>
                  <a:cubicBezTo>
                    <a:pt x="0" y="52"/>
                    <a:pt x="2" y="43"/>
                    <a:pt x="6" y="35"/>
                  </a:cubicBezTo>
                  <a:cubicBezTo>
                    <a:pt x="10" y="28"/>
                    <a:pt x="16" y="21"/>
                    <a:pt x="23" y="16"/>
                  </a:cubicBezTo>
                  <a:cubicBezTo>
                    <a:pt x="30" y="11"/>
                    <a:pt x="38" y="7"/>
                    <a:pt x="48" y="4"/>
                  </a:cubicBezTo>
                  <a:cubicBezTo>
                    <a:pt x="58" y="1"/>
                    <a:pt x="68" y="0"/>
                    <a:pt x="79" y="0"/>
                  </a:cubicBezTo>
                  <a:cubicBezTo>
                    <a:pt x="90" y="0"/>
                    <a:pt x="101" y="1"/>
                    <a:pt x="110" y="4"/>
                  </a:cubicBezTo>
                  <a:cubicBezTo>
                    <a:pt x="120" y="7"/>
                    <a:pt x="128" y="11"/>
                    <a:pt x="135" y="16"/>
                  </a:cubicBezTo>
                  <a:cubicBezTo>
                    <a:pt x="143" y="21"/>
                    <a:pt x="148" y="28"/>
                    <a:pt x="152" y="35"/>
                  </a:cubicBezTo>
                  <a:cubicBezTo>
                    <a:pt x="156" y="43"/>
                    <a:pt x="158" y="52"/>
                    <a:pt x="158" y="62"/>
                  </a:cubicBezTo>
                  <a:cubicBezTo>
                    <a:pt x="158" y="135"/>
                    <a:pt x="158" y="135"/>
                    <a:pt x="158" y="135"/>
                  </a:cubicBezTo>
                  <a:cubicBezTo>
                    <a:pt x="158" y="170"/>
                    <a:pt x="126" y="184"/>
                    <a:pt x="126" y="184"/>
                  </a:cubicBezTo>
                  <a:cubicBezTo>
                    <a:pt x="126" y="62"/>
                    <a:pt x="126" y="62"/>
                    <a:pt x="126" y="6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 name="Freeform 16">
              <a:extLst>
                <a:ext uri="{FF2B5EF4-FFF2-40B4-BE49-F238E27FC236}">
                  <a16:creationId xmlns:a16="http://schemas.microsoft.com/office/drawing/2014/main" id="{31528F42-698B-B987-1F22-FCB4269B0E45}"/>
                </a:ext>
              </a:extLst>
            </p:cNvPr>
            <p:cNvSpPr>
              <a:spLocks noEditPoints="1"/>
            </p:cNvSpPr>
            <p:nvPr userDrawn="1"/>
          </p:nvSpPr>
          <p:spPr bwMode="auto">
            <a:xfrm>
              <a:off x="7301" y="368"/>
              <a:ext cx="46" cy="48"/>
            </a:xfrm>
            <a:custGeom>
              <a:avLst/>
              <a:gdLst>
                <a:gd name="T0" fmla="*/ 24 w 46"/>
                <a:gd name="T1" fmla="*/ 15 h 47"/>
                <a:gd name="T2" fmla="*/ 20 w 46"/>
                <a:gd name="T3" fmla="*/ 15 h 47"/>
                <a:gd name="T4" fmla="*/ 20 w 46"/>
                <a:gd name="T5" fmla="*/ 23 h 47"/>
                <a:gd name="T6" fmla="*/ 24 w 46"/>
                <a:gd name="T7" fmla="*/ 23 h 47"/>
                <a:gd name="T8" fmla="*/ 28 w 46"/>
                <a:gd name="T9" fmla="*/ 19 h 47"/>
                <a:gd name="T10" fmla="*/ 24 w 46"/>
                <a:gd name="T11" fmla="*/ 15 h 47"/>
                <a:gd name="T12" fmla="*/ 28 w 46"/>
                <a:gd name="T13" fmla="*/ 36 h 47"/>
                <a:gd name="T14" fmla="*/ 23 w 46"/>
                <a:gd name="T15" fmla="*/ 26 h 47"/>
                <a:gd name="T16" fmla="*/ 20 w 46"/>
                <a:gd name="T17" fmla="*/ 26 h 47"/>
                <a:gd name="T18" fmla="*/ 20 w 46"/>
                <a:gd name="T19" fmla="*/ 36 h 47"/>
                <a:gd name="T20" fmla="*/ 15 w 46"/>
                <a:gd name="T21" fmla="*/ 36 h 47"/>
                <a:gd name="T22" fmla="*/ 15 w 46"/>
                <a:gd name="T23" fmla="*/ 11 h 47"/>
                <a:gd name="T24" fmla="*/ 24 w 46"/>
                <a:gd name="T25" fmla="*/ 11 h 47"/>
                <a:gd name="T26" fmla="*/ 33 w 46"/>
                <a:gd name="T27" fmla="*/ 19 h 47"/>
                <a:gd name="T28" fmla="*/ 28 w 46"/>
                <a:gd name="T29" fmla="*/ 26 h 47"/>
                <a:gd name="T30" fmla="*/ 33 w 46"/>
                <a:gd name="T31" fmla="*/ 36 h 47"/>
                <a:gd name="T32" fmla="*/ 28 w 46"/>
                <a:gd name="T33" fmla="*/ 36 h 47"/>
                <a:gd name="T34" fmla="*/ 23 w 46"/>
                <a:gd name="T35" fmla="*/ 5 h 47"/>
                <a:gd name="T36" fmla="*/ 4 w 46"/>
                <a:gd name="T37" fmla="*/ 24 h 47"/>
                <a:gd name="T38" fmla="*/ 23 w 46"/>
                <a:gd name="T39" fmla="*/ 43 h 47"/>
                <a:gd name="T40" fmla="*/ 42 w 46"/>
                <a:gd name="T41" fmla="*/ 24 h 47"/>
                <a:gd name="T42" fmla="*/ 23 w 46"/>
                <a:gd name="T43" fmla="*/ 5 h 47"/>
                <a:gd name="T44" fmla="*/ 23 w 46"/>
                <a:gd name="T45" fmla="*/ 47 h 47"/>
                <a:gd name="T46" fmla="*/ 0 w 46"/>
                <a:gd name="T47" fmla="*/ 24 h 47"/>
                <a:gd name="T48" fmla="*/ 23 w 46"/>
                <a:gd name="T49" fmla="*/ 0 h 47"/>
                <a:gd name="T50" fmla="*/ 46 w 46"/>
                <a:gd name="T51" fmla="*/ 24 h 47"/>
                <a:gd name="T52" fmla="*/ 23 w 46"/>
                <a:gd name="T53"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6" h="47">
                  <a:moveTo>
                    <a:pt x="24" y="15"/>
                  </a:moveTo>
                  <a:cubicBezTo>
                    <a:pt x="20" y="15"/>
                    <a:pt x="20" y="15"/>
                    <a:pt x="20" y="15"/>
                  </a:cubicBezTo>
                  <a:cubicBezTo>
                    <a:pt x="20" y="23"/>
                    <a:pt x="20" y="23"/>
                    <a:pt x="20" y="23"/>
                  </a:cubicBezTo>
                  <a:cubicBezTo>
                    <a:pt x="24" y="23"/>
                    <a:pt x="24" y="23"/>
                    <a:pt x="24" y="23"/>
                  </a:cubicBezTo>
                  <a:cubicBezTo>
                    <a:pt x="26" y="23"/>
                    <a:pt x="28" y="21"/>
                    <a:pt x="28" y="19"/>
                  </a:cubicBezTo>
                  <a:cubicBezTo>
                    <a:pt x="28" y="17"/>
                    <a:pt x="26" y="15"/>
                    <a:pt x="24" y="15"/>
                  </a:cubicBezTo>
                  <a:close/>
                  <a:moveTo>
                    <a:pt x="28" y="36"/>
                  </a:moveTo>
                  <a:cubicBezTo>
                    <a:pt x="23" y="26"/>
                    <a:pt x="23" y="26"/>
                    <a:pt x="23" y="26"/>
                  </a:cubicBezTo>
                  <a:cubicBezTo>
                    <a:pt x="20" y="26"/>
                    <a:pt x="20" y="26"/>
                    <a:pt x="20" y="26"/>
                  </a:cubicBezTo>
                  <a:cubicBezTo>
                    <a:pt x="20" y="36"/>
                    <a:pt x="20" y="36"/>
                    <a:pt x="20" y="36"/>
                  </a:cubicBezTo>
                  <a:cubicBezTo>
                    <a:pt x="15" y="36"/>
                    <a:pt x="15" y="36"/>
                    <a:pt x="15" y="36"/>
                  </a:cubicBezTo>
                  <a:cubicBezTo>
                    <a:pt x="15" y="11"/>
                    <a:pt x="15" y="11"/>
                    <a:pt x="15" y="11"/>
                  </a:cubicBezTo>
                  <a:cubicBezTo>
                    <a:pt x="24" y="11"/>
                    <a:pt x="24" y="11"/>
                    <a:pt x="24" y="11"/>
                  </a:cubicBezTo>
                  <a:cubicBezTo>
                    <a:pt x="29" y="11"/>
                    <a:pt x="33" y="15"/>
                    <a:pt x="33" y="19"/>
                  </a:cubicBezTo>
                  <a:cubicBezTo>
                    <a:pt x="33" y="22"/>
                    <a:pt x="30" y="25"/>
                    <a:pt x="28" y="26"/>
                  </a:cubicBezTo>
                  <a:cubicBezTo>
                    <a:pt x="33" y="36"/>
                    <a:pt x="33" y="36"/>
                    <a:pt x="33" y="36"/>
                  </a:cubicBezTo>
                  <a:cubicBezTo>
                    <a:pt x="28" y="36"/>
                    <a:pt x="28" y="36"/>
                    <a:pt x="28" y="36"/>
                  </a:cubicBezTo>
                  <a:close/>
                  <a:moveTo>
                    <a:pt x="23" y="5"/>
                  </a:moveTo>
                  <a:cubicBezTo>
                    <a:pt x="13" y="5"/>
                    <a:pt x="4" y="13"/>
                    <a:pt x="4" y="24"/>
                  </a:cubicBezTo>
                  <a:cubicBezTo>
                    <a:pt x="4" y="34"/>
                    <a:pt x="13" y="43"/>
                    <a:pt x="23" y="43"/>
                  </a:cubicBezTo>
                  <a:cubicBezTo>
                    <a:pt x="33" y="43"/>
                    <a:pt x="42" y="34"/>
                    <a:pt x="42" y="24"/>
                  </a:cubicBezTo>
                  <a:cubicBezTo>
                    <a:pt x="42" y="13"/>
                    <a:pt x="33" y="5"/>
                    <a:pt x="23" y="5"/>
                  </a:cubicBezTo>
                  <a:close/>
                  <a:moveTo>
                    <a:pt x="23" y="47"/>
                  </a:moveTo>
                  <a:cubicBezTo>
                    <a:pt x="10" y="47"/>
                    <a:pt x="0" y="37"/>
                    <a:pt x="0" y="24"/>
                  </a:cubicBezTo>
                  <a:cubicBezTo>
                    <a:pt x="0" y="11"/>
                    <a:pt x="10" y="0"/>
                    <a:pt x="23" y="0"/>
                  </a:cubicBezTo>
                  <a:cubicBezTo>
                    <a:pt x="36" y="0"/>
                    <a:pt x="46" y="11"/>
                    <a:pt x="46" y="24"/>
                  </a:cubicBezTo>
                  <a:cubicBezTo>
                    <a:pt x="46" y="37"/>
                    <a:pt x="36" y="47"/>
                    <a:pt x="23" y="4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23" name="Picture 22" descr="Logo, company name&#10;&#10;Description automatically generated">
            <a:extLst>
              <a:ext uri="{FF2B5EF4-FFF2-40B4-BE49-F238E27FC236}">
                <a16:creationId xmlns:a16="http://schemas.microsoft.com/office/drawing/2014/main" id="{9C078EA7-BF30-4661-AC6A-EE598B190972}"/>
              </a:ext>
            </a:extLst>
          </p:cNvPr>
          <p:cNvPicPr>
            <a:picLocks noChangeAspect="1"/>
          </p:cNvPicPr>
          <p:nvPr userDrawn="1"/>
        </p:nvPicPr>
        <p:blipFill>
          <a:blip r:embed="rId4">
            <a:extLst>
              <a:ext uri="{BEBA8EAE-BF5A-486C-A8C5-ECC9F3942E4B}">
                <a14:imgProps xmlns:a14="http://schemas.microsoft.com/office/drawing/2010/main">
                  <a14:imgLayer r:embed="rId5">
                    <a14:imgEffect>
                      <a14:brightnessContrast bright="100000"/>
                    </a14:imgEffect>
                  </a14:imgLayer>
                </a14:imgProps>
              </a:ext>
            </a:extLst>
          </a:blip>
          <a:stretch>
            <a:fillRect/>
          </a:stretch>
        </p:blipFill>
        <p:spPr>
          <a:xfrm>
            <a:off x="601302" y="5700447"/>
            <a:ext cx="1606550" cy="876299"/>
          </a:xfrm>
          <a:prstGeom prst="rect">
            <a:avLst/>
          </a:prstGeom>
        </p:spPr>
      </p:pic>
    </p:spTree>
    <p:extLst>
      <p:ext uri="{BB962C8B-B14F-4D97-AF65-F5344CB8AC3E}">
        <p14:creationId xmlns:p14="http://schemas.microsoft.com/office/powerpoint/2010/main" val="12670928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B587DD3-79B9-C7C1-5A49-10509D214637}"/>
              </a:ext>
            </a:extLst>
          </p:cNvPr>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D8FC1B66-90E1-F16C-60E6-0E4CB634DDEA}"/>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65D7AABB-32A5-E149-D06A-27BB39693FC1}"/>
              </a:ext>
            </a:extLst>
          </p:cNvPr>
          <p:cNvSpPr>
            <a:spLocks noGrp="1"/>
          </p:cNvSpPr>
          <p:nvPr>
            <p:ph type="sldNum" sz="quarter" idx="12"/>
          </p:nvPr>
        </p:nvSpPr>
        <p:spPr/>
        <p:txBody>
          <a:bodyPr/>
          <a:lstStyle/>
          <a:p>
            <a:fld id="{A300D7A8-33C5-4C89-B444-136428D180BE}" type="slidenum">
              <a:rPr lang="en-US" smtClean="0"/>
              <a:t>‹#›</a:t>
            </a:fld>
            <a:endParaRPr lang="en-US" dirty="0"/>
          </a:p>
        </p:txBody>
      </p:sp>
      <p:sp>
        <p:nvSpPr>
          <p:cNvPr id="7" name="Title 6">
            <a:extLst>
              <a:ext uri="{FF2B5EF4-FFF2-40B4-BE49-F238E27FC236}">
                <a16:creationId xmlns:a16="http://schemas.microsoft.com/office/drawing/2014/main" id="{8E275A5A-2C84-3BD8-AA41-6910D27EFFC4}"/>
              </a:ext>
            </a:extLst>
          </p:cNvPr>
          <p:cNvSpPr>
            <a:spLocks noGrp="1"/>
          </p:cNvSpPr>
          <p:nvPr>
            <p:ph type="title"/>
          </p:nvPr>
        </p:nvSpPr>
        <p:spPr>
          <a:xfrm>
            <a:off x="266330" y="448236"/>
            <a:ext cx="11683014" cy="552745"/>
          </a:xfrm>
        </p:spPr>
        <p:txBody>
          <a:bodyPr anchor="t"/>
          <a:lstStyle>
            <a:lvl1pPr>
              <a:lnSpc>
                <a:spcPct val="100000"/>
              </a:lnSpc>
              <a:defRPr/>
            </a:lvl1pPr>
          </a:lstStyle>
          <a:p>
            <a:r>
              <a:rPr lang="en-US"/>
              <a:t>Click to edit Master title style</a:t>
            </a:r>
          </a:p>
        </p:txBody>
      </p:sp>
    </p:spTree>
    <p:extLst>
      <p:ext uri="{BB962C8B-B14F-4D97-AF65-F5344CB8AC3E}">
        <p14:creationId xmlns:p14="http://schemas.microsoft.com/office/powerpoint/2010/main" val="23636179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92F3E450-94AA-7E71-110C-42673DE7AF50}"/>
              </a:ext>
            </a:extLst>
          </p:cNvPr>
          <p:cNvPicPr>
            <a:picLocks noChangeAspect="1"/>
          </p:cNvPicPr>
          <p:nvPr userDrawn="1"/>
        </p:nvPicPr>
        <p:blipFill>
          <a:blip r:embed="rId2">
            <a:extLst>
              <a:ext uri="{28A0092B-C50C-407E-A947-70E740481C1C}">
                <a14:useLocalDpi xmlns:a14="http://schemas.microsoft.com/office/drawing/2010/main"/>
              </a:ext>
            </a:extLst>
          </a:blip>
          <a:srcRect l="3" r="3"/>
          <a:stretch/>
        </p:blipFill>
        <p:spPr>
          <a:xfrm flipH="1">
            <a:off x="0" y="0"/>
            <a:ext cx="12191188" cy="6858000"/>
          </a:xfrm>
          <a:prstGeom prst="rect">
            <a:avLst/>
          </a:prstGeom>
        </p:spPr>
      </p:pic>
      <p:pic>
        <p:nvPicPr>
          <p:cNvPr id="9" name="Picture 8">
            <a:extLst>
              <a:ext uri="{FF2B5EF4-FFF2-40B4-BE49-F238E27FC236}">
                <a16:creationId xmlns:a16="http://schemas.microsoft.com/office/drawing/2014/main" id="{FAA2D013-E260-29F7-C363-B018D933F629}"/>
              </a:ext>
            </a:extLst>
          </p:cNvPr>
          <p:cNvPicPr>
            <a:picLocks noChangeAspect="1"/>
          </p:cNvPicPr>
          <p:nvPr userDrawn="1"/>
        </p:nvPicPr>
        <p:blipFill rotWithShape="1">
          <a:blip r:embed="rId3">
            <a:alphaModFix amt="17000"/>
          </a:blip>
          <a:srcRect l="15255" t="4284" r="-236" b="4461"/>
          <a:stretch/>
        </p:blipFill>
        <p:spPr>
          <a:xfrm flipH="1">
            <a:off x="4984762" y="0"/>
            <a:ext cx="7207238" cy="6858000"/>
          </a:xfrm>
          <a:prstGeom prst="rect">
            <a:avLst/>
          </a:prstGeom>
        </p:spPr>
      </p:pic>
      <p:sp>
        <p:nvSpPr>
          <p:cNvPr id="2" name="Title 1">
            <a:extLst>
              <a:ext uri="{FF2B5EF4-FFF2-40B4-BE49-F238E27FC236}">
                <a16:creationId xmlns:a16="http://schemas.microsoft.com/office/drawing/2014/main" id="{A70C5B9B-DD75-4EAC-1BF1-FAB839B384DA}"/>
              </a:ext>
            </a:extLst>
          </p:cNvPr>
          <p:cNvSpPr>
            <a:spLocks noGrp="1"/>
          </p:cNvSpPr>
          <p:nvPr>
            <p:ph type="title"/>
          </p:nvPr>
        </p:nvSpPr>
        <p:spPr>
          <a:xfrm>
            <a:off x="6887632" y="1612371"/>
            <a:ext cx="4459817" cy="2852737"/>
          </a:xfrm>
        </p:spPr>
        <p:txBody>
          <a:bodyPr anchor="b">
            <a:normAutofit/>
          </a:bodyPr>
          <a:lstStyle>
            <a:lvl1pPr>
              <a:defRPr sz="4000">
                <a:solidFill>
                  <a:schemeClr val="bg1"/>
                </a:solidFill>
              </a:defRPr>
            </a:lvl1pPr>
          </a:lstStyle>
          <a:p>
            <a:r>
              <a:rPr lang="en-US"/>
              <a:t>Click to edit Master title style</a:t>
            </a:r>
          </a:p>
        </p:txBody>
      </p:sp>
      <p:sp>
        <p:nvSpPr>
          <p:cNvPr id="3" name="Text Placeholder 2">
            <a:extLst>
              <a:ext uri="{FF2B5EF4-FFF2-40B4-BE49-F238E27FC236}">
                <a16:creationId xmlns:a16="http://schemas.microsoft.com/office/drawing/2014/main" id="{F8A69308-2E5C-995C-2D80-E3296135903B}"/>
              </a:ext>
            </a:extLst>
          </p:cNvPr>
          <p:cNvSpPr>
            <a:spLocks noGrp="1"/>
          </p:cNvSpPr>
          <p:nvPr>
            <p:ph type="body" idx="1"/>
          </p:nvPr>
        </p:nvSpPr>
        <p:spPr>
          <a:xfrm>
            <a:off x="6887632" y="4589463"/>
            <a:ext cx="4459817" cy="457099"/>
          </a:xfrm>
        </p:spPr>
        <p:txBody>
          <a:bodyPr>
            <a:normAutofit/>
          </a:bodyPr>
          <a:lstStyle>
            <a:lvl1pPr marL="0" indent="0">
              <a:buNone/>
              <a:defRPr sz="1800">
                <a:solidFill>
                  <a:schemeClr val="accent3"/>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14" name="Text Placeholder 8">
            <a:extLst>
              <a:ext uri="{FF2B5EF4-FFF2-40B4-BE49-F238E27FC236}">
                <a16:creationId xmlns:a16="http://schemas.microsoft.com/office/drawing/2014/main" id="{E1FD1B2B-D43E-096C-1A24-DD7D90C8195D}"/>
              </a:ext>
            </a:extLst>
          </p:cNvPr>
          <p:cNvSpPr>
            <a:spLocks noGrp="1"/>
          </p:cNvSpPr>
          <p:nvPr>
            <p:ph type="body" sz="quarter" idx="13"/>
          </p:nvPr>
        </p:nvSpPr>
        <p:spPr>
          <a:xfrm>
            <a:off x="7021153" y="5103519"/>
            <a:ext cx="1097280" cy="45720"/>
          </a:xfrm>
          <a:solidFill>
            <a:schemeClr val="accent2"/>
          </a:solidFill>
        </p:spPr>
        <p:txBody>
          <a:bodyPr>
            <a:noAutofit/>
          </a:bodyPr>
          <a:lstStyle>
            <a:lvl1pPr marL="0" indent="0">
              <a:buNone/>
              <a:defRPr sz="100">
                <a:noFill/>
              </a:defRPr>
            </a:lvl1pPr>
          </a:lstStyle>
          <a:p>
            <a:pPr lvl="0"/>
            <a:endParaRPr lang="en-US"/>
          </a:p>
        </p:txBody>
      </p:sp>
      <p:grpSp>
        <p:nvGrpSpPr>
          <p:cNvPr id="4" name="Group 4">
            <a:extLst>
              <a:ext uri="{FF2B5EF4-FFF2-40B4-BE49-F238E27FC236}">
                <a16:creationId xmlns:a16="http://schemas.microsoft.com/office/drawing/2014/main" id="{7AADC484-EDA0-34D1-0FA9-5145812954D9}"/>
              </a:ext>
            </a:extLst>
          </p:cNvPr>
          <p:cNvGrpSpPr>
            <a:grpSpLocks noChangeAspect="1"/>
          </p:cNvGrpSpPr>
          <p:nvPr userDrawn="1"/>
        </p:nvGrpSpPr>
        <p:grpSpPr bwMode="auto">
          <a:xfrm>
            <a:off x="9263731" y="515328"/>
            <a:ext cx="2399878" cy="383280"/>
            <a:chOff x="5837" y="325"/>
            <a:chExt cx="1509" cy="241"/>
          </a:xfrm>
        </p:grpSpPr>
        <p:sp>
          <p:nvSpPr>
            <p:cNvPr id="5" name="AutoShape 3">
              <a:extLst>
                <a:ext uri="{FF2B5EF4-FFF2-40B4-BE49-F238E27FC236}">
                  <a16:creationId xmlns:a16="http://schemas.microsoft.com/office/drawing/2014/main" id="{B7EA2FEB-59A0-3663-AB70-D9B7FECC259A}"/>
                </a:ext>
              </a:extLst>
            </p:cNvPr>
            <p:cNvSpPr>
              <a:spLocks noChangeAspect="1" noChangeArrowheads="1" noTextEdit="1"/>
            </p:cNvSpPr>
            <p:nvPr userDrawn="1"/>
          </p:nvSpPr>
          <p:spPr bwMode="auto">
            <a:xfrm>
              <a:off x="5837" y="325"/>
              <a:ext cx="1509" cy="2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 name="Oval 5">
              <a:extLst>
                <a:ext uri="{FF2B5EF4-FFF2-40B4-BE49-F238E27FC236}">
                  <a16:creationId xmlns:a16="http://schemas.microsoft.com/office/drawing/2014/main" id="{A6E710DD-F5BB-35A1-C7D7-0028F5E0B250}"/>
                </a:ext>
              </a:extLst>
            </p:cNvPr>
            <p:cNvSpPr>
              <a:spLocks noChangeArrowheads="1"/>
            </p:cNvSpPr>
            <p:nvPr userDrawn="1"/>
          </p:nvSpPr>
          <p:spPr bwMode="auto">
            <a:xfrm>
              <a:off x="6666" y="324"/>
              <a:ext cx="40" cy="40"/>
            </a:xfrm>
            <a:prstGeom prst="ellipse">
              <a:avLst/>
            </a:prstGeom>
            <a:solidFill>
              <a:srgbClr val="00A7C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 name="Freeform 6">
              <a:extLst>
                <a:ext uri="{FF2B5EF4-FFF2-40B4-BE49-F238E27FC236}">
                  <a16:creationId xmlns:a16="http://schemas.microsoft.com/office/drawing/2014/main" id="{23DEE081-B672-35AE-8BC1-C385A16C3E25}"/>
                </a:ext>
              </a:extLst>
            </p:cNvPr>
            <p:cNvSpPr>
              <a:spLocks noEditPoints="1"/>
            </p:cNvSpPr>
            <p:nvPr userDrawn="1"/>
          </p:nvSpPr>
          <p:spPr bwMode="auto">
            <a:xfrm>
              <a:off x="6653" y="375"/>
              <a:ext cx="137" cy="191"/>
            </a:xfrm>
            <a:custGeom>
              <a:avLst/>
              <a:gdLst>
                <a:gd name="T0" fmla="*/ 118 w 136"/>
                <a:gd name="T1" fmla="*/ 14 h 188"/>
                <a:gd name="T2" fmla="*/ 66 w 136"/>
                <a:gd name="T3" fmla="*/ 48 h 188"/>
                <a:gd name="T4" fmla="*/ 18 w 136"/>
                <a:gd name="T5" fmla="*/ 152 h 188"/>
                <a:gd name="T6" fmla="*/ 26 w 136"/>
                <a:gd name="T7" fmla="*/ 174 h 188"/>
                <a:gd name="T8" fmla="*/ 39 w 136"/>
                <a:gd name="T9" fmla="*/ 175 h 188"/>
                <a:gd name="T10" fmla="*/ 48 w 136"/>
                <a:gd name="T11" fmla="*/ 166 h 188"/>
                <a:gd name="T12" fmla="*/ 118 w 136"/>
                <a:gd name="T13" fmla="*/ 14 h 188"/>
                <a:gd name="T14" fmla="*/ 118 w 136"/>
                <a:gd name="T15" fmla="*/ 14 h 188"/>
                <a:gd name="T16" fmla="*/ 33 w 136"/>
                <a:gd name="T17" fmla="*/ 188 h 188"/>
                <a:gd name="T18" fmla="*/ 21 w 136"/>
                <a:gd name="T19" fmla="*/ 185 h 188"/>
                <a:gd name="T20" fmla="*/ 7 w 136"/>
                <a:gd name="T21" fmla="*/ 147 h 188"/>
                <a:gd name="T22" fmla="*/ 55 w 136"/>
                <a:gd name="T23" fmla="*/ 43 h 188"/>
                <a:gd name="T24" fmla="*/ 100 w 136"/>
                <a:gd name="T25" fmla="*/ 4 h 188"/>
                <a:gd name="T26" fmla="*/ 129 w 136"/>
                <a:gd name="T27" fmla="*/ 3 h 188"/>
                <a:gd name="T28" fmla="*/ 136 w 136"/>
                <a:gd name="T29" fmla="*/ 4 h 188"/>
                <a:gd name="T30" fmla="*/ 59 w 136"/>
                <a:gd name="T31" fmla="*/ 171 h 188"/>
                <a:gd name="T32" fmla="*/ 43 w 136"/>
                <a:gd name="T33" fmla="*/ 186 h 188"/>
                <a:gd name="T34" fmla="*/ 33 w 136"/>
                <a:gd name="T35" fmla="*/ 18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188">
                  <a:moveTo>
                    <a:pt x="118" y="14"/>
                  </a:moveTo>
                  <a:cubicBezTo>
                    <a:pt x="104" y="14"/>
                    <a:pt x="80" y="19"/>
                    <a:pt x="66" y="48"/>
                  </a:cubicBezTo>
                  <a:cubicBezTo>
                    <a:pt x="18" y="152"/>
                    <a:pt x="18" y="152"/>
                    <a:pt x="18" y="152"/>
                  </a:cubicBezTo>
                  <a:cubicBezTo>
                    <a:pt x="14" y="160"/>
                    <a:pt x="18" y="170"/>
                    <a:pt x="26" y="174"/>
                  </a:cubicBezTo>
                  <a:cubicBezTo>
                    <a:pt x="30" y="176"/>
                    <a:pt x="34" y="176"/>
                    <a:pt x="39" y="175"/>
                  </a:cubicBezTo>
                  <a:cubicBezTo>
                    <a:pt x="43" y="173"/>
                    <a:pt x="46" y="170"/>
                    <a:pt x="48" y="166"/>
                  </a:cubicBezTo>
                  <a:cubicBezTo>
                    <a:pt x="118" y="14"/>
                    <a:pt x="118" y="14"/>
                    <a:pt x="118" y="14"/>
                  </a:cubicBezTo>
                  <a:cubicBezTo>
                    <a:pt x="118" y="14"/>
                    <a:pt x="118" y="14"/>
                    <a:pt x="118" y="14"/>
                  </a:cubicBezTo>
                  <a:close/>
                  <a:moveTo>
                    <a:pt x="33" y="188"/>
                  </a:moveTo>
                  <a:cubicBezTo>
                    <a:pt x="29" y="188"/>
                    <a:pt x="25" y="187"/>
                    <a:pt x="21" y="185"/>
                  </a:cubicBezTo>
                  <a:cubicBezTo>
                    <a:pt x="7" y="179"/>
                    <a:pt x="0" y="161"/>
                    <a:pt x="7" y="147"/>
                  </a:cubicBezTo>
                  <a:cubicBezTo>
                    <a:pt x="55" y="43"/>
                    <a:pt x="55" y="43"/>
                    <a:pt x="55" y="43"/>
                  </a:cubicBezTo>
                  <a:cubicBezTo>
                    <a:pt x="67" y="17"/>
                    <a:pt x="86" y="7"/>
                    <a:pt x="100" y="4"/>
                  </a:cubicBezTo>
                  <a:cubicBezTo>
                    <a:pt x="116" y="0"/>
                    <a:pt x="128" y="3"/>
                    <a:pt x="129" y="3"/>
                  </a:cubicBezTo>
                  <a:cubicBezTo>
                    <a:pt x="136" y="4"/>
                    <a:pt x="136" y="4"/>
                    <a:pt x="136" y="4"/>
                  </a:cubicBezTo>
                  <a:cubicBezTo>
                    <a:pt x="59" y="171"/>
                    <a:pt x="59" y="171"/>
                    <a:pt x="59" y="171"/>
                  </a:cubicBezTo>
                  <a:cubicBezTo>
                    <a:pt x="56" y="178"/>
                    <a:pt x="50" y="184"/>
                    <a:pt x="43" y="186"/>
                  </a:cubicBezTo>
                  <a:cubicBezTo>
                    <a:pt x="40" y="187"/>
                    <a:pt x="36" y="188"/>
                    <a:pt x="33" y="188"/>
                  </a:cubicBezTo>
                  <a:close/>
                </a:path>
              </a:pathLst>
            </a:custGeom>
            <a:solidFill>
              <a:srgbClr val="00A7C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 name="Freeform 7">
              <a:extLst>
                <a:ext uri="{FF2B5EF4-FFF2-40B4-BE49-F238E27FC236}">
                  <a16:creationId xmlns:a16="http://schemas.microsoft.com/office/drawing/2014/main" id="{120BD320-2FED-B5D1-F828-2A3FA49CCF71}"/>
                </a:ext>
              </a:extLst>
            </p:cNvPr>
            <p:cNvSpPr>
              <a:spLocks/>
            </p:cNvSpPr>
            <p:nvPr userDrawn="1"/>
          </p:nvSpPr>
          <p:spPr bwMode="auto">
            <a:xfrm>
              <a:off x="6582" y="375"/>
              <a:ext cx="104" cy="174"/>
            </a:xfrm>
            <a:custGeom>
              <a:avLst/>
              <a:gdLst>
                <a:gd name="T0" fmla="*/ 77 w 103"/>
                <a:gd name="T1" fmla="*/ 147 h 171"/>
                <a:gd name="T2" fmla="*/ 78 w 103"/>
                <a:gd name="T3" fmla="*/ 144 h 171"/>
                <a:gd name="T4" fmla="*/ 18 w 103"/>
                <a:gd name="T5" fmla="*/ 14 h 171"/>
                <a:gd name="T6" fmla="*/ 19 w 103"/>
                <a:gd name="T7" fmla="*/ 14 h 171"/>
                <a:gd name="T8" fmla="*/ 70 w 103"/>
                <a:gd name="T9" fmla="*/ 48 h 171"/>
                <a:gd name="T10" fmla="*/ 96 w 103"/>
                <a:gd name="T11" fmla="*/ 105 h 171"/>
                <a:gd name="T12" fmla="*/ 103 w 103"/>
                <a:gd name="T13" fmla="*/ 90 h 171"/>
                <a:gd name="T14" fmla="*/ 81 w 103"/>
                <a:gd name="T15" fmla="*/ 43 h 171"/>
                <a:gd name="T16" fmla="*/ 36 w 103"/>
                <a:gd name="T17" fmla="*/ 4 h 171"/>
                <a:gd name="T18" fmla="*/ 7 w 103"/>
                <a:gd name="T19" fmla="*/ 3 h 171"/>
                <a:gd name="T20" fmla="*/ 0 w 103"/>
                <a:gd name="T21" fmla="*/ 4 h 171"/>
                <a:gd name="T22" fmla="*/ 77 w 103"/>
                <a:gd name="T23" fmla="*/ 171 h 171"/>
                <a:gd name="T24" fmla="*/ 77 w 103"/>
                <a:gd name="T25" fmla="*/ 171 h 171"/>
                <a:gd name="T26" fmla="*/ 77 w 103"/>
                <a:gd name="T27" fmla="*/ 147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3" h="171">
                  <a:moveTo>
                    <a:pt x="77" y="147"/>
                  </a:moveTo>
                  <a:cubicBezTo>
                    <a:pt x="78" y="144"/>
                    <a:pt x="78" y="144"/>
                    <a:pt x="78" y="144"/>
                  </a:cubicBezTo>
                  <a:cubicBezTo>
                    <a:pt x="18" y="14"/>
                    <a:pt x="18" y="14"/>
                    <a:pt x="18" y="14"/>
                  </a:cubicBezTo>
                  <a:cubicBezTo>
                    <a:pt x="18" y="14"/>
                    <a:pt x="18" y="14"/>
                    <a:pt x="19" y="14"/>
                  </a:cubicBezTo>
                  <a:cubicBezTo>
                    <a:pt x="32" y="14"/>
                    <a:pt x="56" y="19"/>
                    <a:pt x="70" y="48"/>
                  </a:cubicBezTo>
                  <a:cubicBezTo>
                    <a:pt x="96" y="105"/>
                    <a:pt x="96" y="105"/>
                    <a:pt x="96" y="105"/>
                  </a:cubicBezTo>
                  <a:cubicBezTo>
                    <a:pt x="103" y="90"/>
                    <a:pt x="103" y="90"/>
                    <a:pt x="103" y="90"/>
                  </a:cubicBezTo>
                  <a:cubicBezTo>
                    <a:pt x="81" y="43"/>
                    <a:pt x="81" y="43"/>
                    <a:pt x="81" y="43"/>
                  </a:cubicBezTo>
                  <a:cubicBezTo>
                    <a:pt x="69" y="17"/>
                    <a:pt x="50" y="7"/>
                    <a:pt x="36" y="4"/>
                  </a:cubicBezTo>
                  <a:cubicBezTo>
                    <a:pt x="20" y="0"/>
                    <a:pt x="8" y="3"/>
                    <a:pt x="7" y="3"/>
                  </a:cubicBezTo>
                  <a:cubicBezTo>
                    <a:pt x="0" y="4"/>
                    <a:pt x="0" y="4"/>
                    <a:pt x="0" y="4"/>
                  </a:cubicBezTo>
                  <a:cubicBezTo>
                    <a:pt x="77" y="171"/>
                    <a:pt x="77" y="171"/>
                    <a:pt x="77" y="171"/>
                  </a:cubicBezTo>
                  <a:cubicBezTo>
                    <a:pt x="77" y="171"/>
                    <a:pt x="77" y="171"/>
                    <a:pt x="77" y="171"/>
                  </a:cubicBezTo>
                  <a:cubicBezTo>
                    <a:pt x="74" y="164"/>
                    <a:pt x="73" y="155"/>
                    <a:pt x="77" y="14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 name="Freeform 8">
              <a:extLst>
                <a:ext uri="{FF2B5EF4-FFF2-40B4-BE49-F238E27FC236}">
                  <a16:creationId xmlns:a16="http://schemas.microsoft.com/office/drawing/2014/main" id="{9563E519-30B5-DBB4-FAC8-4633E3EE63D9}"/>
                </a:ext>
              </a:extLst>
            </p:cNvPr>
            <p:cNvSpPr>
              <a:spLocks/>
            </p:cNvSpPr>
            <p:nvPr userDrawn="1"/>
          </p:nvSpPr>
          <p:spPr bwMode="auto">
            <a:xfrm>
              <a:off x="6686" y="482"/>
              <a:ext cx="25" cy="63"/>
            </a:xfrm>
            <a:custGeom>
              <a:avLst/>
              <a:gdLst>
                <a:gd name="T0" fmla="*/ 0 w 25"/>
                <a:gd name="T1" fmla="*/ 15 h 62"/>
                <a:gd name="T2" fmla="*/ 15 w 25"/>
                <a:gd name="T3" fmla="*/ 47 h 62"/>
                <a:gd name="T4" fmla="*/ 15 w 25"/>
                <a:gd name="T5" fmla="*/ 62 h 62"/>
                <a:gd name="T6" fmla="*/ 15 w 25"/>
                <a:gd name="T7" fmla="*/ 61 h 62"/>
                <a:gd name="T8" fmla="*/ 25 w 25"/>
                <a:gd name="T9" fmla="*/ 39 h 62"/>
                <a:gd name="T10" fmla="*/ 7 w 25"/>
                <a:gd name="T11" fmla="*/ 0 h 62"/>
                <a:gd name="T12" fmla="*/ 0 w 25"/>
                <a:gd name="T13" fmla="*/ 15 h 62"/>
              </a:gdLst>
              <a:ahLst/>
              <a:cxnLst>
                <a:cxn ang="0">
                  <a:pos x="T0" y="T1"/>
                </a:cxn>
                <a:cxn ang="0">
                  <a:pos x="T2" y="T3"/>
                </a:cxn>
                <a:cxn ang="0">
                  <a:pos x="T4" y="T5"/>
                </a:cxn>
                <a:cxn ang="0">
                  <a:pos x="T6" y="T7"/>
                </a:cxn>
                <a:cxn ang="0">
                  <a:pos x="T8" y="T9"/>
                </a:cxn>
                <a:cxn ang="0">
                  <a:pos x="T10" y="T11"/>
                </a:cxn>
                <a:cxn ang="0">
                  <a:pos x="T12" y="T13"/>
                </a:cxn>
              </a:cxnLst>
              <a:rect l="0" t="0" r="r" b="b"/>
              <a:pathLst>
                <a:path w="25" h="62">
                  <a:moveTo>
                    <a:pt x="0" y="15"/>
                  </a:moveTo>
                  <a:cubicBezTo>
                    <a:pt x="15" y="47"/>
                    <a:pt x="15" y="47"/>
                    <a:pt x="15" y="47"/>
                  </a:cubicBezTo>
                  <a:cubicBezTo>
                    <a:pt x="17" y="52"/>
                    <a:pt x="17" y="57"/>
                    <a:pt x="15" y="62"/>
                  </a:cubicBezTo>
                  <a:cubicBezTo>
                    <a:pt x="15" y="61"/>
                    <a:pt x="15" y="61"/>
                    <a:pt x="15" y="61"/>
                  </a:cubicBezTo>
                  <a:cubicBezTo>
                    <a:pt x="25" y="39"/>
                    <a:pt x="25" y="39"/>
                    <a:pt x="25" y="39"/>
                  </a:cubicBezTo>
                  <a:cubicBezTo>
                    <a:pt x="7" y="0"/>
                    <a:pt x="7" y="0"/>
                    <a:pt x="7" y="0"/>
                  </a:cubicBezTo>
                  <a:cubicBezTo>
                    <a:pt x="0" y="15"/>
                    <a:pt x="0" y="15"/>
                    <a:pt x="0" y="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dirty="0"/>
            </a:p>
          </p:txBody>
        </p:sp>
        <p:sp>
          <p:nvSpPr>
            <p:cNvPr id="17" name="Freeform 9">
              <a:extLst>
                <a:ext uri="{FF2B5EF4-FFF2-40B4-BE49-F238E27FC236}">
                  <a16:creationId xmlns:a16="http://schemas.microsoft.com/office/drawing/2014/main" id="{E5D815CF-C8D2-1C30-56AA-3919A3716BE4}"/>
                </a:ext>
              </a:extLst>
            </p:cNvPr>
            <p:cNvSpPr>
              <a:spLocks/>
            </p:cNvSpPr>
            <p:nvPr userDrawn="1"/>
          </p:nvSpPr>
          <p:spPr bwMode="auto">
            <a:xfrm>
              <a:off x="6385" y="380"/>
              <a:ext cx="160" cy="186"/>
            </a:xfrm>
            <a:custGeom>
              <a:avLst/>
              <a:gdLst>
                <a:gd name="T0" fmla="*/ 80 w 158"/>
                <a:gd name="T1" fmla="*/ 183 h 183"/>
                <a:gd name="T2" fmla="*/ 49 w 158"/>
                <a:gd name="T3" fmla="*/ 179 h 183"/>
                <a:gd name="T4" fmla="*/ 23 w 158"/>
                <a:gd name="T5" fmla="*/ 167 h 183"/>
                <a:gd name="T6" fmla="*/ 6 w 158"/>
                <a:gd name="T7" fmla="*/ 148 h 183"/>
                <a:gd name="T8" fmla="*/ 0 w 158"/>
                <a:gd name="T9" fmla="*/ 122 h 183"/>
                <a:gd name="T10" fmla="*/ 0 w 158"/>
                <a:gd name="T11" fmla="*/ 0 h 183"/>
                <a:gd name="T12" fmla="*/ 32 w 158"/>
                <a:gd name="T13" fmla="*/ 0 h 183"/>
                <a:gd name="T14" fmla="*/ 32 w 158"/>
                <a:gd name="T15" fmla="*/ 122 h 183"/>
                <a:gd name="T16" fmla="*/ 37 w 158"/>
                <a:gd name="T17" fmla="*/ 135 h 183"/>
                <a:gd name="T18" fmla="*/ 48 w 158"/>
                <a:gd name="T19" fmla="*/ 144 h 183"/>
                <a:gd name="T20" fmla="*/ 64 w 158"/>
                <a:gd name="T21" fmla="*/ 149 h 183"/>
                <a:gd name="T22" fmla="*/ 80 w 158"/>
                <a:gd name="T23" fmla="*/ 151 h 183"/>
                <a:gd name="T24" fmla="*/ 95 w 158"/>
                <a:gd name="T25" fmla="*/ 149 h 183"/>
                <a:gd name="T26" fmla="*/ 110 w 158"/>
                <a:gd name="T27" fmla="*/ 144 h 183"/>
                <a:gd name="T28" fmla="*/ 121 w 158"/>
                <a:gd name="T29" fmla="*/ 135 h 183"/>
                <a:gd name="T30" fmla="*/ 125 w 158"/>
                <a:gd name="T31" fmla="*/ 122 h 183"/>
                <a:gd name="T32" fmla="*/ 125 w 158"/>
                <a:gd name="T33" fmla="*/ 0 h 183"/>
                <a:gd name="T34" fmla="*/ 158 w 158"/>
                <a:gd name="T35" fmla="*/ 0 h 183"/>
                <a:gd name="T36" fmla="*/ 158 w 158"/>
                <a:gd name="T37" fmla="*/ 122 h 183"/>
                <a:gd name="T38" fmla="*/ 152 w 158"/>
                <a:gd name="T39" fmla="*/ 148 h 183"/>
                <a:gd name="T40" fmla="*/ 136 w 158"/>
                <a:gd name="T41" fmla="*/ 167 h 183"/>
                <a:gd name="T42" fmla="*/ 111 w 158"/>
                <a:gd name="T43" fmla="*/ 179 h 183"/>
                <a:gd name="T44" fmla="*/ 80 w 158"/>
                <a:gd name="T45" fmla="*/ 183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8" h="183">
                  <a:moveTo>
                    <a:pt x="80" y="183"/>
                  </a:moveTo>
                  <a:cubicBezTo>
                    <a:pt x="69" y="183"/>
                    <a:pt x="59" y="182"/>
                    <a:pt x="49" y="179"/>
                  </a:cubicBezTo>
                  <a:cubicBezTo>
                    <a:pt x="39" y="177"/>
                    <a:pt x="31" y="173"/>
                    <a:pt x="23" y="167"/>
                  </a:cubicBezTo>
                  <a:cubicBezTo>
                    <a:pt x="16" y="162"/>
                    <a:pt x="10" y="156"/>
                    <a:pt x="6" y="148"/>
                  </a:cubicBezTo>
                  <a:cubicBezTo>
                    <a:pt x="2" y="140"/>
                    <a:pt x="0" y="131"/>
                    <a:pt x="0" y="122"/>
                  </a:cubicBezTo>
                  <a:cubicBezTo>
                    <a:pt x="0" y="0"/>
                    <a:pt x="0" y="0"/>
                    <a:pt x="0" y="0"/>
                  </a:cubicBezTo>
                  <a:cubicBezTo>
                    <a:pt x="32" y="0"/>
                    <a:pt x="32" y="0"/>
                    <a:pt x="32" y="0"/>
                  </a:cubicBezTo>
                  <a:cubicBezTo>
                    <a:pt x="32" y="122"/>
                    <a:pt x="32" y="122"/>
                    <a:pt x="32" y="122"/>
                  </a:cubicBezTo>
                  <a:cubicBezTo>
                    <a:pt x="32" y="127"/>
                    <a:pt x="34" y="132"/>
                    <a:pt x="37" y="135"/>
                  </a:cubicBezTo>
                  <a:cubicBezTo>
                    <a:pt x="40" y="139"/>
                    <a:pt x="44" y="142"/>
                    <a:pt x="48" y="144"/>
                  </a:cubicBezTo>
                  <a:cubicBezTo>
                    <a:pt x="53" y="146"/>
                    <a:pt x="58" y="148"/>
                    <a:pt x="64" y="149"/>
                  </a:cubicBezTo>
                  <a:cubicBezTo>
                    <a:pt x="70" y="150"/>
                    <a:pt x="75" y="151"/>
                    <a:pt x="80" y="151"/>
                  </a:cubicBezTo>
                  <a:cubicBezTo>
                    <a:pt x="85" y="151"/>
                    <a:pt x="90" y="150"/>
                    <a:pt x="95" y="149"/>
                  </a:cubicBezTo>
                  <a:cubicBezTo>
                    <a:pt x="100" y="148"/>
                    <a:pt x="105" y="146"/>
                    <a:pt x="110" y="144"/>
                  </a:cubicBezTo>
                  <a:cubicBezTo>
                    <a:pt x="114" y="142"/>
                    <a:pt x="118" y="139"/>
                    <a:pt x="121" y="135"/>
                  </a:cubicBezTo>
                  <a:cubicBezTo>
                    <a:pt x="124" y="132"/>
                    <a:pt x="125" y="127"/>
                    <a:pt x="125" y="122"/>
                  </a:cubicBezTo>
                  <a:cubicBezTo>
                    <a:pt x="125" y="0"/>
                    <a:pt x="125" y="0"/>
                    <a:pt x="125" y="0"/>
                  </a:cubicBezTo>
                  <a:cubicBezTo>
                    <a:pt x="158" y="0"/>
                    <a:pt x="158" y="0"/>
                    <a:pt x="158" y="0"/>
                  </a:cubicBezTo>
                  <a:cubicBezTo>
                    <a:pt x="158" y="122"/>
                    <a:pt x="158" y="122"/>
                    <a:pt x="158" y="122"/>
                  </a:cubicBezTo>
                  <a:cubicBezTo>
                    <a:pt x="158" y="131"/>
                    <a:pt x="156" y="140"/>
                    <a:pt x="152" y="148"/>
                  </a:cubicBezTo>
                  <a:cubicBezTo>
                    <a:pt x="149" y="156"/>
                    <a:pt x="143" y="162"/>
                    <a:pt x="136" y="167"/>
                  </a:cubicBezTo>
                  <a:cubicBezTo>
                    <a:pt x="129" y="173"/>
                    <a:pt x="121" y="177"/>
                    <a:pt x="111" y="179"/>
                  </a:cubicBezTo>
                  <a:cubicBezTo>
                    <a:pt x="102" y="182"/>
                    <a:pt x="91" y="183"/>
                    <a:pt x="80" y="18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Freeform 10">
              <a:extLst>
                <a:ext uri="{FF2B5EF4-FFF2-40B4-BE49-F238E27FC236}">
                  <a16:creationId xmlns:a16="http://schemas.microsoft.com/office/drawing/2014/main" id="{C6C678A9-D53A-DF05-12E5-8AA75D457856}"/>
                </a:ext>
              </a:extLst>
            </p:cNvPr>
            <p:cNvSpPr>
              <a:spLocks/>
            </p:cNvSpPr>
            <p:nvPr userDrawn="1"/>
          </p:nvSpPr>
          <p:spPr bwMode="auto">
            <a:xfrm>
              <a:off x="6182" y="377"/>
              <a:ext cx="159" cy="187"/>
            </a:xfrm>
            <a:custGeom>
              <a:avLst/>
              <a:gdLst>
                <a:gd name="T0" fmla="*/ 126 w 158"/>
                <a:gd name="T1" fmla="*/ 184 h 184"/>
                <a:gd name="T2" fmla="*/ 126 w 158"/>
                <a:gd name="T3" fmla="*/ 62 h 184"/>
                <a:gd name="T4" fmla="*/ 121 w 158"/>
                <a:gd name="T5" fmla="*/ 48 h 184"/>
                <a:gd name="T6" fmla="*/ 110 w 158"/>
                <a:gd name="T7" fmla="*/ 39 h 184"/>
                <a:gd name="T8" fmla="*/ 94 w 158"/>
                <a:gd name="T9" fmla="*/ 34 h 184"/>
                <a:gd name="T10" fmla="*/ 79 w 158"/>
                <a:gd name="T11" fmla="*/ 33 h 184"/>
                <a:gd name="T12" fmla="*/ 63 w 158"/>
                <a:gd name="T13" fmla="*/ 34 h 184"/>
                <a:gd name="T14" fmla="*/ 48 w 158"/>
                <a:gd name="T15" fmla="*/ 39 h 184"/>
                <a:gd name="T16" fmla="*/ 37 w 158"/>
                <a:gd name="T17" fmla="*/ 48 h 184"/>
                <a:gd name="T18" fmla="*/ 33 w 158"/>
                <a:gd name="T19" fmla="*/ 62 h 184"/>
                <a:gd name="T20" fmla="*/ 33 w 158"/>
                <a:gd name="T21" fmla="*/ 184 h 184"/>
                <a:gd name="T22" fmla="*/ 0 w 158"/>
                <a:gd name="T23" fmla="*/ 184 h 184"/>
                <a:gd name="T24" fmla="*/ 0 w 158"/>
                <a:gd name="T25" fmla="*/ 62 h 184"/>
                <a:gd name="T26" fmla="*/ 6 w 158"/>
                <a:gd name="T27" fmla="*/ 35 h 184"/>
                <a:gd name="T28" fmla="*/ 23 w 158"/>
                <a:gd name="T29" fmla="*/ 16 h 184"/>
                <a:gd name="T30" fmla="*/ 48 w 158"/>
                <a:gd name="T31" fmla="*/ 4 h 184"/>
                <a:gd name="T32" fmla="*/ 79 w 158"/>
                <a:gd name="T33" fmla="*/ 0 h 184"/>
                <a:gd name="T34" fmla="*/ 110 w 158"/>
                <a:gd name="T35" fmla="*/ 4 h 184"/>
                <a:gd name="T36" fmla="*/ 135 w 158"/>
                <a:gd name="T37" fmla="*/ 16 h 184"/>
                <a:gd name="T38" fmla="*/ 152 w 158"/>
                <a:gd name="T39" fmla="*/ 35 h 184"/>
                <a:gd name="T40" fmla="*/ 158 w 158"/>
                <a:gd name="T41" fmla="*/ 62 h 184"/>
                <a:gd name="T42" fmla="*/ 158 w 158"/>
                <a:gd name="T43" fmla="*/ 184 h 184"/>
                <a:gd name="T44" fmla="*/ 126 w 158"/>
                <a:gd name="T45" fmla="*/ 1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8" h="184">
                  <a:moveTo>
                    <a:pt x="126" y="184"/>
                  </a:moveTo>
                  <a:cubicBezTo>
                    <a:pt x="126" y="62"/>
                    <a:pt x="126" y="62"/>
                    <a:pt x="126" y="62"/>
                  </a:cubicBezTo>
                  <a:cubicBezTo>
                    <a:pt x="126" y="56"/>
                    <a:pt x="124" y="52"/>
                    <a:pt x="121" y="48"/>
                  </a:cubicBezTo>
                  <a:cubicBezTo>
                    <a:pt x="118" y="45"/>
                    <a:pt x="114" y="41"/>
                    <a:pt x="110" y="39"/>
                  </a:cubicBezTo>
                  <a:cubicBezTo>
                    <a:pt x="105" y="37"/>
                    <a:pt x="100" y="35"/>
                    <a:pt x="94" y="34"/>
                  </a:cubicBezTo>
                  <a:cubicBezTo>
                    <a:pt x="89" y="33"/>
                    <a:pt x="84" y="33"/>
                    <a:pt x="79" y="33"/>
                  </a:cubicBezTo>
                  <a:cubicBezTo>
                    <a:pt x="74" y="33"/>
                    <a:pt x="69" y="33"/>
                    <a:pt x="63" y="34"/>
                  </a:cubicBezTo>
                  <a:cubicBezTo>
                    <a:pt x="58" y="35"/>
                    <a:pt x="53" y="37"/>
                    <a:pt x="48" y="39"/>
                  </a:cubicBezTo>
                  <a:cubicBezTo>
                    <a:pt x="44" y="41"/>
                    <a:pt x="40" y="45"/>
                    <a:pt x="37" y="48"/>
                  </a:cubicBezTo>
                  <a:cubicBezTo>
                    <a:pt x="34" y="52"/>
                    <a:pt x="33" y="56"/>
                    <a:pt x="33" y="62"/>
                  </a:cubicBezTo>
                  <a:cubicBezTo>
                    <a:pt x="33" y="184"/>
                    <a:pt x="33" y="184"/>
                    <a:pt x="33" y="184"/>
                  </a:cubicBezTo>
                  <a:cubicBezTo>
                    <a:pt x="0" y="184"/>
                    <a:pt x="0" y="184"/>
                    <a:pt x="0" y="184"/>
                  </a:cubicBezTo>
                  <a:cubicBezTo>
                    <a:pt x="0" y="62"/>
                    <a:pt x="0" y="62"/>
                    <a:pt x="0" y="62"/>
                  </a:cubicBezTo>
                  <a:cubicBezTo>
                    <a:pt x="0" y="52"/>
                    <a:pt x="2" y="43"/>
                    <a:pt x="6" y="35"/>
                  </a:cubicBezTo>
                  <a:cubicBezTo>
                    <a:pt x="10" y="27"/>
                    <a:pt x="16" y="21"/>
                    <a:pt x="23" y="16"/>
                  </a:cubicBezTo>
                  <a:cubicBezTo>
                    <a:pt x="30" y="11"/>
                    <a:pt x="38" y="7"/>
                    <a:pt x="48" y="4"/>
                  </a:cubicBezTo>
                  <a:cubicBezTo>
                    <a:pt x="58" y="1"/>
                    <a:pt x="68" y="0"/>
                    <a:pt x="79" y="0"/>
                  </a:cubicBezTo>
                  <a:cubicBezTo>
                    <a:pt x="90" y="0"/>
                    <a:pt x="101" y="1"/>
                    <a:pt x="110" y="4"/>
                  </a:cubicBezTo>
                  <a:cubicBezTo>
                    <a:pt x="120" y="7"/>
                    <a:pt x="128" y="11"/>
                    <a:pt x="135" y="16"/>
                  </a:cubicBezTo>
                  <a:cubicBezTo>
                    <a:pt x="143" y="21"/>
                    <a:pt x="148" y="28"/>
                    <a:pt x="152" y="35"/>
                  </a:cubicBezTo>
                  <a:cubicBezTo>
                    <a:pt x="156" y="43"/>
                    <a:pt x="158" y="52"/>
                    <a:pt x="158" y="62"/>
                  </a:cubicBezTo>
                  <a:cubicBezTo>
                    <a:pt x="158" y="184"/>
                    <a:pt x="158" y="184"/>
                    <a:pt x="158" y="184"/>
                  </a:cubicBezTo>
                  <a:cubicBezTo>
                    <a:pt x="126" y="184"/>
                    <a:pt x="126" y="184"/>
                    <a:pt x="126" y="1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 name="Freeform 11">
              <a:extLst>
                <a:ext uri="{FF2B5EF4-FFF2-40B4-BE49-F238E27FC236}">
                  <a16:creationId xmlns:a16="http://schemas.microsoft.com/office/drawing/2014/main" id="{005FC275-ADCA-F03F-0F22-834D2E205880}"/>
                </a:ext>
              </a:extLst>
            </p:cNvPr>
            <p:cNvSpPr>
              <a:spLocks noEditPoints="1"/>
            </p:cNvSpPr>
            <p:nvPr userDrawn="1"/>
          </p:nvSpPr>
          <p:spPr bwMode="auto">
            <a:xfrm>
              <a:off x="5978" y="377"/>
              <a:ext cx="160" cy="189"/>
            </a:xfrm>
            <a:custGeom>
              <a:avLst/>
              <a:gdLst>
                <a:gd name="T0" fmla="*/ 126 w 159"/>
                <a:gd name="T1" fmla="*/ 77 h 186"/>
                <a:gd name="T2" fmla="*/ 126 w 159"/>
                <a:gd name="T3" fmla="*/ 62 h 186"/>
                <a:gd name="T4" fmla="*/ 122 w 159"/>
                <a:gd name="T5" fmla="*/ 49 h 186"/>
                <a:gd name="T6" fmla="*/ 112 w 159"/>
                <a:gd name="T7" fmla="*/ 40 h 186"/>
                <a:gd name="T8" fmla="*/ 97 w 159"/>
                <a:gd name="T9" fmla="*/ 35 h 186"/>
                <a:gd name="T10" fmla="*/ 79 w 159"/>
                <a:gd name="T11" fmla="*/ 33 h 186"/>
                <a:gd name="T12" fmla="*/ 61 w 159"/>
                <a:gd name="T13" fmla="*/ 35 h 186"/>
                <a:gd name="T14" fmla="*/ 46 w 159"/>
                <a:gd name="T15" fmla="*/ 40 h 186"/>
                <a:gd name="T16" fmla="*/ 37 w 159"/>
                <a:gd name="T17" fmla="*/ 50 h 186"/>
                <a:gd name="T18" fmla="*/ 33 w 159"/>
                <a:gd name="T19" fmla="*/ 62 h 186"/>
                <a:gd name="T20" fmla="*/ 33 w 159"/>
                <a:gd name="T21" fmla="*/ 77 h 186"/>
                <a:gd name="T22" fmla="*/ 126 w 159"/>
                <a:gd name="T23" fmla="*/ 77 h 186"/>
                <a:gd name="T24" fmla="*/ 79 w 159"/>
                <a:gd name="T25" fmla="*/ 186 h 186"/>
                <a:gd name="T26" fmla="*/ 49 w 159"/>
                <a:gd name="T27" fmla="*/ 182 h 186"/>
                <a:gd name="T28" fmla="*/ 24 w 159"/>
                <a:gd name="T29" fmla="*/ 171 h 186"/>
                <a:gd name="T30" fmla="*/ 7 w 159"/>
                <a:gd name="T31" fmla="*/ 151 h 186"/>
                <a:gd name="T32" fmla="*/ 0 w 159"/>
                <a:gd name="T33" fmla="*/ 123 h 186"/>
                <a:gd name="T34" fmla="*/ 0 w 159"/>
                <a:gd name="T35" fmla="*/ 62 h 186"/>
                <a:gd name="T36" fmla="*/ 7 w 159"/>
                <a:gd name="T37" fmla="*/ 35 h 186"/>
                <a:gd name="T38" fmla="*/ 23 w 159"/>
                <a:gd name="T39" fmla="*/ 16 h 186"/>
                <a:gd name="T40" fmla="*/ 48 w 159"/>
                <a:gd name="T41" fmla="*/ 4 h 186"/>
                <a:gd name="T42" fmla="*/ 79 w 159"/>
                <a:gd name="T43" fmla="*/ 0 h 186"/>
                <a:gd name="T44" fmla="*/ 110 w 159"/>
                <a:gd name="T45" fmla="*/ 4 h 186"/>
                <a:gd name="T46" fmla="*/ 135 w 159"/>
                <a:gd name="T47" fmla="*/ 15 h 186"/>
                <a:gd name="T48" fmla="*/ 152 w 159"/>
                <a:gd name="T49" fmla="*/ 34 h 186"/>
                <a:gd name="T50" fmla="*/ 159 w 159"/>
                <a:gd name="T51" fmla="*/ 62 h 186"/>
                <a:gd name="T52" fmla="*/ 159 w 159"/>
                <a:gd name="T53" fmla="*/ 109 h 186"/>
                <a:gd name="T54" fmla="*/ 33 w 159"/>
                <a:gd name="T55" fmla="*/ 109 h 186"/>
                <a:gd name="T56" fmla="*/ 33 w 159"/>
                <a:gd name="T57" fmla="*/ 124 h 186"/>
                <a:gd name="T58" fmla="*/ 37 w 159"/>
                <a:gd name="T59" fmla="*/ 136 h 186"/>
                <a:gd name="T60" fmla="*/ 47 w 159"/>
                <a:gd name="T61" fmla="*/ 146 h 186"/>
                <a:gd name="T62" fmla="*/ 61 w 159"/>
                <a:gd name="T63" fmla="*/ 152 h 186"/>
                <a:gd name="T64" fmla="*/ 79 w 159"/>
                <a:gd name="T65" fmla="*/ 154 h 186"/>
                <a:gd name="T66" fmla="*/ 105 w 159"/>
                <a:gd name="T67" fmla="*/ 149 h 186"/>
                <a:gd name="T68" fmla="*/ 125 w 159"/>
                <a:gd name="T69" fmla="*/ 136 h 186"/>
                <a:gd name="T70" fmla="*/ 125 w 159"/>
                <a:gd name="T71" fmla="*/ 135 h 186"/>
                <a:gd name="T72" fmla="*/ 155 w 159"/>
                <a:gd name="T73" fmla="*/ 152 h 186"/>
                <a:gd name="T74" fmla="*/ 154 w 159"/>
                <a:gd name="T75" fmla="*/ 153 h 186"/>
                <a:gd name="T76" fmla="*/ 123 w 159"/>
                <a:gd name="T77" fmla="*/ 178 h 186"/>
                <a:gd name="T78" fmla="*/ 79 w 159"/>
                <a:gd name="T79" fmla="*/ 186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59" h="186">
                  <a:moveTo>
                    <a:pt x="126" y="77"/>
                  </a:moveTo>
                  <a:cubicBezTo>
                    <a:pt x="126" y="62"/>
                    <a:pt x="126" y="62"/>
                    <a:pt x="126" y="62"/>
                  </a:cubicBezTo>
                  <a:cubicBezTo>
                    <a:pt x="126" y="57"/>
                    <a:pt x="125" y="53"/>
                    <a:pt x="122" y="49"/>
                  </a:cubicBezTo>
                  <a:cubicBezTo>
                    <a:pt x="120" y="46"/>
                    <a:pt x="116" y="42"/>
                    <a:pt x="112" y="40"/>
                  </a:cubicBezTo>
                  <a:cubicBezTo>
                    <a:pt x="108" y="38"/>
                    <a:pt x="103" y="36"/>
                    <a:pt x="97" y="35"/>
                  </a:cubicBezTo>
                  <a:cubicBezTo>
                    <a:pt x="92" y="33"/>
                    <a:pt x="86" y="33"/>
                    <a:pt x="79" y="33"/>
                  </a:cubicBezTo>
                  <a:cubicBezTo>
                    <a:pt x="73" y="33"/>
                    <a:pt x="67" y="33"/>
                    <a:pt x="61" y="35"/>
                  </a:cubicBezTo>
                  <a:cubicBezTo>
                    <a:pt x="56" y="36"/>
                    <a:pt x="51" y="38"/>
                    <a:pt x="46" y="40"/>
                  </a:cubicBezTo>
                  <a:cubicBezTo>
                    <a:pt x="42" y="43"/>
                    <a:pt x="39" y="46"/>
                    <a:pt x="37" y="50"/>
                  </a:cubicBezTo>
                  <a:cubicBezTo>
                    <a:pt x="34" y="53"/>
                    <a:pt x="33" y="57"/>
                    <a:pt x="33" y="62"/>
                  </a:cubicBezTo>
                  <a:cubicBezTo>
                    <a:pt x="33" y="77"/>
                    <a:pt x="33" y="77"/>
                    <a:pt x="33" y="77"/>
                  </a:cubicBezTo>
                  <a:cubicBezTo>
                    <a:pt x="126" y="77"/>
                    <a:pt x="126" y="77"/>
                    <a:pt x="126" y="77"/>
                  </a:cubicBezTo>
                  <a:close/>
                  <a:moveTo>
                    <a:pt x="79" y="186"/>
                  </a:moveTo>
                  <a:cubicBezTo>
                    <a:pt x="69" y="186"/>
                    <a:pt x="59" y="185"/>
                    <a:pt x="49" y="182"/>
                  </a:cubicBezTo>
                  <a:cubicBezTo>
                    <a:pt x="40" y="180"/>
                    <a:pt x="32" y="176"/>
                    <a:pt x="24" y="171"/>
                  </a:cubicBezTo>
                  <a:cubicBezTo>
                    <a:pt x="17" y="166"/>
                    <a:pt x="11" y="159"/>
                    <a:pt x="7" y="151"/>
                  </a:cubicBezTo>
                  <a:cubicBezTo>
                    <a:pt x="3" y="143"/>
                    <a:pt x="0" y="134"/>
                    <a:pt x="0" y="123"/>
                  </a:cubicBezTo>
                  <a:cubicBezTo>
                    <a:pt x="0" y="62"/>
                    <a:pt x="0" y="62"/>
                    <a:pt x="0" y="62"/>
                  </a:cubicBezTo>
                  <a:cubicBezTo>
                    <a:pt x="0" y="52"/>
                    <a:pt x="2" y="43"/>
                    <a:pt x="7" y="35"/>
                  </a:cubicBezTo>
                  <a:cubicBezTo>
                    <a:pt x="11" y="28"/>
                    <a:pt x="16" y="21"/>
                    <a:pt x="23" y="16"/>
                  </a:cubicBezTo>
                  <a:cubicBezTo>
                    <a:pt x="30" y="11"/>
                    <a:pt x="39" y="7"/>
                    <a:pt x="48" y="4"/>
                  </a:cubicBezTo>
                  <a:cubicBezTo>
                    <a:pt x="58" y="1"/>
                    <a:pt x="68" y="0"/>
                    <a:pt x="79" y="0"/>
                  </a:cubicBezTo>
                  <a:cubicBezTo>
                    <a:pt x="90" y="0"/>
                    <a:pt x="100" y="1"/>
                    <a:pt x="110" y="4"/>
                  </a:cubicBezTo>
                  <a:cubicBezTo>
                    <a:pt x="120" y="6"/>
                    <a:pt x="128" y="10"/>
                    <a:pt x="135" y="15"/>
                  </a:cubicBezTo>
                  <a:cubicBezTo>
                    <a:pt x="142" y="20"/>
                    <a:pt x="148" y="26"/>
                    <a:pt x="152" y="34"/>
                  </a:cubicBezTo>
                  <a:cubicBezTo>
                    <a:pt x="156" y="42"/>
                    <a:pt x="159" y="51"/>
                    <a:pt x="159" y="62"/>
                  </a:cubicBezTo>
                  <a:cubicBezTo>
                    <a:pt x="159" y="109"/>
                    <a:pt x="159" y="109"/>
                    <a:pt x="159" y="109"/>
                  </a:cubicBezTo>
                  <a:cubicBezTo>
                    <a:pt x="33" y="109"/>
                    <a:pt x="33" y="109"/>
                    <a:pt x="33" y="109"/>
                  </a:cubicBezTo>
                  <a:cubicBezTo>
                    <a:pt x="33" y="124"/>
                    <a:pt x="33" y="124"/>
                    <a:pt x="33" y="124"/>
                  </a:cubicBezTo>
                  <a:cubicBezTo>
                    <a:pt x="33" y="129"/>
                    <a:pt x="35" y="133"/>
                    <a:pt x="37" y="136"/>
                  </a:cubicBezTo>
                  <a:cubicBezTo>
                    <a:pt x="39" y="140"/>
                    <a:pt x="43" y="143"/>
                    <a:pt x="47" y="146"/>
                  </a:cubicBezTo>
                  <a:cubicBezTo>
                    <a:pt x="51" y="148"/>
                    <a:pt x="56" y="150"/>
                    <a:pt x="61" y="152"/>
                  </a:cubicBezTo>
                  <a:cubicBezTo>
                    <a:pt x="67" y="153"/>
                    <a:pt x="73" y="154"/>
                    <a:pt x="79" y="154"/>
                  </a:cubicBezTo>
                  <a:cubicBezTo>
                    <a:pt x="88" y="154"/>
                    <a:pt x="97" y="152"/>
                    <a:pt x="105" y="149"/>
                  </a:cubicBezTo>
                  <a:cubicBezTo>
                    <a:pt x="113" y="146"/>
                    <a:pt x="120" y="142"/>
                    <a:pt x="125" y="136"/>
                  </a:cubicBezTo>
                  <a:cubicBezTo>
                    <a:pt x="125" y="135"/>
                    <a:pt x="125" y="135"/>
                    <a:pt x="125" y="135"/>
                  </a:cubicBezTo>
                  <a:cubicBezTo>
                    <a:pt x="155" y="152"/>
                    <a:pt x="155" y="152"/>
                    <a:pt x="155" y="152"/>
                  </a:cubicBezTo>
                  <a:cubicBezTo>
                    <a:pt x="154" y="153"/>
                    <a:pt x="154" y="153"/>
                    <a:pt x="154" y="153"/>
                  </a:cubicBezTo>
                  <a:cubicBezTo>
                    <a:pt x="147" y="164"/>
                    <a:pt x="136" y="172"/>
                    <a:pt x="123" y="178"/>
                  </a:cubicBezTo>
                  <a:cubicBezTo>
                    <a:pt x="109" y="183"/>
                    <a:pt x="95" y="186"/>
                    <a:pt x="79" y="18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 name="Freeform 12">
              <a:extLst>
                <a:ext uri="{FF2B5EF4-FFF2-40B4-BE49-F238E27FC236}">
                  <a16:creationId xmlns:a16="http://schemas.microsoft.com/office/drawing/2014/main" id="{1772F182-D8D9-E645-F0EC-DE2B3A05B377}"/>
                </a:ext>
              </a:extLst>
            </p:cNvPr>
            <p:cNvSpPr>
              <a:spLocks/>
            </p:cNvSpPr>
            <p:nvPr userDrawn="1"/>
          </p:nvSpPr>
          <p:spPr bwMode="auto">
            <a:xfrm>
              <a:off x="5837" y="380"/>
              <a:ext cx="119" cy="184"/>
            </a:xfrm>
            <a:custGeom>
              <a:avLst/>
              <a:gdLst>
                <a:gd name="T0" fmla="*/ 0 w 118"/>
                <a:gd name="T1" fmla="*/ 130 h 181"/>
                <a:gd name="T2" fmla="*/ 0 w 118"/>
                <a:gd name="T3" fmla="*/ 61 h 181"/>
                <a:gd name="T4" fmla="*/ 21 w 118"/>
                <a:gd name="T5" fmla="*/ 16 h 181"/>
                <a:gd name="T6" fmla="*/ 76 w 118"/>
                <a:gd name="T7" fmla="*/ 0 h 181"/>
                <a:gd name="T8" fmla="*/ 118 w 118"/>
                <a:gd name="T9" fmla="*/ 0 h 181"/>
                <a:gd name="T10" fmla="*/ 118 w 118"/>
                <a:gd name="T11" fmla="*/ 32 h 181"/>
                <a:gd name="T12" fmla="*/ 76 w 118"/>
                <a:gd name="T13" fmla="*/ 32 h 181"/>
                <a:gd name="T14" fmla="*/ 45 w 118"/>
                <a:gd name="T15" fmla="*/ 40 h 181"/>
                <a:gd name="T16" fmla="*/ 33 w 118"/>
                <a:gd name="T17" fmla="*/ 61 h 181"/>
                <a:gd name="T18" fmla="*/ 33 w 118"/>
                <a:gd name="T19" fmla="*/ 181 h 181"/>
                <a:gd name="T20" fmla="*/ 0 w 118"/>
                <a:gd name="T21" fmla="*/ 13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8" h="181">
                  <a:moveTo>
                    <a:pt x="0" y="130"/>
                  </a:moveTo>
                  <a:cubicBezTo>
                    <a:pt x="0" y="61"/>
                    <a:pt x="0" y="61"/>
                    <a:pt x="0" y="61"/>
                  </a:cubicBezTo>
                  <a:cubicBezTo>
                    <a:pt x="0" y="42"/>
                    <a:pt x="7" y="27"/>
                    <a:pt x="21" y="16"/>
                  </a:cubicBezTo>
                  <a:cubicBezTo>
                    <a:pt x="34" y="5"/>
                    <a:pt x="53" y="0"/>
                    <a:pt x="76" y="0"/>
                  </a:cubicBezTo>
                  <a:cubicBezTo>
                    <a:pt x="118" y="0"/>
                    <a:pt x="118" y="0"/>
                    <a:pt x="118" y="0"/>
                  </a:cubicBezTo>
                  <a:cubicBezTo>
                    <a:pt x="118" y="32"/>
                    <a:pt x="118" y="32"/>
                    <a:pt x="118" y="32"/>
                  </a:cubicBezTo>
                  <a:cubicBezTo>
                    <a:pt x="76" y="32"/>
                    <a:pt x="76" y="32"/>
                    <a:pt x="76" y="32"/>
                  </a:cubicBezTo>
                  <a:cubicBezTo>
                    <a:pt x="63" y="32"/>
                    <a:pt x="53" y="35"/>
                    <a:pt x="45" y="40"/>
                  </a:cubicBezTo>
                  <a:cubicBezTo>
                    <a:pt x="37" y="45"/>
                    <a:pt x="33" y="52"/>
                    <a:pt x="33" y="61"/>
                  </a:cubicBezTo>
                  <a:cubicBezTo>
                    <a:pt x="33" y="181"/>
                    <a:pt x="33" y="181"/>
                    <a:pt x="33" y="181"/>
                  </a:cubicBezTo>
                  <a:cubicBezTo>
                    <a:pt x="33" y="181"/>
                    <a:pt x="0" y="168"/>
                    <a:pt x="0" y="13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Freeform 13">
              <a:extLst>
                <a:ext uri="{FF2B5EF4-FFF2-40B4-BE49-F238E27FC236}">
                  <a16:creationId xmlns:a16="http://schemas.microsoft.com/office/drawing/2014/main" id="{C17F8F17-A178-C8C0-DE7C-D04492FEAD13}"/>
                </a:ext>
              </a:extLst>
            </p:cNvPr>
            <p:cNvSpPr>
              <a:spLocks/>
            </p:cNvSpPr>
            <p:nvPr userDrawn="1"/>
          </p:nvSpPr>
          <p:spPr bwMode="auto">
            <a:xfrm>
              <a:off x="6829" y="380"/>
              <a:ext cx="33" cy="184"/>
            </a:xfrm>
            <a:custGeom>
              <a:avLst/>
              <a:gdLst>
                <a:gd name="T0" fmla="*/ 0 w 33"/>
                <a:gd name="T1" fmla="*/ 184 h 184"/>
                <a:gd name="T2" fmla="*/ 0 w 33"/>
                <a:gd name="T3" fmla="*/ 0 h 184"/>
                <a:gd name="T4" fmla="*/ 33 w 33"/>
                <a:gd name="T5" fmla="*/ 0 h 184"/>
                <a:gd name="T6" fmla="*/ 33 w 33"/>
                <a:gd name="T7" fmla="*/ 184 h 184"/>
                <a:gd name="T8" fmla="*/ 0 w 33"/>
                <a:gd name="T9" fmla="*/ 184 h 184"/>
                <a:gd name="T10" fmla="*/ 0 w 33"/>
                <a:gd name="T11" fmla="*/ 184 h 184"/>
              </a:gdLst>
              <a:ahLst/>
              <a:cxnLst>
                <a:cxn ang="0">
                  <a:pos x="T0" y="T1"/>
                </a:cxn>
                <a:cxn ang="0">
                  <a:pos x="T2" y="T3"/>
                </a:cxn>
                <a:cxn ang="0">
                  <a:pos x="T4" y="T5"/>
                </a:cxn>
                <a:cxn ang="0">
                  <a:pos x="T6" y="T7"/>
                </a:cxn>
                <a:cxn ang="0">
                  <a:pos x="T8" y="T9"/>
                </a:cxn>
                <a:cxn ang="0">
                  <a:pos x="T10" y="T11"/>
                </a:cxn>
              </a:cxnLst>
              <a:rect l="0" t="0" r="r" b="b"/>
              <a:pathLst>
                <a:path w="33" h="184">
                  <a:moveTo>
                    <a:pt x="0" y="184"/>
                  </a:moveTo>
                  <a:lnTo>
                    <a:pt x="0" y="0"/>
                  </a:lnTo>
                  <a:lnTo>
                    <a:pt x="33" y="0"/>
                  </a:lnTo>
                  <a:lnTo>
                    <a:pt x="33" y="184"/>
                  </a:lnTo>
                  <a:lnTo>
                    <a:pt x="0" y="184"/>
                  </a:lnTo>
                  <a:lnTo>
                    <a:pt x="0" y="18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 name="Freeform 14">
              <a:extLst>
                <a:ext uri="{FF2B5EF4-FFF2-40B4-BE49-F238E27FC236}">
                  <a16:creationId xmlns:a16="http://schemas.microsoft.com/office/drawing/2014/main" id="{64E1773D-9F5D-DA17-CB01-B0ECDA738E8D}"/>
                </a:ext>
              </a:extLst>
            </p:cNvPr>
            <p:cNvSpPr>
              <a:spLocks noEditPoints="1"/>
            </p:cNvSpPr>
            <p:nvPr userDrawn="1"/>
          </p:nvSpPr>
          <p:spPr bwMode="auto">
            <a:xfrm>
              <a:off x="6911" y="377"/>
              <a:ext cx="159" cy="189"/>
            </a:xfrm>
            <a:custGeom>
              <a:avLst/>
              <a:gdLst>
                <a:gd name="T0" fmla="*/ 79 w 158"/>
                <a:gd name="T1" fmla="*/ 33 h 186"/>
                <a:gd name="T2" fmla="*/ 61 w 158"/>
                <a:gd name="T3" fmla="*/ 35 h 186"/>
                <a:gd name="T4" fmla="*/ 46 w 158"/>
                <a:gd name="T5" fmla="*/ 40 h 186"/>
                <a:gd name="T6" fmla="*/ 36 w 158"/>
                <a:gd name="T7" fmla="*/ 50 h 186"/>
                <a:gd name="T8" fmla="*/ 33 w 158"/>
                <a:gd name="T9" fmla="*/ 62 h 186"/>
                <a:gd name="T10" fmla="*/ 33 w 158"/>
                <a:gd name="T11" fmla="*/ 123 h 186"/>
                <a:gd name="T12" fmla="*/ 36 w 158"/>
                <a:gd name="T13" fmla="*/ 136 h 186"/>
                <a:gd name="T14" fmla="*/ 46 w 158"/>
                <a:gd name="T15" fmla="*/ 146 h 186"/>
                <a:gd name="T16" fmla="*/ 61 w 158"/>
                <a:gd name="T17" fmla="*/ 151 h 186"/>
                <a:gd name="T18" fmla="*/ 79 w 158"/>
                <a:gd name="T19" fmla="*/ 154 h 186"/>
                <a:gd name="T20" fmla="*/ 96 w 158"/>
                <a:gd name="T21" fmla="*/ 151 h 186"/>
                <a:gd name="T22" fmla="*/ 111 w 158"/>
                <a:gd name="T23" fmla="*/ 146 h 186"/>
                <a:gd name="T24" fmla="*/ 121 w 158"/>
                <a:gd name="T25" fmla="*/ 136 h 186"/>
                <a:gd name="T26" fmla="*/ 125 w 158"/>
                <a:gd name="T27" fmla="*/ 123 h 186"/>
                <a:gd name="T28" fmla="*/ 125 w 158"/>
                <a:gd name="T29" fmla="*/ 62 h 186"/>
                <a:gd name="T30" fmla="*/ 121 w 158"/>
                <a:gd name="T31" fmla="*/ 50 h 186"/>
                <a:gd name="T32" fmla="*/ 111 w 158"/>
                <a:gd name="T33" fmla="*/ 40 h 186"/>
                <a:gd name="T34" fmla="*/ 96 w 158"/>
                <a:gd name="T35" fmla="*/ 35 h 186"/>
                <a:gd name="T36" fmla="*/ 79 w 158"/>
                <a:gd name="T37" fmla="*/ 33 h 186"/>
                <a:gd name="T38" fmla="*/ 79 w 158"/>
                <a:gd name="T39" fmla="*/ 186 h 186"/>
                <a:gd name="T40" fmla="*/ 48 w 158"/>
                <a:gd name="T41" fmla="*/ 182 h 186"/>
                <a:gd name="T42" fmla="*/ 23 w 158"/>
                <a:gd name="T43" fmla="*/ 170 h 186"/>
                <a:gd name="T44" fmla="*/ 6 w 158"/>
                <a:gd name="T45" fmla="*/ 150 h 186"/>
                <a:gd name="T46" fmla="*/ 0 w 158"/>
                <a:gd name="T47" fmla="*/ 123 h 186"/>
                <a:gd name="T48" fmla="*/ 0 w 158"/>
                <a:gd name="T49" fmla="*/ 62 h 186"/>
                <a:gd name="T50" fmla="*/ 6 w 158"/>
                <a:gd name="T51" fmla="*/ 35 h 186"/>
                <a:gd name="T52" fmla="*/ 23 w 158"/>
                <a:gd name="T53" fmla="*/ 16 h 186"/>
                <a:gd name="T54" fmla="*/ 48 w 158"/>
                <a:gd name="T55" fmla="*/ 4 h 186"/>
                <a:gd name="T56" fmla="*/ 79 w 158"/>
                <a:gd name="T57" fmla="*/ 0 h 186"/>
                <a:gd name="T58" fmla="*/ 110 w 158"/>
                <a:gd name="T59" fmla="*/ 4 h 186"/>
                <a:gd name="T60" fmla="*/ 135 w 158"/>
                <a:gd name="T61" fmla="*/ 16 h 186"/>
                <a:gd name="T62" fmla="*/ 152 w 158"/>
                <a:gd name="T63" fmla="*/ 35 h 186"/>
                <a:gd name="T64" fmla="*/ 158 w 158"/>
                <a:gd name="T65" fmla="*/ 62 h 186"/>
                <a:gd name="T66" fmla="*/ 158 w 158"/>
                <a:gd name="T67" fmla="*/ 123 h 186"/>
                <a:gd name="T68" fmla="*/ 152 w 158"/>
                <a:gd name="T69" fmla="*/ 150 h 186"/>
                <a:gd name="T70" fmla="*/ 135 w 158"/>
                <a:gd name="T71" fmla="*/ 170 h 186"/>
                <a:gd name="T72" fmla="*/ 110 w 158"/>
                <a:gd name="T73" fmla="*/ 182 h 186"/>
                <a:gd name="T74" fmla="*/ 79 w 158"/>
                <a:gd name="T75" fmla="*/ 186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8" h="186">
                  <a:moveTo>
                    <a:pt x="79" y="33"/>
                  </a:moveTo>
                  <a:cubicBezTo>
                    <a:pt x="73" y="33"/>
                    <a:pt x="67" y="33"/>
                    <a:pt x="61" y="35"/>
                  </a:cubicBezTo>
                  <a:cubicBezTo>
                    <a:pt x="56" y="36"/>
                    <a:pt x="51" y="38"/>
                    <a:pt x="46" y="40"/>
                  </a:cubicBezTo>
                  <a:cubicBezTo>
                    <a:pt x="42" y="43"/>
                    <a:pt x="39" y="46"/>
                    <a:pt x="36" y="50"/>
                  </a:cubicBezTo>
                  <a:cubicBezTo>
                    <a:pt x="34" y="53"/>
                    <a:pt x="33" y="57"/>
                    <a:pt x="33" y="62"/>
                  </a:cubicBezTo>
                  <a:cubicBezTo>
                    <a:pt x="33" y="123"/>
                    <a:pt x="33" y="123"/>
                    <a:pt x="33" y="123"/>
                  </a:cubicBezTo>
                  <a:cubicBezTo>
                    <a:pt x="33" y="128"/>
                    <a:pt x="34" y="133"/>
                    <a:pt x="36" y="136"/>
                  </a:cubicBezTo>
                  <a:cubicBezTo>
                    <a:pt x="39" y="140"/>
                    <a:pt x="42" y="143"/>
                    <a:pt x="46" y="146"/>
                  </a:cubicBezTo>
                  <a:cubicBezTo>
                    <a:pt x="51" y="148"/>
                    <a:pt x="56" y="150"/>
                    <a:pt x="61" y="151"/>
                  </a:cubicBezTo>
                  <a:cubicBezTo>
                    <a:pt x="67" y="153"/>
                    <a:pt x="73" y="154"/>
                    <a:pt x="79" y="154"/>
                  </a:cubicBezTo>
                  <a:cubicBezTo>
                    <a:pt x="85" y="154"/>
                    <a:pt x="91" y="153"/>
                    <a:pt x="96" y="151"/>
                  </a:cubicBezTo>
                  <a:cubicBezTo>
                    <a:pt x="102" y="150"/>
                    <a:pt x="107" y="148"/>
                    <a:pt x="111" y="146"/>
                  </a:cubicBezTo>
                  <a:cubicBezTo>
                    <a:pt x="115" y="143"/>
                    <a:pt x="119" y="140"/>
                    <a:pt x="121" y="136"/>
                  </a:cubicBezTo>
                  <a:cubicBezTo>
                    <a:pt x="124" y="133"/>
                    <a:pt x="125" y="128"/>
                    <a:pt x="125" y="123"/>
                  </a:cubicBezTo>
                  <a:cubicBezTo>
                    <a:pt x="125" y="62"/>
                    <a:pt x="125" y="62"/>
                    <a:pt x="125" y="62"/>
                  </a:cubicBezTo>
                  <a:cubicBezTo>
                    <a:pt x="125" y="57"/>
                    <a:pt x="124" y="53"/>
                    <a:pt x="121" y="50"/>
                  </a:cubicBezTo>
                  <a:cubicBezTo>
                    <a:pt x="119" y="46"/>
                    <a:pt x="115" y="43"/>
                    <a:pt x="111" y="40"/>
                  </a:cubicBezTo>
                  <a:cubicBezTo>
                    <a:pt x="107" y="38"/>
                    <a:pt x="102" y="36"/>
                    <a:pt x="96" y="35"/>
                  </a:cubicBezTo>
                  <a:cubicBezTo>
                    <a:pt x="91" y="33"/>
                    <a:pt x="85" y="33"/>
                    <a:pt x="79" y="33"/>
                  </a:cubicBezTo>
                  <a:close/>
                  <a:moveTo>
                    <a:pt x="79" y="186"/>
                  </a:moveTo>
                  <a:cubicBezTo>
                    <a:pt x="68" y="186"/>
                    <a:pt x="57" y="185"/>
                    <a:pt x="48" y="182"/>
                  </a:cubicBezTo>
                  <a:cubicBezTo>
                    <a:pt x="38" y="179"/>
                    <a:pt x="30" y="175"/>
                    <a:pt x="23" y="170"/>
                  </a:cubicBezTo>
                  <a:cubicBezTo>
                    <a:pt x="16" y="165"/>
                    <a:pt x="10" y="158"/>
                    <a:pt x="6" y="150"/>
                  </a:cubicBezTo>
                  <a:cubicBezTo>
                    <a:pt x="2" y="142"/>
                    <a:pt x="0" y="133"/>
                    <a:pt x="0" y="123"/>
                  </a:cubicBezTo>
                  <a:cubicBezTo>
                    <a:pt x="0" y="62"/>
                    <a:pt x="0" y="62"/>
                    <a:pt x="0" y="62"/>
                  </a:cubicBezTo>
                  <a:cubicBezTo>
                    <a:pt x="0" y="52"/>
                    <a:pt x="2" y="43"/>
                    <a:pt x="6" y="35"/>
                  </a:cubicBezTo>
                  <a:cubicBezTo>
                    <a:pt x="10" y="28"/>
                    <a:pt x="16" y="21"/>
                    <a:pt x="23" y="16"/>
                  </a:cubicBezTo>
                  <a:cubicBezTo>
                    <a:pt x="30" y="11"/>
                    <a:pt x="38" y="7"/>
                    <a:pt x="48" y="4"/>
                  </a:cubicBezTo>
                  <a:cubicBezTo>
                    <a:pt x="57" y="1"/>
                    <a:pt x="68" y="0"/>
                    <a:pt x="79" y="0"/>
                  </a:cubicBezTo>
                  <a:cubicBezTo>
                    <a:pt x="90" y="0"/>
                    <a:pt x="100" y="1"/>
                    <a:pt x="110" y="4"/>
                  </a:cubicBezTo>
                  <a:cubicBezTo>
                    <a:pt x="120" y="7"/>
                    <a:pt x="128" y="11"/>
                    <a:pt x="135" y="16"/>
                  </a:cubicBezTo>
                  <a:cubicBezTo>
                    <a:pt x="142" y="21"/>
                    <a:pt x="148" y="28"/>
                    <a:pt x="152" y="35"/>
                  </a:cubicBezTo>
                  <a:cubicBezTo>
                    <a:pt x="156" y="43"/>
                    <a:pt x="158" y="52"/>
                    <a:pt x="158" y="62"/>
                  </a:cubicBezTo>
                  <a:cubicBezTo>
                    <a:pt x="158" y="123"/>
                    <a:pt x="158" y="123"/>
                    <a:pt x="158" y="123"/>
                  </a:cubicBezTo>
                  <a:cubicBezTo>
                    <a:pt x="158" y="133"/>
                    <a:pt x="156" y="142"/>
                    <a:pt x="152" y="150"/>
                  </a:cubicBezTo>
                  <a:cubicBezTo>
                    <a:pt x="148" y="158"/>
                    <a:pt x="142" y="165"/>
                    <a:pt x="135" y="170"/>
                  </a:cubicBezTo>
                  <a:cubicBezTo>
                    <a:pt x="128" y="175"/>
                    <a:pt x="120" y="179"/>
                    <a:pt x="110" y="182"/>
                  </a:cubicBezTo>
                  <a:cubicBezTo>
                    <a:pt x="100" y="185"/>
                    <a:pt x="90" y="186"/>
                    <a:pt x="79" y="18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 name="Freeform 15">
              <a:extLst>
                <a:ext uri="{FF2B5EF4-FFF2-40B4-BE49-F238E27FC236}">
                  <a16:creationId xmlns:a16="http://schemas.microsoft.com/office/drawing/2014/main" id="{DDC62FE8-25D3-3762-486E-FF4C0301DC09}"/>
                </a:ext>
              </a:extLst>
            </p:cNvPr>
            <p:cNvSpPr>
              <a:spLocks/>
            </p:cNvSpPr>
            <p:nvPr userDrawn="1"/>
          </p:nvSpPr>
          <p:spPr bwMode="auto">
            <a:xfrm>
              <a:off x="7117" y="377"/>
              <a:ext cx="159" cy="187"/>
            </a:xfrm>
            <a:custGeom>
              <a:avLst/>
              <a:gdLst>
                <a:gd name="T0" fmla="*/ 126 w 158"/>
                <a:gd name="T1" fmla="*/ 62 h 184"/>
                <a:gd name="T2" fmla="*/ 121 w 158"/>
                <a:gd name="T3" fmla="*/ 48 h 184"/>
                <a:gd name="T4" fmla="*/ 110 w 158"/>
                <a:gd name="T5" fmla="*/ 39 h 184"/>
                <a:gd name="T6" fmla="*/ 94 w 158"/>
                <a:gd name="T7" fmla="*/ 34 h 184"/>
                <a:gd name="T8" fmla="*/ 79 w 158"/>
                <a:gd name="T9" fmla="*/ 33 h 184"/>
                <a:gd name="T10" fmla="*/ 63 w 158"/>
                <a:gd name="T11" fmla="*/ 34 h 184"/>
                <a:gd name="T12" fmla="*/ 48 w 158"/>
                <a:gd name="T13" fmla="*/ 39 h 184"/>
                <a:gd name="T14" fmla="*/ 37 w 158"/>
                <a:gd name="T15" fmla="*/ 48 h 184"/>
                <a:gd name="T16" fmla="*/ 33 w 158"/>
                <a:gd name="T17" fmla="*/ 62 h 184"/>
                <a:gd name="T18" fmla="*/ 33 w 158"/>
                <a:gd name="T19" fmla="*/ 184 h 184"/>
                <a:gd name="T20" fmla="*/ 0 w 158"/>
                <a:gd name="T21" fmla="*/ 184 h 184"/>
                <a:gd name="T22" fmla="*/ 0 w 158"/>
                <a:gd name="T23" fmla="*/ 62 h 184"/>
                <a:gd name="T24" fmla="*/ 6 w 158"/>
                <a:gd name="T25" fmla="*/ 35 h 184"/>
                <a:gd name="T26" fmla="*/ 23 w 158"/>
                <a:gd name="T27" fmla="*/ 16 h 184"/>
                <a:gd name="T28" fmla="*/ 48 w 158"/>
                <a:gd name="T29" fmla="*/ 4 h 184"/>
                <a:gd name="T30" fmla="*/ 79 w 158"/>
                <a:gd name="T31" fmla="*/ 0 h 184"/>
                <a:gd name="T32" fmla="*/ 110 w 158"/>
                <a:gd name="T33" fmla="*/ 4 h 184"/>
                <a:gd name="T34" fmla="*/ 135 w 158"/>
                <a:gd name="T35" fmla="*/ 16 h 184"/>
                <a:gd name="T36" fmla="*/ 152 w 158"/>
                <a:gd name="T37" fmla="*/ 35 h 184"/>
                <a:gd name="T38" fmla="*/ 158 w 158"/>
                <a:gd name="T39" fmla="*/ 62 h 184"/>
                <a:gd name="T40" fmla="*/ 158 w 158"/>
                <a:gd name="T41" fmla="*/ 135 h 184"/>
                <a:gd name="T42" fmla="*/ 126 w 158"/>
                <a:gd name="T43" fmla="*/ 184 h 184"/>
                <a:gd name="T44" fmla="*/ 126 w 158"/>
                <a:gd name="T45" fmla="*/ 62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8" h="184">
                  <a:moveTo>
                    <a:pt x="126" y="62"/>
                  </a:moveTo>
                  <a:cubicBezTo>
                    <a:pt x="126" y="56"/>
                    <a:pt x="124" y="52"/>
                    <a:pt x="121" y="48"/>
                  </a:cubicBezTo>
                  <a:cubicBezTo>
                    <a:pt x="118" y="45"/>
                    <a:pt x="114" y="42"/>
                    <a:pt x="110" y="39"/>
                  </a:cubicBezTo>
                  <a:cubicBezTo>
                    <a:pt x="105" y="37"/>
                    <a:pt x="100" y="35"/>
                    <a:pt x="94" y="34"/>
                  </a:cubicBezTo>
                  <a:cubicBezTo>
                    <a:pt x="89" y="33"/>
                    <a:pt x="84" y="33"/>
                    <a:pt x="79" y="33"/>
                  </a:cubicBezTo>
                  <a:cubicBezTo>
                    <a:pt x="74" y="33"/>
                    <a:pt x="69" y="33"/>
                    <a:pt x="63" y="34"/>
                  </a:cubicBezTo>
                  <a:cubicBezTo>
                    <a:pt x="58" y="35"/>
                    <a:pt x="53" y="37"/>
                    <a:pt x="48" y="39"/>
                  </a:cubicBezTo>
                  <a:cubicBezTo>
                    <a:pt x="44" y="42"/>
                    <a:pt x="40" y="45"/>
                    <a:pt x="37" y="48"/>
                  </a:cubicBezTo>
                  <a:cubicBezTo>
                    <a:pt x="34" y="52"/>
                    <a:pt x="33" y="56"/>
                    <a:pt x="33" y="62"/>
                  </a:cubicBezTo>
                  <a:cubicBezTo>
                    <a:pt x="33" y="184"/>
                    <a:pt x="33" y="184"/>
                    <a:pt x="33" y="184"/>
                  </a:cubicBezTo>
                  <a:cubicBezTo>
                    <a:pt x="0" y="184"/>
                    <a:pt x="0" y="184"/>
                    <a:pt x="0" y="184"/>
                  </a:cubicBezTo>
                  <a:cubicBezTo>
                    <a:pt x="0" y="62"/>
                    <a:pt x="0" y="62"/>
                    <a:pt x="0" y="62"/>
                  </a:cubicBezTo>
                  <a:cubicBezTo>
                    <a:pt x="0" y="52"/>
                    <a:pt x="2" y="43"/>
                    <a:pt x="6" y="35"/>
                  </a:cubicBezTo>
                  <a:cubicBezTo>
                    <a:pt x="10" y="28"/>
                    <a:pt x="16" y="21"/>
                    <a:pt x="23" y="16"/>
                  </a:cubicBezTo>
                  <a:cubicBezTo>
                    <a:pt x="30" y="11"/>
                    <a:pt x="38" y="7"/>
                    <a:pt x="48" y="4"/>
                  </a:cubicBezTo>
                  <a:cubicBezTo>
                    <a:pt x="58" y="1"/>
                    <a:pt x="68" y="0"/>
                    <a:pt x="79" y="0"/>
                  </a:cubicBezTo>
                  <a:cubicBezTo>
                    <a:pt x="90" y="0"/>
                    <a:pt x="101" y="1"/>
                    <a:pt x="110" y="4"/>
                  </a:cubicBezTo>
                  <a:cubicBezTo>
                    <a:pt x="120" y="7"/>
                    <a:pt x="128" y="11"/>
                    <a:pt x="135" y="16"/>
                  </a:cubicBezTo>
                  <a:cubicBezTo>
                    <a:pt x="143" y="21"/>
                    <a:pt x="148" y="28"/>
                    <a:pt x="152" y="35"/>
                  </a:cubicBezTo>
                  <a:cubicBezTo>
                    <a:pt x="156" y="43"/>
                    <a:pt x="158" y="52"/>
                    <a:pt x="158" y="62"/>
                  </a:cubicBezTo>
                  <a:cubicBezTo>
                    <a:pt x="158" y="135"/>
                    <a:pt x="158" y="135"/>
                    <a:pt x="158" y="135"/>
                  </a:cubicBezTo>
                  <a:cubicBezTo>
                    <a:pt x="158" y="170"/>
                    <a:pt x="126" y="184"/>
                    <a:pt x="126" y="184"/>
                  </a:cubicBezTo>
                  <a:cubicBezTo>
                    <a:pt x="126" y="62"/>
                    <a:pt x="126" y="62"/>
                    <a:pt x="126" y="6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 name="Freeform 16">
              <a:extLst>
                <a:ext uri="{FF2B5EF4-FFF2-40B4-BE49-F238E27FC236}">
                  <a16:creationId xmlns:a16="http://schemas.microsoft.com/office/drawing/2014/main" id="{EA9EBC72-3184-0C2E-1151-EE61A945CFBB}"/>
                </a:ext>
              </a:extLst>
            </p:cNvPr>
            <p:cNvSpPr>
              <a:spLocks noEditPoints="1"/>
            </p:cNvSpPr>
            <p:nvPr userDrawn="1"/>
          </p:nvSpPr>
          <p:spPr bwMode="auto">
            <a:xfrm>
              <a:off x="7301" y="368"/>
              <a:ext cx="46" cy="48"/>
            </a:xfrm>
            <a:custGeom>
              <a:avLst/>
              <a:gdLst>
                <a:gd name="T0" fmla="*/ 24 w 46"/>
                <a:gd name="T1" fmla="*/ 15 h 47"/>
                <a:gd name="T2" fmla="*/ 20 w 46"/>
                <a:gd name="T3" fmla="*/ 15 h 47"/>
                <a:gd name="T4" fmla="*/ 20 w 46"/>
                <a:gd name="T5" fmla="*/ 23 h 47"/>
                <a:gd name="T6" fmla="*/ 24 w 46"/>
                <a:gd name="T7" fmla="*/ 23 h 47"/>
                <a:gd name="T8" fmla="*/ 28 w 46"/>
                <a:gd name="T9" fmla="*/ 19 h 47"/>
                <a:gd name="T10" fmla="*/ 24 w 46"/>
                <a:gd name="T11" fmla="*/ 15 h 47"/>
                <a:gd name="T12" fmla="*/ 28 w 46"/>
                <a:gd name="T13" fmla="*/ 36 h 47"/>
                <a:gd name="T14" fmla="*/ 23 w 46"/>
                <a:gd name="T15" fmla="*/ 26 h 47"/>
                <a:gd name="T16" fmla="*/ 20 w 46"/>
                <a:gd name="T17" fmla="*/ 26 h 47"/>
                <a:gd name="T18" fmla="*/ 20 w 46"/>
                <a:gd name="T19" fmla="*/ 36 h 47"/>
                <a:gd name="T20" fmla="*/ 15 w 46"/>
                <a:gd name="T21" fmla="*/ 36 h 47"/>
                <a:gd name="T22" fmla="*/ 15 w 46"/>
                <a:gd name="T23" fmla="*/ 11 h 47"/>
                <a:gd name="T24" fmla="*/ 24 w 46"/>
                <a:gd name="T25" fmla="*/ 11 h 47"/>
                <a:gd name="T26" fmla="*/ 33 w 46"/>
                <a:gd name="T27" fmla="*/ 19 h 47"/>
                <a:gd name="T28" fmla="*/ 28 w 46"/>
                <a:gd name="T29" fmla="*/ 26 h 47"/>
                <a:gd name="T30" fmla="*/ 33 w 46"/>
                <a:gd name="T31" fmla="*/ 36 h 47"/>
                <a:gd name="T32" fmla="*/ 28 w 46"/>
                <a:gd name="T33" fmla="*/ 36 h 47"/>
                <a:gd name="T34" fmla="*/ 23 w 46"/>
                <a:gd name="T35" fmla="*/ 5 h 47"/>
                <a:gd name="T36" fmla="*/ 4 w 46"/>
                <a:gd name="T37" fmla="*/ 24 h 47"/>
                <a:gd name="T38" fmla="*/ 23 w 46"/>
                <a:gd name="T39" fmla="*/ 43 h 47"/>
                <a:gd name="T40" fmla="*/ 42 w 46"/>
                <a:gd name="T41" fmla="*/ 24 h 47"/>
                <a:gd name="T42" fmla="*/ 23 w 46"/>
                <a:gd name="T43" fmla="*/ 5 h 47"/>
                <a:gd name="T44" fmla="*/ 23 w 46"/>
                <a:gd name="T45" fmla="*/ 47 h 47"/>
                <a:gd name="T46" fmla="*/ 0 w 46"/>
                <a:gd name="T47" fmla="*/ 24 h 47"/>
                <a:gd name="T48" fmla="*/ 23 w 46"/>
                <a:gd name="T49" fmla="*/ 0 h 47"/>
                <a:gd name="T50" fmla="*/ 46 w 46"/>
                <a:gd name="T51" fmla="*/ 24 h 47"/>
                <a:gd name="T52" fmla="*/ 23 w 46"/>
                <a:gd name="T53"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6" h="47">
                  <a:moveTo>
                    <a:pt x="24" y="15"/>
                  </a:moveTo>
                  <a:cubicBezTo>
                    <a:pt x="20" y="15"/>
                    <a:pt x="20" y="15"/>
                    <a:pt x="20" y="15"/>
                  </a:cubicBezTo>
                  <a:cubicBezTo>
                    <a:pt x="20" y="23"/>
                    <a:pt x="20" y="23"/>
                    <a:pt x="20" y="23"/>
                  </a:cubicBezTo>
                  <a:cubicBezTo>
                    <a:pt x="24" y="23"/>
                    <a:pt x="24" y="23"/>
                    <a:pt x="24" y="23"/>
                  </a:cubicBezTo>
                  <a:cubicBezTo>
                    <a:pt x="26" y="23"/>
                    <a:pt x="28" y="21"/>
                    <a:pt x="28" y="19"/>
                  </a:cubicBezTo>
                  <a:cubicBezTo>
                    <a:pt x="28" y="17"/>
                    <a:pt x="26" y="15"/>
                    <a:pt x="24" y="15"/>
                  </a:cubicBezTo>
                  <a:close/>
                  <a:moveTo>
                    <a:pt x="28" y="36"/>
                  </a:moveTo>
                  <a:cubicBezTo>
                    <a:pt x="23" y="26"/>
                    <a:pt x="23" y="26"/>
                    <a:pt x="23" y="26"/>
                  </a:cubicBezTo>
                  <a:cubicBezTo>
                    <a:pt x="20" y="26"/>
                    <a:pt x="20" y="26"/>
                    <a:pt x="20" y="26"/>
                  </a:cubicBezTo>
                  <a:cubicBezTo>
                    <a:pt x="20" y="36"/>
                    <a:pt x="20" y="36"/>
                    <a:pt x="20" y="36"/>
                  </a:cubicBezTo>
                  <a:cubicBezTo>
                    <a:pt x="15" y="36"/>
                    <a:pt x="15" y="36"/>
                    <a:pt x="15" y="36"/>
                  </a:cubicBezTo>
                  <a:cubicBezTo>
                    <a:pt x="15" y="11"/>
                    <a:pt x="15" y="11"/>
                    <a:pt x="15" y="11"/>
                  </a:cubicBezTo>
                  <a:cubicBezTo>
                    <a:pt x="24" y="11"/>
                    <a:pt x="24" y="11"/>
                    <a:pt x="24" y="11"/>
                  </a:cubicBezTo>
                  <a:cubicBezTo>
                    <a:pt x="29" y="11"/>
                    <a:pt x="33" y="15"/>
                    <a:pt x="33" y="19"/>
                  </a:cubicBezTo>
                  <a:cubicBezTo>
                    <a:pt x="33" y="22"/>
                    <a:pt x="30" y="25"/>
                    <a:pt x="28" y="26"/>
                  </a:cubicBezTo>
                  <a:cubicBezTo>
                    <a:pt x="33" y="36"/>
                    <a:pt x="33" y="36"/>
                    <a:pt x="33" y="36"/>
                  </a:cubicBezTo>
                  <a:cubicBezTo>
                    <a:pt x="28" y="36"/>
                    <a:pt x="28" y="36"/>
                    <a:pt x="28" y="36"/>
                  </a:cubicBezTo>
                  <a:close/>
                  <a:moveTo>
                    <a:pt x="23" y="5"/>
                  </a:moveTo>
                  <a:cubicBezTo>
                    <a:pt x="13" y="5"/>
                    <a:pt x="4" y="13"/>
                    <a:pt x="4" y="24"/>
                  </a:cubicBezTo>
                  <a:cubicBezTo>
                    <a:pt x="4" y="34"/>
                    <a:pt x="13" y="43"/>
                    <a:pt x="23" y="43"/>
                  </a:cubicBezTo>
                  <a:cubicBezTo>
                    <a:pt x="33" y="43"/>
                    <a:pt x="42" y="34"/>
                    <a:pt x="42" y="24"/>
                  </a:cubicBezTo>
                  <a:cubicBezTo>
                    <a:pt x="42" y="13"/>
                    <a:pt x="33" y="5"/>
                    <a:pt x="23" y="5"/>
                  </a:cubicBezTo>
                  <a:close/>
                  <a:moveTo>
                    <a:pt x="23" y="47"/>
                  </a:moveTo>
                  <a:cubicBezTo>
                    <a:pt x="10" y="47"/>
                    <a:pt x="0" y="37"/>
                    <a:pt x="0" y="24"/>
                  </a:cubicBezTo>
                  <a:cubicBezTo>
                    <a:pt x="0" y="11"/>
                    <a:pt x="10" y="0"/>
                    <a:pt x="23" y="0"/>
                  </a:cubicBezTo>
                  <a:cubicBezTo>
                    <a:pt x="36" y="0"/>
                    <a:pt x="46" y="11"/>
                    <a:pt x="46" y="24"/>
                  </a:cubicBezTo>
                  <a:cubicBezTo>
                    <a:pt x="46" y="37"/>
                    <a:pt x="36" y="47"/>
                    <a:pt x="23" y="4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25" name="Picture 24" descr="Logo, company name&#10;&#10;Description automatically generated">
            <a:extLst>
              <a:ext uri="{FF2B5EF4-FFF2-40B4-BE49-F238E27FC236}">
                <a16:creationId xmlns:a16="http://schemas.microsoft.com/office/drawing/2014/main" id="{C8A801D5-93FF-466C-878D-4A8B17E7ED40}"/>
              </a:ext>
            </a:extLst>
          </p:cNvPr>
          <p:cNvPicPr>
            <a:picLocks noChangeAspect="1"/>
          </p:cNvPicPr>
          <p:nvPr userDrawn="1"/>
        </p:nvPicPr>
        <p:blipFill>
          <a:blip r:embed="rId4">
            <a:extLst>
              <a:ext uri="{BEBA8EAE-BF5A-486C-A8C5-ECC9F3942E4B}">
                <a14:imgProps xmlns:a14="http://schemas.microsoft.com/office/drawing/2010/main">
                  <a14:imgLayer r:embed="rId5">
                    <a14:imgEffect>
                      <a14:brightnessContrast bright="100000"/>
                    </a14:imgEffect>
                  </a14:imgLayer>
                </a14:imgProps>
              </a:ext>
            </a:extLst>
          </a:blip>
          <a:stretch>
            <a:fillRect/>
          </a:stretch>
        </p:blipFill>
        <p:spPr>
          <a:xfrm>
            <a:off x="601302" y="5700447"/>
            <a:ext cx="1606550" cy="876299"/>
          </a:xfrm>
          <a:prstGeom prst="rect">
            <a:avLst/>
          </a:prstGeom>
        </p:spPr>
      </p:pic>
      <p:grpSp>
        <p:nvGrpSpPr>
          <p:cNvPr id="32" name="Group 31">
            <a:extLst>
              <a:ext uri="{FF2B5EF4-FFF2-40B4-BE49-F238E27FC236}">
                <a16:creationId xmlns:a16="http://schemas.microsoft.com/office/drawing/2014/main" id="{AF617399-A384-4292-3065-594060398826}"/>
              </a:ext>
            </a:extLst>
          </p:cNvPr>
          <p:cNvGrpSpPr/>
          <p:nvPr userDrawn="1"/>
        </p:nvGrpSpPr>
        <p:grpSpPr>
          <a:xfrm>
            <a:off x="-38021" y="673087"/>
            <a:ext cx="5577912" cy="4959499"/>
            <a:chOff x="-38021" y="673087"/>
            <a:chExt cx="5577912" cy="4959499"/>
          </a:xfrm>
        </p:grpSpPr>
        <p:sp>
          <p:nvSpPr>
            <p:cNvPr id="13" name="Freeform: Shape 12">
              <a:extLst>
                <a:ext uri="{FF2B5EF4-FFF2-40B4-BE49-F238E27FC236}">
                  <a16:creationId xmlns:a16="http://schemas.microsoft.com/office/drawing/2014/main" id="{8D1E4F22-9B32-D09C-FBFB-56AF84E5264A}"/>
                </a:ext>
              </a:extLst>
            </p:cNvPr>
            <p:cNvSpPr/>
            <p:nvPr userDrawn="1"/>
          </p:nvSpPr>
          <p:spPr>
            <a:xfrm>
              <a:off x="-38021" y="2334275"/>
              <a:ext cx="5577912" cy="3255055"/>
            </a:xfrm>
            <a:custGeom>
              <a:avLst/>
              <a:gdLst>
                <a:gd name="connsiteX0" fmla="*/ 0 w 5488742"/>
                <a:gd name="connsiteY0" fmla="*/ 3191813 h 3191813"/>
                <a:gd name="connsiteX1" fmla="*/ 3563389 w 5488742"/>
                <a:gd name="connsiteY1" fmla="*/ 165980 h 3191813"/>
                <a:gd name="connsiteX2" fmla="*/ 5453149 w 5488742"/>
                <a:gd name="connsiteY2" fmla="*/ 587158 h 3191813"/>
                <a:gd name="connsiteX3" fmla="*/ 4721629 w 5488742"/>
                <a:gd name="connsiteY3" fmla="*/ 2199827 h 3191813"/>
                <a:gd name="connsiteX4" fmla="*/ 3757352 w 5488742"/>
                <a:gd name="connsiteY4" fmla="*/ 2122242 h 3191813"/>
                <a:gd name="connsiteX0" fmla="*/ 0 w 5488742"/>
                <a:gd name="connsiteY0" fmla="*/ 3118369 h 3118369"/>
                <a:gd name="connsiteX1" fmla="*/ 3563389 w 5488742"/>
                <a:gd name="connsiteY1" fmla="*/ 92536 h 3118369"/>
                <a:gd name="connsiteX2" fmla="*/ 5453149 w 5488742"/>
                <a:gd name="connsiteY2" fmla="*/ 513714 h 3118369"/>
                <a:gd name="connsiteX3" fmla="*/ 4721629 w 5488742"/>
                <a:gd name="connsiteY3" fmla="*/ 2126383 h 3118369"/>
                <a:gd name="connsiteX4" fmla="*/ 3757352 w 5488742"/>
                <a:gd name="connsiteY4" fmla="*/ 2048798 h 3118369"/>
                <a:gd name="connsiteX0" fmla="*/ 0 w 5488742"/>
                <a:gd name="connsiteY0" fmla="*/ 3194210 h 3194210"/>
                <a:gd name="connsiteX1" fmla="*/ 3563389 w 5488742"/>
                <a:gd name="connsiteY1" fmla="*/ 168377 h 3194210"/>
                <a:gd name="connsiteX2" fmla="*/ 5453149 w 5488742"/>
                <a:gd name="connsiteY2" fmla="*/ 589555 h 3194210"/>
                <a:gd name="connsiteX3" fmla="*/ 4721629 w 5488742"/>
                <a:gd name="connsiteY3" fmla="*/ 2202224 h 3194210"/>
                <a:gd name="connsiteX4" fmla="*/ 3757352 w 5488742"/>
                <a:gd name="connsiteY4" fmla="*/ 2124639 h 3194210"/>
                <a:gd name="connsiteX0" fmla="*/ 0 w 5488742"/>
                <a:gd name="connsiteY0" fmla="*/ 3194210 h 3194210"/>
                <a:gd name="connsiteX1" fmla="*/ 3563389 w 5488742"/>
                <a:gd name="connsiteY1" fmla="*/ 168377 h 3194210"/>
                <a:gd name="connsiteX2" fmla="*/ 5453149 w 5488742"/>
                <a:gd name="connsiteY2" fmla="*/ 589555 h 3194210"/>
                <a:gd name="connsiteX3" fmla="*/ 4721629 w 5488742"/>
                <a:gd name="connsiteY3" fmla="*/ 2202224 h 3194210"/>
                <a:gd name="connsiteX4" fmla="*/ 3757352 w 5488742"/>
                <a:gd name="connsiteY4" fmla="*/ 2124639 h 3194210"/>
                <a:gd name="connsiteX0" fmla="*/ 0 w 5488742"/>
                <a:gd name="connsiteY0" fmla="*/ 3179842 h 3179842"/>
                <a:gd name="connsiteX1" fmla="*/ 3563389 w 5488742"/>
                <a:gd name="connsiteY1" fmla="*/ 154009 h 3179842"/>
                <a:gd name="connsiteX2" fmla="*/ 5453149 w 5488742"/>
                <a:gd name="connsiteY2" fmla="*/ 575187 h 3179842"/>
                <a:gd name="connsiteX3" fmla="*/ 4721629 w 5488742"/>
                <a:gd name="connsiteY3" fmla="*/ 2187856 h 3179842"/>
                <a:gd name="connsiteX4" fmla="*/ 3757352 w 5488742"/>
                <a:gd name="connsiteY4" fmla="*/ 2110271 h 3179842"/>
                <a:gd name="connsiteX0" fmla="*/ 0 w 5488742"/>
                <a:gd name="connsiteY0" fmla="*/ 3106780 h 3106780"/>
                <a:gd name="connsiteX1" fmla="*/ 3563389 w 5488742"/>
                <a:gd name="connsiteY1" fmla="*/ 80947 h 3106780"/>
                <a:gd name="connsiteX2" fmla="*/ 5453149 w 5488742"/>
                <a:gd name="connsiteY2" fmla="*/ 502125 h 3106780"/>
                <a:gd name="connsiteX3" fmla="*/ 4721629 w 5488742"/>
                <a:gd name="connsiteY3" fmla="*/ 2114794 h 3106780"/>
                <a:gd name="connsiteX4" fmla="*/ 3757352 w 5488742"/>
                <a:gd name="connsiteY4" fmla="*/ 2037209 h 3106780"/>
                <a:gd name="connsiteX0" fmla="*/ 0 w 5461692"/>
                <a:gd name="connsiteY0" fmla="*/ 3304658 h 3304658"/>
                <a:gd name="connsiteX1" fmla="*/ 3563389 w 5461692"/>
                <a:gd name="connsiteY1" fmla="*/ 278825 h 3304658"/>
                <a:gd name="connsiteX2" fmla="*/ 5453149 w 5461692"/>
                <a:gd name="connsiteY2" fmla="*/ 700003 h 3304658"/>
                <a:gd name="connsiteX3" fmla="*/ 4721629 w 5461692"/>
                <a:gd name="connsiteY3" fmla="*/ 2312672 h 3304658"/>
                <a:gd name="connsiteX4" fmla="*/ 3757352 w 5461692"/>
                <a:gd name="connsiteY4" fmla="*/ 2235087 h 3304658"/>
                <a:gd name="connsiteX0" fmla="*/ 0 w 5500461"/>
                <a:gd name="connsiteY0" fmla="*/ 3109018 h 3109018"/>
                <a:gd name="connsiteX1" fmla="*/ 3563389 w 5500461"/>
                <a:gd name="connsiteY1" fmla="*/ 83185 h 3109018"/>
                <a:gd name="connsiteX2" fmla="*/ 5453149 w 5500461"/>
                <a:gd name="connsiteY2" fmla="*/ 504363 h 3109018"/>
                <a:gd name="connsiteX3" fmla="*/ 4721629 w 5500461"/>
                <a:gd name="connsiteY3" fmla="*/ 2117032 h 3109018"/>
                <a:gd name="connsiteX4" fmla="*/ 3757352 w 5500461"/>
                <a:gd name="connsiteY4" fmla="*/ 2039447 h 3109018"/>
                <a:gd name="connsiteX0" fmla="*/ 0 w 5490362"/>
                <a:gd name="connsiteY0" fmla="*/ 3111351 h 3111351"/>
                <a:gd name="connsiteX1" fmla="*/ 3563389 w 5490362"/>
                <a:gd name="connsiteY1" fmla="*/ 85518 h 3111351"/>
                <a:gd name="connsiteX2" fmla="*/ 5453149 w 5490362"/>
                <a:gd name="connsiteY2" fmla="*/ 506696 h 3111351"/>
                <a:gd name="connsiteX3" fmla="*/ 4721629 w 5490362"/>
                <a:gd name="connsiteY3" fmla="*/ 2119365 h 3111351"/>
                <a:gd name="connsiteX4" fmla="*/ 3757352 w 5490362"/>
                <a:gd name="connsiteY4" fmla="*/ 2041780 h 3111351"/>
                <a:gd name="connsiteX0" fmla="*/ 0 w 5490362"/>
                <a:gd name="connsiteY0" fmla="*/ 3111351 h 3111351"/>
                <a:gd name="connsiteX1" fmla="*/ 3563389 w 5490362"/>
                <a:gd name="connsiteY1" fmla="*/ 85518 h 3111351"/>
                <a:gd name="connsiteX2" fmla="*/ 5453149 w 5490362"/>
                <a:gd name="connsiteY2" fmla="*/ 506696 h 3111351"/>
                <a:gd name="connsiteX3" fmla="*/ 4721629 w 5490362"/>
                <a:gd name="connsiteY3" fmla="*/ 2119365 h 3111351"/>
                <a:gd name="connsiteX4" fmla="*/ 3757352 w 5490362"/>
                <a:gd name="connsiteY4" fmla="*/ 2041780 h 3111351"/>
                <a:gd name="connsiteX0" fmla="*/ 0 w 5502575"/>
                <a:gd name="connsiteY0" fmla="*/ 3111351 h 3111351"/>
                <a:gd name="connsiteX1" fmla="*/ 3563389 w 5502575"/>
                <a:gd name="connsiteY1" fmla="*/ 85518 h 3111351"/>
                <a:gd name="connsiteX2" fmla="*/ 5453149 w 5502575"/>
                <a:gd name="connsiteY2" fmla="*/ 506696 h 3111351"/>
                <a:gd name="connsiteX3" fmla="*/ 4721629 w 5502575"/>
                <a:gd name="connsiteY3" fmla="*/ 2119365 h 3111351"/>
                <a:gd name="connsiteX4" fmla="*/ 3757352 w 5502575"/>
                <a:gd name="connsiteY4" fmla="*/ 2041780 h 3111351"/>
                <a:gd name="connsiteX0" fmla="*/ 0 w 5502575"/>
                <a:gd name="connsiteY0" fmla="*/ 3111351 h 3111351"/>
                <a:gd name="connsiteX1" fmla="*/ 3563389 w 5502575"/>
                <a:gd name="connsiteY1" fmla="*/ 85518 h 3111351"/>
                <a:gd name="connsiteX2" fmla="*/ 5453149 w 5502575"/>
                <a:gd name="connsiteY2" fmla="*/ 506696 h 3111351"/>
                <a:gd name="connsiteX3" fmla="*/ 4721629 w 5502575"/>
                <a:gd name="connsiteY3" fmla="*/ 2119365 h 3111351"/>
                <a:gd name="connsiteX4" fmla="*/ 3757352 w 5502575"/>
                <a:gd name="connsiteY4" fmla="*/ 2041780 h 3111351"/>
                <a:gd name="connsiteX0" fmla="*/ 0 w 5502575"/>
                <a:gd name="connsiteY0" fmla="*/ 3106055 h 3106055"/>
                <a:gd name="connsiteX1" fmla="*/ 3563389 w 5502575"/>
                <a:gd name="connsiteY1" fmla="*/ 80222 h 3106055"/>
                <a:gd name="connsiteX2" fmla="*/ 5453149 w 5502575"/>
                <a:gd name="connsiteY2" fmla="*/ 501400 h 3106055"/>
                <a:gd name="connsiteX3" fmla="*/ 4721629 w 5502575"/>
                <a:gd name="connsiteY3" fmla="*/ 2114069 h 3106055"/>
                <a:gd name="connsiteX4" fmla="*/ 3757352 w 5502575"/>
                <a:gd name="connsiteY4" fmla="*/ 2036484 h 3106055"/>
                <a:gd name="connsiteX0" fmla="*/ 0 w 5502575"/>
                <a:gd name="connsiteY0" fmla="*/ 3133952 h 3133952"/>
                <a:gd name="connsiteX1" fmla="*/ 3563389 w 5502575"/>
                <a:gd name="connsiteY1" fmla="*/ 108119 h 3133952"/>
                <a:gd name="connsiteX2" fmla="*/ 5453149 w 5502575"/>
                <a:gd name="connsiteY2" fmla="*/ 529297 h 3133952"/>
                <a:gd name="connsiteX3" fmla="*/ 4721629 w 5502575"/>
                <a:gd name="connsiteY3" fmla="*/ 2141966 h 3133952"/>
                <a:gd name="connsiteX4" fmla="*/ 3757352 w 5502575"/>
                <a:gd name="connsiteY4" fmla="*/ 2064381 h 3133952"/>
                <a:gd name="connsiteX0" fmla="*/ 0 w 5480399"/>
                <a:gd name="connsiteY0" fmla="*/ 3138033 h 3138033"/>
                <a:gd name="connsiteX1" fmla="*/ 3563389 w 5480399"/>
                <a:gd name="connsiteY1" fmla="*/ 112200 h 3138033"/>
                <a:gd name="connsiteX2" fmla="*/ 5453149 w 5480399"/>
                <a:gd name="connsiteY2" fmla="*/ 533378 h 3138033"/>
                <a:gd name="connsiteX3" fmla="*/ 4721629 w 5480399"/>
                <a:gd name="connsiteY3" fmla="*/ 2146047 h 3138033"/>
                <a:gd name="connsiteX4" fmla="*/ 3757352 w 5480399"/>
                <a:gd name="connsiteY4" fmla="*/ 2068462 h 3138033"/>
                <a:gd name="connsiteX0" fmla="*/ 0 w 5508490"/>
                <a:gd name="connsiteY0" fmla="*/ 3152749 h 3152749"/>
                <a:gd name="connsiteX1" fmla="*/ 3563389 w 5508490"/>
                <a:gd name="connsiteY1" fmla="*/ 126916 h 3152749"/>
                <a:gd name="connsiteX2" fmla="*/ 5453149 w 5508490"/>
                <a:gd name="connsiteY2" fmla="*/ 548094 h 3152749"/>
                <a:gd name="connsiteX3" fmla="*/ 4721629 w 5508490"/>
                <a:gd name="connsiteY3" fmla="*/ 2160763 h 3152749"/>
                <a:gd name="connsiteX4" fmla="*/ 3757352 w 5508490"/>
                <a:gd name="connsiteY4" fmla="*/ 2083178 h 3152749"/>
                <a:gd name="connsiteX0" fmla="*/ 0 w 5508490"/>
                <a:gd name="connsiteY0" fmla="*/ 3152749 h 3152749"/>
                <a:gd name="connsiteX1" fmla="*/ 3563389 w 5508490"/>
                <a:gd name="connsiteY1" fmla="*/ 126916 h 3152749"/>
                <a:gd name="connsiteX2" fmla="*/ 5453149 w 5508490"/>
                <a:gd name="connsiteY2" fmla="*/ 548094 h 3152749"/>
                <a:gd name="connsiteX3" fmla="*/ 4721629 w 5508490"/>
                <a:gd name="connsiteY3" fmla="*/ 2160763 h 3152749"/>
                <a:gd name="connsiteX4" fmla="*/ 3757352 w 5508490"/>
                <a:gd name="connsiteY4" fmla="*/ 2083178 h 3152749"/>
                <a:gd name="connsiteX0" fmla="*/ 0 w 5531621"/>
                <a:gd name="connsiteY0" fmla="*/ 3212237 h 3212237"/>
                <a:gd name="connsiteX1" fmla="*/ 3563389 w 5531621"/>
                <a:gd name="connsiteY1" fmla="*/ 186404 h 3212237"/>
                <a:gd name="connsiteX2" fmla="*/ 5478287 w 5531621"/>
                <a:gd name="connsiteY2" fmla="*/ 604440 h 3212237"/>
                <a:gd name="connsiteX3" fmla="*/ 4721629 w 5531621"/>
                <a:gd name="connsiteY3" fmla="*/ 2220251 h 3212237"/>
                <a:gd name="connsiteX4" fmla="*/ 3757352 w 5531621"/>
                <a:gd name="connsiteY4" fmla="*/ 2142666 h 3212237"/>
                <a:gd name="connsiteX0" fmla="*/ 0 w 5529420"/>
                <a:gd name="connsiteY0" fmla="*/ 3227489 h 3227489"/>
                <a:gd name="connsiteX1" fmla="*/ 3563389 w 5529420"/>
                <a:gd name="connsiteY1" fmla="*/ 201656 h 3227489"/>
                <a:gd name="connsiteX2" fmla="*/ 5478287 w 5529420"/>
                <a:gd name="connsiteY2" fmla="*/ 619692 h 3227489"/>
                <a:gd name="connsiteX3" fmla="*/ 4721629 w 5529420"/>
                <a:gd name="connsiteY3" fmla="*/ 2235503 h 3227489"/>
                <a:gd name="connsiteX4" fmla="*/ 3757352 w 5529420"/>
                <a:gd name="connsiteY4" fmla="*/ 2157918 h 3227489"/>
                <a:gd name="connsiteX0" fmla="*/ 0 w 5543890"/>
                <a:gd name="connsiteY0" fmla="*/ 3191258 h 3191258"/>
                <a:gd name="connsiteX1" fmla="*/ 3563389 w 5543890"/>
                <a:gd name="connsiteY1" fmla="*/ 165425 h 3191258"/>
                <a:gd name="connsiteX2" fmla="*/ 5478287 w 5543890"/>
                <a:gd name="connsiteY2" fmla="*/ 583461 h 3191258"/>
                <a:gd name="connsiteX3" fmla="*/ 4853604 w 5543890"/>
                <a:gd name="connsiteY3" fmla="*/ 2148996 h 3191258"/>
                <a:gd name="connsiteX4" fmla="*/ 3757352 w 5543890"/>
                <a:gd name="connsiteY4" fmla="*/ 2121687 h 3191258"/>
                <a:gd name="connsiteX0" fmla="*/ 0 w 5531712"/>
                <a:gd name="connsiteY0" fmla="*/ 3189751 h 3189751"/>
                <a:gd name="connsiteX1" fmla="*/ 3563389 w 5531712"/>
                <a:gd name="connsiteY1" fmla="*/ 163918 h 3189751"/>
                <a:gd name="connsiteX2" fmla="*/ 5478287 w 5531712"/>
                <a:gd name="connsiteY2" fmla="*/ 581954 h 3189751"/>
                <a:gd name="connsiteX3" fmla="*/ 4853604 w 5531712"/>
                <a:gd name="connsiteY3" fmla="*/ 2147489 h 3189751"/>
                <a:gd name="connsiteX4" fmla="*/ 3757352 w 5531712"/>
                <a:gd name="connsiteY4" fmla="*/ 2120180 h 3189751"/>
                <a:gd name="connsiteX0" fmla="*/ 0 w 5545125"/>
                <a:gd name="connsiteY0" fmla="*/ 3215938 h 3215938"/>
                <a:gd name="connsiteX1" fmla="*/ 3563389 w 5545125"/>
                <a:gd name="connsiteY1" fmla="*/ 190105 h 3215938"/>
                <a:gd name="connsiteX2" fmla="*/ 5478287 w 5545125"/>
                <a:gd name="connsiteY2" fmla="*/ 608141 h 3215938"/>
                <a:gd name="connsiteX3" fmla="*/ 4853604 w 5545125"/>
                <a:gd name="connsiteY3" fmla="*/ 2173676 h 3215938"/>
                <a:gd name="connsiteX4" fmla="*/ 3757352 w 5545125"/>
                <a:gd name="connsiteY4" fmla="*/ 2146367 h 3215938"/>
                <a:gd name="connsiteX0" fmla="*/ 0 w 5545125"/>
                <a:gd name="connsiteY0" fmla="*/ 3215938 h 3215938"/>
                <a:gd name="connsiteX1" fmla="*/ 3563389 w 5545125"/>
                <a:gd name="connsiteY1" fmla="*/ 190105 h 3215938"/>
                <a:gd name="connsiteX2" fmla="*/ 5478287 w 5545125"/>
                <a:gd name="connsiteY2" fmla="*/ 608141 h 3215938"/>
                <a:gd name="connsiteX3" fmla="*/ 4853604 w 5545125"/>
                <a:gd name="connsiteY3" fmla="*/ 2173676 h 3215938"/>
                <a:gd name="connsiteX4" fmla="*/ 3690960 w 5545125"/>
                <a:gd name="connsiteY4" fmla="*/ 2107135 h 3215938"/>
                <a:gd name="connsiteX0" fmla="*/ 0 w 5545125"/>
                <a:gd name="connsiteY0" fmla="*/ 3215938 h 3215938"/>
                <a:gd name="connsiteX1" fmla="*/ 3563389 w 5545125"/>
                <a:gd name="connsiteY1" fmla="*/ 190105 h 3215938"/>
                <a:gd name="connsiteX2" fmla="*/ 5478287 w 5545125"/>
                <a:gd name="connsiteY2" fmla="*/ 608141 h 3215938"/>
                <a:gd name="connsiteX3" fmla="*/ 4853604 w 5545125"/>
                <a:gd name="connsiteY3" fmla="*/ 2173676 h 3215938"/>
                <a:gd name="connsiteX4" fmla="*/ 3690960 w 5545125"/>
                <a:gd name="connsiteY4" fmla="*/ 2107135 h 3215938"/>
                <a:gd name="connsiteX0" fmla="*/ 0 w 5545125"/>
                <a:gd name="connsiteY0" fmla="*/ 3215938 h 3215938"/>
                <a:gd name="connsiteX1" fmla="*/ 3563389 w 5545125"/>
                <a:gd name="connsiteY1" fmla="*/ 190105 h 3215938"/>
                <a:gd name="connsiteX2" fmla="*/ 5478287 w 5545125"/>
                <a:gd name="connsiteY2" fmla="*/ 608141 h 3215938"/>
                <a:gd name="connsiteX3" fmla="*/ 4853604 w 5545125"/>
                <a:gd name="connsiteY3" fmla="*/ 2173676 h 3215938"/>
                <a:gd name="connsiteX4" fmla="*/ 3687942 w 5545125"/>
                <a:gd name="connsiteY4" fmla="*/ 2098081 h 3215938"/>
                <a:gd name="connsiteX0" fmla="*/ 0 w 5577912"/>
                <a:gd name="connsiteY0" fmla="*/ 3255055 h 3255055"/>
                <a:gd name="connsiteX1" fmla="*/ 3596176 w 5577912"/>
                <a:gd name="connsiteY1" fmla="*/ 192792 h 3255055"/>
                <a:gd name="connsiteX2" fmla="*/ 5511074 w 5577912"/>
                <a:gd name="connsiteY2" fmla="*/ 610828 h 3255055"/>
                <a:gd name="connsiteX3" fmla="*/ 4886391 w 5577912"/>
                <a:gd name="connsiteY3" fmla="*/ 2176363 h 3255055"/>
                <a:gd name="connsiteX4" fmla="*/ 3720729 w 5577912"/>
                <a:gd name="connsiteY4" fmla="*/ 2100768 h 3255055"/>
                <a:gd name="connsiteX0" fmla="*/ 0 w 5577912"/>
                <a:gd name="connsiteY0" fmla="*/ 3255055 h 3255055"/>
                <a:gd name="connsiteX1" fmla="*/ 3596176 w 5577912"/>
                <a:gd name="connsiteY1" fmla="*/ 192792 h 3255055"/>
                <a:gd name="connsiteX2" fmla="*/ 5511074 w 5577912"/>
                <a:gd name="connsiteY2" fmla="*/ 610828 h 3255055"/>
                <a:gd name="connsiteX3" fmla="*/ 4886391 w 5577912"/>
                <a:gd name="connsiteY3" fmla="*/ 2176363 h 3255055"/>
                <a:gd name="connsiteX4" fmla="*/ 3720729 w 5577912"/>
                <a:gd name="connsiteY4" fmla="*/ 2100768 h 3255055"/>
                <a:gd name="connsiteX0" fmla="*/ 0 w 5577912"/>
                <a:gd name="connsiteY0" fmla="*/ 3255055 h 3255055"/>
                <a:gd name="connsiteX1" fmla="*/ 3596176 w 5577912"/>
                <a:gd name="connsiteY1" fmla="*/ 192792 h 3255055"/>
                <a:gd name="connsiteX2" fmla="*/ 5511074 w 5577912"/>
                <a:gd name="connsiteY2" fmla="*/ 610828 h 3255055"/>
                <a:gd name="connsiteX3" fmla="*/ 4886391 w 5577912"/>
                <a:gd name="connsiteY3" fmla="*/ 2176363 h 3255055"/>
                <a:gd name="connsiteX4" fmla="*/ 3720729 w 5577912"/>
                <a:gd name="connsiteY4" fmla="*/ 2100768 h 3255055"/>
                <a:gd name="connsiteX0" fmla="*/ 0 w 5577912"/>
                <a:gd name="connsiteY0" fmla="*/ 3255055 h 3255055"/>
                <a:gd name="connsiteX1" fmla="*/ 3596176 w 5577912"/>
                <a:gd name="connsiteY1" fmla="*/ 192792 h 3255055"/>
                <a:gd name="connsiteX2" fmla="*/ 5511074 w 5577912"/>
                <a:gd name="connsiteY2" fmla="*/ 610828 h 3255055"/>
                <a:gd name="connsiteX3" fmla="*/ 4886391 w 5577912"/>
                <a:gd name="connsiteY3" fmla="*/ 2176363 h 3255055"/>
                <a:gd name="connsiteX4" fmla="*/ 3720729 w 5577912"/>
                <a:gd name="connsiteY4" fmla="*/ 2100768 h 32550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77912" h="3255055">
                  <a:moveTo>
                    <a:pt x="0" y="3255055"/>
                  </a:moveTo>
                  <a:cubicBezTo>
                    <a:pt x="1011272" y="1440735"/>
                    <a:pt x="2677664" y="633496"/>
                    <a:pt x="3596176" y="192792"/>
                  </a:cubicBezTo>
                  <a:cubicBezTo>
                    <a:pt x="4514688" y="-247912"/>
                    <a:pt x="5292896" y="141974"/>
                    <a:pt x="5511074" y="610828"/>
                  </a:cubicBezTo>
                  <a:cubicBezTo>
                    <a:pt x="5729252" y="1079682"/>
                    <a:pt x="5385155" y="1970392"/>
                    <a:pt x="4886391" y="2176363"/>
                  </a:cubicBezTo>
                  <a:cubicBezTo>
                    <a:pt x="4526952" y="2341824"/>
                    <a:pt x="4085694" y="2327841"/>
                    <a:pt x="3720729" y="2100768"/>
                  </a:cubicBezTo>
                </a:path>
              </a:pathLst>
            </a:custGeom>
            <a:noFill/>
            <a:ln w="50800">
              <a:gradFill flip="none" rotWithShape="1">
                <a:gsLst>
                  <a:gs pos="0">
                    <a:srgbClr val="991C52"/>
                  </a:gs>
                  <a:gs pos="93000">
                    <a:srgbClr val="EA2B7E"/>
                  </a:gs>
                </a:gsLst>
                <a:lin ang="0" scaled="1"/>
                <a:tileRect/>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6" name="Picture 25" descr="A white rectangular object with a black background&#10;&#10;Description automatically generated">
              <a:extLst>
                <a:ext uri="{FF2B5EF4-FFF2-40B4-BE49-F238E27FC236}">
                  <a16:creationId xmlns:a16="http://schemas.microsoft.com/office/drawing/2014/main" id="{31EA2C5D-053A-53CC-3521-2543B1EE660F}"/>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626387" y="673087"/>
              <a:ext cx="2440955" cy="4959499"/>
            </a:xfrm>
            <a:prstGeom prst="rect">
              <a:avLst/>
            </a:prstGeom>
          </p:spPr>
        </p:pic>
        <p:pic>
          <p:nvPicPr>
            <p:cNvPr id="30" name="Picture 29" descr="A close up of a tool&#10;&#10;Description automatically generated">
              <a:extLst>
                <a:ext uri="{FF2B5EF4-FFF2-40B4-BE49-F238E27FC236}">
                  <a16:creationId xmlns:a16="http://schemas.microsoft.com/office/drawing/2014/main" id="{F40CFE27-F9DD-737E-75D3-D98B75AB01D0}"/>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rot="21015254">
              <a:off x="1335859" y="2469516"/>
              <a:ext cx="2452363" cy="2335509"/>
            </a:xfrm>
            <a:prstGeom prst="rect">
              <a:avLst/>
            </a:prstGeom>
          </p:spPr>
        </p:pic>
      </p:grpSp>
    </p:spTree>
    <p:extLst>
      <p:ext uri="{BB962C8B-B14F-4D97-AF65-F5344CB8AC3E}">
        <p14:creationId xmlns:p14="http://schemas.microsoft.com/office/powerpoint/2010/main" val="33440414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Section Head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92F3E450-94AA-7E71-110C-42673DE7AF50}"/>
              </a:ext>
            </a:extLst>
          </p:cNvPr>
          <p:cNvPicPr>
            <a:picLocks noChangeAspect="1"/>
          </p:cNvPicPr>
          <p:nvPr userDrawn="1"/>
        </p:nvPicPr>
        <p:blipFill>
          <a:blip r:embed="rId2">
            <a:extLst>
              <a:ext uri="{28A0092B-C50C-407E-A947-70E740481C1C}">
                <a14:useLocalDpi xmlns:a14="http://schemas.microsoft.com/office/drawing/2010/main"/>
              </a:ext>
            </a:extLst>
          </a:blip>
          <a:srcRect l="3" r="3"/>
          <a:stretch/>
        </p:blipFill>
        <p:spPr>
          <a:xfrm flipH="1">
            <a:off x="0" y="0"/>
            <a:ext cx="12191188" cy="6858000"/>
          </a:xfrm>
          <a:prstGeom prst="rect">
            <a:avLst/>
          </a:prstGeom>
        </p:spPr>
      </p:pic>
      <p:pic>
        <p:nvPicPr>
          <p:cNvPr id="9" name="Picture 8">
            <a:extLst>
              <a:ext uri="{FF2B5EF4-FFF2-40B4-BE49-F238E27FC236}">
                <a16:creationId xmlns:a16="http://schemas.microsoft.com/office/drawing/2014/main" id="{FAA2D013-E260-29F7-C363-B018D933F629}"/>
              </a:ext>
            </a:extLst>
          </p:cNvPr>
          <p:cNvPicPr>
            <a:picLocks noChangeAspect="1"/>
          </p:cNvPicPr>
          <p:nvPr userDrawn="1"/>
        </p:nvPicPr>
        <p:blipFill rotWithShape="1">
          <a:blip r:embed="rId3">
            <a:alphaModFix amt="17000"/>
          </a:blip>
          <a:srcRect l="-3257" t="4284" r="745" b="4461"/>
          <a:stretch/>
        </p:blipFill>
        <p:spPr>
          <a:xfrm>
            <a:off x="3497943" y="0"/>
            <a:ext cx="8694057" cy="6858000"/>
          </a:xfrm>
          <a:prstGeom prst="rect">
            <a:avLst/>
          </a:prstGeom>
        </p:spPr>
      </p:pic>
      <p:sp>
        <p:nvSpPr>
          <p:cNvPr id="2" name="Title 1">
            <a:extLst>
              <a:ext uri="{FF2B5EF4-FFF2-40B4-BE49-F238E27FC236}">
                <a16:creationId xmlns:a16="http://schemas.microsoft.com/office/drawing/2014/main" id="{A70C5B9B-DD75-4EAC-1BF1-FAB839B384DA}"/>
              </a:ext>
            </a:extLst>
          </p:cNvPr>
          <p:cNvSpPr>
            <a:spLocks noGrp="1"/>
          </p:cNvSpPr>
          <p:nvPr>
            <p:ph type="title"/>
          </p:nvPr>
        </p:nvSpPr>
        <p:spPr>
          <a:xfrm>
            <a:off x="6887632" y="1612371"/>
            <a:ext cx="4459817" cy="2852737"/>
          </a:xfrm>
        </p:spPr>
        <p:txBody>
          <a:bodyPr anchor="b">
            <a:normAutofit/>
          </a:bodyPr>
          <a:lstStyle>
            <a:lvl1pPr>
              <a:defRPr sz="4000">
                <a:solidFill>
                  <a:schemeClr val="bg1"/>
                </a:solidFill>
              </a:defRPr>
            </a:lvl1pPr>
          </a:lstStyle>
          <a:p>
            <a:r>
              <a:rPr lang="en-US"/>
              <a:t>Click to edit Master title style</a:t>
            </a:r>
          </a:p>
        </p:txBody>
      </p:sp>
      <p:sp>
        <p:nvSpPr>
          <p:cNvPr id="3" name="Text Placeholder 2">
            <a:extLst>
              <a:ext uri="{FF2B5EF4-FFF2-40B4-BE49-F238E27FC236}">
                <a16:creationId xmlns:a16="http://schemas.microsoft.com/office/drawing/2014/main" id="{F8A69308-2E5C-995C-2D80-E3296135903B}"/>
              </a:ext>
            </a:extLst>
          </p:cNvPr>
          <p:cNvSpPr>
            <a:spLocks noGrp="1"/>
          </p:cNvSpPr>
          <p:nvPr>
            <p:ph type="body" idx="1"/>
          </p:nvPr>
        </p:nvSpPr>
        <p:spPr>
          <a:xfrm>
            <a:off x="6887632" y="4589463"/>
            <a:ext cx="4459817" cy="457099"/>
          </a:xfrm>
        </p:spPr>
        <p:txBody>
          <a:bodyPr>
            <a:normAutofit/>
          </a:bodyPr>
          <a:lstStyle>
            <a:lvl1pPr marL="0" indent="0">
              <a:buNone/>
              <a:defRPr sz="1800">
                <a:solidFill>
                  <a:schemeClr val="accent3"/>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14" name="Text Placeholder 8">
            <a:extLst>
              <a:ext uri="{FF2B5EF4-FFF2-40B4-BE49-F238E27FC236}">
                <a16:creationId xmlns:a16="http://schemas.microsoft.com/office/drawing/2014/main" id="{E1FD1B2B-D43E-096C-1A24-DD7D90C8195D}"/>
              </a:ext>
            </a:extLst>
          </p:cNvPr>
          <p:cNvSpPr>
            <a:spLocks noGrp="1"/>
          </p:cNvSpPr>
          <p:nvPr>
            <p:ph type="body" sz="quarter" idx="13"/>
          </p:nvPr>
        </p:nvSpPr>
        <p:spPr>
          <a:xfrm>
            <a:off x="7021153" y="5103519"/>
            <a:ext cx="1097280" cy="45720"/>
          </a:xfrm>
          <a:solidFill>
            <a:schemeClr val="accent2"/>
          </a:solidFill>
        </p:spPr>
        <p:txBody>
          <a:bodyPr>
            <a:noAutofit/>
          </a:bodyPr>
          <a:lstStyle>
            <a:lvl1pPr marL="0" indent="0">
              <a:buNone/>
              <a:defRPr sz="100">
                <a:noFill/>
              </a:defRPr>
            </a:lvl1pPr>
          </a:lstStyle>
          <a:p>
            <a:pPr lvl="0"/>
            <a:endParaRPr lang="en-US"/>
          </a:p>
        </p:txBody>
      </p:sp>
      <p:grpSp>
        <p:nvGrpSpPr>
          <p:cNvPr id="4" name="Group 4">
            <a:extLst>
              <a:ext uri="{FF2B5EF4-FFF2-40B4-BE49-F238E27FC236}">
                <a16:creationId xmlns:a16="http://schemas.microsoft.com/office/drawing/2014/main" id="{7AADC484-EDA0-34D1-0FA9-5145812954D9}"/>
              </a:ext>
            </a:extLst>
          </p:cNvPr>
          <p:cNvGrpSpPr>
            <a:grpSpLocks noChangeAspect="1"/>
          </p:cNvGrpSpPr>
          <p:nvPr userDrawn="1"/>
        </p:nvGrpSpPr>
        <p:grpSpPr bwMode="auto">
          <a:xfrm>
            <a:off x="9263731" y="515328"/>
            <a:ext cx="2399878" cy="383280"/>
            <a:chOff x="5837" y="325"/>
            <a:chExt cx="1509" cy="241"/>
          </a:xfrm>
        </p:grpSpPr>
        <p:sp>
          <p:nvSpPr>
            <p:cNvPr id="5" name="AutoShape 3">
              <a:extLst>
                <a:ext uri="{FF2B5EF4-FFF2-40B4-BE49-F238E27FC236}">
                  <a16:creationId xmlns:a16="http://schemas.microsoft.com/office/drawing/2014/main" id="{B7EA2FEB-59A0-3663-AB70-D9B7FECC259A}"/>
                </a:ext>
              </a:extLst>
            </p:cNvPr>
            <p:cNvSpPr>
              <a:spLocks noChangeAspect="1" noChangeArrowheads="1" noTextEdit="1"/>
            </p:cNvSpPr>
            <p:nvPr userDrawn="1"/>
          </p:nvSpPr>
          <p:spPr bwMode="auto">
            <a:xfrm>
              <a:off x="5837" y="325"/>
              <a:ext cx="1509" cy="2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 name="Oval 5">
              <a:extLst>
                <a:ext uri="{FF2B5EF4-FFF2-40B4-BE49-F238E27FC236}">
                  <a16:creationId xmlns:a16="http://schemas.microsoft.com/office/drawing/2014/main" id="{A6E710DD-F5BB-35A1-C7D7-0028F5E0B250}"/>
                </a:ext>
              </a:extLst>
            </p:cNvPr>
            <p:cNvSpPr>
              <a:spLocks noChangeArrowheads="1"/>
            </p:cNvSpPr>
            <p:nvPr userDrawn="1"/>
          </p:nvSpPr>
          <p:spPr bwMode="auto">
            <a:xfrm>
              <a:off x="6666" y="324"/>
              <a:ext cx="40" cy="40"/>
            </a:xfrm>
            <a:prstGeom prst="ellipse">
              <a:avLst/>
            </a:prstGeom>
            <a:solidFill>
              <a:srgbClr val="00A7C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 name="Freeform 6">
              <a:extLst>
                <a:ext uri="{FF2B5EF4-FFF2-40B4-BE49-F238E27FC236}">
                  <a16:creationId xmlns:a16="http://schemas.microsoft.com/office/drawing/2014/main" id="{23DEE081-B672-35AE-8BC1-C385A16C3E25}"/>
                </a:ext>
              </a:extLst>
            </p:cNvPr>
            <p:cNvSpPr>
              <a:spLocks noEditPoints="1"/>
            </p:cNvSpPr>
            <p:nvPr userDrawn="1"/>
          </p:nvSpPr>
          <p:spPr bwMode="auto">
            <a:xfrm>
              <a:off x="6653" y="375"/>
              <a:ext cx="137" cy="191"/>
            </a:xfrm>
            <a:custGeom>
              <a:avLst/>
              <a:gdLst>
                <a:gd name="T0" fmla="*/ 118 w 136"/>
                <a:gd name="T1" fmla="*/ 14 h 188"/>
                <a:gd name="T2" fmla="*/ 66 w 136"/>
                <a:gd name="T3" fmla="*/ 48 h 188"/>
                <a:gd name="T4" fmla="*/ 18 w 136"/>
                <a:gd name="T5" fmla="*/ 152 h 188"/>
                <a:gd name="T6" fmla="*/ 26 w 136"/>
                <a:gd name="T7" fmla="*/ 174 h 188"/>
                <a:gd name="T8" fmla="*/ 39 w 136"/>
                <a:gd name="T9" fmla="*/ 175 h 188"/>
                <a:gd name="T10" fmla="*/ 48 w 136"/>
                <a:gd name="T11" fmla="*/ 166 h 188"/>
                <a:gd name="T12" fmla="*/ 118 w 136"/>
                <a:gd name="T13" fmla="*/ 14 h 188"/>
                <a:gd name="T14" fmla="*/ 118 w 136"/>
                <a:gd name="T15" fmla="*/ 14 h 188"/>
                <a:gd name="T16" fmla="*/ 33 w 136"/>
                <a:gd name="T17" fmla="*/ 188 h 188"/>
                <a:gd name="T18" fmla="*/ 21 w 136"/>
                <a:gd name="T19" fmla="*/ 185 h 188"/>
                <a:gd name="T20" fmla="*/ 7 w 136"/>
                <a:gd name="T21" fmla="*/ 147 h 188"/>
                <a:gd name="T22" fmla="*/ 55 w 136"/>
                <a:gd name="T23" fmla="*/ 43 h 188"/>
                <a:gd name="T24" fmla="*/ 100 w 136"/>
                <a:gd name="T25" fmla="*/ 4 h 188"/>
                <a:gd name="T26" fmla="*/ 129 w 136"/>
                <a:gd name="T27" fmla="*/ 3 h 188"/>
                <a:gd name="T28" fmla="*/ 136 w 136"/>
                <a:gd name="T29" fmla="*/ 4 h 188"/>
                <a:gd name="T30" fmla="*/ 59 w 136"/>
                <a:gd name="T31" fmla="*/ 171 h 188"/>
                <a:gd name="T32" fmla="*/ 43 w 136"/>
                <a:gd name="T33" fmla="*/ 186 h 188"/>
                <a:gd name="T34" fmla="*/ 33 w 136"/>
                <a:gd name="T35" fmla="*/ 18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188">
                  <a:moveTo>
                    <a:pt x="118" y="14"/>
                  </a:moveTo>
                  <a:cubicBezTo>
                    <a:pt x="104" y="14"/>
                    <a:pt x="80" y="19"/>
                    <a:pt x="66" y="48"/>
                  </a:cubicBezTo>
                  <a:cubicBezTo>
                    <a:pt x="18" y="152"/>
                    <a:pt x="18" y="152"/>
                    <a:pt x="18" y="152"/>
                  </a:cubicBezTo>
                  <a:cubicBezTo>
                    <a:pt x="14" y="160"/>
                    <a:pt x="18" y="170"/>
                    <a:pt x="26" y="174"/>
                  </a:cubicBezTo>
                  <a:cubicBezTo>
                    <a:pt x="30" y="176"/>
                    <a:pt x="34" y="176"/>
                    <a:pt x="39" y="175"/>
                  </a:cubicBezTo>
                  <a:cubicBezTo>
                    <a:pt x="43" y="173"/>
                    <a:pt x="46" y="170"/>
                    <a:pt x="48" y="166"/>
                  </a:cubicBezTo>
                  <a:cubicBezTo>
                    <a:pt x="118" y="14"/>
                    <a:pt x="118" y="14"/>
                    <a:pt x="118" y="14"/>
                  </a:cubicBezTo>
                  <a:cubicBezTo>
                    <a:pt x="118" y="14"/>
                    <a:pt x="118" y="14"/>
                    <a:pt x="118" y="14"/>
                  </a:cubicBezTo>
                  <a:close/>
                  <a:moveTo>
                    <a:pt x="33" y="188"/>
                  </a:moveTo>
                  <a:cubicBezTo>
                    <a:pt x="29" y="188"/>
                    <a:pt x="25" y="187"/>
                    <a:pt x="21" y="185"/>
                  </a:cubicBezTo>
                  <a:cubicBezTo>
                    <a:pt x="7" y="179"/>
                    <a:pt x="0" y="161"/>
                    <a:pt x="7" y="147"/>
                  </a:cubicBezTo>
                  <a:cubicBezTo>
                    <a:pt x="55" y="43"/>
                    <a:pt x="55" y="43"/>
                    <a:pt x="55" y="43"/>
                  </a:cubicBezTo>
                  <a:cubicBezTo>
                    <a:pt x="67" y="17"/>
                    <a:pt x="86" y="7"/>
                    <a:pt x="100" y="4"/>
                  </a:cubicBezTo>
                  <a:cubicBezTo>
                    <a:pt x="116" y="0"/>
                    <a:pt x="128" y="3"/>
                    <a:pt x="129" y="3"/>
                  </a:cubicBezTo>
                  <a:cubicBezTo>
                    <a:pt x="136" y="4"/>
                    <a:pt x="136" y="4"/>
                    <a:pt x="136" y="4"/>
                  </a:cubicBezTo>
                  <a:cubicBezTo>
                    <a:pt x="59" y="171"/>
                    <a:pt x="59" y="171"/>
                    <a:pt x="59" y="171"/>
                  </a:cubicBezTo>
                  <a:cubicBezTo>
                    <a:pt x="56" y="178"/>
                    <a:pt x="50" y="184"/>
                    <a:pt x="43" y="186"/>
                  </a:cubicBezTo>
                  <a:cubicBezTo>
                    <a:pt x="40" y="187"/>
                    <a:pt x="36" y="188"/>
                    <a:pt x="33" y="188"/>
                  </a:cubicBezTo>
                  <a:close/>
                </a:path>
              </a:pathLst>
            </a:custGeom>
            <a:solidFill>
              <a:srgbClr val="00A7C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 name="Freeform 7">
              <a:extLst>
                <a:ext uri="{FF2B5EF4-FFF2-40B4-BE49-F238E27FC236}">
                  <a16:creationId xmlns:a16="http://schemas.microsoft.com/office/drawing/2014/main" id="{120BD320-2FED-B5D1-F828-2A3FA49CCF71}"/>
                </a:ext>
              </a:extLst>
            </p:cNvPr>
            <p:cNvSpPr>
              <a:spLocks/>
            </p:cNvSpPr>
            <p:nvPr userDrawn="1"/>
          </p:nvSpPr>
          <p:spPr bwMode="auto">
            <a:xfrm>
              <a:off x="6582" y="375"/>
              <a:ext cx="104" cy="174"/>
            </a:xfrm>
            <a:custGeom>
              <a:avLst/>
              <a:gdLst>
                <a:gd name="T0" fmla="*/ 77 w 103"/>
                <a:gd name="T1" fmla="*/ 147 h 171"/>
                <a:gd name="T2" fmla="*/ 78 w 103"/>
                <a:gd name="T3" fmla="*/ 144 h 171"/>
                <a:gd name="T4" fmla="*/ 18 w 103"/>
                <a:gd name="T5" fmla="*/ 14 h 171"/>
                <a:gd name="T6" fmla="*/ 19 w 103"/>
                <a:gd name="T7" fmla="*/ 14 h 171"/>
                <a:gd name="T8" fmla="*/ 70 w 103"/>
                <a:gd name="T9" fmla="*/ 48 h 171"/>
                <a:gd name="T10" fmla="*/ 96 w 103"/>
                <a:gd name="T11" fmla="*/ 105 h 171"/>
                <a:gd name="T12" fmla="*/ 103 w 103"/>
                <a:gd name="T13" fmla="*/ 90 h 171"/>
                <a:gd name="T14" fmla="*/ 81 w 103"/>
                <a:gd name="T15" fmla="*/ 43 h 171"/>
                <a:gd name="T16" fmla="*/ 36 w 103"/>
                <a:gd name="T17" fmla="*/ 4 h 171"/>
                <a:gd name="T18" fmla="*/ 7 w 103"/>
                <a:gd name="T19" fmla="*/ 3 h 171"/>
                <a:gd name="T20" fmla="*/ 0 w 103"/>
                <a:gd name="T21" fmla="*/ 4 h 171"/>
                <a:gd name="T22" fmla="*/ 77 w 103"/>
                <a:gd name="T23" fmla="*/ 171 h 171"/>
                <a:gd name="T24" fmla="*/ 77 w 103"/>
                <a:gd name="T25" fmla="*/ 171 h 171"/>
                <a:gd name="T26" fmla="*/ 77 w 103"/>
                <a:gd name="T27" fmla="*/ 147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3" h="171">
                  <a:moveTo>
                    <a:pt x="77" y="147"/>
                  </a:moveTo>
                  <a:cubicBezTo>
                    <a:pt x="78" y="144"/>
                    <a:pt x="78" y="144"/>
                    <a:pt x="78" y="144"/>
                  </a:cubicBezTo>
                  <a:cubicBezTo>
                    <a:pt x="18" y="14"/>
                    <a:pt x="18" y="14"/>
                    <a:pt x="18" y="14"/>
                  </a:cubicBezTo>
                  <a:cubicBezTo>
                    <a:pt x="18" y="14"/>
                    <a:pt x="18" y="14"/>
                    <a:pt x="19" y="14"/>
                  </a:cubicBezTo>
                  <a:cubicBezTo>
                    <a:pt x="32" y="14"/>
                    <a:pt x="56" y="19"/>
                    <a:pt x="70" y="48"/>
                  </a:cubicBezTo>
                  <a:cubicBezTo>
                    <a:pt x="96" y="105"/>
                    <a:pt x="96" y="105"/>
                    <a:pt x="96" y="105"/>
                  </a:cubicBezTo>
                  <a:cubicBezTo>
                    <a:pt x="103" y="90"/>
                    <a:pt x="103" y="90"/>
                    <a:pt x="103" y="90"/>
                  </a:cubicBezTo>
                  <a:cubicBezTo>
                    <a:pt x="81" y="43"/>
                    <a:pt x="81" y="43"/>
                    <a:pt x="81" y="43"/>
                  </a:cubicBezTo>
                  <a:cubicBezTo>
                    <a:pt x="69" y="17"/>
                    <a:pt x="50" y="7"/>
                    <a:pt x="36" y="4"/>
                  </a:cubicBezTo>
                  <a:cubicBezTo>
                    <a:pt x="20" y="0"/>
                    <a:pt x="8" y="3"/>
                    <a:pt x="7" y="3"/>
                  </a:cubicBezTo>
                  <a:cubicBezTo>
                    <a:pt x="0" y="4"/>
                    <a:pt x="0" y="4"/>
                    <a:pt x="0" y="4"/>
                  </a:cubicBezTo>
                  <a:cubicBezTo>
                    <a:pt x="77" y="171"/>
                    <a:pt x="77" y="171"/>
                    <a:pt x="77" y="171"/>
                  </a:cubicBezTo>
                  <a:cubicBezTo>
                    <a:pt x="77" y="171"/>
                    <a:pt x="77" y="171"/>
                    <a:pt x="77" y="171"/>
                  </a:cubicBezTo>
                  <a:cubicBezTo>
                    <a:pt x="74" y="164"/>
                    <a:pt x="73" y="155"/>
                    <a:pt x="77" y="14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 name="Freeform 8">
              <a:extLst>
                <a:ext uri="{FF2B5EF4-FFF2-40B4-BE49-F238E27FC236}">
                  <a16:creationId xmlns:a16="http://schemas.microsoft.com/office/drawing/2014/main" id="{9563E519-30B5-DBB4-FAC8-4633E3EE63D9}"/>
                </a:ext>
              </a:extLst>
            </p:cNvPr>
            <p:cNvSpPr>
              <a:spLocks/>
            </p:cNvSpPr>
            <p:nvPr userDrawn="1"/>
          </p:nvSpPr>
          <p:spPr bwMode="auto">
            <a:xfrm>
              <a:off x="6686" y="482"/>
              <a:ext cx="25" cy="63"/>
            </a:xfrm>
            <a:custGeom>
              <a:avLst/>
              <a:gdLst>
                <a:gd name="T0" fmla="*/ 0 w 25"/>
                <a:gd name="T1" fmla="*/ 15 h 62"/>
                <a:gd name="T2" fmla="*/ 15 w 25"/>
                <a:gd name="T3" fmla="*/ 47 h 62"/>
                <a:gd name="T4" fmla="*/ 15 w 25"/>
                <a:gd name="T5" fmla="*/ 62 h 62"/>
                <a:gd name="T6" fmla="*/ 15 w 25"/>
                <a:gd name="T7" fmla="*/ 61 h 62"/>
                <a:gd name="T8" fmla="*/ 25 w 25"/>
                <a:gd name="T9" fmla="*/ 39 h 62"/>
                <a:gd name="T10" fmla="*/ 7 w 25"/>
                <a:gd name="T11" fmla="*/ 0 h 62"/>
                <a:gd name="T12" fmla="*/ 0 w 25"/>
                <a:gd name="T13" fmla="*/ 15 h 62"/>
              </a:gdLst>
              <a:ahLst/>
              <a:cxnLst>
                <a:cxn ang="0">
                  <a:pos x="T0" y="T1"/>
                </a:cxn>
                <a:cxn ang="0">
                  <a:pos x="T2" y="T3"/>
                </a:cxn>
                <a:cxn ang="0">
                  <a:pos x="T4" y="T5"/>
                </a:cxn>
                <a:cxn ang="0">
                  <a:pos x="T6" y="T7"/>
                </a:cxn>
                <a:cxn ang="0">
                  <a:pos x="T8" y="T9"/>
                </a:cxn>
                <a:cxn ang="0">
                  <a:pos x="T10" y="T11"/>
                </a:cxn>
                <a:cxn ang="0">
                  <a:pos x="T12" y="T13"/>
                </a:cxn>
              </a:cxnLst>
              <a:rect l="0" t="0" r="r" b="b"/>
              <a:pathLst>
                <a:path w="25" h="62">
                  <a:moveTo>
                    <a:pt x="0" y="15"/>
                  </a:moveTo>
                  <a:cubicBezTo>
                    <a:pt x="15" y="47"/>
                    <a:pt x="15" y="47"/>
                    <a:pt x="15" y="47"/>
                  </a:cubicBezTo>
                  <a:cubicBezTo>
                    <a:pt x="17" y="52"/>
                    <a:pt x="17" y="57"/>
                    <a:pt x="15" y="62"/>
                  </a:cubicBezTo>
                  <a:cubicBezTo>
                    <a:pt x="15" y="61"/>
                    <a:pt x="15" y="61"/>
                    <a:pt x="15" y="61"/>
                  </a:cubicBezTo>
                  <a:cubicBezTo>
                    <a:pt x="25" y="39"/>
                    <a:pt x="25" y="39"/>
                    <a:pt x="25" y="39"/>
                  </a:cubicBezTo>
                  <a:cubicBezTo>
                    <a:pt x="7" y="0"/>
                    <a:pt x="7" y="0"/>
                    <a:pt x="7" y="0"/>
                  </a:cubicBezTo>
                  <a:cubicBezTo>
                    <a:pt x="0" y="15"/>
                    <a:pt x="0" y="15"/>
                    <a:pt x="0" y="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dirty="0"/>
            </a:p>
          </p:txBody>
        </p:sp>
        <p:sp>
          <p:nvSpPr>
            <p:cNvPr id="17" name="Freeform 9">
              <a:extLst>
                <a:ext uri="{FF2B5EF4-FFF2-40B4-BE49-F238E27FC236}">
                  <a16:creationId xmlns:a16="http://schemas.microsoft.com/office/drawing/2014/main" id="{E5D815CF-C8D2-1C30-56AA-3919A3716BE4}"/>
                </a:ext>
              </a:extLst>
            </p:cNvPr>
            <p:cNvSpPr>
              <a:spLocks/>
            </p:cNvSpPr>
            <p:nvPr userDrawn="1"/>
          </p:nvSpPr>
          <p:spPr bwMode="auto">
            <a:xfrm>
              <a:off x="6385" y="380"/>
              <a:ext cx="160" cy="186"/>
            </a:xfrm>
            <a:custGeom>
              <a:avLst/>
              <a:gdLst>
                <a:gd name="T0" fmla="*/ 80 w 158"/>
                <a:gd name="T1" fmla="*/ 183 h 183"/>
                <a:gd name="T2" fmla="*/ 49 w 158"/>
                <a:gd name="T3" fmla="*/ 179 h 183"/>
                <a:gd name="T4" fmla="*/ 23 w 158"/>
                <a:gd name="T5" fmla="*/ 167 h 183"/>
                <a:gd name="T6" fmla="*/ 6 w 158"/>
                <a:gd name="T7" fmla="*/ 148 h 183"/>
                <a:gd name="T8" fmla="*/ 0 w 158"/>
                <a:gd name="T9" fmla="*/ 122 h 183"/>
                <a:gd name="T10" fmla="*/ 0 w 158"/>
                <a:gd name="T11" fmla="*/ 0 h 183"/>
                <a:gd name="T12" fmla="*/ 32 w 158"/>
                <a:gd name="T13" fmla="*/ 0 h 183"/>
                <a:gd name="T14" fmla="*/ 32 w 158"/>
                <a:gd name="T15" fmla="*/ 122 h 183"/>
                <a:gd name="T16" fmla="*/ 37 w 158"/>
                <a:gd name="T17" fmla="*/ 135 h 183"/>
                <a:gd name="T18" fmla="*/ 48 w 158"/>
                <a:gd name="T19" fmla="*/ 144 h 183"/>
                <a:gd name="T20" fmla="*/ 64 w 158"/>
                <a:gd name="T21" fmla="*/ 149 h 183"/>
                <a:gd name="T22" fmla="*/ 80 w 158"/>
                <a:gd name="T23" fmla="*/ 151 h 183"/>
                <a:gd name="T24" fmla="*/ 95 w 158"/>
                <a:gd name="T25" fmla="*/ 149 h 183"/>
                <a:gd name="T26" fmla="*/ 110 w 158"/>
                <a:gd name="T27" fmla="*/ 144 h 183"/>
                <a:gd name="T28" fmla="*/ 121 w 158"/>
                <a:gd name="T29" fmla="*/ 135 h 183"/>
                <a:gd name="T30" fmla="*/ 125 w 158"/>
                <a:gd name="T31" fmla="*/ 122 h 183"/>
                <a:gd name="T32" fmla="*/ 125 w 158"/>
                <a:gd name="T33" fmla="*/ 0 h 183"/>
                <a:gd name="T34" fmla="*/ 158 w 158"/>
                <a:gd name="T35" fmla="*/ 0 h 183"/>
                <a:gd name="T36" fmla="*/ 158 w 158"/>
                <a:gd name="T37" fmla="*/ 122 h 183"/>
                <a:gd name="T38" fmla="*/ 152 w 158"/>
                <a:gd name="T39" fmla="*/ 148 h 183"/>
                <a:gd name="T40" fmla="*/ 136 w 158"/>
                <a:gd name="T41" fmla="*/ 167 h 183"/>
                <a:gd name="T42" fmla="*/ 111 w 158"/>
                <a:gd name="T43" fmla="*/ 179 h 183"/>
                <a:gd name="T44" fmla="*/ 80 w 158"/>
                <a:gd name="T45" fmla="*/ 183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8" h="183">
                  <a:moveTo>
                    <a:pt x="80" y="183"/>
                  </a:moveTo>
                  <a:cubicBezTo>
                    <a:pt x="69" y="183"/>
                    <a:pt x="59" y="182"/>
                    <a:pt x="49" y="179"/>
                  </a:cubicBezTo>
                  <a:cubicBezTo>
                    <a:pt x="39" y="177"/>
                    <a:pt x="31" y="173"/>
                    <a:pt x="23" y="167"/>
                  </a:cubicBezTo>
                  <a:cubicBezTo>
                    <a:pt x="16" y="162"/>
                    <a:pt x="10" y="156"/>
                    <a:pt x="6" y="148"/>
                  </a:cubicBezTo>
                  <a:cubicBezTo>
                    <a:pt x="2" y="140"/>
                    <a:pt x="0" y="131"/>
                    <a:pt x="0" y="122"/>
                  </a:cubicBezTo>
                  <a:cubicBezTo>
                    <a:pt x="0" y="0"/>
                    <a:pt x="0" y="0"/>
                    <a:pt x="0" y="0"/>
                  </a:cubicBezTo>
                  <a:cubicBezTo>
                    <a:pt x="32" y="0"/>
                    <a:pt x="32" y="0"/>
                    <a:pt x="32" y="0"/>
                  </a:cubicBezTo>
                  <a:cubicBezTo>
                    <a:pt x="32" y="122"/>
                    <a:pt x="32" y="122"/>
                    <a:pt x="32" y="122"/>
                  </a:cubicBezTo>
                  <a:cubicBezTo>
                    <a:pt x="32" y="127"/>
                    <a:pt x="34" y="132"/>
                    <a:pt x="37" y="135"/>
                  </a:cubicBezTo>
                  <a:cubicBezTo>
                    <a:pt x="40" y="139"/>
                    <a:pt x="44" y="142"/>
                    <a:pt x="48" y="144"/>
                  </a:cubicBezTo>
                  <a:cubicBezTo>
                    <a:pt x="53" y="146"/>
                    <a:pt x="58" y="148"/>
                    <a:pt x="64" y="149"/>
                  </a:cubicBezTo>
                  <a:cubicBezTo>
                    <a:pt x="70" y="150"/>
                    <a:pt x="75" y="151"/>
                    <a:pt x="80" y="151"/>
                  </a:cubicBezTo>
                  <a:cubicBezTo>
                    <a:pt x="85" y="151"/>
                    <a:pt x="90" y="150"/>
                    <a:pt x="95" y="149"/>
                  </a:cubicBezTo>
                  <a:cubicBezTo>
                    <a:pt x="100" y="148"/>
                    <a:pt x="105" y="146"/>
                    <a:pt x="110" y="144"/>
                  </a:cubicBezTo>
                  <a:cubicBezTo>
                    <a:pt x="114" y="142"/>
                    <a:pt x="118" y="139"/>
                    <a:pt x="121" y="135"/>
                  </a:cubicBezTo>
                  <a:cubicBezTo>
                    <a:pt x="124" y="132"/>
                    <a:pt x="125" y="127"/>
                    <a:pt x="125" y="122"/>
                  </a:cubicBezTo>
                  <a:cubicBezTo>
                    <a:pt x="125" y="0"/>
                    <a:pt x="125" y="0"/>
                    <a:pt x="125" y="0"/>
                  </a:cubicBezTo>
                  <a:cubicBezTo>
                    <a:pt x="158" y="0"/>
                    <a:pt x="158" y="0"/>
                    <a:pt x="158" y="0"/>
                  </a:cubicBezTo>
                  <a:cubicBezTo>
                    <a:pt x="158" y="122"/>
                    <a:pt x="158" y="122"/>
                    <a:pt x="158" y="122"/>
                  </a:cubicBezTo>
                  <a:cubicBezTo>
                    <a:pt x="158" y="131"/>
                    <a:pt x="156" y="140"/>
                    <a:pt x="152" y="148"/>
                  </a:cubicBezTo>
                  <a:cubicBezTo>
                    <a:pt x="149" y="156"/>
                    <a:pt x="143" y="162"/>
                    <a:pt x="136" y="167"/>
                  </a:cubicBezTo>
                  <a:cubicBezTo>
                    <a:pt x="129" y="173"/>
                    <a:pt x="121" y="177"/>
                    <a:pt x="111" y="179"/>
                  </a:cubicBezTo>
                  <a:cubicBezTo>
                    <a:pt x="102" y="182"/>
                    <a:pt x="91" y="183"/>
                    <a:pt x="80" y="18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Freeform 10">
              <a:extLst>
                <a:ext uri="{FF2B5EF4-FFF2-40B4-BE49-F238E27FC236}">
                  <a16:creationId xmlns:a16="http://schemas.microsoft.com/office/drawing/2014/main" id="{C6C678A9-D53A-DF05-12E5-8AA75D457856}"/>
                </a:ext>
              </a:extLst>
            </p:cNvPr>
            <p:cNvSpPr>
              <a:spLocks/>
            </p:cNvSpPr>
            <p:nvPr userDrawn="1"/>
          </p:nvSpPr>
          <p:spPr bwMode="auto">
            <a:xfrm>
              <a:off x="6182" y="377"/>
              <a:ext cx="159" cy="187"/>
            </a:xfrm>
            <a:custGeom>
              <a:avLst/>
              <a:gdLst>
                <a:gd name="T0" fmla="*/ 126 w 158"/>
                <a:gd name="T1" fmla="*/ 184 h 184"/>
                <a:gd name="T2" fmla="*/ 126 w 158"/>
                <a:gd name="T3" fmla="*/ 62 h 184"/>
                <a:gd name="T4" fmla="*/ 121 w 158"/>
                <a:gd name="T5" fmla="*/ 48 h 184"/>
                <a:gd name="T6" fmla="*/ 110 w 158"/>
                <a:gd name="T7" fmla="*/ 39 h 184"/>
                <a:gd name="T8" fmla="*/ 94 w 158"/>
                <a:gd name="T9" fmla="*/ 34 h 184"/>
                <a:gd name="T10" fmla="*/ 79 w 158"/>
                <a:gd name="T11" fmla="*/ 33 h 184"/>
                <a:gd name="T12" fmla="*/ 63 w 158"/>
                <a:gd name="T13" fmla="*/ 34 h 184"/>
                <a:gd name="T14" fmla="*/ 48 w 158"/>
                <a:gd name="T15" fmla="*/ 39 h 184"/>
                <a:gd name="T16" fmla="*/ 37 w 158"/>
                <a:gd name="T17" fmla="*/ 48 h 184"/>
                <a:gd name="T18" fmla="*/ 33 w 158"/>
                <a:gd name="T19" fmla="*/ 62 h 184"/>
                <a:gd name="T20" fmla="*/ 33 w 158"/>
                <a:gd name="T21" fmla="*/ 184 h 184"/>
                <a:gd name="T22" fmla="*/ 0 w 158"/>
                <a:gd name="T23" fmla="*/ 184 h 184"/>
                <a:gd name="T24" fmla="*/ 0 w 158"/>
                <a:gd name="T25" fmla="*/ 62 h 184"/>
                <a:gd name="T26" fmla="*/ 6 w 158"/>
                <a:gd name="T27" fmla="*/ 35 h 184"/>
                <a:gd name="T28" fmla="*/ 23 w 158"/>
                <a:gd name="T29" fmla="*/ 16 h 184"/>
                <a:gd name="T30" fmla="*/ 48 w 158"/>
                <a:gd name="T31" fmla="*/ 4 h 184"/>
                <a:gd name="T32" fmla="*/ 79 w 158"/>
                <a:gd name="T33" fmla="*/ 0 h 184"/>
                <a:gd name="T34" fmla="*/ 110 w 158"/>
                <a:gd name="T35" fmla="*/ 4 h 184"/>
                <a:gd name="T36" fmla="*/ 135 w 158"/>
                <a:gd name="T37" fmla="*/ 16 h 184"/>
                <a:gd name="T38" fmla="*/ 152 w 158"/>
                <a:gd name="T39" fmla="*/ 35 h 184"/>
                <a:gd name="T40" fmla="*/ 158 w 158"/>
                <a:gd name="T41" fmla="*/ 62 h 184"/>
                <a:gd name="T42" fmla="*/ 158 w 158"/>
                <a:gd name="T43" fmla="*/ 184 h 184"/>
                <a:gd name="T44" fmla="*/ 126 w 158"/>
                <a:gd name="T45" fmla="*/ 1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8" h="184">
                  <a:moveTo>
                    <a:pt x="126" y="184"/>
                  </a:moveTo>
                  <a:cubicBezTo>
                    <a:pt x="126" y="62"/>
                    <a:pt x="126" y="62"/>
                    <a:pt x="126" y="62"/>
                  </a:cubicBezTo>
                  <a:cubicBezTo>
                    <a:pt x="126" y="56"/>
                    <a:pt x="124" y="52"/>
                    <a:pt x="121" y="48"/>
                  </a:cubicBezTo>
                  <a:cubicBezTo>
                    <a:pt x="118" y="45"/>
                    <a:pt x="114" y="41"/>
                    <a:pt x="110" y="39"/>
                  </a:cubicBezTo>
                  <a:cubicBezTo>
                    <a:pt x="105" y="37"/>
                    <a:pt x="100" y="35"/>
                    <a:pt x="94" y="34"/>
                  </a:cubicBezTo>
                  <a:cubicBezTo>
                    <a:pt x="89" y="33"/>
                    <a:pt x="84" y="33"/>
                    <a:pt x="79" y="33"/>
                  </a:cubicBezTo>
                  <a:cubicBezTo>
                    <a:pt x="74" y="33"/>
                    <a:pt x="69" y="33"/>
                    <a:pt x="63" y="34"/>
                  </a:cubicBezTo>
                  <a:cubicBezTo>
                    <a:pt x="58" y="35"/>
                    <a:pt x="53" y="37"/>
                    <a:pt x="48" y="39"/>
                  </a:cubicBezTo>
                  <a:cubicBezTo>
                    <a:pt x="44" y="41"/>
                    <a:pt x="40" y="45"/>
                    <a:pt x="37" y="48"/>
                  </a:cubicBezTo>
                  <a:cubicBezTo>
                    <a:pt x="34" y="52"/>
                    <a:pt x="33" y="56"/>
                    <a:pt x="33" y="62"/>
                  </a:cubicBezTo>
                  <a:cubicBezTo>
                    <a:pt x="33" y="184"/>
                    <a:pt x="33" y="184"/>
                    <a:pt x="33" y="184"/>
                  </a:cubicBezTo>
                  <a:cubicBezTo>
                    <a:pt x="0" y="184"/>
                    <a:pt x="0" y="184"/>
                    <a:pt x="0" y="184"/>
                  </a:cubicBezTo>
                  <a:cubicBezTo>
                    <a:pt x="0" y="62"/>
                    <a:pt x="0" y="62"/>
                    <a:pt x="0" y="62"/>
                  </a:cubicBezTo>
                  <a:cubicBezTo>
                    <a:pt x="0" y="52"/>
                    <a:pt x="2" y="43"/>
                    <a:pt x="6" y="35"/>
                  </a:cubicBezTo>
                  <a:cubicBezTo>
                    <a:pt x="10" y="27"/>
                    <a:pt x="16" y="21"/>
                    <a:pt x="23" y="16"/>
                  </a:cubicBezTo>
                  <a:cubicBezTo>
                    <a:pt x="30" y="11"/>
                    <a:pt x="38" y="7"/>
                    <a:pt x="48" y="4"/>
                  </a:cubicBezTo>
                  <a:cubicBezTo>
                    <a:pt x="58" y="1"/>
                    <a:pt x="68" y="0"/>
                    <a:pt x="79" y="0"/>
                  </a:cubicBezTo>
                  <a:cubicBezTo>
                    <a:pt x="90" y="0"/>
                    <a:pt x="101" y="1"/>
                    <a:pt x="110" y="4"/>
                  </a:cubicBezTo>
                  <a:cubicBezTo>
                    <a:pt x="120" y="7"/>
                    <a:pt x="128" y="11"/>
                    <a:pt x="135" y="16"/>
                  </a:cubicBezTo>
                  <a:cubicBezTo>
                    <a:pt x="143" y="21"/>
                    <a:pt x="148" y="28"/>
                    <a:pt x="152" y="35"/>
                  </a:cubicBezTo>
                  <a:cubicBezTo>
                    <a:pt x="156" y="43"/>
                    <a:pt x="158" y="52"/>
                    <a:pt x="158" y="62"/>
                  </a:cubicBezTo>
                  <a:cubicBezTo>
                    <a:pt x="158" y="184"/>
                    <a:pt x="158" y="184"/>
                    <a:pt x="158" y="184"/>
                  </a:cubicBezTo>
                  <a:cubicBezTo>
                    <a:pt x="126" y="184"/>
                    <a:pt x="126" y="184"/>
                    <a:pt x="126" y="1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 name="Freeform 11">
              <a:extLst>
                <a:ext uri="{FF2B5EF4-FFF2-40B4-BE49-F238E27FC236}">
                  <a16:creationId xmlns:a16="http://schemas.microsoft.com/office/drawing/2014/main" id="{005FC275-ADCA-F03F-0F22-834D2E205880}"/>
                </a:ext>
              </a:extLst>
            </p:cNvPr>
            <p:cNvSpPr>
              <a:spLocks noEditPoints="1"/>
            </p:cNvSpPr>
            <p:nvPr userDrawn="1"/>
          </p:nvSpPr>
          <p:spPr bwMode="auto">
            <a:xfrm>
              <a:off x="5978" y="377"/>
              <a:ext cx="160" cy="189"/>
            </a:xfrm>
            <a:custGeom>
              <a:avLst/>
              <a:gdLst>
                <a:gd name="T0" fmla="*/ 126 w 159"/>
                <a:gd name="T1" fmla="*/ 77 h 186"/>
                <a:gd name="T2" fmla="*/ 126 w 159"/>
                <a:gd name="T3" fmla="*/ 62 h 186"/>
                <a:gd name="T4" fmla="*/ 122 w 159"/>
                <a:gd name="T5" fmla="*/ 49 h 186"/>
                <a:gd name="T6" fmla="*/ 112 w 159"/>
                <a:gd name="T7" fmla="*/ 40 h 186"/>
                <a:gd name="T8" fmla="*/ 97 w 159"/>
                <a:gd name="T9" fmla="*/ 35 h 186"/>
                <a:gd name="T10" fmla="*/ 79 w 159"/>
                <a:gd name="T11" fmla="*/ 33 h 186"/>
                <a:gd name="T12" fmla="*/ 61 w 159"/>
                <a:gd name="T13" fmla="*/ 35 h 186"/>
                <a:gd name="T14" fmla="*/ 46 w 159"/>
                <a:gd name="T15" fmla="*/ 40 h 186"/>
                <a:gd name="T16" fmla="*/ 37 w 159"/>
                <a:gd name="T17" fmla="*/ 50 h 186"/>
                <a:gd name="T18" fmla="*/ 33 w 159"/>
                <a:gd name="T19" fmla="*/ 62 h 186"/>
                <a:gd name="T20" fmla="*/ 33 w 159"/>
                <a:gd name="T21" fmla="*/ 77 h 186"/>
                <a:gd name="T22" fmla="*/ 126 w 159"/>
                <a:gd name="T23" fmla="*/ 77 h 186"/>
                <a:gd name="T24" fmla="*/ 79 w 159"/>
                <a:gd name="T25" fmla="*/ 186 h 186"/>
                <a:gd name="T26" fmla="*/ 49 w 159"/>
                <a:gd name="T27" fmla="*/ 182 h 186"/>
                <a:gd name="T28" fmla="*/ 24 w 159"/>
                <a:gd name="T29" fmla="*/ 171 h 186"/>
                <a:gd name="T30" fmla="*/ 7 w 159"/>
                <a:gd name="T31" fmla="*/ 151 h 186"/>
                <a:gd name="T32" fmla="*/ 0 w 159"/>
                <a:gd name="T33" fmla="*/ 123 h 186"/>
                <a:gd name="T34" fmla="*/ 0 w 159"/>
                <a:gd name="T35" fmla="*/ 62 h 186"/>
                <a:gd name="T36" fmla="*/ 7 w 159"/>
                <a:gd name="T37" fmla="*/ 35 h 186"/>
                <a:gd name="T38" fmla="*/ 23 w 159"/>
                <a:gd name="T39" fmla="*/ 16 h 186"/>
                <a:gd name="T40" fmla="*/ 48 w 159"/>
                <a:gd name="T41" fmla="*/ 4 h 186"/>
                <a:gd name="T42" fmla="*/ 79 w 159"/>
                <a:gd name="T43" fmla="*/ 0 h 186"/>
                <a:gd name="T44" fmla="*/ 110 w 159"/>
                <a:gd name="T45" fmla="*/ 4 h 186"/>
                <a:gd name="T46" fmla="*/ 135 w 159"/>
                <a:gd name="T47" fmla="*/ 15 h 186"/>
                <a:gd name="T48" fmla="*/ 152 w 159"/>
                <a:gd name="T49" fmla="*/ 34 h 186"/>
                <a:gd name="T50" fmla="*/ 159 w 159"/>
                <a:gd name="T51" fmla="*/ 62 h 186"/>
                <a:gd name="T52" fmla="*/ 159 w 159"/>
                <a:gd name="T53" fmla="*/ 109 h 186"/>
                <a:gd name="T54" fmla="*/ 33 w 159"/>
                <a:gd name="T55" fmla="*/ 109 h 186"/>
                <a:gd name="T56" fmla="*/ 33 w 159"/>
                <a:gd name="T57" fmla="*/ 124 h 186"/>
                <a:gd name="T58" fmla="*/ 37 w 159"/>
                <a:gd name="T59" fmla="*/ 136 h 186"/>
                <a:gd name="T60" fmla="*/ 47 w 159"/>
                <a:gd name="T61" fmla="*/ 146 h 186"/>
                <a:gd name="T62" fmla="*/ 61 w 159"/>
                <a:gd name="T63" fmla="*/ 152 h 186"/>
                <a:gd name="T64" fmla="*/ 79 w 159"/>
                <a:gd name="T65" fmla="*/ 154 h 186"/>
                <a:gd name="T66" fmla="*/ 105 w 159"/>
                <a:gd name="T67" fmla="*/ 149 h 186"/>
                <a:gd name="T68" fmla="*/ 125 w 159"/>
                <a:gd name="T69" fmla="*/ 136 h 186"/>
                <a:gd name="T70" fmla="*/ 125 w 159"/>
                <a:gd name="T71" fmla="*/ 135 h 186"/>
                <a:gd name="T72" fmla="*/ 155 w 159"/>
                <a:gd name="T73" fmla="*/ 152 h 186"/>
                <a:gd name="T74" fmla="*/ 154 w 159"/>
                <a:gd name="T75" fmla="*/ 153 h 186"/>
                <a:gd name="T76" fmla="*/ 123 w 159"/>
                <a:gd name="T77" fmla="*/ 178 h 186"/>
                <a:gd name="T78" fmla="*/ 79 w 159"/>
                <a:gd name="T79" fmla="*/ 186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59" h="186">
                  <a:moveTo>
                    <a:pt x="126" y="77"/>
                  </a:moveTo>
                  <a:cubicBezTo>
                    <a:pt x="126" y="62"/>
                    <a:pt x="126" y="62"/>
                    <a:pt x="126" y="62"/>
                  </a:cubicBezTo>
                  <a:cubicBezTo>
                    <a:pt x="126" y="57"/>
                    <a:pt x="125" y="53"/>
                    <a:pt x="122" y="49"/>
                  </a:cubicBezTo>
                  <a:cubicBezTo>
                    <a:pt x="120" y="46"/>
                    <a:pt x="116" y="42"/>
                    <a:pt x="112" y="40"/>
                  </a:cubicBezTo>
                  <a:cubicBezTo>
                    <a:pt x="108" y="38"/>
                    <a:pt x="103" y="36"/>
                    <a:pt x="97" y="35"/>
                  </a:cubicBezTo>
                  <a:cubicBezTo>
                    <a:pt x="92" y="33"/>
                    <a:pt x="86" y="33"/>
                    <a:pt x="79" y="33"/>
                  </a:cubicBezTo>
                  <a:cubicBezTo>
                    <a:pt x="73" y="33"/>
                    <a:pt x="67" y="33"/>
                    <a:pt x="61" y="35"/>
                  </a:cubicBezTo>
                  <a:cubicBezTo>
                    <a:pt x="56" y="36"/>
                    <a:pt x="51" y="38"/>
                    <a:pt x="46" y="40"/>
                  </a:cubicBezTo>
                  <a:cubicBezTo>
                    <a:pt x="42" y="43"/>
                    <a:pt x="39" y="46"/>
                    <a:pt x="37" y="50"/>
                  </a:cubicBezTo>
                  <a:cubicBezTo>
                    <a:pt x="34" y="53"/>
                    <a:pt x="33" y="57"/>
                    <a:pt x="33" y="62"/>
                  </a:cubicBezTo>
                  <a:cubicBezTo>
                    <a:pt x="33" y="77"/>
                    <a:pt x="33" y="77"/>
                    <a:pt x="33" y="77"/>
                  </a:cubicBezTo>
                  <a:cubicBezTo>
                    <a:pt x="126" y="77"/>
                    <a:pt x="126" y="77"/>
                    <a:pt x="126" y="77"/>
                  </a:cubicBezTo>
                  <a:close/>
                  <a:moveTo>
                    <a:pt x="79" y="186"/>
                  </a:moveTo>
                  <a:cubicBezTo>
                    <a:pt x="69" y="186"/>
                    <a:pt x="59" y="185"/>
                    <a:pt x="49" y="182"/>
                  </a:cubicBezTo>
                  <a:cubicBezTo>
                    <a:pt x="40" y="180"/>
                    <a:pt x="32" y="176"/>
                    <a:pt x="24" y="171"/>
                  </a:cubicBezTo>
                  <a:cubicBezTo>
                    <a:pt x="17" y="166"/>
                    <a:pt x="11" y="159"/>
                    <a:pt x="7" y="151"/>
                  </a:cubicBezTo>
                  <a:cubicBezTo>
                    <a:pt x="3" y="143"/>
                    <a:pt x="0" y="134"/>
                    <a:pt x="0" y="123"/>
                  </a:cubicBezTo>
                  <a:cubicBezTo>
                    <a:pt x="0" y="62"/>
                    <a:pt x="0" y="62"/>
                    <a:pt x="0" y="62"/>
                  </a:cubicBezTo>
                  <a:cubicBezTo>
                    <a:pt x="0" y="52"/>
                    <a:pt x="2" y="43"/>
                    <a:pt x="7" y="35"/>
                  </a:cubicBezTo>
                  <a:cubicBezTo>
                    <a:pt x="11" y="28"/>
                    <a:pt x="16" y="21"/>
                    <a:pt x="23" y="16"/>
                  </a:cubicBezTo>
                  <a:cubicBezTo>
                    <a:pt x="30" y="11"/>
                    <a:pt x="39" y="7"/>
                    <a:pt x="48" y="4"/>
                  </a:cubicBezTo>
                  <a:cubicBezTo>
                    <a:pt x="58" y="1"/>
                    <a:pt x="68" y="0"/>
                    <a:pt x="79" y="0"/>
                  </a:cubicBezTo>
                  <a:cubicBezTo>
                    <a:pt x="90" y="0"/>
                    <a:pt x="100" y="1"/>
                    <a:pt x="110" y="4"/>
                  </a:cubicBezTo>
                  <a:cubicBezTo>
                    <a:pt x="120" y="6"/>
                    <a:pt x="128" y="10"/>
                    <a:pt x="135" y="15"/>
                  </a:cubicBezTo>
                  <a:cubicBezTo>
                    <a:pt x="142" y="20"/>
                    <a:pt x="148" y="26"/>
                    <a:pt x="152" y="34"/>
                  </a:cubicBezTo>
                  <a:cubicBezTo>
                    <a:pt x="156" y="42"/>
                    <a:pt x="159" y="51"/>
                    <a:pt x="159" y="62"/>
                  </a:cubicBezTo>
                  <a:cubicBezTo>
                    <a:pt x="159" y="109"/>
                    <a:pt x="159" y="109"/>
                    <a:pt x="159" y="109"/>
                  </a:cubicBezTo>
                  <a:cubicBezTo>
                    <a:pt x="33" y="109"/>
                    <a:pt x="33" y="109"/>
                    <a:pt x="33" y="109"/>
                  </a:cubicBezTo>
                  <a:cubicBezTo>
                    <a:pt x="33" y="124"/>
                    <a:pt x="33" y="124"/>
                    <a:pt x="33" y="124"/>
                  </a:cubicBezTo>
                  <a:cubicBezTo>
                    <a:pt x="33" y="129"/>
                    <a:pt x="35" y="133"/>
                    <a:pt x="37" y="136"/>
                  </a:cubicBezTo>
                  <a:cubicBezTo>
                    <a:pt x="39" y="140"/>
                    <a:pt x="43" y="143"/>
                    <a:pt x="47" y="146"/>
                  </a:cubicBezTo>
                  <a:cubicBezTo>
                    <a:pt x="51" y="148"/>
                    <a:pt x="56" y="150"/>
                    <a:pt x="61" y="152"/>
                  </a:cubicBezTo>
                  <a:cubicBezTo>
                    <a:pt x="67" y="153"/>
                    <a:pt x="73" y="154"/>
                    <a:pt x="79" y="154"/>
                  </a:cubicBezTo>
                  <a:cubicBezTo>
                    <a:pt x="88" y="154"/>
                    <a:pt x="97" y="152"/>
                    <a:pt x="105" y="149"/>
                  </a:cubicBezTo>
                  <a:cubicBezTo>
                    <a:pt x="113" y="146"/>
                    <a:pt x="120" y="142"/>
                    <a:pt x="125" y="136"/>
                  </a:cubicBezTo>
                  <a:cubicBezTo>
                    <a:pt x="125" y="135"/>
                    <a:pt x="125" y="135"/>
                    <a:pt x="125" y="135"/>
                  </a:cubicBezTo>
                  <a:cubicBezTo>
                    <a:pt x="155" y="152"/>
                    <a:pt x="155" y="152"/>
                    <a:pt x="155" y="152"/>
                  </a:cubicBezTo>
                  <a:cubicBezTo>
                    <a:pt x="154" y="153"/>
                    <a:pt x="154" y="153"/>
                    <a:pt x="154" y="153"/>
                  </a:cubicBezTo>
                  <a:cubicBezTo>
                    <a:pt x="147" y="164"/>
                    <a:pt x="136" y="172"/>
                    <a:pt x="123" y="178"/>
                  </a:cubicBezTo>
                  <a:cubicBezTo>
                    <a:pt x="109" y="183"/>
                    <a:pt x="95" y="186"/>
                    <a:pt x="79" y="18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 name="Freeform 12">
              <a:extLst>
                <a:ext uri="{FF2B5EF4-FFF2-40B4-BE49-F238E27FC236}">
                  <a16:creationId xmlns:a16="http://schemas.microsoft.com/office/drawing/2014/main" id="{1772F182-D8D9-E645-F0EC-DE2B3A05B377}"/>
                </a:ext>
              </a:extLst>
            </p:cNvPr>
            <p:cNvSpPr>
              <a:spLocks/>
            </p:cNvSpPr>
            <p:nvPr userDrawn="1"/>
          </p:nvSpPr>
          <p:spPr bwMode="auto">
            <a:xfrm>
              <a:off x="5837" y="380"/>
              <a:ext cx="119" cy="184"/>
            </a:xfrm>
            <a:custGeom>
              <a:avLst/>
              <a:gdLst>
                <a:gd name="T0" fmla="*/ 0 w 118"/>
                <a:gd name="T1" fmla="*/ 130 h 181"/>
                <a:gd name="T2" fmla="*/ 0 w 118"/>
                <a:gd name="T3" fmla="*/ 61 h 181"/>
                <a:gd name="T4" fmla="*/ 21 w 118"/>
                <a:gd name="T5" fmla="*/ 16 h 181"/>
                <a:gd name="T6" fmla="*/ 76 w 118"/>
                <a:gd name="T7" fmla="*/ 0 h 181"/>
                <a:gd name="T8" fmla="*/ 118 w 118"/>
                <a:gd name="T9" fmla="*/ 0 h 181"/>
                <a:gd name="T10" fmla="*/ 118 w 118"/>
                <a:gd name="T11" fmla="*/ 32 h 181"/>
                <a:gd name="T12" fmla="*/ 76 w 118"/>
                <a:gd name="T13" fmla="*/ 32 h 181"/>
                <a:gd name="T14" fmla="*/ 45 w 118"/>
                <a:gd name="T15" fmla="*/ 40 h 181"/>
                <a:gd name="T16" fmla="*/ 33 w 118"/>
                <a:gd name="T17" fmla="*/ 61 h 181"/>
                <a:gd name="T18" fmla="*/ 33 w 118"/>
                <a:gd name="T19" fmla="*/ 181 h 181"/>
                <a:gd name="T20" fmla="*/ 0 w 118"/>
                <a:gd name="T21" fmla="*/ 13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8" h="181">
                  <a:moveTo>
                    <a:pt x="0" y="130"/>
                  </a:moveTo>
                  <a:cubicBezTo>
                    <a:pt x="0" y="61"/>
                    <a:pt x="0" y="61"/>
                    <a:pt x="0" y="61"/>
                  </a:cubicBezTo>
                  <a:cubicBezTo>
                    <a:pt x="0" y="42"/>
                    <a:pt x="7" y="27"/>
                    <a:pt x="21" y="16"/>
                  </a:cubicBezTo>
                  <a:cubicBezTo>
                    <a:pt x="34" y="5"/>
                    <a:pt x="53" y="0"/>
                    <a:pt x="76" y="0"/>
                  </a:cubicBezTo>
                  <a:cubicBezTo>
                    <a:pt x="118" y="0"/>
                    <a:pt x="118" y="0"/>
                    <a:pt x="118" y="0"/>
                  </a:cubicBezTo>
                  <a:cubicBezTo>
                    <a:pt x="118" y="32"/>
                    <a:pt x="118" y="32"/>
                    <a:pt x="118" y="32"/>
                  </a:cubicBezTo>
                  <a:cubicBezTo>
                    <a:pt x="76" y="32"/>
                    <a:pt x="76" y="32"/>
                    <a:pt x="76" y="32"/>
                  </a:cubicBezTo>
                  <a:cubicBezTo>
                    <a:pt x="63" y="32"/>
                    <a:pt x="53" y="35"/>
                    <a:pt x="45" y="40"/>
                  </a:cubicBezTo>
                  <a:cubicBezTo>
                    <a:pt x="37" y="45"/>
                    <a:pt x="33" y="52"/>
                    <a:pt x="33" y="61"/>
                  </a:cubicBezTo>
                  <a:cubicBezTo>
                    <a:pt x="33" y="181"/>
                    <a:pt x="33" y="181"/>
                    <a:pt x="33" y="181"/>
                  </a:cubicBezTo>
                  <a:cubicBezTo>
                    <a:pt x="33" y="181"/>
                    <a:pt x="0" y="168"/>
                    <a:pt x="0" y="13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Freeform 13">
              <a:extLst>
                <a:ext uri="{FF2B5EF4-FFF2-40B4-BE49-F238E27FC236}">
                  <a16:creationId xmlns:a16="http://schemas.microsoft.com/office/drawing/2014/main" id="{C17F8F17-A178-C8C0-DE7C-D04492FEAD13}"/>
                </a:ext>
              </a:extLst>
            </p:cNvPr>
            <p:cNvSpPr>
              <a:spLocks/>
            </p:cNvSpPr>
            <p:nvPr userDrawn="1"/>
          </p:nvSpPr>
          <p:spPr bwMode="auto">
            <a:xfrm>
              <a:off x="6829" y="380"/>
              <a:ext cx="33" cy="184"/>
            </a:xfrm>
            <a:custGeom>
              <a:avLst/>
              <a:gdLst>
                <a:gd name="T0" fmla="*/ 0 w 33"/>
                <a:gd name="T1" fmla="*/ 184 h 184"/>
                <a:gd name="T2" fmla="*/ 0 w 33"/>
                <a:gd name="T3" fmla="*/ 0 h 184"/>
                <a:gd name="T4" fmla="*/ 33 w 33"/>
                <a:gd name="T5" fmla="*/ 0 h 184"/>
                <a:gd name="T6" fmla="*/ 33 w 33"/>
                <a:gd name="T7" fmla="*/ 184 h 184"/>
                <a:gd name="T8" fmla="*/ 0 w 33"/>
                <a:gd name="T9" fmla="*/ 184 h 184"/>
                <a:gd name="T10" fmla="*/ 0 w 33"/>
                <a:gd name="T11" fmla="*/ 184 h 184"/>
              </a:gdLst>
              <a:ahLst/>
              <a:cxnLst>
                <a:cxn ang="0">
                  <a:pos x="T0" y="T1"/>
                </a:cxn>
                <a:cxn ang="0">
                  <a:pos x="T2" y="T3"/>
                </a:cxn>
                <a:cxn ang="0">
                  <a:pos x="T4" y="T5"/>
                </a:cxn>
                <a:cxn ang="0">
                  <a:pos x="T6" y="T7"/>
                </a:cxn>
                <a:cxn ang="0">
                  <a:pos x="T8" y="T9"/>
                </a:cxn>
                <a:cxn ang="0">
                  <a:pos x="T10" y="T11"/>
                </a:cxn>
              </a:cxnLst>
              <a:rect l="0" t="0" r="r" b="b"/>
              <a:pathLst>
                <a:path w="33" h="184">
                  <a:moveTo>
                    <a:pt x="0" y="184"/>
                  </a:moveTo>
                  <a:lnTo>
                    <a:pt x="0" y="0"/>
                  </a:lnTo>
                  <a:lnTo>
                    <a:pt x="33" y="0"/>
                  </a:lnTo>
                  <a:lnTo>
                    <a:pt x="33" y="184"/>
                  </a:lnTo>
                  <a:lnTo>
                    <a:pt x="0" y="184"/>
                  </a:lnTo>
                  <a:lnTo>
                    <a:pt x="0" y="18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 name="Freeform 14">
              <a:extLst>
                <a:ext uri="{FF2B5EF4-FFF2-40B4-BE49-F238E27FC236}">
                  <a16:creationId xmlns:a16="http://schemas.microsoft.com/office/drawing/2014/main" id="{64E1773D-9F5D-DA17-CB01-B0ECDA738E8D}"/>
                </a:ext>
              </a:extLst>
            </p:cNvPr>
            <p:cNvSpPr>
              <a:spLocks noEditPoints="1"/>
            </p:cNvSpPr>
            <p:nvPr userDrawn="1"/>
          </p:nvSpPr>
          <p:spPr bwMode="auto">
            <a:xfrm>
              <a:off x="6911" y="377"/>
              <a:ext cx="159" cy="189"/>
            </a:xfrm>
            <a:custGeom>
              <a:avLst/>
              <a:gdLst>
                <a:gd name="T0" fmla="*/ 79 w 158"/>
                <a:gd name="T1" fmla="*/ 33 h 186"/>
                <a:gd name="T2" fmla="*/ 61 w 158"/>
                <a:gd name="T3" fmla="*/ 35 h 186"/>
                <a:gd name="T4" fmla="*/ 46 w 158"/>
                <a:gd name="T5" fmla="*/ 40 h 186"/>
                <a:gd name="T6" fmla="*/ 36 w 158"/>
                <a:gd name="T7" fmla="*/ 50 h 186"/>
                <a:gd name="T8" fmla="*/ 33 w 158"/>
                <a:gd name="T9" fmla="*/ 62 h 186"/>
                <a:gd name="T10" fmla="*/ 33 w 158"/>
                <a:gd name="T11" fmla="*/ 123 h 186"/>
                <a:gd name="T12" fmla="*/ 36 w 158"/>
                <a:gd name="T13" fmla="*/ 136 h 186"/>
                <a:gd name="T14" fmla="*/ 46 w 158"/>
                <a:gd name="T15" fmla="*/ 146 h 186"/>
                <a:gd name="T16" fmla="*/ 61 w 158"/>
                <a:gd name="T17" fmla="*/ 151 h 186"/>
                <a:gd name="T18" fmla="*/ 79 w 158"/>
                <a:gd name="T19" fmla="*/ 154 h 186"/>
                <a:gd name="T20" fmla="*/ 96 w 158"/>
                <a:gd name="T21" fmla="*/ 151 h 186"/>
                <a:gd name="T22" fmla="*/ 111 w 158"/>
                <a:gd name="T23" fmla="*/ 146 h 186"/>
                <a:gd name="T24" fmla="*/ 121 w 158"/>
                <a:gd name="T25" fmla="*/ 136 h 186"/>
                <a:gd name="T26" fmla="*/ 125 w 158"/>
                <a:gd name="T27" fmla="*/ 123 h 186"/>
                <a:gd name="T28" fmla="*/ 125 w 158"/>
                <a:gd name="T29" fmla="*/ 62 h 186"/>
                <a:gd name="T30" fmla="*/ 121 w 158"/>
                <a:gd name="T31" fmla="*/ 50 h 186"/>
                <a:gd name="T32" fmla="*/ 111 w 158"/>
                <a:gd name="T33" fmla="*/ 40 h 186"/>
                <a:gd name="T34" fmla="*/ 96 w 158"/>
                <a:gd name="T35" fmla="*/ 35 h 186"/>
                <a:gd name="T36" fmla="*/ 79 w 158"/>
                <a:gd name="T37" fmla="*/ 33 h 186"/>
                <a:gd name="T38" fmla="*/ 79 w 158"/>
                <a:gd name="T39" fmla="*/ 186 h 186"/>
                <a:gd name="T40" fmla="*/ 48 w 158"/>
                <a:gd name="T41" fmla="*/ 182 h 186"/>
                <a:gd name="T42" fmla="*/ 23 w 158"/>
                <a:gd name="T43" fmla="*/ 170 h 186"/>
                <a:gd name="T44" fmla="*/ 6 w 158"/>
                <a:gd name="T45" fmla="*/ 150 h 186"/>
                <a:gd name="T46" fmla="*/ 0 w 158"/>
                <a:gd name="T47" fmla="*/ 123 h 186"/>
                <a:gd name="T48" fmla="*/ 0 w 158"/>
                <a:gd name="T49" fmla="*/ 62 h 186"/>
                <a:gd name="T50" fmla="*/ 6 w 158"/>
                <a:gd name="T51" fmla="*/ 35 h 186"/>
                <a:gd name="T52" fmla="*/ 23 w 158"/>
                <a:gd name="T53" fmla="*/ 16 h 186"/>
                <a:gd name="T54" fmla="*/ 48 w 158"/>
                <a:gd name="T55" fmla="*/ 4 h 186"/>
                <a:gd name="T56" fmla="*/ 79 w 158"/>
                <a:gd name="T57" fmla="*/ 0 h 186"/>
                <a:gd name="T58" fmla="*/ 110 w 158"/>
                <a:gd name="T59" fmla="*/ 4 h 186"/>
                <a:gd name="T60" fmla="*/ 135 w 158"/>
                <a:gd name="T61" fmla="*/ 16 h 186"/>
                <a:gd name="T62" fmla="*/ 152 w 158"/>
                <a:gd name="T63" fmla="*/ 35 h 186"/>
                <a:gd name="T64" fmla="*/ 158 w 158"/>
                <a:gd name="T65" fmla="*/ 62 h 186"/>
                <a:gd name="T66" fmla="*/ 158 w 158"/>
                <a:gd name="T67" fmla="*/ 123 h 186"/>
                <a:gd name="T68" fmla="*/ 152 w 158"/>
                <a:gd name="T69" fmla="*/ 150 h 186"/>
                <a:gd name="T70" fmla="*/ 135 w 158"/>
                <a:gd name="T71" fmla="*/ 170 h 186"/>
                <a:gd name="T72" fmla="*/ 110 w 158"/>
                <a:gd name="T73" fmla="*/ 182 h 186"/>
                <a:gd name="T74" fmla="*/ 79 w 158"/>
                <a:gd name="T75" fmla="*/ 186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8" h="186">
                  <a:moveTo>
                    <a:pt x="79" y="33"/>
                  </a:moveTo>
                  <a:cubicBezTo>
                    <a:pt x="73" y="33"/>
                    <a:pt x="67" y="33"/>
                    <a:pt x="61" y="35"/>
                  </a:cubicBezTo>
                  <a:cubicBezTo>
                    <a:pt x="56" y="36"/>
                    <a:pt x="51" y="38"/>
                    <a:pt x="46" y="40"/>
                  </a:cubicBezTo>
                  <a:cubicBezTo>
                    <a:pt x="42" y="43"/>
                    <a:pt x="39" y="46"/>
                    <a:pt x="36" y="50"/>
                  </a:cubicBezTo>
                  <a:cubicBezTo>
                    <a:pt x="34" y="53"/>
                    <a:pt x="33" y="57"/>
                    <a:pt x="33" y="62"/>
                  </a:cubicBezTo>
                  <a:cubicBezTo>
                    <a:pt x="33" y="123"/>
                    <a:pt x="33" y="123"/>
                    <a:pt x="33" y="123"/>
                  </a:cubicBezTo>
                  <a:cubicBezTo>
                    <a:pt x="33" y="128"/>
                    <a:pt x="34" y="133"/>
                    <a:pt x="36" y="136"/>
                  </a:cubicBezTo>
                  <a:cubicBezTo>
                    <a:pt x="39" y="140"/>
                    <a:pt x="42" y="143"/>
                    <a:pt x="46" y="146"/>
                  </a:cubicBezTo>
                  <a:cubicBezTo>
                    <a:pt x="51" y="148"/>
                    <a:pt x="56" y="150"/>
                    <a:pt x="61" y="151"/>
                  </a:cubicBezTo>
                  <a:cubicBezTo>
                    <a:pt x="67" y="153"/>
                    <a:pt x="73" y="154"/>
                    <a:pt x="79" y="154"/>
                  </a:cubicBezTo>
                  <a:cubicBezTo>
                    <a:pt x="85" y="154"/>
                    <a:pt x="91" y="153"/>
                    <a:pt x="96" y="151"/>
                  </a:cubicBezTo>
                  <a:cubicBezTo>
                    <a:pt x="102" y="150"/>
                    <a:pt x="107" y="148"/>
                    <a:pt x="111" y="146"/>
                  </a:cubicBezTo>
                  <a:cubicBezTo>
                    <a:pt x="115" y="143"/>
                    <a:pt x="119" y="140"/>
                    <a:pt x="121" y="136"/>
                  </a:cubicBezTo>
                  <a:cubicBezTo>
                    <a:pt x="124" y="133"/>
                    <a:pt x="125" y="128"/>
                    <a:pt x="125" y="123"/>
                  </a:cubicBezTo>
                  <a:cubicBezTo>
                    <a:pt x="125" y="62"/>
                    <a:pt x="125" y="62"/>
                    <a:pt x="125" y="62"/>
                  </a:cubicBezTo>
                  <a:cubicBezTo>
                    <a:pt x="125" y="57"/>
                    <a:pt x="124" y="53"/>
                    <a:pt x="121" y="50"/>
                  </a:cubicBezTo>
                  <a:cubicBezTo>
                    <a:pt x="119" y="46"/>
                    <a:pt x="115" y="43"/>
                    <a:pt x="111" y="40"/>
                  </a:cubicBezTo>
                  <a:cubicBezTo>
                    <a:pt x="107" y="38"/>
                    <a:pt x="102" y="36"/>
                    <a:pt x="96" y="35"/>
                  </a:cubicBezTo>
                  <a:cubicBezTo>
                    <a:pt x="91" y="33"/>
                    <a:pt x="85" y="33"/>
                    <a:pt x="79" y="33"/>
                  </a:cubicBezTo>
                  <a:close/>
                  <a:moveTo>
                    <a:pt x="79" y="186"/>
                  </a:moveTo>
                  <a:cubicBezTo>
                    <a:pt x="68" y="186"/>
                    <a:pt x="57" y="185"/>
                    <a:pt x="48" y="182"/>
                  </a:cubicBezTo>
                  <a:cubicBezTo>
                    <a:pt x="38" y="179"/>
                    <a:pt x="30" y="175"/>
                    <a:pt x="23" y="170"/>
                  </a:cubicBezTo>
                  <a:cubicBezTo>
                    <a:pt x="16" y="165"/>
                    <a:pt x="10" y="158"/>
                    <a:pt x="6" y="150"/>
                  </a:cubicBezTo>
                  <a:cubicBezTo>
                    <a:pt x="2" y="142"/>
                    <a:pt x="0" y="133"/>
                    <a:pt x="0" y="123"/>
                  </a:cubicBezTo>
                  <a:cubicBezTo>
                    <a:pt x="0" y="62"/>
                    <a:pt x="0" y="62"/>
                    <a:pt x="0" y="62"/>
                  </a:cubicBezTo>
                  <a:cubicBezTo>
                    <a:pt x="0" y="52"/>
                    <a:pt x="2" y="43"/>
                    <a:pt x="6" y="35"/>
                  </a:cubicBezTo>
                  <a:cubicBezTo>
                    <a:pt x="10" y="28"/>
                    <a:pt x="16" y="21"/>
                    <a:pt x="23" y="16"/>
                  </a:cubicBezTo>
                  <a:cubicBezTo>
                    <a:pt x="30" y="11"/>
                    <a:pt x="38" y="7"/>
                    <a:pt x="48" y="4"/>
                  </a:cubicBezTo>
                  <a:cubicBezTo>
                    <a:pt x="57" y="1"/>
                    <a:pt x="68" y="0"/>
                    <a:pt x="79" y="0"/>
                  </a:cubicBezTo>
                  <a:cubicBezTo>
                    <a:pt x="90" y="0"/>
                    <a:pt x="100" y="1"/>
                    <a:pt x="110" y="4"/>
                  </a:cubicBezTo>
                  <a:cubicBezTo>
                    <a:pt x="120" y="7"/>
                    <a:pt x="128" y="11"/>
                    <a:pt x="135" y="16"/>
                  </a:cubicBezTo>
                  <a:cubicBezTo>
                    <a:pt x="142" y="21"/>
                    <a:pt x="148" y="28"/>
                    <a:pt x="152" y="35"/>
                  </a:cubicBezTo>
                  <a:cubicBezTo>
                    <a:pt x="156" y="43"/>
                    <a:pt x="158" y="52"/>
                    <a:pt x="158" y="62"/>
                  </a:cubicBezTo>
                  <a:cubicBezTo>
                    <a:pt x="158" y="123"/>
                    <a:pt x="158" y="123"/>
                    <a:pt x="158" y="123"/>
                  </a:cubicBezTo>
                  <a:cubicBezTo>
                    <a:pt x="158" y="133"/>
                    <a:pt x="156" y="142"/>
                    <a:pt x="152" y="150"/>
                  </a:cubicBezTo>
                  <a:cubicBezTo>
                    <a:pt x="148" y="158"/>
                    <a:pt x="142" y="165"/>
                    <a:pt x="135" y="170"/>
                  </a:cubicBezTo>
                  <a:cubicBezTo>
                    <a:pt x="128" y="175"/>
                    <a:pt x="120" y="179"/>
                    <a:pt x="110" y="182"/>
                  </a:cubicBezTo>
                  <a:cubicBezTo>
                    <a:pt x="100" y="185"/>
                    <a:pt x="90" y="186"/>
                    <a:pt x="79" y="18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 name="Freeform 15">
              <a:extLst>
                <a:ext uri="{FF2B5EF4-FFF2-40B4-BE49-F238E27FC236}">
                  <a16:creationId xmlns:a16="http://schemas.microsoft.com/office/drawing/2014/main" id="{DDC62FE8-25D3-3762-486E-FF4C0301DC09}"/>
                </a:ext>
              </a:extLst>
            </p:cNvPr>
            <p:cNvSpPr>
              <a:spLocks/>
            </p:cNvSpPr>
            <p:nvPr userDrawn="1"/>
          </p:nvSpPr>
          <p:spPr bwMode="auto">
            <a:xfrm>
              <a:off x="7117" y="377"/>
              <a:ext cx="159" cy="187"/>
            </a:xfrm>
            <a:custGeom>
              <a:avLst/>
              <a:gdLst>
                <a:gd name="T0" fmla="*/ 126 w 158"/>
                <a:gd name="T1" fmla="*/ 62 h 184"/>
                <a:gd name="T2" fmla="*/ 121 w 158"/>
                <a:gd name="T3" fmla="*/ 48 h 184"/>
                <a:gd name="T4" fmla="*/ 110 w 158"/>
                <a:gd name="T5" fmla="*/ 39 h 184"/>
                <a:gd name="T6" fmla="*/ 94 w 158"/>
                <a:gd name="T7" fmla="*/ 34 h 184"/>
                <a:gd name="T8" fmla="*/ 79 w 158"/>
                <a:gd name="T9" fmla="*/ 33 h 184"/>
                <a:gd name="T10" fmla="*/ 63 w 158"/>
                <a:gd name="T11" fmla="*/ 34 h 184"/>
                <a:gd name="T12" fmla="*/ 48 w 158"/>
                <a:gd name="T13" fmla="*/ 39 h 184"/>
                <a:gd name="T14" fmla="*/ 37 w 158"/>
                <a:gd name="T15" fmla="*/ 48 h 184"/>
                <a:gd name="T16" fmla="*/ 33 w 158"/>
                <a:gd name="T17" fmla="*/ 62 h 184"/>
                <a:gd name="T18" fmla="*/ 33 w 158"/>
                <a:gd name="T19" fmla="*/ 184 h 184"/>
                <a:gd name="T20" fmla="*/ 0 w 158"/>
                <a:gd name="T21" fmla="*/ 184 h 184"/>
                <a:gd name="T22" fmla="*/ 0 w 158"/>
                <a:gd name="T23" fmla="*/ 62 h 184"/>
                <a:gd name="T24" fmla="*/ 6 w 158"/>
                <a:gd name="T25" fmla="*/ 35 h 184"/>
                <a:gd name="T26" fmla="*/ 23 w 158"/>
                <a:gd name="T27" fmla="*/ 16 h 184"/>
                <a:gd name="T28" fmla="*/ 48 w 158"/>
                <a:gd name="T29" fmla="*/ 4 h 184"/>
                <a:gd name="T30" fmla="*/ 79 w 158"/>
                <a:gd name="T31" fmla="*/ 0 h 184"/>
                <a:gd name="T32" fmla="*/ 110 w 158"/>
                <a:gd name="T33" fmla="*/ 4 h 184"/>
                <a:gd name="T34" fmla="*/ 135 w 158"/>
                <a:gd name="T35" fmla="*/ 16 h 184"/>
                <a:gd name="T36" fmla="*/ 152 w 158"/>
                <a:gd name="T37" fmla="*/ 35 h 184"/>
                <a:gd name="T38" fmla="*/ 158 w 158"/>
                <a:gd name="T39" fmla="*/ 62 h 184"/>
                <a:gd name="T40" fmla="*/ 158 w 158"/>
                <a:gd name="T41" fmla="*/ 135 h 184"/>
                <a:gd name="T42" fmla="*/ 126 w 158"/>
                <a:gd name="T43" fmla="*/ 184 h 184"/>
                <a:gd name="T44" fmla="*/ 126 w 158"/>
                <a:gd name="T45" fmla="*/ 62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8" h="184">
                  <a:moveTo>
                    <a:pt x="126" y="62"/>
                  </a:moveTo>
                  <a:cubicBezTo>
                    <a:pt x="126" y="56"/>
                    <a:pt x="124" y="52"/>
                    <a:pt x="121" y="48"/>
                  </a:cubicBezTo>
                  <a:cubicBezTo>
                    <a:pt x="118" y="45"/>
                    <a:pt x="114" y="42"/>
                    <a:pt x="110" y="39"/>
                  </a:cubicBezTo>
                  <a:cubicBezTo>
                    <a:pt x="105" y="37"/>
                    <a:pt x="100" y="35"/>
                    <a:pt x="94" y="34"/>
                  </a:cubicBezTo>
                  <a:cubicBezTo>
                    <a:pt x="89" y="33"/>
                    <a:pt x="84" y="33"/>
                    <a:pt x="79" y="33"/>
                  </a:cubicBezTo>
                  <a:cubicBezTo>
                    <a:pt x="74" y="33"/>
                    <a:pt x="69" y="33"/>
                    <a:pt x="63" y="34"/>
                  </a:cubicBezTo>
                  <a:cubicBezTo>
                    <a:pt x="58" y="35"/>
                    <a:pt x="53" y="37"/>
                    <a:pt x="48" y="39"/>
                  </a:cubicBezTo>
                  <a:cubicBezTo>
                    <a:pt x="44" y="42"/>
                    <a:pt x="40" y="45"/>
                    <a:pt x="37" y="48"/>
                  </a:cubicBezTo>
                  <a:cubicBezTo>
                    <a:pt x="34" y="52"/>
                    <a:pt x="33" y="56"/>
                    <a:pt x="33" y="62"/>
                  </a:cubicBezTo>
                  <a:cubicBezTo>
                    <a:pt x="33" y="184"/>
                    <a:pt x="33" y="184"/>
                    <a:pt x="33" y="184"/>
                  </a:cubicBezTo>
                  <a:cubicBezTo>
                    <a:pt x="0" y="184"/>
                    <a:pt x="0" y="184"/>
                    <a:pt x="0" y="184"/>
                  </a:cubicBezTo>
                  <a:cubicBezTo>
                    <a:pt x="0" y="62"/>
                    <a:pt x="0" y="62"/>
                    <a:pt x="0" y="62"/>
                  </a:cubicBezTo>
                  <a:cubicBezTo>
                    <a:pt x="0" y="52"/>
                    <a:pt x="2" y="43"/>
                    <a:pt x="6" y="35"/>
                  </a:cubicBezTo>
                  <a:cubicBezTo>
                    <a:pt x="10" y="28"/>
                    <a:pt x="16" y="21"/>
                    <a:pt x="23" y="16"/>
                  </a:cubicBezTo>
                  <a:cubicBezTo>
                    <a:pt x="30" y="11"/>
                    <a:pt x="38" y="7"/>
                    <a:pt x="48" y="4"/>
                  </a:cubicBezTo>
                  <a:cubicBezTo>
                    <a:pt x="58" y="1"/>
                    <a:pt x="68" y="0"/>
                    <a:pt x="79" y="0"/>
                  </a:cubicBezTo>
                  <a:cubicBezTo>
                    <a:pt x="90" y="0"/>
                    <a:pt x="101" y="1"/>
                    <a:pt x="110" y="4"/>
                  </a:cubicBezTo>
                  <a:cubicBezTo>
                    <a:pt x="120" y="7"/>
                    <a:pt x="128" y="11"/>
                    <a:pt x="135" y="16"/>
                  </a:cubicBezTo>
                  <a:cubicBezTo>
                    <a:pt x="143" y="21"/>
                    <a:pt x="148" y="28"/>
                    <a:pt x="152" y="35"/>
                  </a:cubicBezTo>
                  <a:cubicBezTo>
                    <a:pt x="156" y="43"/>
                    <a:pt x="158" y="52"/>
                    <a:pt x="158" y="62"/>
                  </a:cubicBezTo>
                  <a:cubicBezTo>
                    <a:pt x="158" y="135"/>
                    <a:pt x="158" y="135"/>
                    <a:pt x="158" y="135"/>
                  </a:cubicBezTo>
                  <a:cubicBezTo>
                    <a:pt x="158" y="170"/>
                    <a:pt x="126" y="184"/>
                    <a:pt x="126" y="184"/>
                  </a:cubicBezTo>
                  <a:cubicBezTo>
                    <a:pt x="126" y="62"/>
                    <a:pt x="126" y="62"/>
                    <a:pt x="126" y="6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 name="Freeform 16">
              <a:extLst>
                <a:ext uri="{FF2B5EF4-FFF2-40B4-BE49-F238E27FC236}">
                  <a16:creationId xmlns:a16="http://schemas.microsoft.com/office/drawing/2014/main" id="{EA9EBC72-3184-0C2E-1151-EE61A945CFBB}"/>
                </a:ext>
              </a:extLst>
            </p:cNvPr>
            <p:cNvSpPr>
              <a:spLocks noEditPoints="1"/>
            </p:cNvSpPr>
            <p:nvPr userDrawn="1"/>
          </p:nvSpPr>
          <p:spPr bwMode="auto">
            <a:xfrm>
              <a:off x="7301" y="368"/>
              <a:ext cx="46" cy="48"/>
            </a:xfrm>
            <a:custGeom>
              <a:avLst/>
              <a:gdLst>
                <a:gd name="T0" fmla="*/ 24 w 46"/>
                <a:gd name="T1" fmla="*/ 15 h 47"/>
                <a:gd name="T2" fmla="*/ 20 w 46"/>
                <a:gd name="T3" fmla="*/ 15 h 47"/>
                <a:gd name="T4" fmla="*/ 20 w 46"/>
                <a:gd name="T5" fmla="*/ 23 h 47"/>
                <a:gd name="T6" fmla="*/ 24 w 46"/>
                <a:gd name="T7" fmla="*/ 23 h 47"/>
                <a:gd name="T8" fmla="*/ 28 w 46"/>
                <a:gd name="T9" fmla="*/ 19 h 47"/>
                <a:gd name="T10" fmla="*/ 24 w 46"/>
                <a:gd name="T11" fmla="*/ 15 h 47"/>
                <a:gd name="T12" fmla="*/ 28 w 46"/>
                <a:gd name="T13" fmla="*/ 36 h 47"/>
                <a:gd name="T14" fmla="*/ 23 w 46"/>
                <a:gd name="T15" fmla="*/ 26 h 47"/>
                <a:gd name="T16" fmla="*/ 20 w 46"/>
                <a:gd name="T17" fmla="*/ 26 h 47"/>
                <a:gd name="T18" fmla="*/ 20 w 46"/>
                <a:gd name="T19" fmla="*/ 36 h 47"/>
                <a:gd name="T20" fmla="*/ 15 w 46"/>
                <a:gd name="T21" fmla="*/ 36 h 47"/>
                <a:gd name="T22" fmla="*/ 15 w 46"/>
                <a:gd name="T23" fmla="*/ 11 h 47"/>
                <a:gd name="T24" fmla="*/ 24 w 46"/>
                <a:gd name="T25" fmla="*/ 11 h 47"/>
                <a:gd name="T26" fmla="*/ 33 w 46"/>
                <a:gd name="T27" fmla="*/ 19 h 47"/>
                <a:gd name="T28" fmla="*/ 28 w 46"/>
                <a:gd name="T29" fmla="*/ 26 h 47"/>
                <a:gd name="T30" fmla="*/ 33 w 46"/>
                <a:gd name="T31" fmla="*/ 36 h 47"/>
                <a:gd name="T32" fmla="*/ 28 w 46"/>
                <a:gd name="T33" fmla="*/ 36 h 47"/>
                <a:gd name="T34" fmla="*/ 23 w 46"/>
                <a:gd name="T35" fmla="*/ 5 h 47"/>
                <a:gd name="T36" fmla="*/ 4 w 46"/>
                <a:gd name="T37" fmla="*/ 24 h 47"/>
                <a:gd name="T38" fmla="*/ 23 w 46"/>
                <a:gd name="T39" fmla="*/ 43 h 47"/>
                <a:gd name="T40" fmla="*/ 42 w 46"/>
                <a:gd name="T41" fmla="*/ 24 h 47"/>
                <a:gd name="T42" fmla="*/ 23 w 46"/>
                <a:gd name="T43" fmla="*/ 5 h 47"/>
                <a:gd name="T44" fmla="*/ 23 w 46"/>
                <a:gd name="T45" fmla="*/ 47 h 47"/>
                <a:gd name="T46" fmla="*/ 0 w 46"/>
                <a:gd name="T47" fmla="*/ 24 h 47"/>
                <a:gd name="T48" fmla="*/ 23 w 46"/>
                <a:gd name="T49" fmla="*/ 0 h 47"/>
                <a:gd name="T50" fmla="*/ 46 w 46"/>
                <a:gd name="T51" fmla="*/ 24 h 47"/>
                <a:gd name="T52" fmla="*/ 23 w 46"/>
                <a:gd name="T53"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6" h="47">
                  <a:moveTo>
                    <a:pt x="24" y="15"/>
                  </a:moveTo>
                  <a:cubicBezTo>
                    <a:pt x="20" y="15"/>
                    <a:pt x="20" y="15"/>
                    <a:pt x="20" y="15"/>
                  </a:cubicBezTo>
                  <a:cubicBezTo>
                    <a:pt x="20" y="23"/>
                    <a:pt x="20" y="23"/>
                    <a:pt x="20" y="23"/>
                  </a:cubicBezTo>
                  <a:cubicBezTo>
                    <a:pt x="24" y="23"/>
                    <a:pt x="24" y="23"/>
                    <a:pt x="24" y="23"/>
                  </a:cubicBezTo>
                  <a:cubicBezTo>
                    <a:pt x="26" y="23"/>
                    <a:pt x="28" y="21"/>
                    <a:pt x="28" y="19"/>
                  </a:cubicBezTo>
                  <a:cubicBezTo>
                    <a:pt x="28" y="17"/>
                    <a:pt x="26" y="15"/>
                    <a:pt x="24" y="15"/>
                  </a:cubicBezTo>
                  <a:close/>
                  <a:moveTo>
                    <a:pt x="28" y="36"/>
                  </a:moveTo>
                  <a:cubicBezTo>
                    <a:pt x="23" y="26"/>
                    <a:pt x="23" y="26"/>
                    <a:pt x="23" y="26"/>
                  </a:cubicBezTo>
                  <a:cubicBezTo>
                    <a:pt x="20" y="26"/>
                    <a:pt x="20" y="26"/>
                    <a:pt x="20" y="26"/>
                  </a:cubicBezTo>
                  <a:cubicBezTo>
                    <a:pt x="20" y="36"/>
                    <a:pt x="20" y="36"/>
                    <a:pt x="20" y="36"/>
                  </a:cubicBezTo>
                  <a:cubicBezTo>
                    <a:pt x="15" y="36"/>
                    <a:pt x="15" y="36"/>
                    <a:pt x="15" y="36"/>
                  </a:cubicBezTo>
                  <a:cubicBezTo>
                    <a:pt x="15" y="11"/>
                    <a:pt x="15" y="11"/>
                    <a:pt x="15" y="11"/>
                  </a:cubicBezTo>
                  <a:cubicBezTo>
                    <a:pt x="24" y="11"/>
                    <a:pt x="24" y="11"/>
                    <a:pt x="24" y="11"/>
                  </a:cubicBezTo>
                  <a:cubicBezTo>
                    <a:pt x="29" y="11"/>
                    <a:pt x="33" y="15"/>
                    <a:pt x="33" y="19"/>
                  </a:cubicBezTo>
                  <a:cubicBezTo>
                    <a:pt x="33" y="22"/>
                    <a:pt x="30" y="25"/>
                    <a:pt x="28" y="26"/>
                  </a:cubicBezTo>
                  <a:cubicBezTo>
                    <a:pt x="33" y="36"/>
                    <a:pt x="33" y="36"/>
                    <a:pt x="33" y="36"/>
                  </a:cubicBezTo>
                  <a:cubicBezTo>
                    <a:pt x="28" y="36"/>
                    <a:pt x="28" y="36"/>
                    <a:pt x="28" y="36"/>
                  </a:cubicBezTo>
                  <a:close/>
                  <a:moveTo>
                    <a:pt x="23" y="5"/>
                  </a:moveTo>
                  <a:cubicBezTo>
                    <a:pt x="13" y="5"/>
                    <a:pt x="4" y="13"/>
                    <a:pt x="4" y="24"/>
                  </a:cubicBezTo>
                  <a:cubicBezTo>
                    <a:pt x="4" y="34"/>
                    <a:pt x="13" y="43"/>
                    <a:pt x="23" y="43"/>
                  </a:cubicBezTo>
                  <a:cubicBezTo>
                    <a:pt x="33" y="43"/>
                    <a:pt x="42" y="34"/>
                    <a:pt x="42" y="24"/>
                  </a:cubicBezTo>
                  <a:cubicBezTo>
                    <a:pt x="42" y="13"/>
                    <a:pt x="33" y="5"/>
                    <a:pt x="23" y="5"/>
                  </a:cubicBezTo>
                  <a:close/>
                  <a:moveTo>
                    <a:pt x="23" y="47"/>
                  </a:moveTo>
                  <a:cubicBezTo>
                    <a:pt x="10" y="47"/>
                    <a:pt x="0" y="37"/>
                    <a:pt x="0" y="24"/>
                  </a:cubicBezTo>
                  <a:cubicBezTo>
                    <a:pt x="0" y="11"/>
                    <a:pt x="10" y="0"/>
                    <a:pt x="23" y="0"/>
                  </a:cubicBezTo>
                  <a:cubicBezTo>
                    <a:pt x="36" y="0"/>
                    <a:pt x="46" y="11"/>
                    <a:pt x="46" y="24"/>
                  </a:cubicBezTo>
                  <a:cubicBezTo>
                    <a:pt x="46" y="37"/>
                    <a:pt x="36" y="47"/>
                    <a:pt x="23" y="4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25" name="Picture 24" descr="Logo, company name&#10;&#10;Description automatically generated">
            <a:extLst>
              <a:ext uri="{FF2B5EF4-FFF2-40B4-BE49-F238E27FC236}">
                <a16:creationId xmlns:a16="http://schemas.microsoft.com/office/drawing/2014/main" id="{C8A801D5-93FF-466C-878D-4A8B17E7ED40}"/>
              </a:ext>
            </a:extLst>
          </p:cNvPr>
          <p:cNvPicPr>
            <a:picLocks noChangeAspect="1"/>
          </p:cNvPicPr>
          <p:nvPr userDrawn="1"/>
        </p:nvPicPr>
        <p:blipFill>
          <a:blip r:embed="rId4">
            <a:extLst>
              <a:ext uri="{BEBA8EAE-BF5A-486C-A8C5-ECC9F3942E4B}">
                <a14:imgProps xmlns:a14="http://schemas.microsoft.com/office/drawing/2010/main">
                  <a14:imgLayer r:embed="rId5">
                    <a14:imgEffect>
                      <a14:brightnessContrast bright="100000"/>
                    </a14:imgEffect>
                  </a14:imgLayer>
                </a14:imgProps>
              </a:ext>
            </a:extLst>
          </a:blip>
          <a:stretch>
            <a:fillRect/>
          </a:stretch>
        </p:blipFill>
        <p:spPr>
          <a:xfrm>
            <a:off x="601302" y="5700447"/>
            <a:ext cx="1606550" cy="876299"/>
          </a:xfrm>
          <a:prstGeom prst="rect">
            <a:avLst/>
          </a:prstGeom>
        </p:spPr>
      </p:pic>
      <p:pic>
        <p:nvPicPr>
          <p:cNvPr id="11" name="Picture 10" descr="A close up of a black and pink object&#10;&#10;Description automatically generated">
            <a:extLst>
              <a:ext uri="{FF2B5EF4-FFF2-40B4-BE49-F238E27FC236}">
                <a16:creationId xmlns:a16="http://schemas.microsoft.com/office/drawing/2014/main" id="{89BF2E2A-315A-A44E-08F6-FB6FB267563D}"/>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rot="3662890">
            <a:off x="-920581" y="2402914"/>
            <a:ext cx="6718454" cy="1526742"/>
          </a:xfrm>
          <a:prstGeom prst="rect">
            <a:avLst/>
          </a:prstGeom>
        </p:spPr>
      </p:pic>
    </p:spTree>
    <p:extLst>
      <p:ext uri="{BB962C8B-B14F-4D97-AF65-F5344CB8AC3E}">
        <p14:creationId xmlns:p14="http://schemas.microsoft.com/office/powerpoint/2010/main" val="1582393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CBF660-FB45-29E6-2D55-D9247600FF3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D41B258-C698-E6C2-AD6F-880971246BF5}"/>
              </a:ext>
            </a:extLst>
          </p:cNvPr>
          <p:cNvSpPr>
            <a:spLocks noGrp="1"/>
          </p:cNvSpPr>
          <p:nvPr>
            <p:ph sz="half" idx="1"/>
          </p:nvPr>
        </p:nvSpPr>
        <p:spPr>
          <a:xfrm>
            <a:off x="491924" y="1825625"/>
            <a:ext cx="5527876"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0A69E53-85FD-7411-72D0-EB881BDF76DC}"/>
              </a:ext>
            </a:extLst>
          </p:cNvPr>
          <p:cNvSpPr>
            <a:spLocks noGrp="1"/>
          </p:cNvSpPr>
          <p:nvPr>
            <p:ph sz="half" idx="2"/>
          </p:nvPr>
        </p:nvSpPr>
        <p:spPr>
          <a:xfrm>
            <a:off x="6172202" y="1825625"/>
            <a:ext cx="5527876" cy="4351338"/>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66ADFE0-3339-8CC2-6029-2E03CCD68064}"/>
              </a:ext>
            </a:extLst>
          </p:cNvPr>
          <p:cNvSpPr>
            <a:spLocks noGrp="1"/>
          </p:cNvSpPr>
          <p:nvPr>
            <p:ph type="dt" sz="half" idx="10"/>
          </p:nvPr>
        </p:nvSpPr>
        <p:spPr/>
        <p:txBody>
          <a:bodyPr/>
          <a:lstStyle/>
          <a:p>
            <a:fld id="{FC7868EF-6805-4478-A50A-B60348F00283}" type="datetime1">
              <a:rPr lang="en-US" smtClean="0"/>
              <a:t>1/9/2026</a:t>
            </a:fld>
            <a:endParaRPr lang="en-US" dirty="0"/>
          </a:p>
        </p:txBody>
      </p:sp>
      <p:sp>
        <p:nvSpPr>
          <p:cNvPr id="6" name="Footer Placeholder 5">
            <a:extLst>
              <a:ext uri="{FF2B5EF4-FFF2-40B4-BE49-F238E27FC236}">
                <a16:creationId xmlns:a16="http://schemas.microsoft.com/office/drawing/2014/main" id="{66EC18CD-A94F-F1B0-0EC4-637B748CD9CF}"/>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DA17DA31-C1C3-6693-00C8-015AA7BA9F37}"/>
              </a:ext>
            </a:extLst>
          </p:cNvPr>
          <p:cNvSpPr>
            <a:spLocks noGrp="1"/>
          </p:cNvSpPr>
          <p:nvPr>
            <p:ph type="sldNum" sz="quarter" idx="12"/>
          </p:nvPr>
        </p:nvSpPr>
        <p:spPr/>
        <p:txBody>
          <a:bodyPr/>
          <a:lstStyle/>
          <a:p>
            <a:fld id="{2255CA7B-1B59-4C07-BE3D-E8AE49649A7D}" type="slidenum">
              <a:rPr lang="en-US" smtClean="0"/>
              <a:t>‹#›</a:t>
            </a:fld>
            <a:endParaRPr lang="en-US" dirty="0"/>
          </a:p>
        </p:txBody>
      </p:sp>
    </p:spTree>
    <p:extLst>
      <p:ext uri="{BB962C8B-B14F-4D97-AF65-F5344CB8AC3E}">
        <p14:creationId xmlns:p14="http://schemas.microsoft.com/office/powerpoint/2010/main" val="36009624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BD9A41B-0786-3E9F-2353-9A5A794EA0AA}"/>
              </a:ext>
            </a:extLst>
          </p:cNvPr>
          <p:cNvSpPr>
            <a:spLocks noGrp="1"/>
          </p:cNvSpPr>
          <p:nvPr>
            <p:ph type="body" idx="1"/>
          </p:nvPr>
        </p:nvSpPr>
        <p:spPr>
          <a:xfrm>
            <a:off x="491924" y="1681163"/>
            <a:ext cx="5505651" cy="823912"/>
          </a:xfrm>
        </p:spPr>
        <p:txBody>
          <a:bodyPr anchor="b"/>
          <a:lstStyle>
            <a:lvl1pPr marL="0" indent="0">
              <a:buNone/>
              <a:defRPr sz="2400" b="1">
                <a:solidFill>
                  <a:srgbClr val="00A5CE"/>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55A412A-CF5E-A423-EFDE-411D49D24029}"/>
              </a:ext>
            </a:extLst>
          </p:cNvPr>
          <p:cNvSpPr>
            <a:spLocks noGrp="1"/>
          </p:cNvSpPr>
          <p:nvPr>
            <p:ph sz="half" idx="2"/>
          </p:nvPr>
        </p:nvSpPr>
        <p:spPr>
          <a:xfrm>
            <a:off x="491924" y="2505075"/>
            <a:ext cx="5505651" cy="3684588"/>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DF73F677-169F-5101-7F72-07B135023066}"/>
              </a:ext>
            </a:extLst>
          </p:cNvPr>
          <p:cNvSpPr>
            <a:spLocks noGrp="1"/>
          </p:cNvSpPr>
          <p:nvPr>
            <p:ph type="body" sz="quarter" idx="3"/>
          </p:nvPr>
        </p:nvSpPr>
        <p:spPr>
          <a:xfrm>
            <a:off x="6194425" y="1681163"/>
            <a:ext cx="5505651" cy="823912"/>
          </a:xfrm>
        </p:spPr>
        <p:txBody>
          <a:bodyPr anchor="b">
            <a:normAutofit/>
          </a:bodyPr>
          <a:lstStyle>
            <a:lvl1pPr marL="0" indent="0">
              <a:buNone/>
              <a:defRPr sz="2400" b="1">
                <a:solidFill>
                  <a:srgbClr val="00A5CE"/>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5F67ED5-63AB-8D07-7830-9073B67C2792}"/>
              </a:ext>
            </a:extLst>
          </p:cNvPr>
          <p:cNvSpPr>
            <a:spLocks noGrp="1"/>
          </p:cNvSpPr>
          <p:nvPr>
            <p:ph sz="quarter" idx="4"/>
          </p:nvPr>
        </p:nvSpPr>
        <p:spPr>
          <a:xfrm>
            <a:off x="6194425" y="2505075"/>
            <a:ext cx="5505651" cy="3684588"/>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A97A8DA-ECD5-304E-981A-63E67835BBB7}"/>
              </a:ext>
            </a:extLst>
          </p:cNvPr>
          <p:cNvSpPr>
            <a:spLocks noGrp="1"/>
          </p:cNvSpPr>
          <p:nvPr>
            <p:ph type="dt" sz="half" idx="10"/>
          </p:nvPr>
        </p:nvSpPr>
        <p:spPr/>
        <p:txBody>
          <a:bodyPr/>
          <a:lstStyle/>
          <a:p>
            <a:fld id="{660B495B-A48D-4105-869B-EB60E4EB3B59}" type="datetime1">
              <a:rPr lang="en-US" smtClean="0"/>
              <a:t>1/9/2026</a:t>
            </a:fld>
            <a:endParaRPr lang="en-US" dirty="0"/>
          </a:p>
        </p:txBody>
      </p:sp>
      <p:sp>
        <p:nvSpPr>
          <p:cNvPr id="8" name="Footer Placeholder 7">
            <a:extLst>
              <a:ext uri="{FF2B5EF4-FFF2-40B4-BE49-F238E27FC236}">
                <a16:creationId xmlns:a16="http://schemas.microsoft.com/office/drawing/2014/main" id="{A8170CFD-0AAF-6C40-EC0A-D4F89A39DA25}"/>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35670CEB-324E-6DE7-87C8-E4947AC95196}"/>
              </a:ext>
            </a:extLst>
          </p:cNvPr>
          <p:cNvSpPr>
            <a:spLocks noGrp="1"/>
          </p:cNvSpPr>
          <p:nvPr>
            <p:ph type="sldNum" sz="quarter" idx="12"/>
          </p:nvPr>
        </p:nvSpPr>
        <p:spPr/>
        <p:txBody>
          <a:bodyPr/>
          <a:lstStyle/>
          <a:p>
            <a:fld id="{2255CA7B-1B59-4C07-BE3D-E8AE49649A7D}" type="slidenum">
              <a:rPr lang="en-US" smtClean="0"/>
              <a:t>‹#›</a:t>
            </a:fld>
            <a:endParaRPr lang="en-US" dirty="0"/>
          </a:p>
        </p:txBody>
      </p:sp>
      <p:sp>
        <p:nvSpPr>
          <p:cNvPr id="10" name="Title 9">
            <a:extLst>
              <a:ext uri="{FF2B5EF4-FFF2-40B4-BE49-F238E27FC236}">
                <a16:creationId xmlns:a16="http://schemas.microsoft.com/office/drawing/2014/main" id="{ECBBA5B4-6300-0EB0-A59B-ECE85A3A18A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481515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40AB66-C42A-4B96-E81A-87A3B0BA72B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1544841-7818-398F-2DDF-E649A605D9F3}"/>
              </a:ext>
            </a:extLst>
          </p:cNvPr>
          <p:cNvSpPr>
            <a:spLocks noGrp="1"/>
          </p:cNvSpPr>
          <p:nvPr>
            <p:ph type="dt" sz="half" idx="10"/>
          </p:nvPr>
        </p:nvSpPr>
        <p:spPr/>
        <p:txBody>
          <a:bodyPr/>
          <a:lstStyle/>
          <a:p>
            <a:fld id="{4760B1C7-8374-446E-9E77-2C4BE9F6DBB9}" type="datetime1">
              <a:rPr lang="en-US" smtClean="0"/>
              <a:t>1/9/2026</a:t>
            </a:fld>
            <a:endParaRPr lang="en-US" dirty="0"/>
          </a:p>
        </p:txBody>
      </p:sp>
      <p:sp>
        <p:nvSpPr>
          <p:cNvPr id="4" name="Footer Placeholder 3">
            <a:extLst>
              <a:ext uri="{FF2B5EF4-FFF2-40B4-BE49-F238E27FC236}">
                <a16:creationId xmlns:a16="http://schemas.microsoft.com/office/drawing/2014/main" id="{B7EE011C-520B-C31D-FB93-404C3E345C7A}"/>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8E0DE46F-2D46-4AFF-FCD4-9C544C510D04}"/>
              </a:ext>
            </a:extLst>
          </p:cNvPr>
          <p:cNvSpPr>
            <a:spLocks noGrp="1"/>
          </p:cNvSpPr>
          <p:nvPr>
            <p:ph type="sldNum" sz="quarter" idx="12"/>
          </p:nvPr>
        </p:nvSpPr>
        <p:spPr/>
        <p:txBody>
          <a:bodyPr/>
          <a:lstStyle/>
          <a:p>
            <a:fld id="{2255CA7B-1B59-4C07-BE3D-E8AE49649A7D}" type="slidenum">
              <a:rPr lang="en-US" smtClean="0"/>
              <a:t>‹#›</a:t>
            </a:fld>
            <a:endParaRPr lang="en-US" dirty="0"/>
          </a:p>
        </p:txBody>
      </p:sp>
    </p:spTree>
    <p:extLst>
      <p:ext uri="{BB962C8B-B14F-4D97-AF65-F5344CB8AC3E}">
        <p14:creationId xmlns:p14="http://schemas.microsoft.com/office/powerpoint/2010/main" val="1607093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78DAD4A-CA4C-DF30-0725-4623366F1B52}"/>
              </a:ext>
            </a:extLst>
          </p:cNvPr>
          <p:cNvSpPr>
            <a:spLocks noGrp="1"/>
          </p:cNvSpPr>
          <p:nvPr>
            <p:ph type="dt" sz="half" idx="10"/>
          </p:nvPr>
        </p:nvSpPr>
        <p:spPr/>
        <p:txBody>
          <a:bodyPr/>
          <a:lstStyle/>
          <a:p>
            <a:fld id="{03DE5B0A-8031-4483-BBAE-266DCA558B31}" type="datetime1">
              <a:rPr lang="en-US" smtClean="0"/>
              <a:t>1/9/2026</a:t>
            </a:fld>
            <a:endParaRPr lang="en-US" dirty="0"/>
          </a:p>
        </p:txBody>
      </p:sp>
      <p:sp>
        <p:nvSpPr>
          <p:cNvPr id="3" name="Footer Placeholder 2">
            <a:extLst>
              <a:ext uri="{FF2B5EF4-FFF2-40B4-BE49-F238E27FC236}">
                <a16:creationId xmlns:a16="http://schemas.microsoft.com/office/drawing/2014/main" id="{22FE4C4D-9732-C65C-7004-2ED99AE4E8DC}"/>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1A96BAC3-A309-A9A8-FAA3-10B2F4794C43}"/>
              </a:ext>
            </a:extLst>
          </p:cNvPr>
          <p:cNvSpPr>
            <a:spLocks noGrp="1"/>
          </p:cNvSpPr>
          <p:nvPr>
            <p:ph type="sldNum" sz="quarter" idx="12"/>
          </p:nvPr>
        </p:nvSpPr>
        <p:spPr/>
        <p:txBody>
          <a:bodyPr/>
          <a:lstStyle/>
          <a:p>
            <a:fld id="{2255CA7B-1B59-4C07-BE3D-E8AE49649A7D}" type="slidenum">
              <a:rPr lang="en-US" smtClean="0"/>
              <a:t>‹#›</a:t>
            </a:fld>
            <a:endParaRPr lang="en-US" dirty="0"/>
          </a:p>
        </p:txBody>
      </p:sp>
    </p:spTree>
    <p:extLst>
      <p:ext uri="{BB962C8B-B14F-4D97-AF65-F5344CB8AC3E}">
        <p14:creationId xmlns:p14="http://schemas.microsoft.com/office/powerpoint/2010/main" val="11010313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0BBACD11-657D-03A3-017A-5E1B311D4A4F}"/>
              </a:ext>
            </a:extLst>
          </p:cNvPr>
          <p:cNvSpPr/>
          <p:nvPr userDrawn="1"/>
        </p:nvSpPr>
        <p:spPr>
          <a:xfrm>
            <a:off x="0" y="0"/>
            <a:ext cx="12192000" cy="6858000"/>
          </a:xfrm>
          <a:prstGeom prst="rect">
            <a:avLst/>
          </a:prstGeom>
          <a:gradFill>
            <a:gsLst>
              <a:gs pos="0">
                <a:srgbClr val="006495"/>
              </a:gs>
              <a:gs pos="100000">
                <a:srgbClr val="00284E"/>
              </a:gs>
              <a:gs pos="50000">
                <a:schemeClr val="accent1">
                  <a:shade val="100000"/>
                  <a:satMod val="115000"/>
                </a:schemeClr>
              </a:gs>
            </a:gsLst>
            <a:lin ang="162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p>
            <a:pPr algn="ctr"/>
            <a:endParaRPr lang="en-US" dirty="0"/>
          </a:p>
        </p:txBody>
      </p:sp>
      <p:sp>
        <p:nvSpPr>
          <p:cNvPr id="6" name="Rectangle 5">
            <a:extLst>
              <a:ext uri="{FF2B5EF4-FFF2-40B4-BE49-F238E27FC236}">
                <a16:creationId xmlns:a16="http://schemas.microsoft.com/office/drawing/2014/main" id="{FC944A07-FF97-E741-0B18-97E4D30238B6}"/>
              </a:ext>
            </a:extLst>
          </p:cNvPr>
          <p:cNvSpPr/>
          <p:nvPr userDrawn="1"/>
        </p:nvSpPr>
        <p:spPr>
          <a:xfrm>
            <a:off x="0" y="5098648"/>
            <a:ext cx="12192000" cy="1759352"/>
          </a:xfrm>
          <a:prstGeom prst="rect">
            <a:avLst/>
          </a:prstGeom>
          <a:gradFill>
            <a:gsLst>
              <a:gs pos="0">
                <a:schemeClr val="bg1">
                  <a:alpha val="0"/>
                </a:schemeClr>
              </a:gs>
              <a:gs pos="100000">
                <a:schemeClr val="accent2">
                  <a:alpha val="4000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 name="Picture 4">
            <a:extLst>
              <a:ext uri="{FF2B5EF4-FFF2-40B4-BE49-F238E27FC236}">
                <a16:creationId xmlns:a16="http://schemas.microsoft.com/office/drawing/2014/main" id="{EA0DB150-FA85-5C2A-1D61-A5D6393AC922}"/>
              </a:ext>
            </a:extLst>
          </p:cNvPr>
          <p:cNvPicPr>
            <a:picLocks noChangeAspect="1"/>
          </p:cNvPicPr>
          <p:nvPr userDrawn="1"/>
        </p:nvPicPr>
        <p:blipFill>
          <a:blip r:embed="rId2" cstate="print">
            <a:alphaModFix amt="15000"/>
            <a:extLst>
              <a:ext uri="{28A0092B-C50C-407E-A947-70E740481C1C}">
                <a14:useLocalDpi xmlns:a14="http://schemas.microsoft.com/office/drawing/2010/main"/>
              </a:ext>
            </a:extLst>
          </a:blip>
          <a:srcRect l="7235" r="7235"/>
          <a:stretch/>
        </p:blipFill>
        <p:spPr>
          <a:xfrm>
            <a:off x="0" y="1"/>
            <a:ext cx="12191238" cy="6857999"/>
          </a:xfrm>
          <a:custGeom>
            <a:avLst/>
            <a:gdLst>
              <a:gd name="connsiteX0" fmla="*/ 0 w 5821679"/>
              <a:gd name="connsiteY0" fmla="*/ 0 h 5775195"/>
              <a:gd name="connsiteX1" fmla="*/ 5821679 w 5821679"/>
              <a:gd name="connsiteY1" fmla="*/ 0 h 5775195"/>
              <a:gd name="connsiteX2" fmla="*/ 5821679 w 5821679"/>
              <a:gd name="connsiteY2" fmla="*/ 5775195 h 5775195"/>
              <a:gd name="connsiteX3" fmla="*/ 0 w 5821679"/>
              <a:gd name="connsiteY3" fmla="*/ 5775195 h 5775195"/>
            </a:gdLst>
            <a:ahLst/>
            <a:cxnLst>
              <a:cxn ang="0">
                <a:pos x="connsiteX0" y="connsiteY0"/>
              </a:cxn>
              <a:cxn ang="0">
                <a:pos x="connsiteX1" y="connsiteY1"/>
              </a:cxn>
              <a:cxn ang="0">
                <a:pos x="connsiteX2" y="connsiteY2"/>
              </a:cxn>
              <a:cxn ang="0">
                <a:pos x="connsiteX3" y="connsiteY3"/>
              </a:cxn>
            </a:cxnLst>
            <a:rect l="l" t="t" r="r" b="b"/>
            <a:pathLst>
              <a:path w="5821679" h="5775195">
                <a:moveTo>
                  <a:pt x="0" y="0"/>
                </a:moveTo>
                <a:lnTo>
                  <a:pt x="5821679" y="0"/>
                </a:lnTo>
                <a:lnTo>
                  <a:pt x="5821679" y="5775195"/>
                </a:lnTo>
                <a:lnTo>
                  <a:pt x="0" y="5775195"/>
                </a:lnTo>
                <a:close/>
              </a:path>
            </a:pathLst>
          </a:custGeom>
          <a:noFill/>
        </p:spPr>
      </p:pic>
      <p:sp>
        <p:nvSpPr>
          <p:cNvPr id="2" name="Date Placeholder 1">
            <a:extLst>
              <a:ext uri="{FF2B5EF4-FFF2-40B4-BE49-F238E27FC236}">
                <a16:creationId xmlns:a16="http://schemas.microsoft.com/office/drawing/2014/main" id="{578DAD4A-CA4C-DF30-0725-4623366F1B52}"/>
              </a:ext>
            </a:extLst>
          </p:cNvPr>
          <p:cNvSpPr>
            <a:spLocks noGrp="1"/>
          </p:cNvSpPr>
          <p:nvPr>
            <p:ph type="dt" sz="half" idx="10"/>
          </p:nvPr>
        </p:nvSpPr>
        <p:spPr/>
        <p:txBody>
          <a:bodyPr/>
          <a:lstStyle>
            <a:lvl1pPr>
              <a:defRPr>
                <a:solidFill>
                  <a:schemeClr val="accent3"/>
                </a:solidFill>
              </a:defRPr>
            </a:lvl1pPr>
          </a:lstStyle>
          <a:p>
            <a:fld id="{0CF8E9D1-E799-4ABE-88E9-ECB5684F0290}" type="datetime1">
              <a:rPr lang="en-US" smtClean="0"/>
              <a:t>1/9/2026</a:t>
            </a:fld>
            <a:endParaRPr lang="en-US" dirty="0"/>
          </a:p>
        </p:txBody>
      </p:sp>
      <p:sp>
        <p:nvSpPr>
          <p:cNvPr id="3" name="Footer Placeholder 2">
            <a:extLst>
              <a:ext uri="{FF2B5EF4-FFF2-40B4-BE49-F238E27FC236}">
                <a16:creationId xmlns:a16="http://schemas.microsoft.com/office/drawing/2014/main" id="{22FE4C4D-9732-C65C-7004-2ED99AE4E8DC}"/>
              </a:ext>
            </a:extLst>
          </p:cNvPr>
          <p:cNvSpPr>
            <a:spLocks noGrp="1"/>
          </p:cNvSpPr>
          <p:nvPr>
            <p:ph type="ftr" sz="quarter" idx="11"/>
          </p:nvPr>
        </p:nvSpPr>
        <p:spPr/>
        <p:txBody>
          <a:bodyPr/>
          <a:lstStyle>
            <a:lvl1pPr>
              <a:defRPr>
                <a:solidFill>
                  <a:schemeClr val="accent3"/>
                </a:solidFill>
              </a:defRPr>
            </a:lvl1pPr>
          </a:lstStyle>
          <a:p>
            <a:endParaRPr lang="en-US" dirty="0"/>
          </a:p>
        </p:txBody>
      </p:sp>
      <p:sp>
        <p:nvSpPr>
          <p:cNvPr id="4" name="Slide Number Placeholder 3">
            <a:extLst>
              <a:ext uri="{FF2B5EF4-FFF2-40B4-BE49-F238E27FC236}">
                <a16:creationId xmlns:a16="http://schemas.microsoft.com/office/drawing/2014/main" id="{1A96BAC3-A309-A9A8-FAA3-10B2F4794C43}"/>
              </a:ext>
            </a:extLst>
          </p:cNvPr>
          <p:cNvSpPr>
            <a:spLocks noGrp="1"/>
          </p:cNvSpPr>
          <p:nvPr>
            <p:ph type="sldNum" sz="quarter" idx="12"/>
          </p:nvPr>
        </p:nvSpPr>
        <p:spPr/>
        <p:txBody>
          <a:bodyPr/>
          <a:lstStyle>
            <a:lvl1pPr>
              <a:defRPr>
                <a:solidFill>
                  <a:schemeClr val="accent3"/>
                </a:solidFill>
              </a:defRPr>
            </a:lvl1pPr>
          </a:lstStyle>
          <a:p>
            <a:fld id="{2255CA7B-1B59-4C07-BE3D-E8AE49649A7D}" type="slidenum">
              <a:rPr lang="en-US" smtClean="0"/>
              <a:pPr/>
              <a:t>‹#›</a:t>
            </a:fld>
            <a:endParaRPr lang="en-US" dirty="0"/>
          </a:p>
        </p:txBody>
      </p:sp>
      <p:grpSp>
        <p:nvGrpSpPr>
          <p:cNvPr id="11" name="Group 4">
            <a:extLst>
              <a:ext uri="{FF2B5EF4-FFF2-40B4-BE49-F238E27FC236}">
                <a16:creationId xmlns:a16="http://schemas.microsoft.com/office/drawing/2014/main" id="{DE968127-0284-4405-9CD4-D654B782856C}"/>
              </a:ext>
            </a:extLst>
          </p:cNvPr>
          <p:cNvGrpSpPr>
            <a:grpSpLocks noChangeAspect="1"/>
          </p:cNvGrpSpPr>
          <p:nvPr userDrawn="1"/>
        </p:nvGrpSpPr>
        <p:grpSpPr bwMode="auto">
          <a:xfrm>
            <a:off x="10289325" y="219286"/>
            <a:ext cx="1678381" cy="268051"/>
            <a:chOff x="5837" y="325"/>
            <a:chExt cx="1509" cy="241"/>
          </a:xfrm>
        </p:grpSpPr>
        <p:sp>
          <p:nvSpPr>
            <p:cNvPr id="12" name="AutoShape 3">
              <a:extLst>
                <a:ext uri="{FF2B5EF4-FFF2-40B4-BE49-F238E27FC236}">
                  <a16:creationId xmlns:a16="http://schemas.microsoft.com/office/drawing/2014/main" id="{27E4561E-AB7E-D09C-1219-8A36225532F5}"/>
                </a:ext>
              </a:extLst>
            </p:cNvPr>
            <p:cNvSpPr>
              <a:spLocks noChangeAspect="1" noChangeArrowheads="1" noTextEdit="1"/>
            </p:cNvSpPr>
            <p:nvPr userDrawn="1"/>
          </p:nvSpPr>
          <p:spPr bwMode="auto">
            <a:xfrm>
              <a:off x="5837" y="325"/>
              <a:ext cx="1509" cy="2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Oval 5">
              <a:extLst>
                <a:ext uri="{FF2B5EF4-FFF2-40B4-BE49-F238E27FC236}">
                  <a16:creationId xmlns:a16="http://schemas.microsoft.com/office/drawing/2014/main" id="{BE0C208E-0CB4-A2AF-6F1A-49A1EDC658BD}"/>
                </a:ext>
              </a:extLst>
            </p:cNvPr>
            <p:cNvSpPr>
              <a:spLocks noChangeArrowheads="1"/>
            </p:cNvSpPr>
            <p:nvPr userDrawn="1"/>
          </p:nvSpPr>
          <p:spPr bwMode="auto">
            <a:xfrm>
              <a:off x="6666" y="324"/>
              <a:ext cx="40" cy="40"/>
            </a:xfrm>
            <a:prstGeom prst="ellipse">
              <a:avLst/>
            </a:prstGeom>
            <a:solidFill>
              <a:srgbClr val="00A7C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 name="Freeform 6">
              <a:extLst>
                <a:ext uri="{FF2B5EF4-FFF2-40B4-BE49-F238E27FC236}">
                  <a16:creationId xmlns:a16="http://schemas.microsoft.com/office/drawing/2014/main" id="{9220CE29-7B91-5783-AF45-ED1DFB596663}"/>
                </a:ext>
              </a:extLst>
            </p:cNvPr>
            <p:cNvSpPr>
              <a:spLocks noEditPoints="1"/>
            </p:cNvSpPr>
            <p:nvPr userDrawn="1"/>
          </p:nvSpPr>
          <p:spPr bwMode="auto">
            <a:xfrm>
              <a:off x="6653" y="375"/>
              <a:ext cx="137" cy="191"/>
            </a:xfrm>
            <a:custGeom>
              <a:avLst/>
              <a:gdLst>
                <a:gd name="T0" fmla="*/ 118 w 136"/>
                <a:gd name="T1" fmla="*/ 14 h 188"/>
                <a:gd name="T2" fmla="*/ 66 w 136"/>
                <a:gd name="T3" fmla="*/ 48 h 188"/>
                <a:gd name="T4" fmla="*/ 18 w 136"/>
                <a:gd name="T5" fmla="*/ 152 h 188"/>
                <a:gd name="T6" fmla="*/ 26 w 136"/>
                <a:gd name="T7" fmla="*/ 174 h 188"/>
                <a:gd name="T8" fmla="*/ 39 w 136"/>
                <a:gd name="T9" fmla="*/ 175 h 188"/>
                <a:gd name="T10" fmla="*/ 48 w 136"/>
                <a:gd name="T11" fmla="*/ 166 h 188"/>
                <a:gd name="T12" fmla="*/ 118 w 136"/>
                <a:gd name="T13" fmla="*/ 14 h 188"/>
                <a:gd name="T14" fmla="*/ 118 w 136"/>
                <a:gd name="T15" fmla="*/ 14 h 188"/>
                <a:gd name="T16" fmla="*/ 33 w 136"/>
                <a:gd name="T17" fmla="*/ 188 h 188"/>
                <a:gd name="T18" fmla="*/ 21 w 136"/>
                <a:gd name="T19" fmla="*/ 185 h 188"/>
                <a:gd name="T20" fmla="*/ 7 w 136"/>
                <a:gd name="T21" fmla="*/ 147 h 188"/>
                <a:gd name="T22" fmla="*/ 55 w 136"/>
                <a:gd name="T23" fmla="*/ 43 h 188"/>
                <a:gd name="T24" fmla="*/ 100 w 136"/>
                <a:gd name="T25" fmla="*/ 4 h 188"/>
                <a:gd name="T26" fmla="*/ 129 w 136"/>
                <a:gd name="T27" fmla="*/ 3 h 188"/>
                <a:gd name="T28" fmla="*/ 136 w 136"/>
                <a:gd name="T29" fmla="*/ 4 h 188"/>
                <a:gd name="T30" fmla="*/ 59 w 136"/>
                <a:gd name="T31" fmla="*/ 171 h 188"/>
                <a:gd name="T32" fmla="*/ 43 w 136"/>
                <a:gd name="T33" fmla="*/ 186 h 188"/>
                <a:gd name="T34" fmla="*/ 33 w 136"/>
                <a:gd name="T35" fmla="*/ 18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188">
                  <a:moveTo>
                    <a:pt x="118" y="14"/>
                  </a:moveTo>
                  <a:cubicBezTo>
                    <a:pt x="104" y="14"/>
                    <a:pt x="80" y="19"/>
                    <a:pt x="66" y="48"/>
                  </a:cubicBezTo>
                  <a:cubicBezTo>
                    <a:pt x="18" y="152"/>
                    <a:pt x="18" y="152"/>
                    <a:pt x="18" y="152"/>
                  </a:cubicBezTo>
                  <a:cubicBezTo>
                    <a:pt x="14" y="160"/>
                    <a:pt x="18" y="170"/>
                    <a:pt x="26" y="174"/>
                  </a:cubicBezTo>
                  <a:cubicBezTo>
                    <a:pt x="30" y="176"/>
                    <a:pt x="34" y="176"/>
                    <a:pt x="39" y="175"/>
                  </a:cubicBezTo>
                  <a:cubicBezTo>
                    <a:pt x="43" y="173"/>
                    <a:pt x="46" y="170"/>
                    <a:pt x="48" y="166"/>
                  </a:cubicBezTo>
                  <a:cubicBezTo>
                    <a:pt x="118" y="14"/>
                    <a:pt x="118" y="14"/>
                    <a:pt x="118" y="14"/>
                  </a:cubicBezTo>
                  <a:cubicBezTo>
                    <a:pt x="118" y="14"/>
                    <a:pt x="118" y="14"/>
                    <a:pt x="118" y="14"/>
                  </a:cubicBezTo>
                  <a:close/>
                  <a:moveTo>
                    <a:pt x="33" y="188"/>
                  </a:moveTo>
                  <a:cubicBezTo>
                    <a:pt x="29" y="188"/>
                    <a:pt x="25" y="187"/>
                    <a:pt x="21" y="185"/>
                  </a:cubicBezTo>
                  <a:cubicBezTo>
                    <a:pt x="7" y="179"/>
                    <a:pt x="0" y="161"/>
                    <a:pt x="7" y="147"/>
                  </a:cubicBezTo>
                  <a:cubicBezTo>
                    <a:pt x="55" y="43"/>
                    <a:pt x="55" y="43"/>
                    <a:pt x="55" y="43"/>
                  </a:cubicBezTo>
                  <a:cubicBezTo>
                    <a:pt x="67" y="17"/>
                    <a:pt x="86" y="7"/>
                    <a:pt x="100" y="4"/>
                  </a:cubicBezTo>
                  <a:cubicBezTo>
                    <a:pt x="116" y="0"/>
                    <a:pt x="128" y="3"/>
                    <a:pt x="129" y="3"/>
                  </a:cubicBezTo>
                  <a:cubicBezTo>
                    <a:pt x="136" y="4"/>
                    <a:pt x="136" y="4"/>
                    <a:pt x="136" y="4"/>
                  </a:cubicBezTo>
                  <a:cubicBezTo>
                    <a:pt x="59" y="171"/>
                    <a:pt x="59" y="171"/>
                    <a:pt x="59" y="171"/>
                  </a:cubicBezTo>
                  <a:cubicBezTo>
                    <a:pt x="56" y="178"/>
                    <a:pt x="50" y="184"/>
                    <a:pt x="43" y="186"/>
                  </a:cubicBezTo>
                  <a:cubicBezTo>
                    <a:pt x="40" y="187"/>
                    <a:pt x="36" y="188"/>
                    <a:pt x="33" y="188"/>
                  </a:cubicBezTo>
                  <a:close/>
                </a:path>
              </a:pathLst>
            </a:custGeom>
            <a:solidFill>
              <a:srgbClr val="00A7C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 name="Freeform 7">
              <a:extLst>
                <a:ext uri="{FF2B5EF4-FFF2-40B4-BE49-F238E27FC236}">
                  <a16:creationId xmlns:a16="http://schemas.microsoft.com/office/drawing/2014/main" id="{ECC2EAAF-14AB-66D4-E61E-EF7CAE8C7AA2}"/>
                </a:ext>
              </a:extLst>
            </p:cNvPr>
            <p:cNvSpPr>
              <a:spLocks/>
            </p:cNvSpPr>
            <p:nvPr userDrawn="1"/>
          </p:nvSpPr>
          <p:spPr bwMode="auto">
            <a:xfrm>
              <a:off x="6582" y="375"/>
              <a:ext cx="104" cy="174"/>
            </a:xfrm>
            <a:custGeom>
              <a:avLst/>
              <a:gdLst>
                <a:gd name="T0" fmla="*/ 77 w 103"/>
                <a:gd name="T1" fmla="*/ 147 h 171"/>
                <a:gd name="T2" fmla="*/ 78 w 103"/>
                <a:gd name="T3" fmla="*/ 144 h 171"/>
                <a:gd name="T4" fmla="*/ 18 w 103"/>
                <a:gd name="T5" fmla="*/ 14 h 171"/>
                <a:gd name="T6" fmla="*/ 19 w 103"/>
                <a:gd name="T7" fmla="*/ 14 h 171"/>
                <a:gd name="T8" fmla="*/ 70 w 103"/>
                <a:gd name="T9" fmla="*/ 48 h 171"/>
                <a:gd name="T10" fmla="*/ 96 w 103"/>
                <a:gd name="T11" fmla="*/ 105 h 171"/>
                <a:gd name="T12" fmla="*/ 103 w 103"/>
                <a:gd name="T13" fmla="*/ 90 h 171"/>
                <a:gd name="T14" fmla="*/ 81 w 103"/>
                <a:gd name="T15" fmla="*/ 43 h 171"/>
                <a:gd name="T16" fmla="*/ 36 w 103"/>
                <a:gd name="T17" fmla="*/ 4 h 171"/>
                <a:gd name="T18" fmla="*/ 7 w 103"/>
                <a:gd name="T19" fmla="*/ 3 h 171"/>
                <a:gd name="T20" fmla="*/ 0 w 103"/>
                <a:gd name="T21" fmla="*/ 4 h 171"/>
                <a:gd name="T22" fmla="*/ 77 w 103"/>
                <a:gd name="T23" fmla="*/ 171 h 171"/>
                <a:gd name="T24" fmla="*/ 77 w 103"/>
                <a:gd name="T25" fmla="*/ 171 h 171"/>
                <a:gd name="T26" fmla="*/ 77 w 103"/>
                <a:gd name="T27" fmla="*/ 147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3" h="171">
                  <a:moveTo>
                    <a:pt x="77" y="147"/>
                  </a:moveTo>
                  <a:cubicBezTo>
                    <a:pt x="78" y="144"/>
                    <a:pt x="78" y="144"/>
                    <a:pt x="78" y="144"/>
                  </a:cubicBezTo>
                  <a:cubicBezTo>
                    <a:pt x="18" y="14"/>
                    <a:pt x="18" y="14"/>
                    <a:pt x="18" y="14"/>
                  </a:cubicBezTo>
                  <a:cubicBezTo>
                    <a:pt x="18" y="14"/>
                    <a:pt x="18" y="14"/>
                    <a:pt x="19" y="14"/>
                  </a:cubicBezTo>
                  <a:cubicBezTo>
                    <a:pt x="32" y="14"/>
                    <a:pt x="56" y="19"/>
                    <a:pt x="70" y="48"/>
                  </a:cubicBezTo>
                  <a:cubicBezTo>
                    <a:pt x="96" y="105"/>
                    <a:pt x="96" y="105"/>
                    <a:pt x="96" y="105"/>
                  </a:cubicBezTo>
                  <a:cubicBezTo>
                    <a:pt x="103" y="90"/>
                    <a:pt x="103" y="90"/>
                    <a:pt x="103" y="90"/>
                  </a:cubicBezTo>
                  <a:cubicBezTo>
                    <a:pt x="81" y="43"/>
                    <a:pt x="81" y="43"/>
                    <a:pt x="81" y="43"/>
                  </a:cubicBezTo>
                  <a:cubicBezTo>
                    <a:pt x="69" y="17"/>
                    <a:pt x="50" y="7"/>
                    <a:pt x="36" y="4"/>
                  </a:cubicBezTo>
                  <a:cubicBezTo>
                    <a:pt x="20" y="0"/>
                    <a:pt x="8" y="3"/>
                    <a:pt x="7" y="3"/>
                  </a:cubicBezTo>
                  <a:cubicBezTo>
                    <a:pt x="0" y="4"/>
                    <a:pt x="0" y="4"/>
                    <a:pt x="0" y="4"/>
                  </a:cubicBezTo>
                  <a:cubicBezTo>
                    <a:pt x="77" y="171"/>
                    <a:pt x="77" y="171"/>
                    <a:pt x="77" y="171"/>
                  </a:cubicBezTo>
                  <a:cubicBezTo>
                    <a:pt x="77" y="171"/>
                    <a:pt x="77" y="171"/>
                    <a:pt x="77" y="171"/>
                  </a:cubicBezTo>
                  <a:cubicBezTo>
                    <a:pt x="74" y="164"/>
                    <a:pt x="73" y="155"/>
                    <a:pt x="77" y="14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 name="Freeform 8">
              <a:extLst>
                <a:ext uri="{FF2B5EF4-FFF2-40B4-BE49-F238E27FC236}">
                  <a16:creationId xmlns:a16="http://schemas.microsoft.com/office/drawing/2014/main" id="{7EDF5D49-8562-F9FD-ACFD-AFE0AD59406E}"/>
                </a:ext>
              </a:extLst>
            </p:cNvPr>
            <p:cNvSpPr>
              <a:spLocks/>
            </p:cNvSpPr>
            <p:nvPr userDrawn="1"/>
          </p:nvSpPr>
          <p:spPr bwMode="auto">
            <a:xfrm>
              <a:off x="6686" y="482"/>
              <a:ext cx="25" cy="63"/>
            </a:xfrm>
            <a:custGeom>
              <a:avLst/>
              <a:gdLst>
                <a:gd name="T0" fmla="*/ 0 w 25"/>
                <a:gd name="T1" fmla="*/ 15 h 62"/>
                <a:gd name="T2" fmla="*/ 15 w 25"/>
                <a:gd name="T3" fmla="*/ 47 h 62"/>
                <a:gd name="T4" fmla="*/ 15 w 25"/>
                <a:gd name="T5" fmla="*/ 62 h 62"/>
                <a:gd name="T6" fmla="*/ 15 w 25"/>
                <a:gd name="T7" fmla="*/ 61 h 62"/>
                <a:gd name="T8" fmla="*/ 25 w 25"/>
                <a:gd name="T9" fmla="*/ 39 h 62"/>
                <a:gd name="T10" fmla="*/ 7 w 25"/>
                <a:gd name="T11" fmla="*/ 0 h 62"/>
                <a:gd name="T12" fmla="*/ 0 w 25"/>
                <a:gd name="T13" fmla="*/ 15 h 62"/>
              </a:gdLst>
              <a:ahLst/>
              <a:cxnLst>
                <a:cxn ang="0">
                  <a:pos x="T0" y="T1"/>
                </a:cxn>
                <a:cxn ang="0">
                  <a:pos x="T2" y="T3"/>
                </a:cxn>
                <a:cxn ang="0">
                  <a:pos x="T4" y="T5"/>
                </a:cxn>
                <a:cxn ang="0">
                  <a:pos x="T6" y="T7"/>
                </a:cxn>
                <a:cxn ang="0">
                  <a:pos x="T8" y="T9"/>
                </a:cxn>
                <a:cxn ang="0">
                  <a:pos x="T10" y="T11"/>
                </a:cxn>
                <a:cxn ang="0">
                  <a:pos x="T12" y="T13"/>
                </a:cxn>
              </a:cxnLst>
              <a:rect l="0" t="0" r="r" b="b"/>
              <a:pathLst>
                <a:path w="25" h="62">
                  <a:moveTo>
                    <a:pt x="0" y="15"/>
                  </a:moveTo>
                  <a:cubicBezTo>
                    <a:pt x="15" y="47"/>
                    <a:pt x="15" y="47"/>
                    <a:pt x="15" y="47"/>
                  </a:cubicBezTo>
                  <a:cubicBezTo>
                    <a:pt x="17" y="52"/>
                    <a:pt x="17" y="57"/>
                    <a:pt x="15" y="62"/>
                  </a:cubicBezTo>
                  <a:cubicBezTo>
                    <a:pt x="15" y="61"/>
                    <a:pt x="15" y="61"/>
                    <a:pt x="15" y="61"/>
                  </a:cubicBezTo>
                  <a:cubicBezTo>
                    <a:pt x="25" y="39"/>
                    <a:pt x="25" y="39"/>
                    <a:pt x="25" y="39"/>
                  </a:cubicBezTo>
                  <a:cubicBezTo>
                    <a:pt x="7" y="0"/>
                    <a:pt x="7" y="0"/>
                    <a:pt x="7" y="0"/>
                  </a:cubicBezTo>
                  <a:cubicBezTo>
                    <a:pt x="0" y="15"/>
                    <a:pt x="0" y="15"/>
                    <a:pt x="0" y="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dirty="0"/>
            </a:p>
          </p:txBody>
        </p:sp>
        <p:sp>
          <p:nvSpPr>
            <p:cNvPr id="17" name="Freeform 9">
              <a:extLst>
                <a:ext uri="{FF2B5EF4-FFF2-40B4-BE49-F238E27FC236}">
                  <a16:creationId xmlns:a16="http://schemas.microsoft.com/office/drawing/2014/main" id="{F4FB0FBC-F16A-4EBE-939A-DA154EFFF3FD}"/>
                </a:ext>
              </a:extLst>
            </p:cNvPr>
            <p:cNvSpPr>
              <a:spLocks/>
            </p:cNvSpPr>
            <p:nvPr userDrawn="1"/>
          </p:nvSpPr>
          <p:spPr bwMode="auto">
            <a:xfrm>
              <a:off x="6385" y="380"/>
              <a:ext cx="160" cy="186"/>
            </a:xfrm>
            <a:custGeom>
              <a:avLst/>
              <a:gdLst>
                <a:gd name="T0" fmla="*/ 80 w 158"/>
                <a:gd name="T1" fmla="*/ 183 h 183"/>
                <a:gd name="T2" fmla="*/ 49 w 158"/>
                <a:gd name="T3" fmla="*/ 179 h 183"/>
                <a:gd name="T4" fmla="*/ 23 w 158"/>
                <a:gd name="T5" fmla="*/ 167 h 183"/>
                <a:gd name="T6" fmla="*/ 6 w 158"/>
                <a:gd name="T7" fmla="*/ 148 h 183"/>
                <a:gd name="T8" fmla="*/ 0 w 158"/>
                <a:gd name="T9" fmla="*/ 122 h 183"/>
                <a:gd name="T10" fmla="*/ 0 w 158"/>
                <a:gd name="T11" fmla="*/ 0 h 183"/>
                <a:gd name="T12" fmla="*/ 32 w 158"/>
                <a:gd name="T13" fmla="*/ 0 h 183"/>
                <a:gd name="T14" fmla="*/ 32 w 158"/>
                <a:gd name="T15" fmla="*/ 122 h 183"/>
                <a:gd name="T16" fmla="*/ 37 w 158"/>
                <a:gd name="T17" fmla="*/ 135 h 183"/>
                <a:gd name="T18" fmla="*/ 48 w 158"/>
                <a:gd name="T19" fmla="*/ 144 h 183"/>
                <a:gd name="T20" fmla="*/ 64 w 158"/>
                <a:gd name="T21" fmla="*/ 149 h 183"/>
                <a:gd name="T22" fmla="*/ 80 w 158"/>
                <a:gd name="T23" fmla="*/ 151 h 183"/>
                <a:gd name="T24" fmla="*/ 95 w 158"/>
                <a:gd name="T25" fmla="*/ 149 h 183"/>
                <a:gd name="T26" fmla="*/ 110 w 158"/>
                <a:gd name="T27" fmla="*/ 144 h 183"/>
                <a:gd name="T28" fmla="*/ 121 w 158"/>
                <a:gd name="T29" fmla="*/ 135 h 183"/>
                <a:gd name="T30" fmla="*/ 125 w 158"/>
                <a:gd name="T31" fmla="*/ 122 h 183"/>
                <a:gd name="T32" fmla="*/ 125 w 158"/>
                <a:gd name="T33" fmla="*/ 0 h 183"/>
                <a:gd name="T34" fmla="*/ 158 w 158"/>
                <a:gd name="T35" fmla="*/ 0 h 183"/>
                <a:gd name="T36" fmla="*/ 158 w 158"/>
                <a:gd name="T37" fmla="*/ 122 h 183"/>
                <a:gd name="T38" fmla="*/ 152 w 158"/>
                <a:gd name="T39" fmla="*/ 148 h 183"/>
                <a:gd name="T40" fmla="*/ 136 w 158"/>
                <a:gd name="T41" fmla="*/ 167 h 183"/>
                <a:gd name="T42" fmla="*/ 111 w 158"/>
                <a:gd name="T43" fmla="*/ 179 h 183"/>
                <a:gd name="T44" fmla="*/ 80 w 158"/>
                <a:gd name="T45" fmla="*/ 183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8" h="183">
                  <a:moveTo>
                    <a:pt x="80" y="183"/>
                  </a:moveTo>
                  <a:cubicBezTo>
                    <a:pt x="69" y="183"/>
                    <a:pt x="59" y="182"/>
                    <a:pt x="49" y="179"/>
                  </a:cubicBezTo>
                  <a:cubicBezTo>
                    <a:pt x="39" y="177"/>
                    <a:pt x="31" y="173"/>
                    <a:pt x="23" y="167"/>
                  </a:cubicBezTo>
                  <a:cubicBezTo>
                    <a:pt x="16" y="162"/>
                    <a:pt x="10" y="156"/>
                    <a:pt x="6" y="148"/>
                  </a:cubicBezTo>
                  <a:cubicBezTo>
                    <a:pt x="2" y="140"/>
                    <a:pt x="0" y="131"/>
                    <a:pt x="0" y="122"/>
                  </a:cubicBezTo>
                  <a:cubicBezTo>
                    <a:pt x="0" y="0"/>
                    <a:pt x="0" y="0"/>
                    <a:pt x="0" y="0"/>
                  </a:cubicBezTo>
                  <a:cubicBezTo>
                    <a:pt x="32" y="0"/>
                    <a:pt x="32" y="0"/>
                    <a:pt x="32" y="0"/>
                  </a:cubicBezTo>
                  <a:cubicBezTo>
                    <a:pt x="32" y="122"/>
                    <a:pt x="32" y="122"/>
                    <a:pt x="32" y="122"/>
                  </a:cubicBezTo>
                  <a:cubicBezTo>
                    <a:pt x="32" y="127"/>
                    <a:pt x="34" y="132"/>
                    <a:pt x="37" y="135"/>
                  </a:cubicBezTo>
                  <a:cubicBezTo>
                    <a:pt x="40" y="139"/>
                    <a:pt x="44" y="142"/>
                    <a:pt x="48" y="144"/>
                  </a:cubicBezTo>
                  <a:cubicBezTo>
                    <a:pt x="53" y="146"/>
                    <a:pt x="58" y="148"/>
                    <a:pt x="64" y="149"/>
                  </a:cubicBezTo>
                  <a:cubicBezTo>
                    <a:pt x="70" y="150"/>
                    <a:pt x="75" y="151"/>
                    <a:pt x="80" y="151"/>
                  </a:cubicBezTo>
                  <a:cubicBezTo>
                    <a:pt x="85" y="151"/>
                    <a:pt x="90" y="150"/>
                    <a:pt x="95" y="149"/>
                  </a:cubicBezTo>
                  <a:cubicBezTo>
                    <a:pt x="100" y="148"/>
                    <a:pt x="105" y="146"/>
                    <a:pt x="110" y="144"/>
                  </a:cubicBezTo>
                  <a:cubicBezTo>
                    <a:pt x="114" y="142"/>
                    <a:pt x="118" y="139"/>
                    <a:pt x="121" y="135"/>
                  </a:cubicBezTo>
                  <a:cubicBezTo>
                    <a:pt x="124" y="132"/>
                    <a:pt x="125" y="127"/>
                    <a:pt x="125" y="122"/>
                  </a:cubicBezTo>
                  <a:cubicBezTo>
                    <a:pt x="125" y="0"/>
                    <a:pt x="125" y="0"/>
                    <a:pt x="125" y="0"/>
                  </a:cubicBezTo>
                  <a:cubicBezTo>
                    <a:pt x="158" y="0"/>
                    <a:pt x="158" y="0"/>
                    <a:pt x="158" y="0"/>
                  </a:cubicBezTo>
                  <a:cubicBezTo>
                    <a:pt x="158" y="122"/>
                    <a:pt x="158" y="122"/>
                    <a:pt x="158" y="122"/>
                  </a:cubicBezTo>
                  <a:cubicBezTo>
                    <a:pt x="158" y="131"/>
                    <a:pt x="156" y="140"/>
                    <a:pt x="152" y="148"/>
                  </a:cubicBezTo>
                  <a:cubicBezTo>
                    <a:pt x="149" y="156"/>
                    <a:pt x="143" y="162"/>
                    <a:pt x="136" y="167"/>
                  </a:cubicBezTo>
                  <a:cubicBezTo>
                    <a:pt x="129" y="173"/>
                    <a:pt x="121" y="177"/>
                    <a:pt x="111" y="179"/>
                  </a:cubicBezTo>
                  <a:cubicBezTo>
                    <a:pt x="102" y="182"/>
                    <a:pt x="91" y="183"/>
                    <a:pt x="80" y="18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Freeform 10">
              <a:extLst>
                <a:ext uri="{FF2B5EF4-FFF2-40B4-BE49-F238E27FC236}">
                  <a16:creationId xmlns:a16="http://schemas.microsoft.com/office/drawing/2014/main" id="{431A3EE4-7FEA-C755-48F2-F70AB3181610}"/>
                </a:ext>
              </a:extLst>
            </p:cNvPr>
            <p:cNvSpPr>
              <a:spLocks/>
            </p:cNvSpPr>
            <p:nvPr userDrawn="1"/>
          </p:nvSpPr>
          <p:spPr bwMode="auto">
            <a:xfrm>
              <a:off x="6182" y="377"/>
              <a:ext cx="159" cy="187"/>
            </a:xfrm>
            <a:custGeom>
              <a:avLst/>
              <a:gdLst>
                <a:gd name="T0" fmla="*/ 126 w 158"/>
                <a:gd name="T1" fmla="*/ 184 h 184"/>
                <a:gd name="T2" fmla="*/ 126 w 158"/>
                <a:gd name="T3" fmla="*/ 62 h 184"/>
                <a:gd name="T4" fmla="*/ 121 w 158"/>
                <a:gd name="T5" fmla="*/ 48 h 184"/>
                <a:gd name="T6" fmla="*/ 110 w 158"/>
                <a:gd name="T7" fmla="*/ 39 h 184"/>
                <a:gd name="T8" fmla="*/ 94 w 158"/>
                <a:gd name="T9" fmla="*/ 34 h 184"/>
                <a:gd name="T10" fmla="*/ 79 w 158"/>
                <a:gd name="T11" fmla="*/ 33 h 184"/>
                <a:gd name="T12" fmla="*/ 63 w 158"/>
                <a:gd name="T13" fmla="*/ 34 h 184"/>
                <a:gd name="T14" fmla="*/ 48 w 158"/>
                <a:gd name="T15" fmla="*/ 39 h 184"/>
                <a:gd name="T16" fmla="*/ 37 w 158"/>
                <a:gd name="T17" fmla="*/ 48 h 184"/>
                <a:gd name="T18" fmla="*/ 33 w 158"/>
                <a:gd name="T19" fmla="*/ 62 h 184"/>
                <a:gd name="T20" fmla="*/ 33 w 158"/>
                <a:gd name="T21" fmla="*/ 184 h 184"/>
                <a:gd name="T22" fmla="*/ 0 w 158"/>
                <a:gd name="T23" fmla="*/ 184 h 184"/>
                <a:gd name="T24" fmla="*/ 0 w 158"/>
                <a:gd name="T25" fmla="*/ 62 h 184"/>
                <a:gd name="T26" fmla="*/ 6 w 158"/>
                <a:gd name="T27" fmla="*/ 35 h 184"/>
                <a:gd name="T28" fmla="*/ 23 w 158"/>
                <a:gd name="T29" fmla="*/ 16 h 184"/>
                <a:gd name="T30" fmla="*/ 48 w 158"/>
                <a:gd name="T31" fmla="*/ 4 h 184"/>
                <a:gd name="T32" fmla="*/ 79 w 158"/>
                <a:gd name="T33" fmla="*/ 0 h 184"/>
                <a:gd name="T34" fmla="*/ 110 w 158"/>
                <a:gd name="T35" fmla="*/ 4 h 184"/>
                <a:gd name="T36" fmla="*/ 135 w 158"/>
                <a:gd name="T37" fmla="*/ 16 h 184"/>
                <a:gd name="T38" fmla="*/ 152 w 158"/>
                <a:gd name="T39" fmla="*/ 35 h 184"/>
                <a:gd name="T40" fmla="*/ 158 w 158"/>
                <a:gd name="T41" fmla="*/ 62 h 184"/>
                <a:gd name="T42" fmla="*/ 158 w 158"/>
                <a:gd name="T43" fmla="*/ 184 h 184"/>
                <a:gd name="T44" fmla="*/ 126 w 158"/>
                <a:gd name="T45" fmla="*/ 1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8" h="184">
                  <a:moveTo>
                    <a:pt x="126" y="184"/>
                  </a:moveTo>
                  <a:cubicBezTo>
                    <a:pt x="126" y="62"/>
                    <a:pt x="126" y="62"/>
                    <a:pt x="126" y="62"/>
                  </a:cubicBezTo>
                  <a:cubicBezTo>
                    <a:pt x="126" y="56"/>
                    <a:pt x="124" y="52"/>
                    <a:pt x="121" y="48"/>
                  </a:cubicBezTo>
                  <a:cubicBezTo>
                    <a:pt x="118" y="45"/>
                    <a:pt x="114" y="41"/>
                    <a:pt x="110" y="39"/>
                  </a:cubicBezTo>
                  <a:cubicBezTo>
                    <a:pt x="105" y="37"/>
                    <a:pt x="100" y="35"/>
                    <a:pt x="94" y="34"/>
                  </a:cubicBezTo>
                  <a:cubicBezTo>
                    <a:pt x="89" y="33"/>
                    <a:pt x="84" y="33"/>
                    <a:pt x="79" y="33"/>
                  </a:cubicBezTo>
                  <a:cubicBezTo>
                    <a:pt x="74" y="33"/>
                    <a:pt x="69" y="33"/>
                    <a:pt x="63" y="34"/>
                  </a:cubicBezTo>
                  <a:cubicBezTo>
                    <a:pt x="58" y="35"/>
                    <a:pt x="53" y="37"/>
                    <a:pt x="48" y="39"/>
                  </a:cubicBezTo>
                  <a:cubicBezTo>
                    <a:pt x="44" y="41"/>
                    <a:pt x="40" y="45"/>
                    <a:pt x="37" y="48"/>
                  </a:cubicBezTo>
                  <a:cubicBezTo>
                    <a:pt x="34" y="52"/>
                    <a:pt x="33" y="56"/>
                    <a:pt x="33" y="62"/>
                  </a:cubicBezTo>
                  <a:cubicBezTo>
                    <a:pt x="33" y="184"/>
                    <a:pt x="33" y="184"/>
                    <a:pt x="33" y="184"/>
                  </a:cubicBezTo>
                  <a:cubicBezTo>
                    <a:pt x="0" y="184"/>
                    <a:pt x="0" y="184"/>
                    <a:pt x="0" y="184"/>
                  </a:cubicBezTo>
                  <a:cubicBezTo>
                    <a:pt x="0" y="62"/>
                    <a:pt x="0" y="62"/>
                    <a:pt x="0" y="62"/>
                  </a:cubicBezTo>
                  <a:cubicBezTo>
                    <a:pt x="0" y="52"/>
                    <a:pt x="2" y="43"/>
                    <a:pt x="6" y="35"/>
                  </a:cubicBezTo>
                  <a:cubicBezTo>
                    <a:pt x="10" y="27"/>
                    <a:pt x="16" y="21"/>
                    <a:pt x="23" y="16"/>
                  </a:cubicBezTo>
                  <a:cubicBezTo>
                    <a:pt x="30" y="11"/>
                    <a:pt x="38" y="7"/>
                    <a:pt x="48" y="4"/>
                  </a:cubicBezTo>
                  <a:cubicBezTo>
                    <a:pt x="58" y="1"/>
                    <a:pt x="68" y="0"/>
                    <a:pt x="79" y="0"/>
                  </a:cubicBezTo>
                  <a:cubicBezTo>
                    <a:pt x="90" y="0"/>
                    <a:pt x="101" y="1"/>
                    <a:pt x="110" y="4"/>
                  </a:cubicBezTo>
                  <a:cubicBezTo>
                    <a:pt x="120" y="7"/>
                    <a:pt x="128" y="11"/>
                    <a:pt x="135" y="16"/>
                  </a:cubicBezTo>
                  <a:cubicBezTo>
                    <a:pt x="143" y="21"/>
                    <a:pt x="148" y="28"/>
                    <a:pt x="152" y="35"/>
                  </a:cubicBezTo>
                  <a:cubicBezTo>
                    <a:pt x="156" y="43"/>
                    <a:pt x="158" y="52"/>
                    <a:pt x="158" y="62"/>
                  </a:cubicBezTo>
                  <a:cubicBezTo>
                    <a:pt x="158" y="184"/>
                    <a:pt x="158" y="184"/>
                    <a:pt x="158" y="184"/>
                  </a:cubicBezTo>
                  <a:cubicBezTo>
                    <a:pt x="126" y="184"/>
                    <a:pt x="126" y="184"/>
                    <a:pt x="126" y="1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 name="Freeform 11">
              <a:extLst>
                <a:ext uri="{FF2B5EF4-FFF2-40B4-BE49-F238E27FC236}">
                  <a16:creationId xmlns:a16="http://schemas.microsoft.com/office/drawing/2014/main" id="{011A1C26-D568-90E9-B5B0-A0BB2001E27B}"/>
                </a:ext>
              </a:extLst>
            </p:cNvPr>
            <p:cNvSpPr>
              <a:spLocks noEditPoints="1"/>
            </p:cNvSpPr>
            <p:nvPr userDrawn="1"/>
          </p:nvSpPr>
          <p:spPr bwMode="auto">
            <a:xfrm>
              <a:off x="5978" y="377"/>
              <a:ext cx="160" cy="189"/>
            </a:xfrm>
            <a:custGeom>
              <a:avLst/>
              <a:gdLst>
                <a:gd name="T0" fmla="*/ 126 w 159"/>
                <a:gd name="T1" fmla="*/ 77 h 186"/>
                <a:gd name="T2" fmla="*/ 126 w 159"/>
                <a:gd name="T3" fmla="*/ 62 h 186"/>
                <a:gd name="T4" fmla="*/ 122 w 159"/>
                <a:gd name="T5" fmla="*/ 49 h 186"/>
                <a:gd name="T6" fmla="*/ 112 w 159"/>
                <a:gd name="T7" fmla="*/ 40 h 186"/>
                <a:gd name="T8" fmla="*/ 97 w 159"/>
                <a:gd name="T9" fmla="*/ 35 h 186"/>
                <a:gd name="T10" fmla="*/ 79 w 159"/>
                <a:gd name="T11" fmla="*/ 33 h 186"/>
                <a:gd name="T12" fmla="*/ 61 w 159"/>
                <a:gd name="T13" fmla="*/ 35 h 186"/>
                <a:gd name="T14" fmla="*/ 46 w 159"/>
                <a:gd name="T15" fmla="*/ 40 h 186"/>
                <a:gd name="T16" fmla="*/ 37 w 159"/>
                <a:gd name="T17" fmla="*/ 50 h 186"/>
                <a:gd name="T18" fmla="*/ 33 w 159"/>
                <a:gd name="T19" fmla="*/ 62 h 186"/>
                <a:gd name="T20" fmla="*/ 33 w 159"/>
                <a:gd name="T21" fmla="*/ 77 h 186"/>
                <a:gd name="T22" fmla="*/ 126 w 159"/>
                <a:gd name="T23" fmla="*/ 77 h 186"/>
                <a:gd name="T24" fmla="*/ 79 w 159"/>
                <a:gd name="T25" fmla="*/ 186 h 186"/>
                <a:gd name="T26" fmla="*/ 49 w 159"/>
                <a:gd name="T27" fmla="*/ 182 h 186"/>
                <a:gd name="T28" fmla="*/ 24 w 159"/>
                <a:gd name="T29" fmla="*/ 171 h 186"/>
                <a:gd name="T30" fmla="*/ 7 w 159"/>
                <a:gd name="T31" fmla="*/ 151 h 186"/>
                <a:gd name="T32" fmla="*/ 0 w 159"/>
                <a:gd name="T33" fmla="*/ 123 h 186"/>
                <a:gd name="T34" fmla="*/ 0 w 159"/>
                <a:gd name="T35" fmla="*/ 62 h 186"/>
                <a:gd name="T36" fmla="*/ 7 w 159"/>
                <a:gd name="T37" fmla="*/ 35 h 186"/>
                <a:gd name="T38" fmla="*/ 23 w 159"/>
                <a:gd name="T39" fmla="*/ 16 h 186"/>
                <a:gd name="T40" fmla="*/ 48 w 159"/>
                <a:gd name="T41" fmla="*/ 4 h 186"/>
                <a:gd name="T42" fmla="*/ 79 w 159"/>
                <a:gd name="T43" fmla="*/ 0 h 186"/>
                <a:gd name="T44" fmla="*/ 110 w 159"/>
                <a:gd name="T45" fmla="*/ 4 h 186"/>
                <a:gd name="T46" fmla="*/ 135 w 159"/>
                <a:gd name="T47" fmla="*/ 15 h 186"/>
                <a:gd name="T48" fmla="*/ 152 w 159"/>
                <a:gd name="T49" fmla="*/ 34 h 186"/>
                <a:gd name="T50" fmla="*/ 159 w 159"/>
                <a:gd name="T51" fmla="*/ 62 h 186"/>
                <a:gd name="T52" fmla="*/ 159 w 159"/>
                <a:gd name="T53" fmla="*/ 109 h 186"/>
                <a:gd name="T54" fmla="*/ 33 w 159"/>
                <a:gd name="T55" fmla="*/ 109 h 186"/>
                <a:gd name="T56" fmla="*/ 33 w 159"/>
                <a:gd name="T57" fmla="*/ 124 h 186"/>
                <a:gd name="T58" fmla="*/ 37 w 159"/>
                <a:gd name="T59" fmla="*/ 136 h 186"/>
                <a:gd name="T60" fmla="*/ 47 w 159"/>
                <a:gd name="T61" fmla="*/ 146 h 186"/>
                <a:gd name="T62" fmla="*/ 61 w 159"/>
                <a:gd name="T63" fmla="*/ 152 h 186"/>
                <a:gd name="T64" fmla="*/ 79 w 159"/>
                <a:gd name="T65" fmla="*/ 154 h 186"/>
                <a:gd name="T66" fmla="*/ 105 w 159"/>
                <a:gd name="T67" fmla="*/ 149 h 186"/>
                <a:gd name="T68" fmla="*/ 125 w 159"/>
                <a:gd name="T69" fmla="*/ 136 h 186"/>
                <a:gd name="T70" fmla="*/ 125 w 159"/>
                <a:gd name="T71" fmla="*/ 135 h 186"/>
                <a:gd name="T72" fmla="*/ 155 w 159"/>
                <a:gd name="T73" fmla="*/ 152 h 186"/>
                <a:gd name="T74" fmla="*/ 154 w 159"/>
                <a:gd name="T75" fmla="*/ 153 h 186"/>
                <a:gd name="T76" fmla="*/ 123 w 159"/>
                <a:gd name="T77" fmla="*/ 178 h 186"/>
                <a:gd name="T78" fmla="*/ 79 w 159"/>
                <a:gd name="T79" fmla="*/ 186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59" h="186">
                  <a:moveTo>
                    <a:pt x="126" y="77"/>
                  </a:moveTo>
                  <a:cubicBezTo>
                    <a:pt x="126" y="62"/>
                    <a:pt x="126" y="62"/>
                    <a:pt x="126" y="62"/>
                  </a:cubicBezTo>
                  <a:cubicBezTo>
                    <a:pt x="126" y="57"/>
                    <a:pt x="125" y="53"/>
                    <a:pt x="122" y="49"/>
                  </a:cubicBezTo>
                  <a:cubicBezTo>
                    <a:pt x="120" y="46"/>
                    <a:pt x="116" y="42"/>
                    <a:pt x="112" y="40"/>
                  </a:cubicBezTo>
                  <a:cubicBezTo>
                    <a:pt x="108" y="38"/>
                    <a:pt x="103" y="36"/>
                    <a:pt x="97" y="35"/>
                  </a:cubicBezTo>
                  <a:cubicBezTo>
                    <a:pt x="92" y="33"/>
                    <a:pt x="86" y="33"/>
                    <a:pt x="79" y="33"/>
                  </a:cubicBezTo>
                  <a:cubicBezTo>
                    <a:pt x="73" y="33"/>
                    <a:pt x="67" y="33"/>
                    <a:pt x="61" y="35"/>
                  </a:cubicBezTo>
                  <a:cubicBezTo>
                    <a:pt x="56" y="36"/>
                    <a:pt x="51" y="38"/>
                    <a:pt x="46" y="40"/>
                  </a:cubicBezTo>
                  <a:cubicBezTo>
                    <a:pt x="42" y="43"/>
                    <a:pt x="39" y="46"/>
                    <a:pt x="37" y="50"/>
                  </a:cubicBezTo>
                  <a:cubicBezTo>
                    <a:pt x="34" y="53"/>
                    <a:pt x="33" y="57"/>
                    <a:pt x="33" y="62"/>
                  </a:cubicBezTo>
                  <a:cubicBezTo>
                    <a:pt x="33" y="77"/>
                    <a:pt x="33" y="77"/>
                    <a:pt x="33" y="77"/>
                  </a:cubicBezTo>
                  <a:cubicBezTo>
                    <a:pt x="126" y="77"/>
                    <a:pt x="126" y="77"/>
                    <a:pt x="126" y="77"/>
                  </a:cubicBezTo>
                  <a:close/>
                  <a:moveTo>
                    <a:pt x="79" y="186"/>
                  </a:moveTo>
                  <a:cubicBezTo>
                    <a:pt x="69" y="186"/>
                    <a:pt x="59" y="185"/>
                    <a:pt x="49" y="182"/>
                  </a:cubicBezTo>
                  <a:cubicBezTo>
                    <a:pt x="40" y="180"/>
                    <a:pt x="32" y="176"/>
                    <a:pt x="24" y="171"/>
                  </a:cubicBezTo>
                  <a:cubicBezTo>
                    <a:pt x="17" y="166"/>
                    <a:pt x="11" y="159"/>
                    <a:pt x="7" y="151"/>
                  </a:cubicBezTo>
                  <a:cubicBezTo>
                    <a:pt x="3" y="143"/>
                    <a:pt x="0" y="134"/>
                    <a:pt x="0" y="123"/>
                  </a:cubicBezTo>
                  <a:cubicBezTo>
                    <a:pt x="0" y="62"/>
                    <a:pt x="0" y="62"/>
                    <a:pt x="0" y="62"/>
                  </a:cubicBezTo>
                  <a:cubicBezTo>
                    <a:pt x="0" y="52"/>
                    <a:pt x="2" y="43"/>
                    <a:pt x="7" y="35"/>
                  </a:cubicBezTo>
                  <a:cubicBezTo>
                    <a:pt x="11" y="28"/>
                    <a:pt x="16" y="21"/>
                    <a:pt x="23" y="16"/>
                  </a:cubicBezTo>
                  <a:cubicBezTo>
                    <a:pt x="30" y="11"/>
                    <a:pt x="39" y="7"/>
                    <a:pt x="48" y="4"/>
                  </a:cubicBezTo>
                  <a:cubicBezTo>
                    <a:pt x="58" y="1"/>
                    <a:pt x="68" y="0"/>
                    <a:pt x="79" y="0"/>
                  </a:cubicBezTo>
                  <a:cubicBezTo>
                    <a:pt x="90" y="0"/>
                    <a:pt x="100" y="1"/>
                    <a:pt x="110" y="4"/>
                  </a:cubicBezTo>
                  <a:cubicBezTo>
                    <a:pt x="120" y="6"/>
                    <a:pt x="128" y="10"/>
                    <a:pt x="135" y="15"/>
                  </a:cubicBezTo>
                  <a:cubicBezTo>
                    <a:pt x="142" y="20"/>
                    <a:pt x="148" y="26"/>
                    <a:pt x="152" y="34"/>
                  </a:cubicBezTo>
                  <a:cubicBezTo>
                    <a:pt x="156" y="42"/>
                    <a:pt x="159" y="51"/>
                    <a:pt x="159" y="62"/>
                  </a:cubicBezTo>
                  <a:cubicBezTo>
                    <a:pt x="159" y="109"/>
                    <a:pt x="159" y="109"/>
                    <a:pt x="159" y="109"/>
                  </a:cubicBezTo>
                  <a:cubicBezTo>
                    <a:pt x="33" y="109"/>
                    <a:pt x="33" y="109"/>
                    <a:pt x="33" y="109"/>
                  </a:cubicBezTo>
                  <a:cubicBezTo>
                    <a:pt x="33" y="124"/>
                    <a:pt x="33" y="124"/>
                    <a:pt x="33" y="124"/>
                  </a:cubicBezTo>
                  <a:cubicBezTo>
                    <a:pt x="33" y="129"/>
                    <a:pt x="35" y="133"/>
                    <a:pt x="37" y="136"/>
                  </a:cubicBezTo>
                  <a:cubicBezTo>
                    <a:pt x="39" y="140"/>
                    <a:pt x="43" y="143"/>
                    <a:pt x="47" y="146"/>
                  </a:cubicBezTo>
                  <a:cubicBezTo>
                    <a:pt x="51" y="148"/>
                    <a:pt x="56" y="150"/>
                    <a:pt x="61" y="152"/>
                  </a:cubicBezTo>
                  <a:cubicBezTo>
                    <a:pt x="67" y="153"/>
                    <a:pt x="73" y="154"/>
                    <a:pt x="79" y="154"/>
                  </a:cubicBezTo>
                  <a:cubicBezTo>
                    <a:pt x="88" y="154"/>
                    <a:pt x="97" y="152"/>
                    <a:pt x="105" y="149"/>
                  </a:cubicBezTo>
                  <a:cubicBezTo>
                    <a:pt x="113" y="146"/>
                    <a:pt x="120" y="142"/>
                    <a:pt x="125" y="136"/>
                  </a:cubicBezTo>
                  <a:cubicBezTo>
                    <a:pt x="125" y="135"/>
                    <a:pt x="125" y="135"/>
                    <a:pt x="125" y="135"/>
                  </a:cubicBezTo>
                  <a:cubicBezTo>
                    <a:pt x="155" y="152"/>
                    <a:pt x="155" y="152"/>
                    <a:pt x="155" y="152"/>
                  </a:cubicBezTo>
                  <a:cubicBezTo>
                    <a:pt x="154" y="153"/>
                    <a:pt x="154" y="153"/>
                    <a:pt x="154" y="153"/>
                  </a:cubicBezTo>
                  <a:cubicBezTo>
                    <a:pt x="147" y="164"/>
                    <a:pt x="136" y="172"/>
                    <a:pt x="123" y="178"/>
                  </a:cubicBezTo>
                  <a:cubicBezTo>
                    <a:pt x="109" y="183"/>
                    <a:pt x="95" y="186"/>
                    <a:pt x="79" y="18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 name="Freeform 12">
              <a:extLst>
                <a:ext uri="{FF2B5EF4-FFF2-40B4-BE49-F238E27FC236}">
                  <a16:creationId xmlns:a16="http://schemas.microsoft.com/office/drawing/2014/main" id="{1A0F20E3-D7E7-D8BB-26AB-D299BC558789}"/>
                </a:ext>
              </a:extLst>
            </p:cNvPr>
            <p:cNvSpPr>
              <a:spLocks/>
            </p:cNvSpPr>
            <p:nvPr userDrawn="1"/>
          </p:nvSpPr>
          <p:spPr bwMode="auto">
            <a:xfrm>
              <a:off x="5837" y="380"/>
              <a:ext cx="119" cy="184"/>
            </a:xfrm>
            <a:custGeom>
              <a:avLst/>
              <a:gdLst>
                <a:gd name="T0" fmla="*/ 0 w 118"/>
                <a:gd name="T1" fmla="*/ 130 h 181"/>
                <a:gd name="T2" fmla="*/ 0 w 118"/>
                <a:gd name="T3" fmla="*/ 61 h 181"/>
                <a:gd name="T4" fmla="*/ 21 w 118"/>
                <a:gd name="T5" fmla="*/ 16 h 181"/>
                <a:gd name="T6" fmla="*/ 76 w 118"/>
                <a:gd name="T7" fmla="*/ 0 h 181"/>
                <a:gd name="T8" fmla="*/ 118 w 118"/>
                <a:gd name="T9" fmla="*/ 0 h 181"/>
                <a:gd name="T10" fmla="*/ 118 w 118"/>
                <a:gd name="T11" fmla="*/ 32 h 181"/>
                <a:gd name="T12" fmla="*/ 76 w 118"/>
                <a:gd name="T13" fmla="*/ 32 h 181"/>
                <a:gd name="T14" fmla="*/ 45 w 118"/>
                <a:gd name="T15" fmla="*/ 40 h 181"/>
                <a:gd name="T16" fmla="*/ 33 w 118"/>
                <a:gd name="T17" fmla="*/ 61 h 181"/>
                <a:gd name="T18" fmla="*/ 33 w 118"/>
                <a:gd name="T19" fmla="*/ 181 h 181"/>
                <a:gd name="T20" fmla="*/ 0 w 118"/>
                <a:gd name="T21" fmla="*/ 13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8" h="181">
                  <a:moveTo>
                    <a:pt x="0" y="130"/>
                  </a:moveTo>
                  <a:cubicBezTo>
                    <a:pt x="0" y="61"/>
                    <a:pt x="0" y="61"/>
                    <a:pt x="0" y="61"/>
                  </a:cubicBezTo>
                  <a:cubicBezTo>
                    <a:pt x="0" y="42"/>
                    <a:pt x="7" y="27"/>
                    <a:pt x="21" y="16"/>
                  </a:cubicBezTo>
                  <a:cubicBezTo>
                    <a:pt x="34" y="5"/>
                    <a:pt x="53" y="0"/>
                    <a:pt x="76" y="0"/>
                  </a:cubicBezTo>
                  <a:cubicBezTo>
                    <a:pt x="118" y="0"/>
                    <a:pt x="118" y="0"/>
                    <a:pt x="118" y="0"/>
                  </a:cubicBezTo>
                  <a:cubicBezTo>
                    <a:pt x="118" y="32"/>
                    <a:pt x="118" y="32"/>
                    <a:pt x="118" y="32"/>
                  </a:cubicBezTo>
                  <a:cubicBezTo>
                    <a:pt x="76" y="32"/>
                    <a:pt x="76" y="32"/>
                    <a:pt x="76" y="32"/>
                  </a:cubicBezTo>
                  <a:cubicBezTo>
                    <a:pt x="63" y="32"/>
                    <a:pt x="53" y="35"/>
                    <a:pt x="45" y="40"/>
                  </a:cubicBezTo>
                  <a:cubicBezTo>
                    <a:pt x="37" y="45"/>
                    <a:pt x="33" y="52"/>
                    <a:pt x="33" y="61"/>
                  </a:cubicBezTo>
                  <a:cubicBezTo>
                    <a:pt x="33" y="181"/>
                    <a:pt x="33" y="181"/>
                    <a:pt x="33" y="181"/>
                  </a:cubicBezTo>
                  <a:cubicBezTo>
                    <a:pt x="33" y="181"/>
                    <a:pt x="0" y="168"/>
                    <a:pt x="0" y="13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Freeform 13">
              <a:extLst>
                <a:ext uri="{FF2B5EF4-FFF2-40B4-BE49-F238E27FC236}">
                  <a16:creationId xmlns:a16="http://schemas.microsoft.com/office/drawing/2014/main" id="{E8277DB8-A2DC-30A1-6DF0-9A1D49AC5269}"/>
                </a:ext>
              </a:extLst>
            </p:cNvPr>
            <p:cNvSpPr>
              <a:spLocks/>
            </p:cNvSpPr>
            <p:nvPr userDrawn="1"/>
          </p:nvSpPr>
          <p:spPr bwMode="auto">
            <a:xfrm>
              <a:off x="6829" y="380"/>
              <a:ext cx="33" cy="184"/>
            </a:xfrm>
            <a:custGeom>
              <a:avLst/>
              <a:gdLst>
                <a:gd name="T0" fmla="*/ 0 w 33"/>
                <a:gd name="T1" fmla="*/ 184 h 184"/>
                <a:gd name="T2" fmla="*/ 0 w 33"/>
                <a:gd name="T3" fmla="*/ 0 h 184"/>
                <a:gd name="T4" fmla="*/ 33 w 33"/>
                <a:gd name="T5" fmla="*/ 0 h 184"/>
                <a:gd name="T6" fmla="*/ 33 w 33"/>
                <a:gd name="T7" fmla="*/ 184 h 184"/>
                <a:gd name="T8" fmla="*/ 0 w 33"/>
                <a:gd name="T9" fmla="*/ 184 h 184"/>
                <a:gd name="T10" fmla="*/ 0 w 33"/>
                <a:gd name="T11" fmla="*/ 184 h 184"/>
              </a:gdLst>
              <a:ahLst/>
              <a:cxnLst>
                <a:cxn ang="0">
                  <a:pos x="T0" y="T1"/>
                </a:cxn>
                <a:cxn ang="0">
                  <a:pos x="T2" y="T3"/>
                </a:cxn>
                <a:cxn ang="0">
                  <a:pos x="T4" y="T5"/>
                </a:cxn>
                <a:cxn ang="0">
                  <a:pos x="T6" y="T7"/>
                </a:cxn>
                <a:cxn ang="0">
                  <a:pos x="T8" y="T9"/>
                </a:cxn>
                <a:cxn ang="0">
                  <a:pos x="T10" y="T11"/>
                </a:cxn>
              </a:cxnLst>
              <a:rect l="0" t="0" r="r" b="b"/>
              <a:pathLst>
                <a:path w="33" h="184">
                  <a:moveTo>
                    <a:pt x="0" y="184"/>
                  </a:moveTo>
                  <a:lnTo>
                    <a:pt x="0" y="0"/>
                  </a:lnTo>
                  <a:lnTo>
                    <a:pt x="33" y="0"/>
                  </a:lnTo>
                  <a:lnTo>
                    <a:pt x="33" y="184"/>
                  </a:lnTo>
                  <a:lnTo>
                    <a:pt x="0" y="184"/>
                  </a:lnTo>
                  <a:lnTo>
                    <a:pt x="0" y="18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 name="Freeform 14">
              <a:extLst>
                <a:ext uri="{FF2B5EF4-FFF2-40B4-BE49-F238E27FC236}">
                  <a16:creationId xmlns:a16="http://schemas.microsoft.com/office/drawing/2014/main" id="{E4B863CD-246E-4B2D-9346-486168E014CD}"/>
                </a:ext>
              </a:extLst>
            </p:cNvPr>
            <p:cNvSpPr>
              <a:spLocks noEditPoints="1"/>
            </p:cNvSpPr>
            <p:nvPr userDrawn="1"/>
          </p:nvSpPr>
          <p:spPr bwMode="auto">
            <a:xfrm>
              <a:off x="6911" y="377"/>
              <a:ext cx="159" cy="189"/>
            </a:xfrm>
            <a:custGeom>
              <a:avLst/>
              <a:gdLst>
                <a:gd name="T0" fmla="*/ 79 w 158"/>
                <a:gd name="T1" fmla="*/ 33 h 186"/>
                <a:gd name="T2" fmla="*/ 61 w 158"/>
                <a:gd name="T3" fmla="*/ 35 h 186"/>
                <a:gd name="T4" fmla="*/ 46 w 158"/>
                <a:gd name="T5" fmla="*/ 40 h 186"/>
                <a:gd name="T6" fmla="*/ 36 w 158"/>
                <a:gd name="T7" fmla="*/ 50 h 186"/>
                <a:gd name="T8" fmla="*/ 33 w 158"/>
                <a:gd name="T9" fmla="*/ 62 h 186"/>
                <a:gd name="T10" fmla="*/ 33 w 158"/>
                <a:gd name="T11" fmla="*/ 123 h 186"/>
                <a:gd name="T12" fmla="*/ 36 w 158"/>
                <a:gd name="T13" fmla="*/ 136 h 186"/>
                <a:gd name="T14" fmla="*/ 46 w 158"/>
                <a:gd name="T15" fmla="*/ 146 h 186"/>
                <a:gd name="T16" fmla="*/ 61 w 158"/>
                <a:gd name="T17" fmla="*/ 151 h 186"/>
                <a:gd name="T18" fmla="*/ 79 w 158"/>
                <a:gd name="T19" fmla="*/ 154 h 186"/>
                <a:gd name="T20" fmla="*/ 96 w 158"/>
                <a:gd name="T21" fmla="*/ 151 h 186"/>
                <a:gd name="T22" fmla="*/ 111 w 158"/>
                <a:gd name="T23" fmla="*/ 146 h 186"/>
                <a:gd name="T24" fmla="*/ 121 w 158"/>
                <a:gd name="T25" fmla="*/ 136 h 186"/>
                <a:gd name="T26" fmla="*/ 125 w 158"/>
                <a:gd name="T27" fmla="*/ 123 h 186"/>
                <a:gd name="T28" fmla="*/ 125 w 158"/>
                <a:gd name="T29" fmla="*/ 62 h 186"/>
                <a:gd name="T30" fmla="*/ 121 w 158"/>
                <a:gd name="T31" fmla="*/ 50 h 186"/>
                <a:gd name="T32" fmla="*/ 111 w 158"/>
                <a:gd name="T33" fmla="*/ 40 h 186"/>
                <a:gd name="T34" fmla="*/ 96 w 158"/>
                <a:gd name="T35" fmla="*/ 35 h 186"/>
                <a:gd name="T36" fmla="*/ 79 w 158"/>
                <a:gd name="T37" fmla="*/ 33 h 186"/>
                <a:gd name="T38" fmla="*/ 79 w 158"/>
                <a:gd name="T39" fmla="*/ 186 h 186"/>
                <a:gd name="T40" fmla="*/ 48 w 158"/>
                <a:gd name="T41" fmla="*/ 182 h 186"/>
                <a:gd name="T42" fmla="*/ 23 w 158"/>
                <a:gd name="T43" fmla="*/ 170 h 186"/>
                <a:gd name="T44" fmla="*/ 6 w 158"/>
                <a:gd name="T45" fmla="*/ 150 h 186"/>
                <a:gd name="T46" fmla="*/ 0 w 158"/>
                <a:gd name="T47" fmla="*/ 123 h 186"/>
                <a:gd name="T48" fmla="*/ 0 w 158"/>
                <a:gd name="T49" fmla="*/ 62 h 186"/>
                <a:gd name="T50" fmla="*/ 6 w 158"/>
                <a:gd name="T51" fmla="*/ 35 h 186"/>
                <a:gd name="T52" fmla="*/ 23 w 158"/>
                <a:gd name="T53" fmla="*/ 16 h 186"/>
                <a:gd name="T54" fmla="*/ 48 w 158"/>
                <a:gd name="T55" fmla="*/ 4 h 186"/>
                <a:gd name="T56" fmla="*/ 79 w 158"/>
                <a:gd name="T57" fmla="*/ 0 h 186"/>
                <a:gd name="T58" fmla="*/ 110 w 158"/>
                <a:gd name="T59" fmla="*/ 4 h 186"/>
                <a:gd name="T60" fmla="*/ 135 w 158"/>
                <a:gd name="T61" fmla="*/ 16 h 186"/>
                <a:gd name="T62" fmla="*/ 152 w 158"/>
                <a:gd name="T63" fmla="*/ 35 h 186"/>
                <a:gd name="T64" fmla="*/ 158 w 158"/>
                <a:gd name="T65" fmla="*/ 62 h 186"/>
                <a:gd name="T66" fmla="*/ 158 w 158"/>
                <a:gd name="T67" fmla="*/ 123 h 186"/>
                <a:gd name="T68" fmla="*/ 152 w 158"/>
                <a:gd name="T69" fmla="*/ 150 h 186"/>
                <a:gd name="T70" fmla="*/ 135 w 158"/>
                <a:gd name="T71" fmla="*/ 170 h 186"/>
                <a:gd name="T72" fmla="*/ 110 w 158"/>
                <a:gd name="T73" fmla="*/ 182 h 186"/>
                <a:gd name="T74" fmla="*/ 79 w 158"/>
                <a:gd name="T75" fmla="*/ 186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8" h="186">
                  <a:moveTo>
                    <a:pt x="79" y="33"/>
                  </a:moveTo>
                  <a:cubicBezTo>
                    <a:pt x="73" y="33"/>
                    <a:pt x="67" y="33"/>
                    <a:pt x="61" y="35"/>
                  </a:cubicBezTo>
                  <a:cubicBezTo>
                    <a:pt x="56" y="36"/>
                    <a:pt x="51" y="38"/>
                    <a:pt x="46" y="40"/>
                  </a:cubicBezTo>
                  <a:cubicBezTo>
                    <a:pt x="42" y="43"/>
                    <a:pt x="39" y="46"/>
                    <a:pt x="36" y="50"/>
                  </a:cubicBezTo>
                  <a:cubicBezTo>
                    <a:pt x="34" y="53"/>
                    <a:pt x="33" y="57"/>
                    <a:pt x="33" y="62"/>
                  </a:cubicBezTo>
                  <a:cubicBezTo>
                    <a:pt x="33" y="123"/>
                    <a:pt x="33" y="123"/>
                    <a:pt x="33" y="123"/>
                  </a:cubicBezTo>
                  <a:cubicBezTo>
                    <a:pt x="33" y="128"/>
                    <a:pt x="34" y="133"/>
                    <a:pt x="36" y="136"/>
                  </a:cubicBezTo>
                  <a:cubicBezTo>
                    <a:pt x="39" y="140"/>
                    <a:pt x="42" y="143"/>
                    <a:pt x="46" y="146"/>
                  </a:cubicBezTo>
                  <a:cubicBezTo>
                    <a:pt x="51" y="148"/>
                    <a:pt x="56" y="150"/>
                    <a:pt x="61" y="151"/>
                  </a:cubicBezTo>
                  <a:cubicBezTo>
                    <a:pt x="67" y="153"/>
                    <a:pt x="73" y="154"/>
                    <a:pt x="79" y="154"/>
                  </a:cubicBezTo>
                  <a:cubicBezTo>
                    <a:pt x="85" y="154"/>
                    <a:pt x="91" y="153"/>
                    <a:pt x="96" y="151"/>
                  </a:cubicBezTo>
                  <a:cubicBezTo>
                    <a:pt x="102" y="150"/>
                    <a:pt x="107" y="148"/>
                    <a:pt x="111" y="146"/>
                  </a:cubicBezTo>
                  <a:cubicBezTo>
                    <a:pt x="115" y="143"/>
                    <a:pt x="119" y="140"/>
                    <a:pt x="121" y="136"/>
                  </a:cubicBezTo>
                  <a:cubicBezTo>
                    <a:pt x="124" y="133"/>
                    <a:pt x="125" y="128"/>
                    <a:pt x="125" y="123"/>
                  </a:cubicBezTo>
                  <a:cubicBezTo>
                    <a:pt x="125" y="62"/>
                    <a:pt x="125" y="62"/>
                    <a:pt x="125" y="62"/>
                  </a:cubicBezTo>
                  <a:cubicBezTo>
                    <a:pt x="125" y="57"/>
                    <a:pt x="124" y="53"/>
                    <a:pt x="121" y="50"/>
                  </a:cubicBezTo>
                  <a:cubicBezTo>
                    <a:pt x="119" y="46"/>
                    <a:pt x="115" y="43"/>
                    <a:pt x="111" y="40"/>
                  </a:cubicBezTo>
                  <a:cubicBezTo>
                    <a:pt x="107" y="38"/>
                    <a:pt x="102" y="36"/>
                    <a:pt x="96" y="35"/>
                  </a:cubicBezTo>
                  <a:cubicBezTo>
                    <a:pt x="91" y="33"/>
                    <a:pt x="85" y="33"/>
                    <a:pt x="79" y="33"/>
                  </a:cubicBezTo>
                  <a:close/>
                  <a:moveTo>
                    <a:pt x="79" y="186"/>
                  </a:moveTo>
                  <a:cubicBezTo>
                    <a:pt x="68" y="186"/>
                    <a:pt x="57" y="185"/>
                    <a:pt x="48" y="182"/>
                  </a:cubicBezTo>
                  <a:cubicBezTo>
                    <a:pt x="38" y="179"/>
                    <a:pt x="30" y="175"/>
                    <a:pt x="23" y="170"/>
                  </a:cubicBezTo>
                  <a:cubicBezTo>
                    <a:pt x="16" y="165"/>
                    <a:pt x="10" y="158"/>
                    <a:pt x="6" y="150"/>
                  </a:cubicBezTo>
                  <a:cubicBezTo>
                    <a:pt x="2" y="142"/>
                    <a:pt x="0" y="133"/>
                    <a:pt x="0" y="123"/>
                  </a:cubicBezTo>
                  <a:cubicBezTo>
                    <a:pt x="0" y="62"/>
                    <a:pt x="0" y="62"/>
                    <a:pt x="0" y="62"/>
                  </a:cubicBezTo>
                  <a:cubicBezTo>
                    <a:pt x="0" y="52"/>
                    <a:pt x="2" y="43"/>
                    <a:pt x="6" y="35"/>
                  </a:cubicBezTo>
                  <a:cubicBezTo>
                    <a:pt x="10" y="28"/>
                    <a:pt x="16" y="21"/>
                    <a:pt x="23" y="16"/>
                  </a:cubicBezTo>
                  <a:cubicBezTo>
                    <a:pt x="30" y="11"/>
                    <a:pt x="38" y="7"/>
                    <a:pt x="48" y="4"/>
                  </a:cubicBezTo>
                  <a:cubicBezTo>
                    <a:pt x="57" y="1"/>
                    <a:pt x="68" y="0"/>
                    <a:pt x="79" y="0"/>
                  </a:cubicBezTo>
                  <a:cubicBezTo>
                    <a:pt x="90" y="0"/>
                    <a:pt x="100" y="1"/>
                    <a:pt x="110" y="4"/>
                  </a:cubicBezTo>
                  <a:cubicBezTo>
                    <a:pt x="120" y="7"/>
                    <a:pt x="128" y="11"/>
                    <a:pt x="135" y="16"/>
                  </a:cubicBezTo>
                  <a:cubicBezTo>
                    <a:pt x="142" y="21"/>
                    <a:pt x="148" y="28"/>
                    <a:pt x="152" y="35"/>
                  </a:cubicBezTo>
                  <a:cubicBezTo>
                    <a:pt x="156" y="43"/>
                    <a:pt x="158" y="52"/>
                    <a:pt x="158" y="62"/>
                  </a:cubicBezTo>
                  <a:cubicBezTo>
                    <a:pt x="158" y="123"/>
                    <a:pt x="158" y="123"/>
                    <a:pt x="158" y="123"/>
                  </a:cubicBezTo>
                  <a:cubicBezTo>
                    <a:pt x="158" y="133"/>
                    <a:pt x="156" y="142"/>
                    <a:pt x="152" y="150"/>
                  </a:cubicBezTo>
                  <a:cubicBezTo>
                    <a:pt x="148" y="158"/>
                    <a:pt x="142" y="165"/>
                    <a:pt x="135" y="170"/>
                  </a:cubicBezTo>
                  <a:cubicBezTo>
                    <a:pt x="128" y="175"/>
                    <a:pt x="120" y="179"/>
                    <a:pt x="110" y="182"/>
                  </a:cubicBezTo>
                  <a:cubicBezTo>
                    <a:pt x="100" y="185"/>
                    <a:pt x="90" y="186"/>
                    <a:pt x="79" y="18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 name="Freeform 15">
              <a:extLst>
                <a:ext uri="{FF2B5EF4-FFF2-40B4-BE49-F238E27FC236}">
                  <a16:creationId xmlns:a16="http://schemas.microsoft.com/office/drawing/2014/main" id="{B6E9463D-68BE-3906-7A58-E5980573876A}"/>
                </a:ext>
              </a:extLst>
            </p:cNvPr>
            <p:cNvSpPr>
              <a:spLocks/>
            </p:cNvSpPr>
            <p:nvPr userDrawn="1"/>
          </p:nvSpPr>
          <p:spPr bwMode="auto">
            <a:xfrm>
              <a:off x="7117" y="377"/>
              <a:ext cx="159" cy="187"/>
            </a:xfrm>
            <a:custGeom>
              <a:avLst/>
              <a:gdLst>
                <a:gd name="T0" fmla="*/ 126 w 158"/>
                <a:gd name="T1" fmla="*/ 62 h 184"/>
                <a:gd name="T2" fmla="*/ 121 w 158"/>
                <a:gd name="T3" fmla="*/ 48 h 184"/>
                <a:gd name="T4" fmla="*/ 110 w 158"/>
                <a:gd name="T5" fmla="*/ 39 h 184"/>
                <a:gd name="T6" fmla="*/ 94 w 158"/>
                <a:gd name="T7" fmla="*/ 34 h 184"/>
                <a:gd name="T8" fmla="*/ 79 w 158"/>
                <a:gd name="T9" fmla="*/ 33 h 184"/>
                <a:gd name="T10" fmla="*/ 63 w 158"/>
                <a:gd name="T11" fmla="*/ 34 h 184"/>
                <a:gd name="T12" fmla="*/ 48 w 158"/>
                <a:gd name="T13" fmla="*/ 39 h 184"/>
                <a:gd name="T14" fmla="*/ 37 w 158"/>
                <a:gd name="T15" fmla="*/ 48 h 184"/>
                <a:gd name="T16" fmla="*/ 33 w 158"/>
                <a:gd name="T17" fmla="*/ 62 h 184"/>
                <a:gd name="T18" fmla="*/ 33 w 158"/>
                <a:gd name="T19" fmla="*/ 184 h 184"/>
                <a:gd name="T20" fmla="*/ 0 w 158"/>
                <a:gd name="T21" fmla="*/ 184 h 184"/>
                <a:gd name="T22" fmla="*/ 0 w 158"/>
                <a:gd name="T23" fmla="*/ 62 h 184"/>
                <a:gd name="T24" fmla="*/ 6 w 158"/>
                <a:gd name="T25" fmla="*/ 35 h 184"/>
                <a:gd name="T26" fmla="*/ 23 w 158"/>
                <a:gd name="T27" fmla="*/ 16 h 184"/>
                <a:gd name="T28" fmla="*/ 48 w 158"/>
                <a:gd name="T29" fmla="*/ 4 h 184"/>
                <a:gd name="T30" fmla="*/ 79 w 158"/>
                <a:gd name="T31" fmla="*/ 0 h 184"/>
                <a:gd name="T32" fmla="*/ 110 w 158"/>
                <a:gd name="T33" fmla="*/ 4 h 184"/>
                <a:gd name="T34" fmla="*/ 135 w 158"/>
                <a:gd name="T35" fmla="*/ 16 h 184"/>
                <a:gd name="T36" fmla="*/ 152 w 158"/>
                <a:gd name="T37" fmla="*/ 35 h 184"/>
                <a:gd name="T38" fmla="*/ 158 w 158"/>
                <a:gd name="T39" fmla="*/ 62 h 184"/>
                <a:gd name="T40" fmla="*/ 158 w 158"/>
                <a:gd name="T41" fmla="*/ 135 h 184"/>
                <a:gd name="T42" fmla="*/ 126 w 158"/>
                <a:gd name="T43" fmla="*/ 184 h 184"/>
                <a:gd name="T44" fmla="*/ 126 w 158"/>
                <a:gd name="T45" fmla="*/ 62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8" h="184">
                  <a:moveTo>
                    <a:pt x="126" y="62"/>
                  </a:moveTo>
                  <a:cubicBezTo>
                    <a:pt x="126" y="56"/>
                    <a:pt x="124" y="52"/>
                    <a:pt x="121" y="48"/>
                  </a:cubicBezTo>
                  <a:cubicBezTo>
                    <a:pt x="118" y="45"/>
                    <a:pt x="114" y="42"/>
                    <a:pt x="110" y="39"/>
                  </a:cubicBezTo>
                  <a:cubicBezTo>
                    <a:pt x="105" y="37"/>
                    <a:pt x="100" y="35"/>
                    <a:pt x="94" y="34"/>
                  </a:cubicBezTo>
                  <a:cubicBezTo>
                    <a:pt x="89" y="33"/>
                    <a:pt x="84" y="33"/>
                    <a:pt x="79" y="33"/>
                  </a:cubicBezTo>
                  <a:cubicBezTo>
                    <a:pt x="74" y="33"/>
                    <a:pt x="69" y="33"/>
                    <a:pt x="63" y="34"/>
                  </a:cubicBezTo>
                  <a:cubicBezTo>
                    <a:pt x="58" y="35"/>
                    <a:pt x="53" y="37"/>
                    <a:pt x="48" y="39"/>
                  </a:cubicBezTo>
                  <a:cubicBezTo>
                    <a:pt x="44" y="42"/>
                    <a:pt x="40" y="45"/>
                    <a:pt x="37" y="48"/>
                  </a:cubicBezTo>
                  <a:cubicBezTo>
                    <a:pt x="34" y="52"/>
                    <a:pt x="33" y="56"/>
                    <a:pt x="33" y="62"/>
                  </a:cubicBezTo>
                  <a:cubicBezTo>
                    <a:pt x="33" y="184"/>
                    <a:pt x="33" y="184"/>
                    <a:pt x="33" y="184"/>
                  </a:cubicBezTo>
                  <a:cubicBezTo>
                    <a:pt x="0" y="184"/>
                    <a:pt x="0" y="184"/>
                    <a:pt x="0" y="184"/>
                  </a:cubicBezTo>
                  <a:cubicBezTo>
                    <a:pt x="0" y="62"/>
                    <a:pt x="0" y="62"/>
                    <a:pt x="0" y="62"/>
                  </a:cubicBezTo>
                  <a:cubicBezTo>
                    <a:pt x="0" y="52"/>
                    <a:pt x="2" y="43"/>
                    <a:pt x="6" y="35"/>
                  </a:cubicBezTo>
                  <a:cubicBezTo>
                    <a:pt x="10" y="28"/>
                    <a:pt x="16" y="21"/>
                    <a:pt x="23" y="16"/>
                  </a:cubicBezTo>
                  <a:cubicBezTo>
                    <a:pt x="30" y="11"/>
                    <a:pt x="38" y="7"/>
                    <a:pt x="48" y="4"/>
                  </a:cubicBezTo>
                  <a:cubicBezTo>
                    <a:pt x="58" y="1"/>
                    <a:pt x="68" y="0"/>
                    <a:pt x="79" y="0"/>
                  </a:cubicBezTo>
                  <a:cubicBezTo>
                    <a:pt x="90" y="0"/>
                    <a:pt x="101" y="1"/>
                    <a:pt x="110" y="4"/>
                  </a:cubicBezTo>
                  <a:cubicBezTo>
                    <a:pt x="120" y="7"/>
                    <a:pt x="128" y="11"/>
                    <a:pt x="135" y="16"/>
                  </a:cubicBezTo>
                  <a:cubicBezTo>
                    <a:pt x="143" y="21"/>
                    <a:pt x="148" y="28"/>
                    <a:pt x="152" y="35"/>
                  </a:cubicBezTo>
                  <a:cubicBezTo>
                    <a:pt x="156" y="43"/>
                    <a:pt x="158" y="52"/>
                    <a:pt x="158" y="62"/>
                  </a:cubicBezTo>
                  <a:cubicBezTo>
                    <a:pt x="158" y="135"/>
                    <a:pt x="158" y="135"/>
                    <a:pt x="158" y="135"/>
                  </a:cubicBezTo>
                  <a:cubicBezTo>
                    <a:pt x="158" y="170"/>
                    <a:pt x="126" y="184"/>
                    <a:pt x="126" y="184"/>
                  </a:cubicBezTo>
                  <a:cubicBezTo>
                    <a:pt x="126" y="62"/>
                    <a:pt x="126" y="62"/>
                    <a:pt x="126" y="6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 name="Freeform 16">
              <a:extLst>
                <a:ext uri="{FF2B5EF4-FFF2-40B4-BE49-F238E27FC236}">
                  <a16:creationId xmlns:a16="http://schemas.microsoft.com/office/drawing/2014/main" id="{3C55E4A6-7F60-0ADC-033D-36A53C2960DA}"/>
                </a:ext>
              </a:extLst>
            </p:cNvPr>
            <p:cNvSpPr>
              <a:spLocks noEditPoints="1"/>
            </p:cNvSpPr>
            <p:nvPr userDrawn="1"/>
          </p:nvSpPr>
          <p:spPr bwMode="auto">
            <a:xfrm>
              <a:off x="7301" y="368"/>
              <a:ext cx="46" cy="48"/>
            </a:xfrm>
            <a:custGeom>
              <a:avLst/>
              <a:gdLst>
                <a:gd name="T0" fmla="*/ 24 w 46"/>
                <a:gd name="T1" fmla="*/ 15 h 47"/>
                <a:gd name="T2" fmla="*/ 20 w 46"/>
                <a:gd name="T3" fmla="*/ 15 h 47"/>
                <a:gd name="T4" fmla="*/ 20 w 46"/>
                <a:gd name="T5" fmla="*/ 23 h 47"/>
                <a:gd name="T6" fmla="*/ 24 w 46"/>
                <a:gd name="T7" fmla="*/ 23 h 47"/>
                <a:gd name="T8" fmla="*/ 28 w 46"/>
                <a:gd name="T9" fmla="*/ 19 h 47"/>
                <a:gd name="T10" fmla="*/ 24 w 46"/>
                <a:gd name="T11" fmla="*/ 15 h 47"/>
                <a:gd name="T12" fmla="*/ 28 w 46"/>
                <a:gd name="T13" fmla="*/ 36 h 47"/>
                <a:gd name="T14" fmla="*/ 23 w 46"/>
                <a:gd name="T15" fmla="*/ 26 h 47"/>
                <a:gd name="T16" fmla="*/ 20 w 46"/>
                <a:gd name="T17" fmla="*/ 26 h 47"/>
                <a:gd name="T18" fmla="*/ 20 w 46"/>
                <a:gd name="T19" fmla="*/ 36 h 47"/>
                <a:gd name="T20" fmla="*/ 15 w 46"/>
                <a:gd name="T21" fmla="*/ 36 h 47"/>
                <a:gd name="T22" fmla="*/ 15 w 46"/>
                <a:gd name="T23" fmla="*/ 11 h 47"/>
                <a:gd name="T24" fmla="*/ 24 w 46"/>
                <a:gd name="T25" fmla="*/ 11 h 47"/>
                <a:gd name="T26" fmla="*/ 33 w 46"/>
                <a:gd name="T27" fmla="*/ 19 h 47"/>
                <a:gd name="T28" fmla="*/ 28 w 46"/>
                <a:gd name="T29" fmla="*/ 26 h 47"/>
                <a:gd name="T30" fmla="*/ 33 w 46"/>
                <a:gd name="T31" fmla="*/ 36 h 47"/>
                <a:gd name="T32" fmla="*/ 28 w 46"/>
                <a:gd name="T33" fmla="*/ 36 h 47"/>
                <a:gd name="T34" fmla="*/ 23 w 46"/>
                <a:gd name="T35" fmla="*/ 5 h 47"/>
                <a:gd name="T36" fmla="*/ 4 w 46"/>
                <a:gd name="T37" fmla="*/ 24 h 47"/>
                <a:gd name="T38" fmla="*/ 23 w 46"/>
                <a:gd name="T39" fmla="*/ 43 h 47"/>
                <a:gd name="T40" fmla="*/ 42 w 46"/>
                <a:gd name="T41" fmla="*/ 24 h 47"/>
                <a:gd name="T42" fmla="*/ 23 w 46"/>
                <a:gd name="T43" fmla="*/ 5 h 47"/>
                <a:gd name="T44" fmla="*/ 23 w 46"/>
                <a:gd name="T45" fmla="*/ 47 h 47"/>
                <a:gd name="T46" fmla="*/ 0 w 46"/>
                <a:gd name="T47" fmla="*/ 24 h 47"/>
                <a:gd name="T48" fmla="*/ 23 w 46"/>
                <a:gd name="T49" fmla="*/ 0 h 47"/>
                <a:gd name="T50" fmla="*/ 46 w 46"/>
                <a:gd name="T51" fmla="*/ 24 h 47"/>
                <a:gd name="T52" fmla="*/ 23 w 46"/>
                <a:gd name="T53"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6" h="47">
                  <a:moveTo>
                    <a:pt x="24" y="15"/>
                  </a:moveTo>
                  <a:cubicBezTo>
                    <a:pt x="20" y="15"/>
                    <a:pt x="20" y="15"/>
                    <a:pt x="20" y="15"/>
                  </a:cubicBezTo>
                  <a:cubicBezTo>
                    <a:pt x="20" y="23"/>
                    <a:pt x="20" y="23"/>
                    <a:pt x="20" y="23"/>
                  </a:cubicBezTo>
                  <a:cubicBezTo>
                    <a:pt x="24" y="23"/>
                    <a:pt x="24" y="23"/>
                    <a:pt x="24" y="23"/>
                  </a:cubicBezTo>
                  <a:cubicBezTo>
                    <a:pt x="26" y="23"/>
                    <a:pt x="28" y="21"/>
                    <a:pt x="28" y="19"/>
                  </a:cubicBezTo>
                  <a:cubicBezTo>
                    <a:pt x="28" y="17"/>
                    <a:pt x="26" y="15"/>
                    <a:pt x="24" y="15"/>
                  </a:cubicBezTo>
                  <a:close/>
                  <a:moveTo>
                    <a:pt x="28" y="36"/>
                  </a:moveTo>
                  <a:cubicBezTo>
                    <a:pt x="23" y="26"/>
                    <a:pt x="23" y="26"/>
                    <a:pt x="23" y="26"/>
                  </a:cubicBezTo>
                  <a:cubicBezTo>
                    <a:pt x="20" y="26"/>
                    <a:pt x="20" y="26"/>
                    <a:pt x="20" y="26"/>
                  </a:cubicBezTo>
                  <a:cubicBezTo>
                    <a:pt x="20" y="36"/>
                    <a:pt x="20" y="36"/>
                    <a:pt x="20" y="36"/>
                  </a:cubicBezTo>
                  <a:cubicBezTo>
                    <a:pt x="15" y="36"/>
                    <a:pt x="15" y="36"/>
                    <a:pt x="15" y="36"/>
                  </a:cubicBezTo>
                  <a:cubicBezTo>
                    <a:pt x="15" y="11"/>
                    <a:pt x="15" y="11"/>
                    <a:pt x="15" y="11"/>
                  </a:cubicBezTo>
                  <a:cubicBezTo>
                    <a:pt x="24" y="11"/>
                    <a:pt x="24" y="11"/>
                    <a:pt x="24" y="11"/>
                  </a:cubicBezTo>
                  <a:cubicBezTo>
                    <a:pt x="29" y="11"/>
                    <a:pt x="33" y="15"/>
                    <a:pt x="33" y="19"/>
                  </a:cubicBezTo>
                  <a:cubicBezTo>
                    <a:pt x="33" y="22"/>
                    <a:pt x="30" y="25"/>
                    <a:pt x="28" y="26"/>
                  </a:cubicBezTo>
                  <a:cubicBezTo>
                    <a:pt x="33" y="36"/>
                    <a:pt x="33" y="36"/>
                    <a:pt x="33" y="36"/>
                  </a:cubicBezTo>
                  <a:cubicBezTo>
                    <a:pt x="28" y="36"/>
                    <a:pt x="28" y="36"/>
                    <a:pt x="28" y="36"/>
                  </a:cubicBezTo>
                  <a:close/>
                  <a:moveTo>
                    <a:pt x="23" y="5"/>
                  </a:moveTo>
                  <a:cubicBezTo>
                    <a:pt x="13" y="5"/>
                    <a:pt x="4" y="13"/>
                    <a:pt x="4" y="24"/>
                  </a:cubicBezTo>
                  <a:cubicBezTo>
                    <a:pt x="4" y="34"/>
                    <a:pt x="13" y="43"/>
                    <a:pt x="23" y="43"/>
                  </a:cubicBezTo>
                  <a:cubicBezTo>
                    <a:pt x="33" y="43"/>
                    <a:pt x="42" y="34"/>
                    <a:pt x="42" y="24"/>
                  </a:cubicBezTo>
                  <a:cubicBezTo>
                    <a:pt x="42" y="13"/>
                    <a:pt x="33" y="5"/>
                    <a:pt x="23" y="5"/>
                  </a:cubicBezTo>
                  <a:close/>
                  <a:moveTo>
                    <a:pt x="23" y="47"/>
                  </a:moveTo>
                  <a:cubicBezTo>
                    <a:pt x="10" y="47"/>
                    <a:pt x="0" y="37"/>
                    <a:pt x="0" y="24"/>
                  </a:cubicBezTo>
                  <a:cubicBezTo>
                    <a:pt x="0" y="11"/>
                    <a:pt x="10" y="0"/>
                    <a:pt x="23" y="0"/>
                  </a:cubicBezTo>
                  <a:cubicBezTo>
                    <a:pt x="36" y="0"/>
                    <a:pt x="46" y="11"/>
                    <a:pt x="46" y="24"/>
                  </a:cubicBezTo>
                  <a:cubicBezTo>
                    <a:pt x="46" y="37"/>
                    <a:pt x="36" y="47"/>
                    <a:pt x="23" y="4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148431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w/ Subtitl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B587DD3-79B9-C7C1-5A49-10509D214637}"/>
              </a:ext>
            </a:extLst>
          </p:cNvPr>
          <p:cNvSpPr>
            <a:spLocks noGrp="1"/>
          </p:cNvSpPr>
          <p:nvPr>
            <p:ph idx="1"/>
          </p:nvPr>
        </p:nvSpPr>
        <p:spPr>
          <a:xfrm>
            <a:off x="266329" y="1816100"/>
            <a:ext cx="11683013" cy="408755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D8FC1B66-90E1-F16C-60E6-0E4CB634DDEA}"/>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65D7AABB-32A5-E149-D06A-27BB39693FC1}"/>
              </a:ext>
            </a:extLst>
          </p:cNvPr>
          <p:cNvSpPr>
            <a:spLocks noGrp="1"/>
          </p:cNvSpPr>
          <p:nvPr>
            <p:ph type="sldNum" sz="quarter" idx="12"/>
          </p:nvPr>
        </p:nvSpPr>
        <p:spPr/>
        <p:txBody>
          <a:bodyPr/>
          <a:lstStyle/>
          <a:p>
            <a:fld id="{A300D7A8-33C5-4C89-B444-136428D180BE}" type="slidenum">
              <a:rPr lang="en-US" smtClean="0"/>
              <a:t>‹#›</a:t>
            </a:fld>
            <a:endParaRPr lang="en-US" dirty="0"/>
          </a:p>
        </p:txBody>
      </p:sp>
      <p:sp>
        <p:nvSpPr>
          <p:cNvPr id="7" name="Text Placeholder 6">
            <a:extLst>
              <a:ext uri="{FF2B5EF4-FFF2-40B4-BE49-F238E27FC236}">
                <a16:creationId xmlns:a16="http://schemas.microsoft.com/office/drawing/2014/main" id="{4DEDA144-6A96-5185-FF4D-F35EE57FEF3D}"/>
              </a:ext>
            </a:extLst>
          </p:cNvPr>
          <p:cNvSpPr>
            <a:spLocks noGrp="1"/>
          </p:cNvSpPr>
          <p:nvPr>
            <p:ph type="body" sz="quarter" idx="13"/>
          </p:nvPr>
        </p:nvSpPr>
        <p:spPr>
          <a:xfrm>
            <a:off x="266330" y="1284288"/>
            <a:ext cx="11682413" cy="493712"/>
          </a:xfrm>
        </p:spPr>
        <p:txBody>
          <a:bodyPr>
            <a:noAutofit/>
          </a:bodyPr>
          <a:lstStyle>
            <a:lvl1pPr marL="0" indent="0">
              <a:buNone/>
              <a:defRPr sz="2800">
                <a:solidFill>
                  <a:schemeClr val="accent4"/>
                </a:solidFill>
              </a:defRPr>
            </a:lvl1pPr>
          </a:lstStyle>
          <a:p>
            <a:pPr lvl="0"/>
            <a:endParaRPr lang="en-US" dirty="0"/>
          </a:p>
        </p:txBody>
      </p:sp>
      <p:sp>
        <p:nvSpPr>
          <p:cNvPr id="9" name="Title 8">
            <a:extLst>
              <a:ext uri="{FF2B5EF4-FFF2-40B4-BE49-F238E27FC236}">
                <a16:creationId xmlns:a16="http://schemas.microsoft.com/office/drawing/2014/main" id="{4A550622-00E9-B782-5A63-F2FBD41A91E0}"/>
              </a:ext>
            </a:extLst>
          </p:cNvPr>
          <p:cNvSpPr>
            <a:spLocks noGrp="1"/>
          </p:cNvSpPr>
          <p:nvPr>
            <p:ph type="title"/>
          </p:nvPr>
        </p:nvSpPr>
        <p:spPr>
          <a:xfrm>
            <a:off x="266330" y="213064"/>
            <a:ext cx="11683014" cy="1020931"/>
          </a:xfrm>
        </p:spPr>
        <p:txBody>
          <a:bodyPr/>
          <a:lstStyle/>
          <a:p>
            <a:r>
              <a:rPr lang="en-US"/>
              <a:t>Click to edit Master title style</a:t>
            </a:r>
          </a:p>
        </p:txBody>
      </p:sp>
    </p:spTree>
    <p:extLst>
      <p:ext uri="{BB962C8B-B14F-4D97-AF65-F5344CB8AC3E}">
        <p14:creationId xmlns:p14="http://schemas.microsoft.com/office/powerpoint/2010/main" val="11060052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pic>
        <p:nvPicPr>
          <p:cNvPr id="22" name="Picture 21" descr="A white and black screen&#10;&#10;Description automatically generated with medium confidence">
            <a:extLst>
              <a:ext uri="{FF2B5EF4-FFF2-40B4-BE49-F238E27FC236}">
                <a16:creationId xmlns:a16="http://schemas.microsoft.com/office/drawing/2014/main" id="{82571D46-C046-3F8B-C7B2-97F89A394109}"/>
              </a:ext>
            </a:extLst>
          </p:cNvPr>
          <p:cNvPicPr>
            <a:picLocks noChangeAspect="1"/>
          </p:cNvPicPr>
          <p:nvPr userDrawn="1"/>
        </p:nvPicPr>
        <p:blipFill rotWithShape="1">
          <a:blip r:embed="rId2">
            <a:alphaModFix amt="22000"/>
            <a:duotone>
              <a:prstClr val="black"/>
              <a:schemeClr val="accent4">
                <a:tint val="45000"/>
                <a:satMod val="400000"/>
              </a:schemeClr>
            </a:duotone>
          </a:blip>
          <a:srcRect l="25715" t="27639" r="2854" b="34403"/>
          <a:stretch/>
        </p:blipFill>
        <p:spPr>
          <a:xfrm>
            <a:off x="0" y="0"/>
            <a:ext cx="12192000" cy="6858000"/>
          </a:xfrm>
          <a:prstGeom prst="rect">
            <a:avLst/>
          </a:prstGeom>
        </p:spPr>
      </p:pic>
      <p:pic>
        <p:nvPicPr>
          <p:cNvPr id="9" name="Picture 8" descr="A black and blue gradient&#10;&#10;AI-generated content may be incorrect.">
            <a:extLst>
              <a:ext uri="{FF2B5EF4-FFF2-40B4-BE49-F238E27FC236}">
                <a16:creationId xmlns:a16="http://schemas.microsoft.com/office/drawing/2014/main" id="{CAC27381-3B8F-E48C-3992-981C8C794A6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10800000">
            <a:off x="0" y="0"/>
            <a:ext cx="12192000" cy="6858000"/>
          </a:xfrm>
          <a:prstGeom prst="rect">
            <a:avLst/>
          </a:prstGeom>
        </p:spPr>
      </p:pic>
      <p:sp>
        <p:nvSpPr>
          <p:cNvPr id="29" name="Freeform: Shape 28">
            <a:extLst>
              <a:ext uri="{FF2B5EF4-FFF2-40B4-BE49-F238E27FC236}">
                <a16:creationId xmlns:a16="http://schemas.microsoft.com/office/drawing/2014/main" id="{4A122B20-DA95-1894-2270-C0801CEDD824}"/>
              </a:ext>
            </a:extLst>
          </p:cNvPr>
          <p:cNvSpPr/>
          <p:nvPr userDrawn="1"/>
        </p:nvSpPr>
        <p:spPr>
          <a:xfrm flipV="1">
            <a:off x="0" y="0"/>
            <a:ext cx="12192000" cy="4196686"/>
          </a:xfrm>
          <a:custGeom>
            <a:avLst/>
            <a:gdLst>
              <a:gd name="connsiteX0" fmla="*/ 0 w 12192000"/>
              <a:gd name="connsiteY0" fmla="*/ 4196686 h 4196686"/>
              <a:gd name="connsiteX1" fmla="*/ 12192000 w 12192000"/>
              <a:gd name="connsiteY1" fmla="*/ 4196686 h 4196686"/>
              <a:gd name="connsiteX2" fmla="*/ 12192000 w 12192000"/>
              <a:gd name="connsiteY2" fmla="*/ 3743183 h 4196686"/>
              <a:gd name="connsiteX3" fmla="*/ 12192000 w 12192000"/>
              <a:gd name="connsiteY3" fmla="*/ 2934268 h 4196686"/>
              <a:gd name="connsiteX4" fmla="*/ 12192000 w 12192000"/>
              <a:gd name="connsiteY4" fmla="*/ 2231408 h 4196686"/>
              <a:gd name="connsiteX5" fmla="*/ 12192000 w 12192000"/>
              <a:gd name="connsiteY5" fmla="*/ 2114403 h 4196686"/>
              <a:gd name="connsiteX6" fmla="*/ 12192000 w 12192000"/>
              <a:gd name="connsiteY6" fmla="*/ 740095 h 4196686"/>
              <a:gd name="connsiteX7" fmla="*/ 12134012 w 12192000"/>
              <a:gd name="connsiteY7" fmla="*/ 722527 h 4196686"/>
              <a:gd name="connsiteX8" fmla="*/ 6096000 w 12192000"/>
              <a:gd name="connsiteY8" fmla="*/ 0 h 4196686"/>
              <a:gd name="connsiteX9" fmla="*/ 57989 w 12192000"/>
              <a:gd name="connsiteY9" fmla="*/ 722527 h 4196686"/>
              <a:gd name="connsiteX10" fmla="*/ 0 w 12192000"/>
              <a:gd name="connsiteY10" fmla="*/ 740095 h 4196686"/>
              <a:gd name="connsiteX11" fmla="*/ 0 w 12192000"/>
              <a:gd name="connsiteY11" fmla="*/ 2114403 h 4196686"/>
              <a:gd name="connsiteX12" fmla="*/ 0 w 12192000"/>
              <a:gd name="connsiteY12" fmla="*/ 2231408 h 4196686"/>
              <a:gd name="connsiteX13" fmla="*/ 0 w 12192000"/>
              <a:gd name="connsiteY13" fmla="*/ 2934268 h 4196686"/>
              <a:gd name="connsiteX14" fmla="*/ 0 w 12192000"/>
              <a:gd name="connsiteY14" fmla="*/ 3743183 h 4196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4196686">
                <a:moveTo>
                  <a:pt x="0" y="4196686"/>
                </a:moveTo>
                <a:lnTo>
                  <a:pt x="12192000" y="4196686"/>
                </a:lnTo>
                <a:lnTo>
                  <a:pt x="12192000" y="3743183"/>
                </a:lnTo>
                <a:lnTo>
                  <a:pt x="12192000" y="2934268"/>
                </a:lnTo>
                <a:lnTo>
                  <a:pt x="12192000" y="2231408"/>
                </a:lnTo>
                <a:lnTo>
                  <a:pt x="12192000" y="2114403"/>
                </a:lnTo>
                <a:lnTo>
                  <a:pt x="12192000" y="740095"/>
                </a:lnTo>
                <a:lnTo>
                  <a:pt x="12134012" y="722527"/>
                </a:lnTo>
                <a:cubicBezTo>
                  <a:pt x="10493175" y="271150"/>
                  <a:pt x="8389583" y="0"/>
                  <a:pt x="6096000" y="0"/>
                </a:cubicBezTo>
                <a:cubicBezTo>
                  <a:pt x="3802417" y="0"/>
                  <a:pt x="1698825" y="271150"/>
                  <a:pt x="57989" y="722527"/>
                </a:cubicBezTo>
                <a:lnTo>
                  <a:pt x="0" y="740095"/>
                </a:lnTo>
                <a:lnTo>
                  <a:pt x="0" y="2114403"/>
                </a:lnTo>
                <a:lnTo>
                  <a:pt x="0" y="2231408"/>
                </a:lnTo>
                <a:lnTo>
                  <a:pt x="0" y="2934268"/>
                </a:lnTo>
                <a:lnTo>
                  <a:pt x="0" y="3743183"/>
                </a:lnTo>
                <a:close/>
              </a:path>
            </a:pathLst>
          </a:custGeom>
          <a:gradFill>
            <a:gsLst>
              <a:gs pos="47000">
                <a:schemeClr val="tx2"/>
              </a:gs>
              <a:gs pos="100000">
                <a:schemeClr val="tx2">
                  <a:lumMod val="75000"/>
                </a:schemeClr>
              </a:gs>
            </a:gsLst>
            <a:lin ang="5400000" scaled="1"/>
          </a:gradFill>
          <a:ln>
            <a:noFill/>
          </a:ln>
          <a:effectLst>
            <a:outerShdw blurRad="88900" dist="12700" dir="5400000" algn="t" rotWithShape="0">
              <a:prstClr val="black">
                <a:alpha val="25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 name="Title 1">
            <a:extLst>
              <a:ext uri="{FF2B5EF4-FFF2-40B4-BE49-F238E27FC236}">
                <a16:creationId xmlns:a16="http://schemas.microsoft.com/office/drawing/2014/main" id="{FA9AC417-B197-C18B-9334-1AC433E60892}"/>
              </a:ext>
            </a:extLst>
          </p:cNvPr>
          <p:cNvSpPr>
            <a:spLocks noGrp="1"/>
          </p:cNvSpPr>
          <p:nvPr>
            <p:ph type="title"/>
          </p:nvPr>
        </p:nvSpPr>
        <p:spPr>
          <a:xfrm>
            <a:off x="491319" y="4203510"/>
            <a:ext cx="9444251" cy="1460311"/>
          </a:xfrm>
        </p:spPr>
        <p:txBody>
          <a:bodyPr anchor="b">
            <a:normAutofit/>
          </a:bodyPr>
          <a:lstStyle>
            <a:lvl1pPr algn="l">
              <a:defRPr sz="4800" cap="all" baseline="0">
                <a:solidFill>
                  <a:schemeClr val="tx2"/>
                </a:solidFill>
              </a:defRPr>
            </a:lvl1pPr>
          </a:lstStyle>
          <a:p>
            <a:r>
              <a:rPr lang="en-US" dirty="0"/>
              <a:t>Click to edit Master title style</a:t>
            </a:r>
          </a:p>
        </p:txBody>
      </p:sp>
      <p:sp>
        <p:nvSpPr>
          <p:cNvPr id="3" name="Text Placeholder 2">
            <a:extLst>
              <a:ext uri="{FF2B5EF4-FFF2-40B4-BE49-F238E27FC236}">
                <a16:creationId xmlns:a16="http://schemas.microsoft.com/office/drawing/2014/main" id="{8BCCA72E-B04C-ADCC-A1C0-240F9C06B5F2}"/>
              </a:ext>
            </a:extLst>
          </p:cNvPr>
          <p:cNvSpPr>
            <a:spLocks noGrp="1"/>
          </p:cNvSpPr>
          <p:nvPr>
            <p:ph type="body" idx="1"/>
          </p:nvPr>
        </p:nvSpPr>
        <p:spPr>
          <a:xfrm>
            <a:off x="491319" y="5814126"/>
            <a:ext cx="9444251" cy="801622"/>
          </a:xfrm>
        </p:spPr>
        <p:txBody>
          <a:bodyPr/>
          <a:lstStyle>
            <a:lvl1pPr marL="0" indent="0" algn="l">
              <a:buNone/>
              <a:defRPr sz="2400">
                <a:solidFill>
                  <a:schemeClr val="accent1"/>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dirty="0"/>
              <a:t>Click to edit Master text styles</a:t>
            </a:r>
          </a:p>
        </p:txBody>
      </p:sp>
      <p:sp>
        <p:nvSpPr>
          <p:cNvPr id="28" name="Picture Placeholder 27">
            <a:extLst>
              <a:ext uri="{FF2B5EF4-FFF2-40B4-BE49-F238E27FC236}">
                <a16:creationId xmlns:a16="http://schemas.microsoft.com/office/drawing/2014/main" id="{F243CD2B-3056-2A6F-77EE-DE452B4D89ED}"/>
              </a:ext>
            </a:extLst>
          </p:cNvPr>
          <p:cNvSpPr>
            <a:spLocks noGrp="1"/>
          </p:cNvSpPr>
          <p:nvPr>
            <p:ph type="pic" sz="quarter" idx="10"/>
          </p:nvPr>
        </p:nvSpPr>
        <p:spPr>
          <a:xfrm>
            <a:off x="0" y="-1"/>
            <a:ext cx="12192000" cy="4196686"/>
          </a:xfrm>
          <a:custGeom>
            <a:avLst/>
            <a:gdLst>
              <a:gd name="connsiteX0" fmla="*/ 0 w 12192000"/>
              <a:gd name="connsiteY0" fmla="*/ 0 h 4196686"/>
              <a:gd name="connsiteX1" fmla="*/ 12192000 w 12192000"/>
              <a:gd name="connsiteY1" fmla="*/ 0 h 4196686"/>
              <a:gd name="connsiteX2" fmla="*/ 12192000 w 12192000"/>
              <a:gd name="connsiteY2" fmla="*/ 453503 h 4196686"/>
              <a:gd name="connsiteX3" fmla="*/ 12192000 w 12192000"/>
              <a:gd name="connsiteY3" fmla="*/ 1262418 h 4196686"/>
              <a:gd name="connsiteX4" fmla="*/ 12192000 w 12192000"/>
              <a:gd name="connsiteY4" fmla="*/ 1965278 h 4196686"/>
              <a:gd name="connsiteX5" fmla="*/ 12192000 w 12192000"/>
              <a:gd name="connsiteY5" fmla="*/ 2082283 h 4196686"/>
              <a:gd name="connsiteX6" fmla="*/ 12192000 w 12192000"/>
              <a:gd name="connsiteY6" fmla="*/ 3456591 h 4196686"/>
              <a:gd name="connsiteX7" fmla="*/ 12134012 w 12192000"/>
              <a:gd name="connsiteY7" fmla="*/ 3474159 h 4196686"/>
              <a:gd name="connsiteX8" fmla="*/ 6096000 w 12192000"/>
              <a:gd name="connsiteY8" fmla="*/ 4196686 h 4196686"/>
              <a:gd name="connsiteX9" fmla="*/ 57989 w 12192000"/>
              <a:gd name="connsiteY9" fmla="*/ 3474159 h 4196686"/>
              <a:gd name="connsiteX10" fmla="*/ 0 w 12192000"/>
              <a:gd name="connsiteY10" fmla="*/ 3456591 h 4196686"/>
              <a:gd name="connsiteX11" fmla="*/ 0 w 12192000"/>
              <a:gd name="connsiteY11" fmla="*/ 2082283 h 4196686"/>
              <a:gd name="connsiteX12" fmla="*/ 0 w 12192000"/>
              <a:gd name="connsiteY12" fmla="*/ 1965278 h 4196686"/>
              <a:gd name="connsiteX13" fmla="*/ 0 w 12192000"/>
              <a:gd name="connsiteY13" fmla="*/ 1262418 h 4196686"/>
              <a:gd name="connsiteX14" fmla="*/ 0 w 12192000"/>
              <a:gd name="connsiteY14" fmla="*/ 453503 h 4196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4196686">
                <a:moveTo>
                  <a:pt x="0" y="0"/>
                </a:moveTo>
                <a:lnTo>
                  <a:pt x="12192000" y="0"/>
                </a:lnTo>
                <a:lnTo>
                  <a:pt x="12192000" y="453503"/>
                </a:lnTo>
                <a:lnTo>
                  <a:pt x="12192000" y="1262418"/>
                </a:lnTo>
                <a:lnTo>
                  <a:pt x="12192000" y="1965278"/>
                </a:lnTo>
                <a:lnTo>
                  <a:pt x="12192000" y="2082283"/>
                </a:lnTo>
                <a:lnTo>
                  <a:pt x="12192000" y="3456591"/>
                </a:lnTo>
                <a:lnTo>
                  <a:pt x="12134012" y="3474159"/>
                </a:lnTo>
                <a:cubicBezTo>
                  <a:pt x="10493175" y="3925536"/>
                  <a:pt x="8389583" y="4196686"/>
                  <a:pt x="6096000" y="4196686"/>
                </a:cubicBezTo>
                <a:cubicBezTo>
                  <a:pt x="3802417" y="4196686"/>
                  <a:pt x="1698825" y="3925536"/>
                  <a:pt x="57989" y="3474159"/>
                </a:cubicBezTo>
                <a:lnTo>
                  <a:pt x="0" y="3456591"/>
                </a:lnTo>
                <a:lnTo>
                  <a:pt x="0" y="2082283"/>
                </a:lnTo>
                <a:lnTo>
                  <a:pt x="0" y="1965278"/>
                </a:lnTo>
                <a:lnTo>
                  <a:pt x="0" y="1262418"/>
                </a:lnTo>
                <a:lnTo>
                  <a:pt x="0" y="453503"/>
                </a:lnTo>
                <a:close/>
              </a:path>
            </a:pathLst>
          </a:custGeom>
        </p:spPr>
        <p:txBody>
          <a:bodyPr wrap="square" anchor="ctr">
            <a:noAutofit/>
          </a:bodyPr>
          <a:lstStyle>
            <a:lvl1pPr marL="61913" indent="0" algn="ctr">
              <a:buNone/>
              <a:defRPr>
                <a:solidFill>
                  <a:schemeClr val="bg1"/>
                </a:solidFill>
              </a:defRPr>
            </a:lvl1pPr>
          </a:lstStyle>
          <a:p>
            <a:endParaRPr lang="en-US" dirty="0"/>
          </a:p>
        </p:txBody>
      </p:sp>
      <p:pic>
        <p:nvPicPr>
          <p:cNvPr id="4" name="Picture 3">
            <a:extLst>
              <a:ext uri="{FF2B5EF4-FFF2-40B4-BE49-F238E27FC236}">
                <a16:creationId xmlns:a16="http://schemas.microsoft.com/office/drawing/2014/main" id="{4E095A55-6864-6402-955D-0C08546F3F48}"/>
              </a:ext>
            </a:extLst>
          </p:cNvPr>
          <p:cNvPicPr>
            <a:picLocks noChangeAspect="1"/>
          </p:cNvPicPr>
          <p:nvPr userDrawn="1"/>
        </p:nvPicPr>
        <p:blipFill>
          <a:blip r:embed="rId4"/>
          <a:srcRect l="1" t="23019" r="1" b="44366"/>
          <a:stretch/>
        </p:blipFill>
        <p:spPr>
          <a:xfrm>
            <a:off x="0" y="-6825"/>
            <a:ext cx="12191980" cy="4196686"/>
          </a:xfrm>
          <a:custGeom>
            <a:avLst/>
            <a:gdLst>
              <a:gd name="connsiteX0" fmla="*/ 0 w 12192000"/>
              <a:gd name="connsiteY0" fmla="*/ 0 h 4196686"/>
              <a:gd name="connsiteX1" fmla="*/ 12192000 w 12192000"/>
              <a:gd name="connsiteY1" fmla="*/ 0 h 4196686"/>
              <a:gd name="connsiteX2" fmla="*/ 12192000 w 12192000"/>
              <a:gd name="connsiteY2" fmla="*/ 453503 h 4196686"/>
              <a:gd name="connsiteX3" fmla="*/ 12192000 w 12192000"/>
              <a:gd name="connsiteY3" fmla="*/ 1262418 h 4196686"/>
              <a:gd name="connsiteX4" fmla="*/ 12192000 w 12192000"/>
              <a:gd name="connsiteY4" fmla="*/ 1965278 h 4196686"/>
              <a:gd name="connsiteX5" fmla="*/ 12192000 w 12192000"/>
              <a:gd name="connsiteY5" fmla="*/ 2082283 h 4196686"/>
              <a:gd name="connsiteX6" fmla="*/ 12192000 w 12192000"/>
              <a:gd name="connsiteY6" fmla="*/ 3456591 h 4196686"/>
              <a:gd name="connsiteX7" fmla="*/ 12134012 w 12192000"/>
              <a:gd name="connsiteY7" fmla="*/ 3474159 h 4196686"/>
              <a:gd name="connsiteX8" fmla="*/ 6096000 w 12192000"/>
              <a:gd name="connsiteY8" fmla="*/ 4196686 h 4196686"/>
              <a:gd name="connsiteX9" fmla="*/ 57989 w 12192000"/>
              <a:gd name="connsiteY9" fmla="*/ 3474159 h 4196686"/>
              <a:gd name="connsiteX10" fmla="*/ 0 w 12192000"/>
              <a:gd name="connsiteY10" fmla="*/ 3456591 h 4196686"/>
              <a:gd name="connsiteX11" fmla="*/ 0 w 12192000"/>
              <a:gd name="connsiteY11" fmla="*/ 2082283 h 4196686"/>
              <a:gd name="connsiteX12" fmla="*/ 0 w 12192000"/>
              <a:gd name="connsiteY12" fmla="*/ 1965278 h 4196686"/>
              <a:gd name="connsiteX13" fmla="*/ 0 w 12192000"/>
              <a:gd name="connsiteY13" fmla="*/ 1262418 h 4196686"/>
              <a:gd name="connsiteX14" fmla="*/ 0 w 12192000"/>
              <a:gd name="connsiteY14" fmla="*/ 453503 h 4196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4196686">
                <a:moveTo>
                  <a:pt x="0" y="0"/>
                </a:moveTo>
                <a:lnTo>
                  <a:pt x="12192000" y="0"/>
                </a:lnTo>
                <a:lnTo>
                  <a:pt x="12192000" y="453503"/>
                </a:lnTo>
                <a:lnTo>
                  <a:pt x="12192000" y="1262418"/>
                </a:lnTo>
                <a:lnTo>
                  <a:pt x="12192000" y="1965278"/>
                </a:lnTo>
                <a:lnTo>
                  <a:pt x="12192000" y="2082283"/>
                </a:lnTo>
                <a:lnTo>
                  <a:pt x="12192000" y="3456591"/>
                </a:lnTo>
                <a:lnTo>
                  <a:pt x="12134012" y="3474159"/>
                </a:lnTo>
                <a:cubicBezTo>
                  <a:pt x="10493175" y="3925536"/>
                  <a:pt x="8389583" y="4196686"/>
                  <a:pt x="6096000" y="4196686"/>
                </a:cubicBezTo>
                <a:cubicBezTo>
                  <a:pt x="3802417" y="4196686"/>
                  <a:pt x="1698825" y="3925536"/>
                  <a:pt x="57989" y="3474159"/>
                </a:cubicBezTo>
                <a:lnTo>
                  <a:pt x="0" y="3456591"/>
                </a:lnTo>
                <a:lnTo>
                  <a:pt x="0" y="2082283"/>
                </a:lnTo>
                <a:lnTo>
                  <a:pt x="0" y="1965278"/>
                </a:lnTo>
                <a:lnTo>
                  <a:pt x="0" y="1262418"/>
                </a:lnTo>
                <a:lnTo>
                  <a:pt x="0" y="453503"/>
                </a:lnTo>
                <a:close/>
              </a:path>
            </a:pathLst>
          </a:custGeom>
          <a:noFill/>
        </p:spPr>
      </p:pic>
      <p:pic>
        <p:nvPicPr>
          <p:cNvPr id="17" name="Picture 16" descr="Logo, company name&#10;&#10;Description automatically generated">
            <a:extLst>
              <a:ext uri="{FF2B5EF4-FFF2-40B4-BE49-F238E27FC236}">
                <a16:creationId xmlns:a16="http://schemas.microsoft.com/office/drawing/2014/main" id="{B0C42DF8-8B45-2C1F-BCF2-4949BE4A984B}"/>
              </a:ext>
            </a:extLst>
          </p:cNvPr>
          <p:cNvPicPr>
            <a:picLocks noChangeAspect="1"/>
          </p:cNvPicPr>
          <p:nvPr userDrawn="1"/>
        </p:nvPicPr>
        <p:blipFill rotWithShape="1">
          <a:blip r:embed="rId5"/>
          <a:srcRect l="4339" t="8522" r="4277"/>
          <a:stretch/>
        </p:blipFill>
        <p:spPr>
          <a:xfrm>
            <a:off x="9545402" y="327724"/>
            <a:ext cx="2244065" cy="1225303"/>
          </a:xfrm>
          <a:prstGeom prst="rect">
            <a:avLst/>
          </a:prstGeom>
        </p:spPr>
      </p:pic>
    </p:spTree>
    <p:extLst>
      <p:ext uri="{BB962C8B-B14F-4D97-AF65-F5344CB8AC3E}">
        <p14:creationId xmlns:p14="http://schemas.microsoft.com/office/powerpoint/2010/main" val="12330533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Section Header">
    <p:spTree>
      <p:nvGrpSpPr>
        <p:cNvPr id="1" name=""/>
        <p:cNvGrpSpPr/>
        <p:nvPr/>
      </p:nvGrpSpPr>
      <p:grpSpPr>
        <a:xfrm>
          <a:off x="0" y="0"/>
          <a:ext cx="0" cy="0"/>
          <a:chOff x="0" y="0"/>
          <a:chExt cx="0" cy="0"/>
        </a:xfrm>
      </p:grpSpPr>
      <p:pic>
        <p:nvPicPr>
          <p:cNvPr id="22" name="Picture 21" descr="A white and black screen&#10;&#10;Description automatically generated with medium confidence">
            <a:extLst>
              <a:ext uri="{FF2B5EF4-FFF2-40B4-BE49-F238E27FC236}">
                <a16:creationId xmlns:a16="http://schemas.microsoft.com/office/drawing/2014/main" id="{82571D46-C046-3F8B-C7B2-97F89A394109}"/>
              </a:ext>
            </a:extLst>
          </p:cNvPr>
          <p:cNvPicPr>
            <a:picLocks noChangeAspect="1"/>
          </p:cNvPicPr>
          <p:nvPr userDrawn="1"/>
        </p:nvPicPr>
        <p:blipFill rotWithShape="1">
          <a:blip r:embed="rId2">
            <a:alphaModFix amt="22000"/>
            <a:duotone>
              <a:prstClr val="black"/>
              <a:schemeClr val="accent4">
                <a:tint val="45000"/>
                <a:satMod val="400000"/>
              </a:schemeClr>
            </a:duotone>
          </a:blip>
          <a:srcRect l="25715" t="27639" r="2854" b="34403"/>
          <a:stretch/>
        </p:blipFill>
        <p:spPr>
          <a:xfrm>
            <a:off x="0" y="0"/>
            <a:ext cx="12192000" cy="6858000"/>
          </a:xfrm>
          <a:prstGeom prst="rect">
            <a:avLst/>
          </a:prstGeom>
        </p:spPr>
      </p:pic>
      <p:sp>
        <p:nvSpPr>
          <p:cNvPr id="23" name="Rectangle 22">
            <a:extLst>
              <a:ext uri="{FF2B5EF4-FFF2-40B4-BE49-F238E27FC236}">
                <a16:creationId xmlns:a16="http://schemas.microsoft.com/office/drawing/2014/main" id="{3EAF25B7-1E4D-A34F-9DF4-C495287D6649}"/>
              </a:ext>
            </a:extLst>
          </p:cNvPr>
          <p:cNvSpPr/>
          <p:nvPr userDrawn="1"/>
        </p:nvSpPr>
        <p:spPr>
          <a:xfrm>
            <a:off x="0" y="2"/>
            <a:ext cx="12192000" cy="6857999"/>
          </a:xfrm>
          <a:prstGeom prst="rect">
            <a:avLst/>
          </a:prstGeom>
          <a:gradFill flip="none" rotWithShape="1">
            <a:gsLst>
              <a:gs pos="47000">
                <a:schemeClr val="bg1">
                  <a:alpha val="90000"/>
                </a:schemeClr>
              </a:gs>
              <a:gs pos="100000">
                <a:schemeClr val="bg1">
                  <a:alpha val="50000"/>
                </a:schemeClr>
              </a:gs>
            </a:gsLst>
            <a:lin ang="54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 name="Title 1">
            <a:extLst>
              <a:ext uri="{FF2B5EF4-FFF2-40B4-BE49-F238E27FC236}">
                <a16:creationId xmlns:a16="http://schemas.microsoft.com/office/drawing/2014/main" id="{FA9AC417-B197-C18B-9334-1AC433E60892}"/>
              </a:ext>
            </a:extLst>
          </p:cNvPr>
          <p:cNvSpPr>
            <a:spLocks noGrp="1"/>
          </p:cNvSpPr>
          <p:nvPr>
            <p:ph type="title"/>
          </p:nvPr>
        </p:nvSpPr>
        <p:spPr>
          <a:xfrm>
            <a:off x="491320" y="3429001"/>
            <a:ext cx="5378354" cy="2053950"/>
          </a:xfrm>
        </p:spPr>
        <p:txBody>
          <a:bodyPr anchor="b">
            <a:normAutofit/>
          </a:bodyPr>
          <a:lstStyle>
            <a:lvl1pPr algn="l">
              <a:defRPr sz="4800" cap="all" baseline="0">
                <a:solidFill>
                  <a:schemeClr val="tx2"/>
                </a:solidFill>
              </a:defRPr>
            </a:lvl1pPr>
          </a:lstStyle>
          <a:p>
            <a:r>
              <a:rPr lang="en-US" dirty="0"/>
              <a:t>Click to edit Master title style</a:t>
            </a:r>
          </a:p>
        </p:txBody>
      </p:sp>
      <p:sp>
        <p:nvSpPr>
          <p:cNvPr id="3" name="Text Placeholder 2">
            <a:extLst>
              <a:ext uri="{FF2B5EF4-FFF2-40B4-BE49-F238E27FC236}">
                <a16:creationId xmlns:a16="http://schemas.microsoft.com/office/drawing/2014/main" id="{8BCCA72E-B04C-ADCC-A1C0-240F9C06B5F2}"/>
              </a:ext>
            </a:extLst>
          </p:cNvPr>
          <p:cNvSpPr>
            <a:spLocks noGrp="1"/>
          </p:cNvSpPr>
          <p:nvPr>
            <p:ph type="body" idx="1"/>
          </p:nvPr>
        </p:nvSpPr>
        <p:spPr>
          <a:xfrm>
            <a:off x="491320" y="5534988"/>
            <a:ext cx="5378354" cy="801622"/>
          </a:xfrm>
        </p:spPr>
        <p:txBody>
          <a:bodyPr>
            <a:normAutofit/>
          </a:bodyPr>
          <a:lstStyle>
            <a:lvl1pPr marL="0" indent="0" algn="l">
              <a:spcBef>
                <a:spcPts val="600"/>
              </a:spcBef>
              <a:buNone/>
              <a:defRPr sz="1800">
                <a:solidFill>
                  <a:schemeClr val="accent1"/>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dirty="0"/>
              <a:t>Click to edit Master text styles</a:t>
            </a:r>
          </a:p>
        </p:txBody>
      </p:sp>
      <p:pic>
        <p:nvPicPr>
          <p:cNvPr id="17" name="Picture 16" descr="Logo, company name&#10;&#10;Description automatically generated">
            <a:extLst>
              <a:ext uri="{FF2B5EF4-FFF2-40B4-BE49-F238E27FC236}">
                <a16:creationId xmlns:a16="http://schemas.microsoft.com/office/drawing/2014/main" id="{B0C42DF8-8B45-2C1F-BCF2-4949BE4A984B}"/>
              </a:ext>
            </a:extLst>
          </p:cNvPr>
          <p:cNvPicPr>
            <a:picLocks noChangeAspect="1"/>
          </p:cNvPicPr>
          <p:nvPr userDrawn="1"/>
        </p:nvPicPr>
        <p:blipFill rotWithShape="1">
          <a:blip r:embed="rId3"/>
          <a:srcRect l="4339" t="8522" r="4277"/>
          <a:stretch/>
        </p:blipFill>
        <p:spPr>
          <a:xfrm>
            <a:off x="10458355" y="5814126"/>
            <a:ext cx="1468120" cy="801622"/>
          </a:xfrm>
          <a:prstGeom prst="rect">
            <a:avLst/>
          </a:prstGeom>
        </p:spPr>
      </p:pic>
      <p:sp>
        <p:nvSpPr>
          <p:cNvPr id="4" name="Freeform: Shape 3">
            <a:extLst>
              <a:ext uri="{FF2B5EF4-FFF2-40B4-BE49-F238E27FC236}">
                <a16:creationId xmlns:a16="http://schemas.microsoft.com/office/drawing/2014/main" id="{027A3EE3-AE4C-A36A-0FD5-D18A808C484A}"/>
              </a:ext>
            </a:extLst>
          </p:cNvPr>
          <p:cNvSpPr/>
          <p:nvPr userDrawn="1"/>
        </p:nvSpPr>
        <p:spPr>
          <a:xfrm flipV="1">
            <a:off x="0" y="1"/>
            <a:ext cx="12192000" cy="3334373"/>
          </a:xfrm>
          <a:custGeom>
            <a:avLst/>
            <a:gdLst>
              <a:gd name="connsiteX0" fmla="*/ 0 w 12192000"/>
              <a:gd name="connsiteY0" fmla="*/ 3334373 h 3334373"/>
              <a:gd name="connsiteX1" fmla="*/ 12192000 w 12192000"/>
              <a:gd name="connsiteY1" fmla="*/ 3334373 h 3334373"/>
              <a:gd name="connsiteX2" fmla="*/ 12192000 w 12192000"/>
              <a:gd name="connsiteY2" fmla="*/ 2934268 h 3334373"/>
              <a:gd name="connsiteX3" fmla="*/ 12192000 w 12192000"/>
              <a:gd name="connsiteY3" fmla="*/ 2231408 h 3334373"/>
              <a:gd name="connsiteX4" fmla="*/ 12192000 w 12192000"/>
              <a:gd name="connsiteY4" fmla="*/ 2114403 h 3334373"/>
              <a:gd name="connsiteX5" fmla="*/ 12192000 w 12192000"/>
              <a:gd name="connsiteY5" fmla="*/ 740095 h 3334373"/>
              <a:gd name="connsiteX6" fmla="*/ 12134012 w 12192000"/>
              <a:gd name="connsiteY6" fmla="*/ 722527 h 3334373"/>
              <a:gd name="connsiteX7" fmla="*/ 6096000 w 12192000"/>
              <a:gd name="connsiteY7" fmla="*/ 0 h 3334373"/>
              <a:gd name="connsiteX8" fmla="*/ 57989 w 12192000"/>
              <a:gd name="connsiteY8" fmla="*/ 722527 h 3334373"/>
              <a:gd name="connsiteX9" fmla="*/ 0 w 12192000"/>
              <a:gd name="connsiteY9" fmla="*/ 740095 h 3334373"/>
              <a:gd name="connsiteX10" fmla="*/ 0 w 12192000"/>
              <a:gd name="connsiteY10" fmla="*/ 2114403 h 3334373"/>
              <a:gd name="connsiteX11" fmla="*/ 0 w 12192000"/>
              <a:gd name="connsiteY11" fmla="*/ 2231408 h 3334373"/>
              <a:gd name="connsiteX12" fmla="*/ 0 w 12192000"/>
              <a:gd name="connsiteY12" fmla="*/ 2934268 h 33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92000" h="3334373">
                <a:moveTo>
                  <a:pt x="0" y="3334373"/>
                </a:moveTo>
                <a:lnTo>
                  <a:pt x="12192000" y="3334373"/>
                </a:lnTo>
                <a:lnTo>
                  <a:pt x="12192000" y="2934268"/>
                </a:lnTo>
                <a:lnTo>
                  <a:pt x="12192000" y="2231408"/>
                </a:lnTo>
                <a:lnTo>
                  <a:pt x="12192000" y="2114403"/>
                </a:lnTo>
                <a:lnTo>
                  <a:pt x="12192000" y="740095"/>
                </a:lnTo>
                <a:lnTo>
                  <a:pt x="12134012" y="722527"/>
                </a:lnTo>
                <a:cubicBezTo>
                  <a:pt x="10493175" y="271150"/>
                  <a:pt x="8389583" y="0"/>
                  <a:pt x="6096000" y="0"/>
                </a:cubicBezTo>
                <a:cubicBezTo>
                  <a:pt x="3802417" y="0"/>
                  <a:pt x="1698825" y="271150"/>
                  <a:pt x="57989" y="722527"/>
                </a:cubicBezTo>
                <a:lnTo>
                  <a:pt x="0" y="740095"/>
                </a:lnTo>
                <a:lnTo>
                  <a:pt x="0" y="2114403"/>
                </a:lnTo>
                <a:lnTo>
                  <a:pt x="0" y="2231408"/>
                </a:lnTo>
                <a:lnTo>
                  <a:pt x="0" y="2934268"/>
                </a:lnTo>
                <a:close/>
              </a:path>
            </a:pathLst>
          </a:custGeom>
          <a:gradFill>
            <a:gsLst>
              <a:gs pos="47000">
                <a:schemeClr val="tx2"/>
              </a:gs>
              <a:gs pos="100000">
                <a:schemeClr val="tx2">
                  <a:lumMod val="75000"/>
                </a:schemeClr>
              </a:gs>
            </a:gsLst>
            <a:lin ang="5400000" scaled="1"/>
          </a:gradFill>
          <a:ln>
            <a:noFill/>
          </a:ln>
          <a:effectLst>
            <a:outerShdw blurRad="88900" dist="12700" dir="5400000" algn="t" rotWithShape="0">
              <a:prstClr val="black">
                <a:alpha val="25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pic>
        <p:nvPicPr>
          <p:cNvPr id="5" name="Picture 4" descr="A white and black screen&#10;&#10;Description automatically generated with medium confidence">
            <a:extLst>
              <a:ext uri="{FF2B5EF4-FFF2-40B4-BE49-F238E27FC236}">
                <a16:creationId xmlns:a16="http://schemas.microsoft.com/office/drawing/2014/main" id="{2D653C74-0661-E84C-52D7-EB99B81B1A05}"/>
              </a:ext>
            </a:extLst>
          </p:cNvPr>
          <p:cNvPicPr>
            <a:picLocks noChangeAspect="1"/>
          </p:cNvPicPr>
          <p:nvPr userDrawn="1"/>
        </p:nvPicPr>
        <p:blipFill rotWithShape="1">
          <a:blip r:embed="rId2">
            <a:duotone>
              <a:prstClr val="black"/>
              <a:schemeClr val="accent4">
                <a:tint val="45000"/>
                <a:satMod val="400000"/>
              </a:schemeClr>
            </a:duotone>
            <a:alphaModFix amt="5000"/>
          </a:blip>
          <a:srcRect l="25715" t="27641" r="2854" b="53905"/>
          <a:stretch/>
        </p:blipFill>
        <p:spPr>
          <a:xfrm>
            <a:off x="0" y="1"/>
            <a:ext cx="12192000" cy="3334373"/>
          </a:xfrm>
          <a:custGeom>
            <a:avLst/>
            <a:gdLst>
              <a:gd name="connsiteX0" fmla="*/ 0 w 12192000"/>
              <a:gd name="connsiteY0" fmla="*/ 0 h 3334373"/>
              <a:gd name="connsiteX1" fmla="*/ 12192000 w 12192000"/>
              <a:gd name="connsiteY1" fmla="*/ 0 h 3334373"/>
              <a:gd name="connsiteX2" fmla="*/ 12192000 w 12192000"/>
              <a:gd name="connsiteY2" fmla="*/ 400105 h 3334373"/>
              <a:gd name="connsiteX3" fmla="*/ 12192000 w 12192000"/>
              <a:gd name="connsiteY3" fmla="*/ 453503 h 3334373"/>
              <a:gd name="connsiteX4" fmla="*/ 12192000 w 12192000"/>
              <a:gd name="connsiteY4" fmla="*/ 1102965 h 3334373"/>
              <a:gd name="connsiteX5" fmla="*/ 12192000 w 12192000"/>
              <a:gd name="connsiteY5" fmla="*/ 1219970 h 3334373"/>
              <a:gd name="connsiteX6" fmla="*/ 12192000 w 12192000"/>
              <a:gd name="connsiteY6" fmla="*/ 1262418 h 3334373"/>
              <a:gd name="connsiteX7" fmla="*/ 12192000 w 12192000"/>
              <a:gd name="connsiteY7" fmla="*/ 1965278 h 3334373"/>
              <a:gd name="connsiteX8" fmla="*/ 12192000 w 12192000"/>
              <a:gd name="connsiteY8" fmla="*/ 2082283 h 3334373"/>
              <a:gd name="connsiteX9" fmla="*/ 12192000 w 12192000"/>
              <a:gd name="connsiteY9" fmla="*/ 2594278 h 3334373"/>
              <a:gd name="connsiteX10" fmla="*/ 12134012 w 12192000"/>
              <a:gd name="connsiteY10" fmla="*/ 2611846 h 3334373"/>
              <a:gd name="connsiteX11" fmla="*/ 6096000 w 12192000"/>
              <a:gd name="connsiteY11" fmla="*/ 3334373 h 3334373"/>
              <a:gd name="connsiteX12" fmla="*/ 57989 w 12192000"/>
              <a:gd name="connsiteY12" fmla="*/ 2611846 h 3334373"/>
              <a:gd name="connsiteX13" fmla="*/ 0 w 12192000"/>
              <a:gd name="connsiteY13" fmla="*/ 2594278 h 3334373"/>
              <a:gd name="connsiteX14" fmla="*/ 0 w 12192000"/>
              <a:gd name="connsiteY14" fmla="*/ 2082283 h 3334373"/>
              <a:gd name="connsiteX15" fmla="*/ 0 w 12192000"/>
              <a:gd name="connsiteY15" fmla="*/ 1965278 h 3334373"/>
              <a:gd name="connsiteX16" fmla="*/ 0 w 12192000"/>
              <a:gd name="connsiteY16" fmla="*/ 1262418 h 3334373"/>
              <a:gd name="connsiteX17" fmla="*/ 0 w 12192000"/>
              <a:gd name="connsiteY17" fmla="*/ 1219970 h 3334373"/>
              <a:gd name="connsiteX18" fmla="*/ 0 w 12192000"/>
              <a:gd name="connsiteY18" fmla="*/ 1102965 h 3334373"/>
              <a:gd name="connsiteX19" fmla="*/ 0 w 12192000"/>
              <a:gd name="connsiteY19" fmla="*/ 453503 h 3334373"/>
              <a:gd name="connsiteX20" fmla="*/ 0 w 12192000"/>
              <a:gd name="connsiteY20" fmla="*/ 400105 h 33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92000" h="3334373">
                <a:moveTo>
                  <a:pt x="0" y="0"/>
                </a:moveTo>
                <a:lnTo>
                  <a:pt x="12192000" y="0"/>
                </a:lnTo>
                <a:lnTo>
                  <a:pt x="12192000" y="400105"/>
                </a:lnTo>
                <a:lnTo>
                  <a:pt x="12192000" y="453503"/>
                </a:lnTo>
                <a:lnTo>
                  <a:pt x="12192000" y="1102965"/>
                </a:lnTo>
                <a:lnTo>
                  <a:pt x="12192000" y="1219970"/>
                </a:lnTo>
                <a:lnTo>
                  <a:pt x="12192000" y="1262418"/>
                </a:lnTo>
                <a:lnTo>
                  <a:pt x="12192000" y="1965278"/>
                </a:lnTo>
                <a:lnTo>
                  <a:pt x="12192000" y="2082283"/>
                </a:lnTo>
                <a:lnTo>
                  <a:pt x="12192000" y="2594278"/>
                </a:lnTo>
                <a:lnTo>
                  <a:pt x="12134012" y="2611846"/>
                </a:lnTo>
                <a:cubicBezTo>
                  <a:pt x="10493175" y="3063223"/>
                  <a:pt x="8389583" y="3334373"/>
                  <a:pt x="6096000" y="3334373"/>
                </a:cubicBezTo>
                <a:cubicBezTo>
                  <a:pt x="3802417" y="3334373"/>
                  <a:pt x="1698825" y="3063223"/>
                  <a:pt x="57989" y="2611846"/>
                </a:cubicBezTo>
                <a:lnTo>
                  <a:pt x="0" y="2594278"/>
                </a:lnTo>
                <a:lnTo>
                  <a:pt x="0" y="2082283"/>
                </a:lnTo>
                <a:lnTo>
                  <a:pt x="0" y="1965278"/>
                </a:lnTo>
                <a:lnTo>
                  <a:pt x="0" y="1262418"/>
                </a:lnTo>
                <a:lnTo>
                  <a:pt x="0" y="1219970"/>
                </a:lnTo>
                <a:lnTo>
                  <a:pt x="0" y="1102965"/>
                </a:lnTo>
                <a:lnTo>
                  <a:pt x="0" y="453503"/>
                </a:lnTo>
                <a:lnTo>
                  <a:pt x="0" y="400105"/>
                </a:lnTo>
                <a:close/>
              </a:path>
            </a:pathLst>
          </a:custGeom>
        </p:spPr>
      </p:pic>
      <p:pic>
        <p:nvPicPr>
          <p:cNvPr id="6" name="Picture 5">
            <a:extLst>
              <a:ext uri="{FF2B5EF4-FFF2-40B4-BE49-F238E27FC236}">
                <a16:creationId xmlns:a16="http://schemas.microsoft.com/office/drawing/2014/main" id="{C1E20857-6DDA-DBEA-3516-56D4AFD4209B}"/>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145" r="-26"/>
          <a:stretch/>
        </p:blipFill>
        <p:spPr>
          <a:xfrm>
            <a:off x="6097929" y="567159"/>
            <a:ext cx="5378353" cy="6290841"/>
          </a:xfrm>
          <a:prstGeom prst="rect">
            <a:avLst/>
          </a:prstGeom>
        </p:spPr>
      </p:pic>
    </p:spTree>
    <p:extLst>
      <p:ext uri="{BB962C8B-B14F-4D97-AF65-F5344CB8AC3E}">
        <p14:creationId xmlns:p14="http://schemas.microsoft.com/office/powerpoint/2010/main" val="25031352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A8DBB21-8EAE-D81B-A802-0581D20647DA}"/>
              </a:ext>
            </a:extLst>
          </p:cNvPr>
          <p:cNvSpPr>
            <a:spLocks noGrp="1"/>
          </p:cNvSpPr>
          <p:nvPr>
            <p:ph sz="half" idx="1"/>
          </p:nvPr>
        </p:nvSpPr>
        <p:spPr>
          <a:xfrm>
            <a:off x="266330" y="1816099"/>
            <a:ext cx="5760720" cy="408755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DE4A0B0D-4519-B55E-00C5-4198E8DFB8B9}"/>
              </a:ext>
            </a:extLst>
          </p:cNvPr>
          <p:cNvSpPr>
            <a:spLocks noGrp="1"/>
          </p:cNvSpPr>
          <p:nvPr>
            <p:ph sz="half" idx="2"/>
          </p:nvPr>
        </p:nvSpPr>
        <p:spPr>
          <a:xfrm>
            <a:off x="6188624" y="1816099"/>
            <a:ext cx="5760720" cy="408755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a:extLst>
              <a:ext uri="{FF2B5EF4-FFF2-40B4-BE49-F238E27FC236}">
                <a16:creationId xmlns:a16="http://schemas.microsoft.com/office/drawing/2014/main" id="{ED614883-5761-A5D0-8051-47E4A2A4C72B}"/>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CCAF119A-3C41-9B54-FD80-A1D335B32D3E}"/>
              </a:ext>
            </a:extLst>
          </p:cNvPr>
          <p:cNvSpPr>
            <a:spLocks noGrp="1"/>
          </p:cNvSpPr>
          <p:nvPr>
            <p:ph type="sldNum" sz="quarter" idx="12"/>
          </p:nvPr>
        </p:nvSpPr>
        <p:spPr/>
        <p:txBody>
          <a:bodyPr/>
          <a:lstStyle/>
          <a:p>
            <a:fld id="{A300D7A8-33C5-4C89-B444-136428D180BE}" type="slidenum">
              <a:rPr lang="en-US" smtClean="0"/>
              <a:t>‹#›</a:t>
            </a:fld>
            <a:endParaRPr lang="en-US" dirty="0"/>
          </a:p>
        </p:txBody>
      </p:sp>
      <p:sp>
        <p:nvSpPr>
          <p:cNvPr id="10" name="Text Placeholder 6">
            <a:extLst>
              <a:ext uri="{FF2B5EF4-FFF2-40B4-BE49-F238E27FC236}">
                <a16:creationId xmlns:a16="http://schemas.microsoft.com/office/drawing/2014/main" id="{ED08904B-D780-F390-2FB2-F07A79C70B5D}"/>
              </a:ext>
            </a:extLst>
          </p:cNvPr>
          <p:cNvSpPr>
            <a:spLocks noGrp="1"/>
          </p:cNvSpPr>
          <p:nvPr>
            <p:ph type="body" sz="quarter" idx="14"/>
          </p:nvPr>
        </p:nvSpPr>
        <p:spPr>
          <a:xfrm>
            <a:off x="266330" y="1284288"/>
            <a:ext cx="11683014" cy="493712"/>
          </a:xfrm>
        </p:spPr>
        <p:txBody>
          <a:bodyPr>
            <a:noAutofit/>
          </a:bodyPr>
          <a:lstStyle>
            <a:lvl1pPr marL="0" indent="0">
              <a:buNone/>
              <a:defRPr sz="2800">
                <a:solidFill>
                  <a:schemeClr val="accent4"/>
                </a:solidFill>
              </a:defRPr>
            </a:lvl1pPr>
          </a:lstStyle>
          <a:p>
            <a:pPr lvl="0"/>
            <a:endParaRPr lang="en-US" dirty="0"/>
          </a:p>
        </p:txBody>
      </p:sp>
      <p:sp>
        <p:nvSpPr>
          <p:cNvPr id="12" name="Title 11">
            <a:extLst>
              <a:ext uri="{FF2B5EF4-FFF2-40B4-BE49-F238E27FC236}">
                <a16:creationId xmlns:a16="http://schemas.microsoft.com/office/drawing/2014/main" id="{2F72EF7E-C28B-D76C-FE32-079A7175935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425551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314D852-B395-77E7-DFCA-B21FA2C17C0B}"/>
              </a:ext>
            </a:extLst>
          </p:cNvPr>
          <p:cNvSpPr>
            <a:spLocks noGrp="1"/>
          </p:cNvSpPr>
          <p:nvPr>
            <p:ph type="body" idx="1"/>
          </p:nvPr>
        </p:nvSpPr>
        <p:spPr>
          <a:xfrm>
            <a:off x="266330" y="1800842"/>
            <a:ext cx="5760720" cy="713286"/>
          </a:xfrm>
        </p:spPr>
        <p:txBody>
          <a:bodyPr anchor="b"/>
          <a:lstStyle>
            <a:lvl1pPr marL="0" indent="0">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a:extLst>
              <a:ext uri="{FF2B5EF4-FFF2-40B4-BE49-F238E27FC236}">
                <a16:creationId xmlns:a16="http://schemas.microsoft.com/office/drawing/2014/main" id="{68A3552E-46F5-AA73-A1D0-E665395C5C56}"/>
              </a:ext>
            </a:extLst>
          </p:cNvPr>
          <p:cNvSpPr>
            <a:spLocks noGrp="1"/>
          </p:cNvSpPr>
          <p:nvPr>
            <p:ph sz="half" idx="2"/>
          </p:nvPr>
        </p:nvSpPr>
        <p:spPr>
          <a:xfrm>
            <a:off x="266330" y="2536970"/>
            <a:ext cx="5760720" cy="336668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D1C4D3DF-EF49-1D26-A131-5690F1836BEE}"/>
              </a:ext>
            </a:extLst>
          </p:cNvPr>
          <p:cNvSpPr>
            <a:spLocks noGrp="1"/>
          </p:cNvSpPr>
          <p:nvPr>
            <p:ph type="body" sz="quarter" idx="3"/>
          </p:nvPr>
        </p:nvSpPr>
        <p:spPr>
          <a:xfrm>
            <a:off x="6188624" y="1800842"/>
            <a:ext cx="5760720" cy="713286"/>
          </a:xfrm>
        </p:spPr>
        <p:txBody>
          <a:bodyPr anchor="b"/>
          <a:lstStyle>
            <a:lvl1pPr marL="0" indent="0">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a:extLst>
              <a:ext uri="{FF2B5EF4-FFF2-40B4-BE49-F238E27FC236}">
                <a16:creationId xmlns:a16="http://schemas.microsoft.com/office/drawing/2014/main" id="{38F35AB5-B27E-DE71-80B4-4E4B35DF1C12}"/>
              </a:ext>
            </a:extLst>
          </p:cNvPr>
          <p:cNvSpPr>
            <a:spLocks noGrp="1"/>
          </p:cNvSpPr>
          <p:nvPr>
            <p:ph sz="quarter" idx="4"/>
          </p:nvPr>
        </p:nvSpPr>
        <p:spPr>
          <a:xfrm>
            <a:off x="6188624" y="2536970"/>
            <a:ext cx="5760720" cy="336668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Footer Placeholder 7">
            <a:extLst>
              <a:ext uri="{FF2B5EF4-FFF2-40B4-BE49-F238E27FC236}">
                <a16:creationId xmlns:a16="http://schemas.microsoft.com/office/drawing/2014/main" id="{14479914-D7C1-A737-DD56-D896B911A010}"/>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3201F9DE-3280-D01F-BEF3-D2CAC15975C1}"/>
              </a:ext>
            </a:extLst>
          </p:cNvPr>
          <p:cNvSpPr>
            <a:spLocks noGrp="1"/>
          </p:cNvSpPr>
          <p:nvPr>
            <p:ph type="sldNum" sz="quarter" idx="12"/>
          </p:nvPr>
        </p:nvSpPr>
        <p:spPr/>
        <p:txBody>
          <a:bodyPr/>
          <a:lstStyle/>
          <a:p>
            <a:fld id="{A300D7A8-33C5-4C89-B444-136428D180BE}" type="slidenum">
              <a:rPr lang="en-US" smtClean="0"/>
              <a:t>‹#›</a:t>
            </a:fld>
            <a:endParaRPr lang="en-US" dirty="0"/>
          </a:p>
        </p:txBody>
      </p:sp>
      <p:sp>
        <p:nvSpPr>
          <p:cNvPr id="12" name="Title 11">
            <a:extLst>
              <a:ext uri="{FF2B5EF4-FFF2-40B4-BE49-F238E27FC236}">
                <a16:creationId xmlns:a16="http://schemas.microsoft.com/office/drawing/2014/main" id="{92B858C1-9C4F-8EE1-25B8-5F96912DB82F}"/>
              </a:ext>
            </a:extLst>
          </p:cNvPr>
          <p:cNvSpPr>
            <a:spLocks noGrp="1"/>
          </p:cNvSpPr>
          <p:nvPr>
            <p:ph type="title"/>
          </p:nvPr>
        </p:nvSpPr>
        <p:spPr>
          <a:xfrm>
            <a:off x="266330" y="213064"/>
            <a:ext cx="11683014" cy="1020931"/>
          </a:xfrm>
        </p:spPr>
        <p:txBody>
          <a:bodyPr/>
          <a:lstStyle/>
          <a:p>
            <a:r>
              <a:rPr lang="en-US"/>
              <a:t>Click to edit Master title style</a:t>
            </a:r>
          </a:p>
        </p:txBody>
      </p:sp>
      <p:sp>
        <p:nvSpPr>
          <p:cNvPr id="7" name="Text Placeholder 6">
            <a:extLst>
              <a:ext uri="{FF2B5EF4-FFF2-40B4-BE49-F238E27FC236}">
                <a16:creationId xmlns:a16="http://schemas.microsoft.com/office/drawing/2014/main" id="{6D3D7449-4768-28FF-8C9E-7F07B4C27D73}"/>
              </a:ext>
            </a:extLst>
          </p:cNvPr>
          <p:cNvSpPr>
            <a:spLocks noGrp="1"/>
          </p:cNvSpPr>
          <p:nvPr>
            <p:ph type="body" sz="quarter" idx="14"/>
          </p:nvPr>
        </p:nvSpPr>
        <p:spPr>
          <a:xfrm>
            <a:off x="266330" y="1284288"/>
            <a:ext cx="11682413" cy="493712"/>
          </a:xfrm>
        </p:spPr>
        <p:txBody>
          <a:bodyPr>
            <a:noAutofit/>
          </a:bodyPr>
          <a:lstStyle>
            <a:lvl1pPr marL="0" indent="0">
              <a:buNone/>
              <a:defRPr sz="2800">
                <a:solidFill>
                  <a:schemeClr val="accent4"/>
                </a:solidFill>
              </a:defRPr>
            </a:lvl1pPr>
          </a:lstStyle>
          <a:p>
            <a:pPr lvl="0"/>
            <a:endParaRPr lang="en-US" dirty="0"/>
          </a:p>
        </p:txBody>
      </p:sp>
    </p:spTree>
    <p:extLst>
      <p:ext uri="{BB962C8B-B14F-4D97-AF65-F5344CB8AC3E}">
        <p14:creationId xmlns:p14="http://schemas.microsoft.com/office/powerpoint/2010/main" val="30384629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1CDEEAE5-251D-CB82-9C6B-EA2BC01FB217}"/>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FA955F22-46AC-D1EC-0976-18979EF966C9}"/>
              </a:ext>
            </a:extLst>
          </p:cNvPr>
          <p:cNvSpPr>
            <a:spLocks noGrp="1"/>
          </p:cNvSpPr>
          <p:nvPr>
            <p:ph type="sldNum" sz="quarter" idx="12"/>
          </p:nvPr>
        </p:nvSpPr>
        <p:spPr/>
        <p:txBody>
          <a:bodyPr/>
          <a:lstStyle/>
          <a:p>
            <a:fld id="{A300D7A8-33C5-4C89-B444-136428D180BE}" type="slidenum">
              <a:rPr lang="en-US" smtClean="0"/>
              <a:t>‹#›</a:t>
            </a:fld>
            <a:endParaRPr lang="en-US" dirty="0"/>
          </a:p>
        </p:txBody>
      </p:sp>
      <p:sp>
        <p:nvSpPr>
          <p:cNvPr id="6" name="Title 5">
            <a:extLst>
              <a:ext uri="{FF2B5EF4-FFF2-40B4-BE49-F238E27FC236}">
                <a16:creationId xmlns:a16="http://schemas.microsoft.com/office/drawing/2014/main" id="{AAAD84BA-05FD-9D68-1313-E905D4430579}"/>
              </a:ext>
            </a:extLst>
          </p:cNvPr>
          <p:cNvSpPr>
            <a:spLocks noGrp="1"/>
          </p:cNvSpPr>
          <p:nvPr>
            <p:ph type="title"/>
          </p:nvPr>
        </p:nvSpPr>
        <p:spPr/>
        <p:txBody>
          <a:bodyPr/>
          <a:lstStyle/>
          <a:p>
            <a:r>
              <a:rPr lang="en-US"/>
              <a:t>Click to edit Master title style</a:t>
            </a:r>
          </a:p>
        </p:txBody>
      </p:sp>
      <p:sp>
        <p:nvSpPr>
          <p:cNvPr id="2" name="Text Placeholder 6">
            <a:extLst>
              <a:ext uri="{FF2B5EF4-FFF2-40B4-BE49-F238E27FC236}">
                <a16:creationId xmlns:a16="http://schemas.microsoft.com/office/drawing/2014/main" id="{7506AB37-8221-2C11-A886-AA1D6D863148}"/>
              </a:ext>
            </a:extLst>
          </p:cNvPr>
          <p:cNvSpPr>
            <a:spLocks noGrp="1"/>
          </p:cNvSpPr>
          <p:nvPr>
            <p:ph type="body" sz="quarter" idx="14"/>
          </p:nvPr>
        </p:nvSpPr>
        <p:spPr>
          <a:xfrm>
            <a:off x="266330" y="1284288"/>
            <a:ext cx="11682413" cy="493712"/>
          </a:xfrm>
        </p:spPr>
        <p:txBody>
          <a:bodyPr>
            <a:noAutofit/>
          </a:bodyPr>
          <a:lstStyle>
            <a:lvl1pPr marL="0" indent="0">
              <a:buNone/>
              <a:defRPr sz="2800">
                <a:solidFill>
                  <a:schemeClr val="accent4"/>
                </a:solidFill>
              </a:defRPr>
            </a:lvl1pPr>
          </a:lstStyle>
          <a:p>
            <a:pPr lvl="0"/>
            <a:endParaRPr lang="en-US" dirty="0"/>
          </a:p>
        </p:txBody>
      </p:sp>
    </p:spTree>
    <p:extLst>
      <p:ext uri="{BB962C8B-B14F-4D97-AF65-F5344CB8AC3E}">
        <p14:creationId xmlns:p14="http://schemas.microsoft.com/office/powerpoint/2010/main" val="42042992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17FB1D1-8768-EA60-1DF0-6DC11A5FD6DD}"/>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67065738-F952-B640-4B18-6E0470E1C17E}"/>
              </a:ext>
            </a:extLst>
          </p:cNvPr>
          <p:cNvSpPr>
            <a:spLocks noGrp="1"/>
          </p:cNvSpPr>
          <p:nvPr>
            <p:ph type="sldNum" sz="quarter" idx="12"/>
          </p:nvPr>
        </p:nvSpPr>
        <p:spPr/>
        <p:txBody>
          <a:bodyPr/>
          <a:lstStyle/>
          <a:p>
            <a:fld id="{A300D7A8-33C5-4C89-B444-136428D180BE}" type="slidenum">
              <a:rPr lang="en-US" smtClean="0"/>
              <a:t>‹#›</a:t>
            </a:fld>
            <a:endParaRPr lang="en-US" dirty="0"/>
          </a:p>
        </p:txBody>
      </p:sp>
    </p:spTree>
    <p:extLst>
      <p:ext uri="{BB962C8B-B14F-4D97-AF65-F5344CB8AC3E}">
        <p14:creationId xmlns:p14="http://schemas.microsoft.com/office/powerpoint/2010/main" val="14903630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3.svg"/><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image" Target="../media/image8.emf"/><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9" name="Picture 8" descr="A white and black screen&#10;&#10;Description automatically generated with medium confidence">
            <a:extLst>
              <a:ext uri="{FF2B5EF4-FFF2-40B4-BE49-F238E27FC236}">
                <a16:creationId xmlns:a16="http://schemas.microsoft.com/office/drawing/2014/main" id="{7EC836E0-5ECB-EE31-31BA-AD61367756C0}"/>
              </a:ext>
            </a:extLst>
          </p:cNvPr>
          <p:cNvPicPr>
            <a:picLocks noChangeAspect="1"/>
          </p:cNvPicPr>
          <p:nvPr userDrawn="1"/>
        </p:nvPicPr>
        <p:blipFill rotWithShape="1">
          <a:blip r:embed="rId15">
            <a:alphaModFix amt="22000"/>
            <a:duotone>
              <a:prstClr val="black"/>
              <a:schemeClr val="accent4">
                <a:tint val="45000"/>
                <a:satMod val="400000"/>
              </a:schemeClr>
            </a:duotone>
          </a:blip>
          <a:srcRect l="25715" t="27639" r="2854" b="34403"/>
          <a:stretch/>
        </p:blipFill>
        <p:spPr>
          <a:xfrm>
            <a:off x="0" y="0"/>
            <a:ext cx="12192000" cy="6858000"/>
          </a:xfrm>
          <a:prstGeom prst="rect">
            <a:avLst/>
          </a:prstGeom>
        </p:spPr>
      </p:pic>
      <p:sp>
        <p:nvSpPr>
          <p:cNvPr id="7" name="Rectangle 6">
            <a:extLst>
              <a:ext uri="{FF2B5EF4-FFF2-40B4-BE49-F238E27FC236}">
                <a16:creationId xmlns:a16="http://schemas.microsoft.com/office/drawing/2014/main" id="{4D1EBF6E-DDCD-F4D5-A461-8E513C84E22D}"/>
              </a:ext>
            </a:extLst>
          </p:cNvPr>
          <p:cNvSpPr/>
          <p:nvPr userDrawn="1"/>
        </p:nvSpPr>
        <p:spPr>
          <a:xfrm>
            <a:off x="0" y="2"/>
            <a:ext cx="12192000" cy="6857999"/>
          </a:xfrm>
          <a:prstGeom prst="rect">
            <a:avLst/>
          </a:prstGeom>
          <a:gradFill flip="none" rotWithShape="1">
            <a:gsLst>
              <a:gs pos="47000">
                <a:schemeClr val="bg1">
                  <a:alpha val="90000"/>
                </a:schemeClr>
              </a:gs>
              <a:gs pos="100000">
                <a:schemeClr val="bg1">
                  <a:alpha val="50000"/>
                </a:schemeClr>
              </a:gs>
            </a:gsLst>
            <a:lin ang="54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2" name="Freeform: Shape 11">
            <a:extLst>
              <a:ext uri="{FF2B5EF4-FFF2-40B4-BE49-F238E27FC236}">
                <a16:creationId xmlns:a16="http://schemas.microsoft.com/office/drawing/2014/main" id="{04C1FE1B-BAE6-252B-E573-BBC3BE4943C9}"/>
              </a:ext>
            </a:extLst>
          </p:cNvPr>
          <p:cNvSpPr/>
          <p:nvPr userDrawn="1"/>
        </p:nvSpPr>
        <p:spPr>
          <a:xfrm>
            <a:off x="0" y="5903360"/>
            <a:ext cx="12192000" cy="954641"/>
          </a:xfrm>
          <a:custGeom>
            <a:avLst/>
            <a:gdLst>
              <a:gd name="connsiteX0" fmla="*/ 0 w 12192000"/>
              <a:gd name="connsiteY0" fmla="*/ 0 h 954641"/>
              <a:gd name="connsiteX1" fmla="*/ 490536 w 12192000"/>
              <a:gd name="connsiteY1" fmla="*/ 118768 h 954641"/>
              <a:gd name="connsiteX2" fmla="*/ 6096000 w 12192000"/>
              <a:gd name="connsiteY2" fmla="*/ 673154 h 954641"/>
              <a:gd name="connsiteX3" fmla="*/ 11701464 w 12192000"/>
              <a:gd name="connsiteY3" fmla="*/ 118768 h 954641"/>
              <a:gd name="connsiteX4" fmla="*/ 12192000 w 12192000"/>
              <a:gd name="connsiteY4" fmla="*/ 0 h 954641"/>
              <a:gd name="connsiteX5" fmla="*/ 12192000 w 12192000"/>
              <a:gd name="connsiteY5" fmla="*/ 954641 h 954641"/>
              <a:gd name="connsiteX6" fmla="*/ 0 w 12192000"/>
              <a:gd name="connsiteY6" fmla="*/ 954641 h 954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954641">
                <a:moveTo>
                  <a:pt x="0" y="0"/>
                </a:moveTo>
                <a:lnTo>
                  <a:pt x="490536" y="118768"/>
                </a:lnTo>
                <a:cubicBezTo>
                  <a:pt x="2090648" y="468779"/>
                  <a:pt x="4019610" y="673154"/>
                  <a:pt x="6096000" y="673154"/>
                </a:cubicBezTo>
                <a:cubicBezTo>
                  <a:pt x="8172391" y="673154"/>
                  <a:pt x="10101352" y="468779"/>
                  <a:pt x="11701464" y="118768"/>
                </a:cubicBezTo>
                <a:lnTo>
                  <a:pt x="12192000" y="0"/>
                </a:lnTo>
                <a:lnTo>
                  <a:pt x="12192000" y="954641"/>
                </a:lnTo>
                <a:lnTo>
                  <a:pt x="0" y="954641"/>
                </a:lnTo>
                <a:close/>
              </a:path>
            </a:pathLst>
          </a:custGeom>
          <a:gradFill>
            <a:gsLst>
              <a:gs pos="47000">
                <a:schemeClr val="tx2"/>
              </a:gs>
              <a:gs pos="100000">
                <a:schemeClr val="tx2">
                  <a:lumMod val="75000"/>
                </a:schemeClr>
              </a:gs>
            </a:gsLst>
            <a:lin ang="5400000" scaled="1"/>
          </a:gradFill>
          <a:ln>
            <a:noFill/>
          </a:ln>
          <a:effectLst>
            <a:outerShdw blurRad="88900" dist="12700" dir="16200000" rotWithShape="0">
              <a:prstClr val="black">
                <a:alpha val="25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 name="Title Placeholder 1">
            <a:extLst>
              <a:ext uri="{FF2B5EF4-FFF2-40B4-BE49-F238E27FC236}">
                <a16:creationId xmlns:a16="http://schemas.microsoft.com/office/drawing/2014/main" id="{2E638C16-401B-78CF-24DC-01F56B563780}"/>
              </a:ext>
            </a:extLst>
          </p:cNvPr>
          <p:cNvSpPr>
            <a:spLocks noGrp="1"/>
          </p:cNvSpPr>
          <p:nvPr>
            <p:ph type="title"/>
          </p:nvPr>
        </p:nvSpPr>
        <p:spPr>
          <a:xfrm>
            <a:off x="266330" y="213064"/>
            <a:ext cx="11683014" cy="1020931"/>
          </a:xfrm>
          <a:prstGeom prst="rect">
            <a:avLst/>
          </a:prstGeom>
        </p:spPr>
        <p:txBody>
          <a:bodyPr vert="horz" lIns="91440" tIns="45720" rIns="91440" bIns="45720" rtlCol="0" anchor="ctr">
            <a:noAutofit/>
          </a:bodyPr>
          <a:lstStyle/>
          <a:p>
            <a:r>
              <a:rPr lang="en-US" dirty="0"/>
              <a:t>Click to edit Master title style</a:t>
            </a:r>
          </a:p>
        </p:txBody>
      </p:sp>
      <p:sp>
        <p:nvSpPr>
          <p:cNvPr id="3" name="Text Placeholder 2">
            <a:extLst>
              <a:ext uri="{FF2B5EF4-FFF2-40B4-BE49-F238E27FC236}">
                <a16:creationId xmlns:a16="http://schemas.microsoft.com/office/drawing/2014/main" id="{4CD29667-C806-AAB7-5A94-1250842082EB}"/>
              </a:ext>
            </a:extLst>
          </p:cNvPr>
          <p:cNvSpPr>
            <a:spLocks noGrp="1"/>
          </p:cNvSpPr>
          <p:nvPr>
            <p:ph type="body" idx="1"/>
          </p:nvPr>
        </p:nvSpPr>
        <p:spPr>
          <a:xfrm>
            <a:off x="266329" y="1384916"/>
            <a:ext cx="11683013" cy="451844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A0FB4FA9-B0FA-F4B8-3202-60EE2DE566AE}"/>
              </a:ext>
            </a:extLst>
          </p:cNvPr>
          <p:cNvSpPr>
            <a:spLocks noGrp="1"/>
          </p:cNvSpPr>
          <p:nvPr>
            <p:ph type="ftr" sz="quarter" idx="3"/>
          </p:nvPr>
        </p:nvSpPr>
        <p:spPr>
          <a:xfrm>
            <a:off x="2152464" y="5903655"/>
            <a:ext cx="7887071" cy="365125"/>
          </a:xfrm>
          <a:prstGeom prst="rect">
            <a:avLst/>
          </a:prstGeom>
        </p:spPr>
        <p:txBody>
          <a:bodyPr vert="horz" lIns="91440" tIns="45720" rIns="91440" bIns="45720" rtlCol="0" anchor="ctr"/>
          <a:lstStyle>
            <a:lvl1pPr algn="ctr">
              <a:defRPr sz="900">
                <a:solidFill>
                  <a:schemeClr val="tx1">
                    <a:tint val="82000"/>
                  </a:schemeClr>
                </a:solidFill>
              </a:defRPr>
            </a:lvl1pPr>
          </a:lstStyle>
          <a:p>
            <a:endParaRPr lang="en-US" dirty="0"/>
          </a:p>
        </p:txBody>
      </p:sp>
      <p:sp>
        <p:nvSpPr>
          <p:cNvPr id="6" name="Slide Number Placeholder 5">
            <a:extLst>
              <a:ext uri="{FF2B5EF4-FFF2-40B4-BE49-F238E27FC236}">
                <a16:creationId xmlns:a16="http://schemas.microsoft.com/office/drawing/2014/main" id="{09536EF3-6100-AB1B-DA1E-BA2E72C8377D}"/>
              </a:ext>
            </a:extLst>
          </p:cNvPr>
          <p:cNvSpPr>
            <a:spLocks noGrp="1"/>
          </p:cNvSpPr>
          <p:nvPr>
            <p:ph type="sldNum" sz="quarter" idx="4"/>
          </p:nvPr>
        </p:nvSpPr>
        <p:spPr>
          <a:xfrm>
            <a:off x="266329" y="6287294"/>
            <a:ext cx="438705" cy="365125"/>
          </a:xfrm>
          <a:prstGeom prst="rect">
            <a:avLst/>
          </a:prstGeom>
        </p:spPr>
        <p:txBody>
          <a:bodyPr vert="horz" lIns="91440" tIns="45720" rIns="91440" bIns="45720" rtlCol="0" anchor="ctr"/>
          <a:lstStyle>
            <a:lvl1pPr algn="l">
              <a:defRPr sz="900">
                <a:solidFill>
                  <a:schemeClr val="bg1"/>
                </a:solidFill>
              </a:defRPr>
            </a:lvl1pPr>
          </a:lstStyle>
          <a:p>
            <a:fld id="{A300D7A8-33C5-4C89-B444-136428D180BE}" type="slidenum">
              <a:rPr lang="en-US" smtClean="0"/>
              <a:pPr/>
              <a:t>‹#›</a:t>
            </a:fld>
            <a:endParaRPr lang="en-US" dirty="0"/>
          </a:p>
        </p:txBody>
      </p:sp>
      <p:pic>
        <p:nvPicPr>
          <p:cNvPr id="19" name="Graphic 18">
            <a:extLst>
              <a:ext uri="{FF2B5EF4-FFF2-40B4-BE49-F238E27FC236}">
                <a16:creationId xmlns:a16="http://schemas.microsoft.com/office/drawing/2014/main" id="{A36FED1B-AB9F-AC9E-0DF7-7C9E2209FD58}"/>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11102755" y="6259374"/>
            <a:ext cx="846587" cy="418930"/>
          </a:xfrm>
          <a:prstGeom prst="rect">
            <a:avLst/>
          </a:prstGeom>
        </p:spPr>
      </p:pic>
    </p:spTree>
    <p:extLst>
      <p:ext uri="{BB962C8B-B14F-4D97-AF65-F5344CB8AC3E}">
        <p14:creationId xmlns:p14="http://schemas.microsoft.com/office/powerpoint/2010/main" val="589749763"/>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755" r:id="rId3"/>
    <p:sldLayoutId id="2147483692" r:id="rId4"/>
    <p:sldLayoutId id="2147483754" r:id="rId5"/>
    <p:sldLayoutId id="2147483693" r:id="rId6"/>
    <p:sldLayoutId id="2147483694" r:id="rId7"/>
    <p:sldLayoutId id="2147483695" r:id="rId8"/>
    <p:sldLayoutId id="2147483696" r:id="rId9"/>
    <p:sldLayoutId id="2147483698" r:id="rId10"/>
    <p:sldLayoutId id="2147483697" r:id="rId11"/>
    <p:sldLayoutId id="2147483771" r:id="rId12"/>
    <p:sldLayoutId id="2147483772" r:id="rId1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90000"/>
        </a:lnSpc>
        <a:spcBef>
          <a:spcPct val="0"/>
        </a:spcBef>
        <a:buNone/>
        <a:defRPr sz="3200" b="1" kern="1200" cap="all" baseline="0">
          <a:solidFill>
            <a:schemeClr val="tx2"/>
          </a:solidFill>
          <a:latin typeface="+mj-lt"/>
          <a:ea typeface="+mj-ea"/>
          <a:cs typeface="+mj-cs"/>
        </a:defRPr>
      </a:lvl1pPr>
    </p:titleStyle>
    <p:bodyStyle>
      <a:lvl1pPr marL="342900" indent="-342900" algn="l" defTabSz="914400" rtl="0" eaLnBrk="1" latinLnBrk="0" hangingPunct="1">
        <a:lnSpc>
          <a:spcPct val="90000"/>
        </a:lnSpc>
        <a:spcBef>
          <a:spcPts val="1800"/>
        </a:spcBef>
        <a:buClr>
          <a:schemeClr val="accent1"/>
        </a:buClr>
        <a:buFont typeface="Arial" panose="020B0604020202020204" pitchFamily="34" charset="0"/>
        <a:buChar char="▲"/>
        <a:defRPr sz="2200" kern="1200">
          <a:solidFill>
            <a:schemeClr val="tx1"/>
          </a:solidFill>
          <a:latin typeface="+mn-lt"/>
          <a:ea typeface="+mn-ea"/>
          <a:cs typeface="+mn-cs"/>
        </a:defRPr>
      </a:lvl1pPr>
      <a:lvl2pPr marL="592138" indent="-209550" algn="l" defTabSz="914400" rtl="0" eaLnBrk="1" latinLnBrk="0" hangingPunct="1">
        <a:lnSpc>
          <a:spcPct val="90000"/>
        </a:lnSpc>
        <a:spcBef>
          <a:spcPts val="600"/>
        </a:spcBef>
        <a:buClr>
          <a:schemeClr val="accent1"/>
        </a:buClr>
        <a:buFont typeface="Arial" panose="020B0604020202020204" pitchFamily="34" charset="0"/>
        <a:buChar char="•"/>
        <a:defRPr sz="2000" kern="1200">
          <a:solidFill>
            <a:schemeClr val="tx1"/>
          </a:solidFill>
          <a:latin typeface="+mn-lt"/>
          <a:ea typeface="+mn-ea"/>
          <a:cs typeface="+mn-cs"/>
        </a:defRPr>
      </a:lvl2pPr>
      <a:lvl3pPr marL="833438" indent="-209550" algn="l" defTabSz="914400" rtl="0" eaLnBrk="1" latinLnBrk="0" hangingPunct="1">
        <a:lnSpc>
          <a:spcPct val="90000"/>
        </a:lnSpc>
        <a:spcBef>
          <a:spcPts val="600"/>
        </a:spcBef>
        <a:buClr>
          <a:schemeClr val="accent1"/>
        </a:buClr>
        <a:buFont typeface="Trebuchet MS" panose="020B0603020202020204" pitchFamily="34" charset="0"/>
        <a:buChar char="−"/>
        <a:defRPr sz="1800" kern="1200">
          <a:solidFill>
            <a:schemeClr val="tx1"/>
          </a:solidFill>
          <a:latin typeface="+mn-lt"/>
          <a:ea typeface="+mn-ea"/>
          <a:cs typeface="+mn-cs"/>
        </a:defRPr>
      </a:lvl3pPr>
      <a:lvl4pPr marL="1031875" indent="-180975" algn="l" defTabSz="914400" rtl="0" eaLnBrk="1" latinLnBrk="0" hangingPunct="1">
        <a:lnSpc>
          <a:spcPct val="90000"/>
        </a:lnSpc>
        <a:spcBef>
          <a:spcPts val="600"/>
        </a:spcBef>
        <a:buClr>
          <a:schemeClr val="accent1"/>
        </a:buClr>
        <a:buFont typeface="Wingdings" panose="05000000000000000000" pitchFamily="2" charset="2"/>
        <a:buChar char="§"/>
        <a:defRPr sz="1600" kern="1200">
          <a:solidFill>
            <a:schemeClr val="tx1"/>
          </a:solidFill>
          <a:latin typeface="+mn-lt"/>
          <a:ea typeface="+mn-ea"/>
          <a:cs typeface="+mn-cs"/>
        </a:defRPr>
      </a:lvl4pPr>
      <a:lvl5pPr marL="1231900" indent="-200025" algn="l" defTabSz="914400" rtl="0" eaLnBrk="1" latinLnBrk="0" hangingPunct="1">
        <a:lnSpc>
          <a:spcPct val="90000"/>
        </a:lnSpc>
        <a:spcBef>
          <a:spcPts val="600"/>
        </a:spcBef>
        <a:buClr>
          <a:schemeClr val="accent1"/>
        </a:buClr>
        <a:buFont typeface="Courier New" panose="02070309020205020404" pitchFamily="49" charset="0"/>
        <a:buChar char="o"/>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9517AED-3B77-A60E-9690-044FC9669E3A}"/>
              </a:ext>
            </a:extLst>
          </p:cNvPr>
          <p:cNvSpPr>
            <a:spLocks noGrp="1"/>
          </p:cNvSpPr>
          <p:nvPr>
            <p:ph type="title"/>
          </p:nvPr>
        </p:nvSpPr>
        <p:spPr>
          <a:xfrm>
            <a:off x="491924" y="365126"/>
            <a:ext cx="9576972" cy="1029624"/>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7C001D6-DBF3-4525-FCBE-6DCD1516B5B5}"/>
              </a:ext>
            </a:extLst>
          </p:cNvPr>
          <p:cNvSpPr>
            <a:spLocks noGrp="1"/>
          </p:cNvSpPr>
          <p:nvPr>
            <p:ph type="body" idx="1"/>
          </p:nvPr>
        </p:nvSpPr>
        <p:spPr>
          <a:xfrm>
            <a:off x="491924" y="1626243"/>
            <a:ext cx="11388926" cy="455072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67092C06-287E-9E55-3978-6EC7D18E45BE}"/>
              </a:ext>
            </a:extLst>
          </p:cNvPr>
          <p:cNvSpPr/>
          <p:nvPr userDrawn="1"/>
        </p:nvSpPr>
        <p:spPr>
          <a:xfrm>
            <a:off x="0" y="5098648"/>
            <a:ext cx="12192000" cy="1759352"/>
          </a:xfrm>
          <a:prstGeom prst="rect">
            <a:avLst/>
          </a:prstGeom>
          <a:gradFill>
            <a:gsLst>
              <a:gs pos="0">
                <a:schemeClr val="bg1">
                  <a:alpha val="0"/>
                </a:schemeClr>
              </a:gs>
              <a:gs pos="100000">
                <a:schemeClr val="accent2">
                  <a:alpha val="4000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a:extLst>
              <a:ext uri="{FF2B5EF4-FFF2-40B4-BE49-F238E27FC236}">
                <a16:creationId xmlns:a16="http://schemas.microsoft.com/office/drawing/2014/main" id="{88BEB78A-B364-843C-870B-122799F8F9EF}"/>
              </a:ext>
            </a:extLst>
          </p:cNvPr>
          <p:cNvPicPr>
            <a:picLocks noChangeAspect="1"/>
          </p:cNvPicPr>
          <p:nvPr userDrawn="1"/>
        </p:nvPicPr>
        <p:blipFill>
          <a:blip r:embed="rId15"/>
          <a:stretch>
            <a:fillRect/>
          </a:stretch>
        </p:blipFill>
        <p:spPr>
          <a:xfrm>
            <a:off x="10291445" y="219286"/>
            <a:ext cx="1674142" cy="268051"/>
          </a:xfrm>
          <a:prstGeom prst="rect">
            <a:avLst/>
          </a:prstGeom>
        </p:spPr>
      </p:pic>
      <p:sp>
        <p:nvSpPr>
          <p:cNvPr id="4" name="Date Placeholder 3">
            <a:extLst>
              <a:ext uri="{FF2B5EF4-FFF2-40B4-BE49-F238E27FC236}">
                <a16:creationId xmlns:a16="http://schemas.microsoft.com/office/drawing/2014/main" id="{74B2A053-AE9B-B4C0-CE87-996D70BF1D0D}"/>
              </a:ext>
            </a:extLst>
          </p:cNvPr>
          <p:cNvSpPr>
            <a:spLocks noGrp="1"/>
          </p:cNvSpPr>
          <p:nvPr>
            <p:ph type="dt" sz="half" idx="2"/>
          </p:nvPr>
        </p:nvSpPr>
        <p:spPr>
          <a:xfrm>
            <a:off x="236316" y="6356350"/>
            <a:ext cx="2743200" cy="365125"/>
          </a:xfrm>
          <a:prstGeom prst="rect">
            <a:avLst/>
          </a:prstGeom>
        </p:spPr>
        <p:txBody>
          <a:bodyPr vert="horz" lIns="91440" tIns="45720" rIns="91440" bIns="45720" rtlCol="0" anchor="ctr"/>
          <a:lstStyle>
            <a:lvl1pPr algn="l">
              <a:defRPr sz="900">
                <a:solidFill>
                  <a:schemeClr val="accent4"/>
                </a:solidFill>
              </a:defRPr>
            </a:lvl1pPr>
          </a:lstStyle>
          <a:p>
            <a:fld id="{DF3924B5-76D5-4B2E-A450-4C5BC0BEDEF5}" type="datetime1">
              <a:rPr lang="en-US" smtClean="0"/>
              <a:t>1/9/2026</a:t>
            </a:fld>
            <a:endParaRPr lang="en-US" dirty="0"/>
          </a:p>
        </p:txBody>
      </p:sp>
      <p:sp>
        <p:nvSpPr>
          <p:cNvPr id="5" name="Footer Placeholder 4">
            <a:extLst>
              <a:ext uri="{FF2B5EF4-FFF2-40B4-BE49-F238E27FC236}">
                <a16:creationId xmlns:a16="http://schemas.microsoft.com/office/drawing/2014/main" id="{D7F8172A-3AE4-144F-AF82-570822281730}"/>
              </a:ext>
            </a:extLst>
          </p:cNvPr>
          <p:cNvSpPr>
            <a:spLocks noGrp="1"/>
          </p:cNvSpPr>
          <p:nvPr>
            <p:ph type="ftr" sz="quarter" idx="3"/>
          </p:nvPr>
        </p:nvSpPr>
        <p:spPr>
          <a:xfrm>
            <a:off x="2857018" y="6356350"/>
            <a:ext cx="6477964" cy="365125"/>
          </a:xfrm>
          <a:prstGeom prst="rect">
            <a:avLst/>
          </a:prstGeom>
        </p:spPr>
        <p:txBody>
          <a:bodyPr vert="horz" lIns="91440" tIns="45720" rIns="91440" bIns="45720" rtlCol="0" anchor="ctr"/>
          <a:lstStyle>
            <a:lvl1pPr algn="ctr">
              <a:defRPr sz="900">
                <a:solidFill>
                  <a:schemeClr val="accent4"/>
                </a:solidFill>
              </a:defRPr>
            </a:lvl1pPr>
          </a:lstStyle>
          <a:p>
            <a:endParaRPr lang="en-US" dirty="0"/>
          </a:p>
        </p:txBody>
      </p:sp>
      <p:sp>
        <p:nvSpPr>
          <p:cNvPr id="6" name="Slide Number Placeholder 5">
            <a:extLst>
              <a:ext uri="{FF2B5EF4-FFF2-40B4-BE49-F238E27FC236}">
                <a16:creationId xmlns:a16="http://schemas.microsoft.com/office/drawing/2014/main" id="{1110B661-EB74-7B82-6AEC-052B7683B1BA}"/>
              </a:ext>
            </a:extLst>
          </p:cNvPr>
          <p:cNvSpPr>
            <a:spLocks noGrp="1"/>
          </p:cNvSpPr>
          <p:nvPr>
            <p:ph type="sldNum" sz="quarter" idx="4"/>
          </p:nvPr>
        </p:nvSpPr>
        <p:spPr>
          <a:xfrm>
            <a:off x="11522597" y="6356350"/>
            <a:ext cx="442990" cy="365125"/>
          </a:xfrm>
          <a:prstGeom prst="rect">
            <a:avLst/>
          </a:prstGeom>
        </p:spPr>
        <p:txBody>
          <a:bodyPr vert="horz" lIns="91440" tIns="45720" rIns="91440" bIns="45720" rtlCol="0" anchor="ctr"/>
          <a:lstStyle>
            <a:lvl1pPr algn="r">
              <a:defRPr sz="900">
                <a:solidFill>
                  <a:schemeClr val="accent4"/>
                </a:solidFill>
              </a:defRPr>
            </a:lvl1pPr>
          </a:lstStyle>
          <a:p>
            <a:fld id="{2255CA7B-1B59-4C07-BE3D-E8AE49649A7D}" type="slidenum">
              <a:rPr lang="en-US" smtClean="0"/>
              <a:pPr/>
              <a:t>‹#›</a:t>
            </a:fld>
            <a:endParaRPr lang="en-US" dirty="0"/>
          </a:p>
        </p:txBody>
      </p:sp>
    </p:spTree>
    <p:extLst>
      <p:ext uri="{BB962C8B-B14F-4D97-AF65-F5344CB8AC3E}">
        <p14:creationId xmlns:p14="http://schemas.microsoft.com/office/powerpoint/2010/main" val="193703921"/>
      </p:ext>
    </p:extLst>
  </p:cSld>
  <p:clrMap bg1="lt1" tx1="dk1" bg2="lt2" tx2="dk2" accent1="accent1" accent2="accent2" accent3="accent3" accent4="accent4" accent5="accent5" accent6="accent6" hlink="hlink" folHlink="folHlink"/>
  <p:sldLayoutIdLst>
    <p:sldLayoutId id="2147483757" r:id="rId1"/>
    <p:sldLayoutId id="2147483758" r:id="rId2"/>
    <p:sldLayoutId id="2147483759" r:id="rId3"/>
    <p:sldLayoutId id="2147483760" r:id="rId4"/>
    <p:sldLayoutId id="2147483761" r:id="rId5"/>
    <p:sldLayoutId id="2147483762" r:id="rId6"/>
    <p:sldLayoutId id="2147483763" r:id="rId7"/>
    <p:sldLayoutId id="2147483764" r:id="rId8"/>
    <p:sldLayoutId id="2147483765" r:id="rId9"/>
    <p:sldLayoutId id="2147483766" r:id="rId10"/>
    <p:sldLayoutId id="2147483767" r:id="rId11"/>
    <p:sldLayoutId id="2147483768" r:id="rId12"/>
    <p:sldLayoutId id="2147483769" r:id="rId1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85000"/>
        </a:lnSpc>
        <a:spcBef>
          <a:spcPct val="0"/>
        </a:spcBef>
        <a:buNone/>
        <a:defRPr sz="3200" kern="1200">
          <a:solidFill>
            <a:schemeClr val="accent1"/>
          </a:solidFill>
          <a:latin typeface="+mj-lt"/>
          <a:ea typeface="+mj-ea"/>
          <a:cs typeface="+mj-cs"/>
        </a:defRPr>
      </a:lvl1pPr>
    </p:titleStyle>
    <p:bodyStyle>
      <a:lvl1pPr marL="179388" indent="-179388" algn="l" defTabSz="914400" rtl="0" eaLnBrk="1" latinLnBrk="0" hangingPunct="1">
        <a:lnSpc>
          <a:spcPct val="90000"/>
        </a:lnSpc>
        <a:spcBef>
          <a:spcPts val="1000"/>
        </a:spcBef>
        <a:buClr>
          <a:schemeClr val="accent2"/>
        </a:buClr>
        <a:buFont typeface="Arial" panose="020B0604020202020204" pitchFamily="34" charset="0"/>
        <a:buChar char="•"/>
        <a:defRPr sz="2400" kern="1200">
          <a:solidFill>
            <a:schemeClr val="tx2"/>
          </a:solidFill>
          <a:latin typeface="+mn-lt"/>
          <a:ea typeface="+mn-ea"/>
          <a:cs typeface="+mn-cs"/>
        </a:defRPr>
      </a:lvl1pPr>
      <a:lvl2pPr marL="414338" indent="-222250" algn="l" defTabSz="914400" rtl="0" eaLnBrk="1" latinLnBrk="0" hangingPunct="1">
        <a:lnSpc>
          <a:spcPct val="90000"/>
        </a:lnSpc>
        <a:spcBef>
          <a:spcPts val="500"/>
        </a:spcBef>
        <a:buClr>
          <a:schemeClr val="accent2"/>
        </a:buClr>
        <a:buFont typeface="Arial" panose="020B0604020202020204" pitchFamily="34" charset="0"/>
        <a:buChar char="−"/>
        <a:defRPr sz="2000" kern="1200">
          <a:solidFill>
            <a:schemeClr val="tx2"/>
          </a:solidFill>
          <a:latin typeface="+mn-lt"/>
          <a:ea typeface="+mn-ea"/>
          <a:cs typeface="+mn-cs"/>
        </a:defRPr>
      </a:lvl2pPr>
      <a:lvl3pPr marL="596900" indent="-173038" algn="l" defTabSz="914400" rtl="0" eaLnBrk="1" latinLnBrk="0" hangingPunct="1">
        <a:lnSpc>
          <a:spcPct val="90000"/>
        </a:lnSpc>
        <a:spcBef>
          <a:spcPts val="500"/>
        </a:spcBef>
        <a:buClr>
          <a:schemeClr val="accent2"/>
        </a:buClr>
        <a:buFont typeface="Wingdings" panose="05000000000000000000" pitchFamily="2" charset="2"/>
        <a:buChar char="§"/>
        <a:defRPr sz="1800" kern="1200">
          <a:solidFill>
            <a:schemeClr val="tx2"/>
          </a:solidFill>
          <a:latin typeface="+mn-lt"/>
          <a:ea typeface="+mn-ea"/>
          <a:cs typeface="+mn-cs"/>
        </a:defRPr>
      </a:lvl3pPr>
      <a:lvl4pPr marL="777875" indent="-168275"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2"/>
          </a:solidFill>
          <a:latin typeface="+mn-lt"/>
          <a:ea typeface="+mn-ea"/>
          <a:cs typeface="+mn-cs"/>
        </a:defRPr>
      </a:lvl4pPr>
      <a:lvl5pPr marL="969963" indent="-18415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7484">
          <p15:clr>
            <a:srgbClr val="F26B43"/>
          </p15:clr>
        </p15:guide>
        <p15:guide id="4" pos="192">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image" Target="../media/image39.png"/><Relationship Id="rId1" Type="http://schemas.openxmlformats.org/officeDocument/2006/relationships/slideLayout" Target="../slideLayouts/slideLayout2.xml"/><Relationship Id="rId5" Type="http://schemas.openxmlformats.org/officeDocument/2006/relationships/image" Target="../media/image42.png"/><Relationship Id="rId4" Type="http://schemas.openxmlformats.org/officeDocument/2006/relationships/image" Target="../media/image41.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3" Type="http://schemas.openxmlformats.org/officeDocument/2006/relationships/hyperlink" Target="https://physicians.renuvion.com/library/" TargetMode="External"/><Relationship Id="rId7" Type="http://schemas.openxmlformats.org/officeDocument/2006/relationships/image" Target="../media/image46.pn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png"/></Relationships>
</file>

<file path=ppt/slides/_rels/slide18.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slideLayout" Target="../slideLayouts/slideLayout11.xml"/><Relationship Id="rId1" Type="http://schemas.openxmlformats.org/officeDocument/2006/relationships/tags" Target="../tags/tag1.xml"/><Relationship Id="rId4" Type="http://schemas.openxmlformats.org/officeDocument/2006/relationships/image" Target="../media/image30.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image" Target="../media/image28.svg"/><Relationship Id="rId3" Type="http://schemas.openxmlformats.org/officeDocument/2006/relationships/image" Target="../media/image23.png"/><Relationship Id="rId7" Type="http://schemas.openxmlformats.org/officeDocument/2006/relationships/image" Target="../media/image27.png"/><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image" Target="../media/image26.svg"/><Relationship Id="rId5" Type="http://schemas.openxmlformats.org/officeDocument/2006/relationships/image" Target="../media/image25.png"/><Relationship Id="rId4" Type="http://schemas.openxmlformats.org/officeDocument/2006/relationships/image" Target="../media/image24.svg"/></Relationships>
</file>

<file path=ppt/slides/_rels/slide5.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30.png"/><Relationship Id="rId5" Type="http://schemas.openxmlformats.org/officeDocument/2006/relationships/image" Target="../media/image3.svg"/><Relationship Id="rId4" Type="http://schemas.openxmlformats.org/officeDocument/2006/relationships/image" Target="../media/image2.png"/></Relationships>
</file>

<file path=ppt/slides/_rels/slide7.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31.jpeg"/><Relationship Id="rId1" Type="http://schemas.openxmlformats.org/officeDocument/2006/relationships/slideLayout" Target="../slideLayouts/slideLayout2.xml"/><Relationship Id="rId4" Type="http://schemas.openxmlformats.org/officeDocument/2006/relationships/image" Target="../media/image33.jpeg"/></Relationships>
</file>

<file path=ppt/slides/_rels/slide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2.xml"/><Relationship Id="rId4" Type="http://schemas.openxmlformats.org/officeDocument/2006/relationships/image" Target="../media/image36.png"/></Relationships>
</file>

<file path=ppt/slides/_rels/slide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7.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17CD4F4-B0B7-1C94-B7F2-CB81FA08F905}"/>
              </a:ext>
            </a:extLst>
          </p:cNvPr>
          <p:cNvSpPr>
            <a:spLocks noGrp="1"/>
          </p:cNvSpPr>
          <p:nvPr>
            <p:ph type="ctrTitle"/>
          </p:nvPr>
        </p:nvSpPr>
        <p:spPr>
          <a:xfrm>
            <a:off x="1546746" y="585212"/>
            <a:ext cx="9098508" cy="2362200"/>
          </a:xfrm>
        </p:spPr>
        <p:txBody>
          <a:bodyPr/>
          <a:lstStyle/>
          <a:p>
            <a:r>
              <a:rPr lang="en-US" dirty="0"/>
              <a:t>Investor presentation</a:t>
            </a:r>
          </a:p>
        </p:txBody>
      </p:sp>
      <p:sp>
        <p:nvSpPr>
          <p:cNvPr id="8" name="Subtitle 7">
            <a:extLst>
              <a:ext uri="{FF2B5EF4-FFF2-40B4-BE49-F238E27FC236}">
                <a16:creationId xmlns:a16="http://schemas.microsoft.com/office/drawing/2014/main" id="{E393A3FC-84B6-6C12-2433-3C4A280A7EF0}"/>
              </a:ext>
            </a:extLst>
          </p:cNvPr>
          <p:cNvSpPr>
            <a:spLocks noGrp="1"/>
          </p:cNvSpPr>
          <p:nvPr>
            <p:ph type="subTitle" idx="1"/>
          </p:nvPr>
        </p:nvSpPr>
        <p:spPr>
          <a:xfrm>
            <a:off x="143436" y="6207840"/>
            <a:ext cx="2931460" cy="435007"/>
          </a:xfrm>
        </p:spPr>
        <p:txBody>
          <a:bodyPr/>
          <a:lstStyle/>
          <a:p>
            <a:r>
              <a:rPr lang="en-US" dirty="0">
                <a:solidFill>
                  <a:schemeClr val="accent1"/>
                </a:solidFill>
              </a:rPr>
              <a:t>January 2026</a:t>
            </a:r>
          </a:p>
        </p:txBody>
      </p:sp>
      <p:sp>
        <p:nvSpPr>
          <p:cNvPr id="2" name="Title 33">
            <a:extLst>
              <a:ext uri="{FF2B5EF4-FFF2-40B4-BE49-F238E27FC236}">
                <a16:creationId xmlns:a16="http://schemas.microsoft.com/office/drawing/2014/main" id="{559C9DFE-859A-3733-CFCB-790E5A46CEDC}"/>
              </a:ext>
            </a:extLst>
          </p:cNvPr>
          <p:cNvSpPr txBox="1">
            <a:spLocks/>
          </p:cNvSpPr>
          <p:nvPr/>
        </p:nvSpPr>
        <p:spPr>
          <a:xfrm>
            <a:off x="254493" y="3852139"/>
            <a:ext cx="11683014" cy="552745"/>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b="1" kern="1200" cap="all" baseline="0">
                <a:solidFill>
                  <a:schemeClr val="bg1"/>
                </a:solidFill>
                <a:latin typeface="+mj-lt"/>
                <a:ea typeface="+mj-ea"/>
                <a:cs typeface="+mj-cs"/>
              </a:defRPr>
            </a:lvl1pPr>
          </a:lstStyle>
          <a:p>
            <a:r>
              <a:rPr lang="en-US" sz="4400" dirty="0"/>
              <a:t>The LEADER IN SURGICAL AESTHETICS</a:t>
            </a:r>
          </a:p>
        </p:txBody>
      </p:sp>
    </p:spTree>
    <p:extLst>
      <p:ext uri="{BB962C8B-B14F-4D97-AF65-F5344CB8AC3E}">
        <p14:creationId xmlns:p14="http://schemas.microsoft.com/office/powerpoint/2010/main" val="2118238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A16A23-8925-DD2F-0E8C-9D5890BDE359}"/>
            </a:ext>
          </a:extLst>
        </p:cNvPr>
        <p:cNvGrpSpPr/>
        <p:nvPr/>
      </p:nvGrpSpPr>
      <p:grpSpPr>
        <a:xfrm>
          <a:off x="0" y="0"/>
          <a:ext cx="0" cy="0"/>
          <a:chOff x="0" y="0"/>
          <a:chExt cx="0" cy="0"/>
        </a:xfrm>
      </p:grpSpPr>
      <p:sp>
        <p:nvSpPr>
          <p:cNvPr id="31" name="TextBox 30">
            <a:extLst>
              <a:ext uri="{FF2B5EF4-FFF2-40B4-BE49-F238E27FC236}">
                <a16:creationId xmlns:a16="http://schemas.microsoft.com/office/drawing/2014/main" id="{C7C4C76C-94B1-CCE9-7E7A-28766B75ABA4}"/>
              </a:ext>
            </a:extLst>
          </p:cNvPr>
          <p:cNvSpPr txBox="1"/>
          <p:nvPr/>
        </p:nvSpPr>
        <p:spPr>
          <a:xfrm>
            <a:off x="191775" y="1067595"/>
            <a:ext cx="3976914" cy="3874650"/>
          </a:xfrm>
          <a:prstGeom prst="rect">
            <a:avLst/>
          </a:prstGeom>
          <a:noFill/>
        </p:spPr>
        <p:txBody>
          <a:bodyPr wrap="square">
            <a:spAutoFit/>
          </a:bodyPr>
          <a:lstStyle/>
          <a:p>
            <a:pPr defTabSz="554492">
              <a:lnSpc>
                <a:spcPct val="110000"/>
              </a:lnSpc>
            </a:pPr>
            <a:r>
              <a:rPr lang="en-US" sz="1400" b="1" kern="0" dirty="0">
                <a:solidFill>
                  <a:srgbClr val="1F497D"/>
                </a:solidFill>
                <a:latin typeface="Aptos" panose="020B0004020202020204" pitchFamily="34" charset="0"/>
                <a:ea typeface="Calibri" panose="020F0502020204030204" pitchFamily="34" charset="0"/>
                <a:cs typeface="Calibri" panose="020F0502020204030204" pitchFamily="34" charset="0"/>
              </a:rPr>
              <a:t>Precise, Superior Results</a:t>
            </a:r>
            <a:r>
              <a:rPr lang="en-US" sz="1400" kern="0" dirty="0">
                <a:solidFill>
                  <a:srgbClr val="1F497D"/>
                </a:solidFill>
                <a:latin typeface="Aptos" panose="020B0004020202020204" pitchFamily="34" charset="0"/>
                <a:ea typeface="Calibri" panose="020F0502020204030204" pitchFamily="34" charset="0"/>
                <a:cs typeface="Calibri" panose="020F0502020204030204" pitchFamily="34" charset="0"/>
              </a:rPr>
              <a:t>:</a:t>
            </a:r>
          </a:p>
          <a:p>
            <a:pPr defTabSz="554492">
              <a:lnSpc>
                <a:spcPct val="110000"/>
              </a:lnSpc>
            </a:pPr>
            <a:r>
              <a:rPr lang="en-US" sz="1400" kern="0" dirty="0">
                <a:latin typeface="Aptos" panose="020B0004020202020204" pitchFamily="34" charset="0"/>
                <a:ea typeface="Calibri" panose="020F0502020204030204" pitchFamily="34" charset="0"/>
                <a:cs typeface="Calibri" panose="020F0502020204030204" pitchFamily="34" charset="0"/>
              </a:rPr>
              <a:t>AYON’s integrated Lipo Intelligent Frequency Tracking (LIFT) Technology™ offers real-time energy adjustments, ensuring optimal fat emulsification and accurate sculpting.</a:t>
            </a:r>
          </a:p>
          <a:p>
            <a:pPr defTabSz="554492">
              <a:lnSpc>
                <a:spcPct val="110000"/>
              </a:lnSpc>
            </a:pPr>
            <a:endParaRPr lang="en-US" sz="1400" kern="0" dirty="0">
              <a:solidFill>
                <a:srgbClr val="4F81BD"/>
              </a:solidFill>
              <a:latin typeface="Aptos" panose="020B0004020202020204" pitchFamily="34" charset="0"/>
              <a:ea typeface="Calibri" panose="020F0502020204030204" pitchFamily="34" charset="0"/>
              <a:cs typeface="Calibri" panose="020F0502020204030204" pitchFamily="34" charset="0"/>
            </a:endParaRPr>
          </a:p>
          <a:p>
            <a:pPr defTabSz="554492">
              <a:lnSpc>
                <a:spcPct val="110000"/>
              </a:lnSpc>
            </a:pPr>
            <a:r>
              <a:rPr lang="en-US" sz="1400" b="1" kern="0" dirty="0">
                <a:solidFill>
                  <a:srgbClr val="1F497D"/>
                </a:solidFill>
                <a:latin typeface="Aptos" panose="020B0004020202020204" pitchFamily="34" charset="0"/>
                <a:ea typeface="Calibri" panose="020F0502020204030204" pitchFamily="34" charset="0"/>
                <a:cs typeface="Calibri" panose="020F0502020204030204" pitchFamily="34" charset="0"/>
              </a:rPr>
              <a:t>Comprehensive Treatment</a:t>
            </a:r>
            <a:r>
              <a:rPr lang="en-US" sz="1400" kern="0" dirty="0">
                <a:solidFill>
                  <a:srgbClr val="1F497D"/>
                </a:solidFill>
                <a:latin typeface="Aptos" panose="020B0004020202020204" pitchFamily="34" charset="0"/>
                <a:ea typeface="Calibri" panose="020F0502020204030204" pitchFamily="34" charset="0"/>
                <a:cs typeface="Calibri" panose="020F0502020204030204" pitchFamily="34" charset="0"/>
              </a:rPr>
              <a:t>: </a:t>
            </a:r>
          </a:p>
          <a:p>
            <a:pPr defTabSz="554492">
              <a:lnSpc>
                <a:spcPct val="110000"/>
              </a:lnSpc>
            </a:pPr>
            <a:r>
              <a:rPr lang="en-US" sz="1400" kern="0" dirty="0">
                <a:latin typeface="Aptos" panose="020B0004020202020204" pitchFamily="34" charset="0"/>
                <a:ea typeface="Calibri" panose="020F0502020204030204" pitchFamily="34" charset="0"/>
                <a:cs typeface="Calibri" panose="020F0502020204030204" pitchFamily="34" charset="0"/>
              </a:rPr>
              <a:t>AYON combines fat removal, transfer, and skin tightening in one system, addressing areas from delicate regions like the neck to larger zones such as the abdomen.</a:t>
            </a:r>
          </a:p>
          <a:p>
            <a:pPr defTabSz="554492">
              <a:lnSpc>
                <a:spcPct val="110000"/>
              </a:lnSpc>
            </a:pPr>
            <a:endParaRPr lang="en-US" sz="1400" kern="0" dirty="0">
              <a:latin typeface="Aptos" panose="020B0004020202020204" pitchFamily="34" charset="0"/>
              <a:ea typeface="Calibri" panose="020F0502020204030204" pitchFamily="34" charset="0"/>
              <a:cs typeface="Calibri" panose="020F0502020204030204" pitchFamily="34" charset="0"/>
            </a:endParaRPr>
          </a:p>
          <a:p>
            <a:pPr defTabSz="554492">
              <a:lnSpc>
                <a:spcPct val="110000"/>
              </a:lnSpc>
            </a:pPr>
            <a:r>
              <a:rPr lang="en-US" sz="1400" b="1" kern="0" dirty="0">
                <a:solidFill>
                  <a:srgbClr val="1F497D"/>
                </a:solidFill>
                <a:latin typeface="Aptos" panose="020B0004020202020204" pitchFamily="34" charset="0"/>
                <a:ea typeface="Calibri" panose="020F0502020204030204" pitchFamily="34" charset="0"/>
                <a:cs typeface="Calibri" panose="020F0502020204030204" pitchFamily="34" charset="0"/>
              </a:rPr>
              <a:t>Enhanced Skin Contraction</a:t>
            </a:r>
            <a:r>
              <a:rPr lang="en-US" sz="1400" kern="0" dirty="0">
                <a:solidFill>
                  <a:srgbClr val="1F497D"/>
                </a:solidFill>
                <a:latin typeface="Aptos" panose="020B0004020202020204" pitchFamily="34" charset="0"/>
                <a:ea typeface="Calibri" panose="020F0502020204030204" pitchFamily="34" charset="0"/>
                <a:cs typeface="Calibri" panose="020F0502020204030204" pitchFamily="34" charset="0"/>
              </a:rPr>
              <a:t>: </a:t>
            </a:r>
            <a:r>
              <a:rPr lang="en-US" sz="1400" kern="0" dirty="0">
                <a:latin typeface="Aptos" panose="020B0004020202020204" pitchFamily="34" charset="0"/>
                <a:ea typeface="Calibri" panose="020F0502020204030204" pitchFamily="34" charset="0"/>
                <a:cs typeface="Calibri" panose="020F0502020204030204" pitchFamily="34" charset="0"/>
              </a:rPr>
              <a:t>Renuvion technology delivers firmer, smoother contours by significantly tightening skin post-procedure, particularly in areas with laxity.</a:t>
            </a:r>
          </a:p>
        </p:txBody>
      </p:sp>
      <p:sp>
        <p:nvSpPr>
          <p:cNvPr id="33" name="TextBox 32">
            <a:extLst>
              <a:ext uri="{FF2B5EF4-FFF2-40B4-BE49-F238E27FC236}">
                <a16:creationId xmlns:a16="http://schemas.microsoft.com/office/drawing/2014/main" id="{8FBB6CF9-4D4A-4919-F65B-F0CCA59577F8}"/>
              </a:ext>
            </a:extLst>
          </p:cNvPr>
          <p:cNvSpPr txBox="1"/>
          <p:nvPr/>
        </p:nvSpPr>
        <p:spPr>
          <a:xfrm>
            <a:off x="7569433" y="1046621"/>
            <a:ext cx="4379911" cy="4213205"/>
          </a:xfrm>
          <a:prstGeom prst="rect">
            <a:avLst/>
          </a:prstGeom>
          <a:noFill/>
        </p:spPr>
        <p:txBody>
          <a:bodyPr wrap="square">
            <a:spAutoFit/>
          </a:bodyPr>
          <a:lstStyle/>
          <a:p>
            <a:pPr defTabSz="554492">
              <a:lnSpc>
                <a:spcPct val="110000"/>
              </a:lnSpc>
            </a:pPr>
            <a:r>
              <a:rPr lang="en-US" sz="1400" b="1" kern="0" dirty="0">
                <a:solidFill>
                  <a:srgbClr val="1F497D"/>
                </a:solidFill>
                <a:latin typeface="Aptos" panose="020B0004020202020204" pitchFamily="34" charset="0"/>
                <a:ea typeface="Calibri" panose="020F0502020204030204" pitchFamily="34" charset="0"/>
                <a:cs typeface="Calibri" panose="020F0502020204030204" pitchFamily="34" charset="0"/>
              </a:rPr>
              <a:t>All-in-One Platform:</a:t>
            </a:r>
            <a:r>
              <a:rPr lang="en-US" sz="1400" b="1" kern="0" dirty="0">
                <a:solidFill>
                  <a:srgbClr val="4F81BD"/>
                </a:solidFill>
                <a:latin typeface="Aptos" panose="020B0004020202020204" pitchFamily="34" charset="0"/>
                <a:ea typeface="Calibri" panose="020F0502020204030204" pitchFamily="34" charset="0"/>
                <a:cs typeface="Calibri" panose="020F0502020204030204" pitchFamily="34" charset="0"/>
              </a:rPr>
              <a:t> </a:t>
            </a:r>
          </a:p>
          <a:p>
            <a:pPr defTabSz="554492">
              <a:lnSpc>
                <a:spcPct val="110000"/>
              </a:lnSpc>
            </a:pPr>
            <a:r>
              <a:rPr lang="en-US" sz="1400" kern="0" dirty="0">
                <a:latin typeface="Aptos" panose="020B0004020202020204" pitchFamily="34" charset="0"/>
                <a:ea typeface="Calibri" panose="020F0502020204030204" pitchFamily="34" charset="0"/>
                <a:cs typeface="Calibri" panose="020F0502020204030204" pitchFamily="34" charset="0"/>
              </a:rPr>
              <a:t>AYON seamlessly integrates Ultrasound-Assisted Liposuction (UAL), Power Liposuction, Renuvion, infiltration, aspiration, electrocoagulation, and fat transfer into a single, streamlined device.</a:t>
            </a:r>
          </a:p>
          <a:p>
            <a:pPr defTabSz="554492">
              <a:lnSpc>
                <a:spcPct val="110000"/>
              </a:lnSpc>
            </a:pPr>
            <a:endParaRPr lang="en-US" sz="1000" kern="0" dirty="0">
              <a:solidFill>
                <a:srgbClr val="4F81BD"/>
              </a:solidFill>
              <a:latin typeface="Aptos" panose="020B0004020202020204" pitchFamily="34" charset="0"/>
              <a:ea typeface="Calibri" panose="020F0502020204030204" pitchFamily="34" charset="0"/>
              <a:cs typeface="Calibri" panose="020F0502020204030204" pitchFamily="34" charset="0"/>
            </a:endParaRPr>
          </a:p>
          <a:p>
            <a:pPr defTabSz="554492">
              <a:lnSpc>
                <a:spcPct val="110000"/>
              </a:lnSpc>
            </a:pPr>
            <a:r>
              <a:rPr lang="en-US" sz="1400" b="1" kern="0" dirty="0">
                <a:solidFill>
                  <a:srgbClr val="1F497D"/>
                </a:solidFill>
                <a:latin typeface="Aptos" panose="020B0004020202020204" pitchFamily="34" charset="0"/>
                <a:ea typeface="Calibri" panose="020F0502020204030204" pitchFamily="34" charset="0"/>
                <a:cs typeface="Calibri" panose="020F0502020204030204" pitchFamily="34" charset="0"/>
              </a:rPr>
              <a:t>Advanced LIFT Technology™: </a:t>
            </a:r>
            <a:r>
              <a:rPr lang="en-US" sz="1400" kern="0" dirty="0">
                <a:latin typeface="Aptos" panose="020B0004020202020204" pitchFamily="34" charset="0"/>
                <a:ea typeface="Calibri" panose="020F0502020204030204" pitchFamily="34" charset="0"/>
                <a:cs typeface="Calibri" panose="020F0502020204030204" pitchFamily="34" charset="0"/>
              </a:rPr>
              <a:t>Automatically adjusts to maintain optimal resonance frequency, ensuring consistent fat emulsification and safe, effective body sculpting.</a:t>
            </a:r>
          </a:p>
          <a:p>
            <a:pPr defTabSz="554492">
              <a:lnSpc>
                <a:spcPct val="110000"/>
              </a:lnSpc>
            </a:pPr>
            <a:endParaRPr lang="en-US" sz="1000" kern="0" dirty="0">
              <a:solidFill>
                <a:srgbClr val="4F81BD"/>
              </a:solidFill>
              <a:latin typeface="Aptos" panose="020B0004020202020204" pitchFamily="34" charset="0"/>
              <a:ea typeface="Calibri" panose="020F0502020204030204" pitchFamily="34" charset="0"/>
              <a:cs typeface="Calibri" panose="020F0502020204030204" pitchFamily="34" charset="0"/>
            </a:endParaRPr>
          </a:p>
          <a:p>
            <a:pPr defTabSz="554492">
              <a:lnSpc>
                <a:spcPct val="110000"/>
              </a:lnSpc>
            </a:pPr>
            <a:r>
              <a:rPr lang="en-US" sz="1400" b="1" kern="0" dirty="0">
                <a:solidFill>
                  <a:srgbClr val="1F497D"/>
                </a:solidFill>
                <a:latin typeface="Aptos" panose="020B0004020202020204" pitchFamily="34" charset="0"/>
                <a:ea typeface="Calibri" panose="020F0502020204030204" pitchFamily="34" charset="0"/>
                <a:cs typeface="Calibri" panose="020F0502020204030204" pitchFamily="34" charset="0"/>
              </a:rPr>
              <a:t>Improved Workflow Efficiency: </a:t>
            </a:r>
          </a:p>
          <a:p>
            <a:pPr defTabSz="554492">
              <a:lnSpc>
                <a:spcPct val="110000"/>
              </a:lnSpc>
            </a:pPr>
            <a:r>
              <a:rPr lang="en-US" sz="1400" kern="0" dirty="0">
                <a:latin typeface="Aptos" panose="020B0004020202020204" pitchFamily="34" charset="0"/>
                <a:ea typeface="Calibri" panose="020F0502020204030204" pitchFamily="34" charset="0"/>
                <a:cs typeface="Calibri" panose="020F0502020204030204" pitchFamily="34" charset="0"/>
              </a:rPr>
              <a:t>A single console for multiple procedures enhances ease of use, streamlines operations, and provides complete control for a wide variety of treatments. Dual Suction and Aspiration enhance operating room efficiency and improve procedural outcomes by streamlining fat removal and reducing treatment time.</a:t>
            </a:r>
          </a:p>
        </p:txBody>
      </p:sp>
      <p:sp>
        <p:nvSpPr>
          <p:cNvPr id="4" name="Title 3">
            <a:extLst>
              <a:ext uri="{FF2B5EF4-FFF2-40B4-BE49-F238E27FC236}">
                <a16:creationId xmlns:a16="http://schemas.microsoft.com/office/drawing/2014/main" id="{DD1617C3-C333-C9A8-66C0-7E5C168B42B9}"/>
              </a:ext>
            </a:extLst>
          </p:cNvPr>
          <p:cNvSpPr>
            <a:spLocks noGrp="1"/>
          </p:cNvSpPr>
          <p:nvPr>
            <p:ph type="title"/>
          </p:nvPr>
        </p:nvSpPr>
        <p:spPr>
          <a:xfrm>
            <a:off x="266330" y="331691"/>
            <a:ext cx="11683014" cy="552745"/>
          </a:xfrm>
        </p:spPr>
        <p:txBody>
          <a:bodyPr>
            <a:noAutofit/>
          </a:bodyPr>
          <a:lstStyle/>
          <a:p>
            <a:r>
              <a:rPr lang="en-US" sz="3200" dirty="0">
                <a:cs typeface="+mj-cs"/>
              </a:rPr>
              <a:t>AYON: Revolutionizing Body Contouring </a:t>
            </a:r>
            <a:br>
              <a:rPr lang="en-US" sz="3200" dirty="0">
                <a:cs typeface="+mj-cs"/>
              </a:rPr>
            </a:br>
            <a:endParaRPr lang="en-US" dirty="0"/>
          </a:p>
        </p:txBody>
      </p:sp>
      <p:sp>
        <p:nvSpPr>
          <p:cNvPr id="3" name="Slide Number Placeholder 2">
            <a:extLst>
              <a:ext uri="{FF2B5EF4-FFF2-40B4-BE49-F238E27FC236}">
                <a16:creationId xmlns:a16="http://schemas.microsoft.com/office/drawing/2014/main" id="{FE9BCAD8-9ACE-871C-29A9-BCA094D42BE2}"/>
              </a:ext>
            </a:extLst>
          </p:cNvPr>
          <p:cNvSpPr>
            <a:spLocks noGrp="1"/>
          </p:cNvSpPr>
          <p:nvPr>
            <p:ph type="sldNum" sz="quarter" idx="12"/>
          </p:nvPr>
        </p:nvSpPr>
        <p:spPr/>
        <p:txBody>
          <a:bodyPr/>
          <a:lstStyle/>
          <a:p>
            <a:fld id="{2255CA7B-1B59-4C07-BE3D-E8AE49649A7D}" type="slidenum">
              <a:rPr lang="en-US" smtClean="0"/>
              <a:t>10</a:t>
            </a:fld>
            <a:endParaRPr lang="en-US" dirty="0"/>
          </a:p>
        </p:txBody>
      </p:sp>
      <p:sp>
        <p:nvSpPr>
          <p:cNvPr id="6" name="Rectangle 5">
            <a:extLst>
              <a:ext uri="{FF2B5EF4-FFF2-40B4-BE49-F238E27FC236}">
                <a16:creationId xmlns:a16="http://schemas.microsoft.com/office/drawing/2014/main" id="{0F380502-6E99-C241-7BC0-6B6787C77928}"/>
              </a:ext>
            </a:extLst>
          </p:cNvPr>
          <p:cNvSpPr/>
          <p:nvPr/>
        </p:nvSpPr>
        <p:spPr>
          <a:xfrm>
            <a:off x="0" y="5645367"/>
            <a:ext cx="12192000" cy="674999"/>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9" name="Table 8">
            <a:extLst>
              <a:ext uri="{FF2B5EF4-FFF2-40B4-BE49-F238E27FC236}">
                <a16:creationId xmlns:a16="http://schemas.microsoft.com/office/drawing/2014/main" id="{A653126C-E221-0648-C36E-66E6A91EEBF5}"/>
              </a:ext>
            </a:extLst>
          </p:cNvPr>
          <p:cNvGraphicFramePr>
            <a:graphicFrameLocks noGrp="1"/>
          </p:cNvGraphicFramePr>
          <p:nvPr>
            <p:extLst>
              <p:ext uri="{D42A27DB-BD31-4B8C-83A1-F6EECF244321}">
                <p14:modId xmlns:p14="http://schemas.microsoft.com/office/powerpoint/2010/main" val="583027928"/>
              </p:ext>
            </p:extLst>
          </p:nvPr>
        </p:nvGraphicFramePr>
        <p:xfrm>
          <a:off x="0" y="5727165"/>
          <a:ext cx="12191998" cy="1090247"/>
        </p:xfrm>
        <a:graphic>
          <a:graphicData uri="http://schemas.openxmlformats.org/drawingml/2006/table">
            <a:tbl>
              <a:tblPr firstRow="1" bandRow="1">
                <a:tableStyleId>{5C22544A-7EE6-4342-B048-85BDC9FD1C3A}</a:tableStyleId>
              </a:tblPr>
              <a:tblGrid>
                <a:gridCol w="1741714">
                  <a:extLst>
                    <a:ext uri="{9D8B030D-6E8A-4147-A177-3AD203B41FA5}">
                      <a16:colId xmlns:a16="http://schemas.microsoft.com/office/drawing/2014/main" val="2086342031"/>
                    </a:ext>
                  </a:extLst>
                </a:gridCol>
                <a:gridCol w="1741714">
                  <a:extLst>
                    <a:ext uri="{9D8B030D-6E8A-4147-A177-3AD203B41FA5}">
                      <a16:colId xmlns:a16="http://schemas.microsoft.com/office/drawing/2014/main" val="2775275543"/>
                    </a:ext>
                  </a:extLst>
                </a:gridCol>
                <a:gridCol w="1741714">
                  <a:extLst>
                    <a:ext uri="{9D8B030D-6E8A-4147-A177-3AD203B41FA5}">
                      <a16:colId xmlns:a16="http://schemas.microsoft.com/office/drawing/2014/main" val="1483804065"/>
                    </a:ext>
                  </a:extLst>
                </a:gridCol>
                <a:gridCol w="1741714">
                  <a:extLst>
                    <a:ext uri="{9D8B030D-6E8A-4147-A177-3AD203B41FA5}">
                      <a16:colId xmlns:a16="http://schemas.microsoft.com/office/drawing/2014/main" val="2649193364"/>
                    </a:ext>
                  </a:extLst>
                </a:gridCol>
                <a:gridCol w="1741714">
                  <a:extLst>
                    <a:ext uri="{9D8B030D-6E8A-4147-A177-3AD203B41FA5}">
                      <a16:colId xmlns:a16="http://schemas.microsoft.com/office/drawing/2014/main" val="2430999629"/>
                    </a:ext>
                  </a:extLst>
                </a:gridCol>
                <a:gridCol w="1741714">
                  <a:extLst>
                    <a:ext uri="{9D8B030D-6E8A-4147-A177-3AD203B41FA5}">
                      <a16:colId xmlns:a16="http://schemas.microsoft.com/office/drawing/2014/main" val="3098349028"/>
                    </a:ext>
                  </a:extLst>
                </a:gridCol>
                <a:gridCol w="1741714">
                  <a:extLst>
                    <a:ext uri="{9D8B030D-6E8A-4147-A177-3AD203B41FA5}">
                      <a16:colId xmlns:a16="http://schemas.microsoft.com/office/drawing/2014/main" val="3825730617"/>
                    </a:ext>
                  </a:extLst>
                </a:gridCol>
              </a:tblGrid>
              <a:tr h="109024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0" dirty="0">
                          <a:solidFill>
                            <a:prstClr val="white"/>
                          </a:solidFill>
                          <a:latin typeface="Aptos" panose="020B0004020202020204" pitchFamily="34" charset="0"/>
                        </a:rPr>
                        <a:t>Electrosurgical Capabilities</a:t>
                      </a: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0" dirty="0">
                          <a:solidFill>
                            <a:prstClr val="white"/>
                          </a:solidFill>
                          <a:latin typeface="Aptos" panose="020B0004020202020204" pitchFamily="34" charset="0"/>
                        </a:rPr>
                        <a:t>Infiltration/ Aspiration </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0" dirty="0">
                          <a:solidFill>
                            <a:prstClr val="white"/>
                          </a:solidFill>
                          <a:latin typeface="Aptos" panose="020B0004020202020204" pitchFamily="34" charset="0"/>
                        </a:rPr>
                        <a:t>Suction Assisted Liposuction</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0" dirty="0">
                          <a:solidFill>
                            <a:prstClr val="white"/>
                          </a:solidFill>
                          <a:latin typeface="Aptos" panose="020B0004020202020204" pitchFamily="34" charset="0"/>
                        </a:rPr>
                        <a:t>Ultrasound Assisted Liposuction</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0" dirty="0">
                          <a:solidFill>
                            <a:prstClr val="white"/>
                          </a:solidFill>
                          <a:latin typeface="Aptos" panose="020B0004020202020204" pitchFamily="34" charset="0"/>
                        </a:rPr>
                        <a:t>Power  Liposuctio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0" dirty="0">
                          <a:solidFill>
                            <a:prstClr val="white"/>
                          </a:solidFill>
                          <a:latin typeface="Aptos" panose="020B0004020202020204" pitchFamily="34" charset="0"/>
                        </a:rPr>
                        <a:t>Submitted 510(k) September 2025</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0" dirty="0">
                          <a:solidFill>
                            <a:prstClr val="white"/>
                          </a:solidFill>
                          <a:latin typeface="Aptos" panose="020B0004020202020204" pitchFamily="34" charset="0"/>
                        </a:rPr>
                        <a:t>Renuvion Skin Contraction </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0" dirty="0">
                          <a:solidFill>
                            <a:prstClr val="white"/>
                          </a:solidFill>
                          <a:latin typeface="Aptos" panose="020B0004020202020204" pitchFamily="34" charset="0"/>
                        </a:rPr>
                        <a:t>Closed Loop Contouring for Fat Transfer </a:t>
                      </a: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4201826544"/>
                  </a:ext>
                </a:extLst>
              </a:tr>
            </a:tbl>
          </a:graphicData>
        </a:graphic>
      </p:graphicFrame>
      <p:pic>
        <p:nvPicPr>
          <p:cNvPr id="7" name="Picture 6" descr="A medical equipment with a screen and buttons&#10;&#10;AI-generated content may be incorrect.">
            <a:extLst>
              <a:ext uri="{FF2B5EF4-FFF2-40B4-BE49-F238E27FC236}">
                <a16:creationId xmlns:a16="http://schemas.microsoft.com/office/drawing/2014/main" id="{2B8E0AB8-98A6-45E2-FBEE-32FFF4E3EBD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58235" y="842305"/>
            <a:ext cx="2814917" cy="4628520"/>
          </a:xfrm>
          <a:prstGeom prst="rect">
            <a:avLst/>
          </a:prstGeom>
        </p:spPr>
      </p:pic>
    </p:spTree>
    <p:extLst>
      <p:ext uri="{BB962C8B-B14F-4D97-AF65-F5344CB8AC3E}">
        <p14:creationId xmlns:p14="http://schemas.microsoft.com/office/powerpoint/2010/main" val="5170803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91A5FE-93CE-D8C7-6970-DEE50A8989F4}"/>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BEAD65A1-D654-D242-8599-803A6A392387}"/>
              </a:ext>
            </a:extLst>
          </p:cNvPr>
          <p:cNvSpPr>
            <a:spLocks noGrp="1"/>
          </p:cNvSpPr>
          <p:nvPr>
            <p:ph type="title"/>
          </p:nvPr>
        </p:nvSpPr>
        <p:spPr/>
        <p:txBody>
          <a:bodyPr>
            <a:noAutofit/>
          </a:bodyPr>
          <a:lstStyle/>
          <a:p>
            <a:pPr>
              <a:lnSpc>
                <a:spcPct val="100000"/>
              </a:lnSpc>
            </a:pPr>
            <a:r>
              <a:rPr lang="en-US" dirty="0"/>
              <a:t>Driving Patient Demand + Optimizing Provider Results</a:t>
            </a:r>
            <a:endParaRPr lang="en-US" dirty="0">
              <a:solidFill>
                <a:srgbClr val="E57200"/>
              </a:solidFill>
            </a:endParaRPr>
          </a:p>
        </p:txBody>
      </p:sp>
      <p:grpSp>
        <p:nvGrpSpPr>
          <p:cNvPr id="4" name="Group 3">
            <a:extLst>
              <a:ext uri="{FF2B5EF4-FFF2-40B4-BE49-F238E27FC236}">
                <a16:creationId xmlns:a16="http://schemas.microsoft.com/office/drawing/2014/main" id="{C1BA81EF-EFA9-1F6F-7B34-F3CE394E0EF7}"/>
              </a:ext>
            </a:extLst>
          </p:cNvPr>
          <p:cNvGrpSpPr/>
          <p:nvPr/>
        </p:nvGrpSpPr>
        <p:grpSpPr>
          <a:xfrm>
            <a:off x="496719" y="1899494"/>
            <a:ext cx="11137788" cy="4166171"/>
            <a:chOff x="496719" y="1539379"/>
            <a:chExt cx="11137788" cy="4166171"/>
          </a:xfrm>
        </p:grpSpPr>
        <p:sp>
          <p:nvSpPr>
            <p:cNvPr id="27" name="TextBox 26">
              <a:extLst>
                <a:ext uri="{FF2B5EF4-FFF2-40B4-BE49-F238E27FC236}">
                  <a16:creationId xmlns:a16="http://schemas.microsoft.com/office/drawing/2014/main" id="{1AD05530-DF6D-E352-B5E2-B6818B1BB34A}"/>
                </a:ext>
              </a:extLst>
            </p:cNvPr>
            <p:cNvSpPr txBox="1"/>
            <p:nvPr/>
          </p:nvSpPr>
          <p:spPr>
            <a:xfrm>
              <a:off x="514523" y="4180188"/>
              <a:ext cx="2511823" cy="1504707"/>
            </a:xfrm>
            <a:prstGeom prst="rect">
              <a:avLst/>
            </a:prstGeom>
            <a:noFill/>
          </p:spPr>
          <p:txBody>
            <a:bodyPr wrap="square">
              <a:spAutoFit/>
            </a:bodyPr>
            <a:lstStyle/>
            <a:p>
              <a:pPr marL="0" lvl="1" defTabSz="554492">
                <a:lnSpc>
                  <a:spcPct val="110000"/>
                </a:lnSpc>
                <a:defRPr/>
              </a:pPr>
              <a:r>
                <a:rPr lang="en-US" sz="1400" kern="0" dirty="0">
                  <a:latin typeface="Aptos" panose="020B0004020202020204" pitchFamily="34" charset="0"/>
                  <a:ea typeface="Calibri"/>
                  <a:cs typeface="Calibri"/>
                </a:rPr>
                <a:t>Leveraging partnerships with </a:t>
              </a:r>
              <a:r>
                <a:rPr lang="en-US" sz="1400" b="1" kern="0" dirty="0">
                  <a:latin typeface="Aptos" panose="020B0004020202020204" pitchFamily="34" charset="0"/>
                  <a:ea typeface="Calibri"/>
                  <a:cs typeface="Calibri"/>
                </a:rPr>
                <a:t>key influencers to drive patient inquiries </a:t>
              </a:r>
              <a:r>
                <a:rPr lang="en-US" sz="1400" kern="0" dirty="0">
                  <a:latin typeface="Aptos" panose="020B0004020202020204" pitchFamily="34" charset="0"/>
                  <a:ea typeface="Calibri"/>
                  <a:cs typeface="Calibri"/>
                </a:rPr>
                <a:t>and highlight Renuvion’s results with an emotional connection.</a:t>
              </a:r>
            </a:p>
          </p:txBody>
        </p:sp>
        <p:sp>
          <p:nvSpPr>
            <p:cNvPr id="30" name="TextBox 29">
              <a:extLst>
                <a:ext uri="{FF2B5EF4-FFF2-40B4-BE49-F238E27FC236}">
                  <a16:creationId xmlns:a16="http://schemas.microsoft.com/office/drawing/2014/main" id="{125817CE-E382-DB9D-479B-ED20BA9A3A5B}"/>
                </a:ext>
              </a:extLst>
            </p:cNvPr>
            <p:cNvSpPr txBox="1"/>
            <p:nvPr/>
          </p:nvSpPr>
          <p:spPr>
            <a:xfrm>
              <a:off x="6221154" y="4196660"/>
              <a:ext cx="2569511" cy="1504707"/>
            </a:xfrm>
            <a:prstGeom prst="rect">
              <a:avLst/>
            </a:prstGeom>
            <a:noFill/>
          </p:spPr>
          <p:txBody>
            <a:bodyPr wrap="square">
              <a:spAutoFit/>
            </a:bodyPr>
            <a:lstStyle/>
            <a:p>
              <a:pPr marL="0" lvl="1" defTabSz="554492">
                <a:lnSpc>
                  <a:spcPct val="110000"/>
                </a:lnSpc>
                <a:defRPr/>
              </a:pPr>
              <a:r>
                <a:rPr lang="en-US" sz="1400" kern="0" dirty="0">
                  <a:latin typeface="Aptos" panose="020B0004020202020204" pitchFamily="34" charset="0"/>
                </a:rPr>
                <a:t>Launching targeted campaigns to educate patients and providers, positioning Renuvion as the #1 trusted body contouring technology focusing on </a:t>
              </a:r>
              <a:r>
                <a:rPr lang="en-US" sz="1400" b="1" kern="0" dirty="0">
                  <a:latin typeface="Aptos" panose="020B0004020202020204" pitchFamily="34" charset="0"/>
                </a:rPr>
                <a:t>loose skin.</a:t>
              </a:r>
              <a:endParaRPr lang="en-US" sz="1400" kern="0" dirty="0">
                <a:latin typeface="Aptos" panose="020B0004020202020204" pitchFamily="34" charset="0"/>
                <a:ea typeface="Calibri"/>
                <a:cs typeface="Calibri"/>
              </a:endParaRPr>
            </a:p>
          </p:txBody>
        </p:sp>
        <p:sp>
          <p:nvSpPr>
            <p:cNvPr id="33" name="TextBox 32">
              <a:extLst>
                <a:ext uri="{FF2B5EF4-FFF2-40B4-BE49-F238E27FC236}">
                  <a16:creationId xmlns:a16="http://schemas.microsoft.com/office/drawing/2014/main" id="{CA06DD12-AC24-8902-274C-61EDAF32B369}"/>
                </a:ext>
              </a:extLst>
            </p:cNvPr>
            <p:cNvSpPr txBox="1"/>
            <p:nvPr/>
          </p:nvSpPr>
          <p:spPr>
            <a:xfrm>
              <a:off x="9040971" y="4200843"/>
              <a:ext cx="2592849" cy="1504707"/>
            </a:xfrm>
            <a:prstGeom prst="rect">
              <a:avLst/>
            </a:prstGeom>
            <a:noFill/>
          </p:spPr>
          <p:txBody>
            <a:bodyPr wrap="square">
              <a:spAutoFit/>
            </a:bodyPr>
            <a:lstStyle/>
            <a:p>
              <a:pPr marL="0" lvl="1" defTabSz="554492">
                <a:lnSpc>
                  <a:spcPct val="110000"/>
                </a:lnSpc>
                <a:defRPr/>
              </a:pPr>
              <a:r>
                <a:rPr lang="en-US" sz="1400" kern="0" dirty="0">
                  <a:latin typeface="Aptos" panose="020B0004020202020204" pitchFamily="34" charset="0"/>
                  <a:ea typeface="Calibri"/>
                  <a:cs typeface="Calibri"/>
                </a:rPr>
                <a:t>Providing comprehensive marketing resources and digital tools to </a:t>
              </a:r>
              <a:r>
                <a:rPr lang="en-US" sz="1400" b="1" kern="0" dirty="0">
                  <a:latin typeface="Aptos" panose="020B0004020202020204" pitchFamily="34" charset="0"/>
                  <a:ea typeface="Calibri"/>
                  <a:cs typeface="Calibri"/>
                </a:rPr>
                <a:t>help providers attract</a:t>
              </a:r>
              <a:r>
                <a:rPr lang="en-US" sz="1400" kern="0" dirty="0">
                  <a:latin typeface="Aptos" panose="020B0004020202020204" pitchFamily="34" charset="0"/>
                  <a:ea typeface="Calibri"/>
                  <a:cs typeface="Calibri"/>
                </a:rPr>
                <a:t>, educate, and convert patients, ensuring </a:t>
              </a:r>
              <a:r>
                <a:rPr lang="en-US" sz="1400" b="1" kern="0" dirty="0">
                  <a:latin typeface="Aptos" panose="020B0004020202020204" pitchFamily="34" charset="0"/>
                  <a:ea typeface="Calibri"/>
                  <a:cs typeface="Calibri"/>
                </a:rPr>
                <a:t>optimal treatment outcomes.</a:t>
              </a:r>
            </a:p>
          </p:txBody>
        </p:sp>
        <p:sp>
          <p:nvSpPr>
            <p:cNvPr id="41" name="TextBox 40">
              <a:extLst>
                <a:ext uri="{FF2B5EF4-FFF2-40B4-BE49-F238E27FC236}">
                  <a16:creationId xmlns:a16="http://schemas.microsoft.com/office/drawing/2014/main" id="{2F28F99F-26E6-A474-B43E-90DB2EDB2D3B}"/>
                </a:ext>
              </a:extLst>
            </p:cNvPr>
            <p:cNvSpPr txBox="1"/>
            <p:nvPr/>
          </p:nvSpPr>
          <p:spPr>
            <a:xfrm>
              <a:off x="3345223" y="4188424"/>
              <a:ext cx="2625624" cy="1267719"/>
            </a:xfrm>
            <a:prstGeom prst="rect">
              <a:avLst/>
            </a:prstGeom>
            <a:noFill/>
          </p:spPr>
          <p:txBody>
            <a:bodyPr wrap="square">
              <a:spAutoFit/>
            </a:bodyPr>
            <a:lstStyle/>
            <a:p>
              <a:pPr marL="0" lvl="1" defTabSz="554492">
                <a:lnSpc>
                  <a:spcPct val="110000"/>
                </a:lnSpc>
                <a:defRPr/>
              </a:pPr>
              <a:r>
                <a:rPr lang="en-US" sz="1400" kern="0" dirty="0">
                  <a:latin typeface="Aptos" panose="020B0004020202020204" pitchFamily="34" charset="0"/>
                  <a:ea typeface="Calibri"/>
                  <a:cs typeface="Calibri"/>
                </a:rPr>
                <a:t>Participating in premier lifestyle expos and exclusive retreats to </a:t>
              </a:r>
              <a:r>
                <a:rPr lang="en-US" sz="1400" b="1" kern="0" dirty="0">
                  <a:latin typeface="Aptos" panose="020B0004020202020204" pitchFamily="34" charset="0"/>
                  <a:ea typeface="Calibri"/>
                  <a:cs typeface="Calibri"/>
                </a:rPr>
                <a:t>engage consumers and providers</a:t>
              </a:r>
              <a:r>
                <a:rPr lang="en-US" sz="1400" kern="0" dirty="0">
                  <a:latin typeface="Aptos" panose="020B0004020202020204" pitchFamily="34" charset="0"/>
                  <a:ea typeface="Calibri"/>
                  <a:cs typeface="Calibri"/>
                </a:rPr>
                <a:t>, boosting brand visibility and patient demand.</a:t>
              </a:r>
            </a:p>
          </p:txBody>
        </p:sp>
        <p:pic>
          <p:nvPicPr>
            <p:cNvPr id="43" name="Picture 42">
              <a:extLst>
                <a:ext uri="{FF2B5EF4-FFF2-40B4-BE49-F238E27FC236}">
                  <a16:creationId xmlns:a16="http://schemas.microsoft.com/office/drawing/2014/main" id="{60DAEBC5-D741-494C-3F37-D94A2220CD54}"/>
                </a:ext>
              </a:extLst>
            </p:cNvPr>
            <p:cNvPicPr>
              <a:picLocks noChangeAspect="1"/>
            </p:cNvPicPr>
            <p:nvPr/>
          </p:nvPicPr>
          <p:blipFill>
            <a:blip r:embed="rId2"/>
            <a:srcRect l="928" t="10031" r="-928" b="18936"/>
            <a:stretch/>
          </p:blipFill>
          <p:spPr>
            <a:xfrm>
              <a:off x="496719" y="1548753"/>
              <a:ext cx="2569755" cy="1831400"/>
            </a:xfrm>
            <a:prstGeom prst="rect">
              <a:avLst/>
            </a:prstGeom>
          </p:spPr>
        </p:pic>
        <p:pic>
          <p:nvPicPr>
            <p:cNvPr id="1026" name="Google Shape;385;p98">
              <a:extLst>
                <a:ext uri="{FF2B5EF4-FFF2-40B4-BE49-F238E27FC236}">
                  <a16:creationId xmlns:a16="http://schemas.microsoft.com/office/drawing/2014/main" id="{4DDA88AE-9E0C-BD42-8AEE-54F6882B7862}"/>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4474" t="5521" r="26107" b="19455"/>
            <a:stretch/>
          </p:blipFill>
          <p:spPr bwMode="auto">
            <a:xfrm>
              <a:off x="3347624" y="1539379"/>
              <a:ext cx="2567110" cy="16857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8" name="Picture 4" descr="17 Women Share Pics of Loose Skin After Weight Loss to Prove How Common and  Normal It Is | SELF">
              <a:extLst>
                <a:ext uri="{FF2B5EF4-FFF2-40B4-BE49-F238E27FC236}">
                  <a16:creationId xmlns:a16="http://schemas.microsoft.com/office/drawing/2014/main" id="{FFB5525A-7151-C40E-A240-C8BB1653E009}"/>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4577" t="20801" r="21786" b="27367"/>
            <a:stretch/>
          </p:blipFill>
          <p:spPr bwMode="auto">
            <a:xfrm>
              <a:off x="6204765" y="1539379"/>
              <a:ext cx="2555828" cy="1860556"/>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44">
              <a:extLst>
                <a:ext uri="{FF2B5EF4-FFF2-40B4-BE49-F238E27FC236}">
                  <a16:creationId xmlns:a16="http://schemas.microsoft.com/office/drawing/2014/main" id="{0391B6CB-5AC0-CA87-78C9-845EE0C2D68A}"/>
                </a:ext>
              </a:extLst>
            </p:cNvPr>
            <p:cNvPicPr>
              <a:picLocks noChangeAspect="1"/>
            </p:cNvPicPr>
            <p:nvPr/>
          </p:nvPicPr>
          <p:blipFill>
            <a:blip r:embed="rId5"/>
            <a:srcRect l="-212" t="28082" r="212" b="-24610"/>
            <a:stretch/>
          </p:blipFill>
          <p:spPr>
            <a:xfrm>
              <a:off x="9064996" y="1548753"/>
              <a:ext cx="2569511" cy="2347386"/>
            </a:xfrm>
            <a:prstGeom prst="rect">
              <a:avLst/>
            </a:prstGeom>
          </p:spPr>
        </p:pic>
      </p:grpSp>
      <p:sp>
        <p:nvSpPr>
          <p:cNvPr id="3" name="TextBox 2">
            <a:extLst>
              <a:ext uri="{FF2B5EF4-FFF2-40B4-BE49-F238E27FC236}">
                <a16:creationId xmlns:a16="http://schemas.microsoft.com/office/drawing/2014/main" id="{8705BEE1-7EF7-FB44-64A2-E190DACCFF1C}"/>
              </a:ext>
            </a:extLst>
          </p:cNvPr>
          <p:cNvSpPr txBox="1"/>
          <p:nvPr/>
        </p:nvSpPr>
        <p:spPr>
          <a:xfrm>
            <a:off x="1525775" y="1347032"/>
            <a:ext cx="9140450" cy="400110"/>
          </a:xfrm>
          <a:prstGeom prst="rect">
            <a:avLst/>
          </a:prstGeom>
          <a:noFill/>
        </p:spPr>
        <p:txBody>
          <a:bodyPr wrap="square">
            <a:spAutoFit/>
          </a:bodyPr>
          <a:lstStyle/>
          <a:p>
            <a:pPr algn="ctr"/>
            <a:r>
              <a:rPr lang="en-US" sz="2000" b="1" dirty="0">
                <a:solidFill>
                  <a:schemeClr val="accent6"/>
                </a:solidFill>
                <a:latin typeface="Aptos" panose="020B0004020202020204" pitchFamily="34" charset="0"/>
              </a:rPr>
              <a:t>Renuvion DTC &amp; Physician Marketing Strategy</a:t>
            </a:r>
          </a:p>
        </p:txBody>
      </p:sp>
      <p:grpSp>
        <p:nvGrpSpPr>
          <p:cNvPr id="13" name="Group 12">
            <a:extLst>
              <a:ext uri="{FF2B5EF4-FFF2-40B4-BE49-F238E27FC236}">
                <a16:creationId xmlns:a16="http://schemas.microsoft.com/office/drawing/2014/main" id="{17E36B41-57C8-8908-2FD0-94668CE6C10D}"/>
              </a:ext>
            </a:extLst>
          </p:cNvPr>
          <p:cNvGrpSpPr/>
          <p:nvPr/>
        </p:nvGrpSpPr>
        <p:grpSpPr>
          <a:xfrm>
            <a:off x="485680" y="3585229"/>
            <a:ext cx="11148141" cy="835592"/>
            <a:chOff x="676289" y="3141162"/>
            <a:chExt cx="10865924" cy="991118"/>
          </a:xfrm>
        </p:grpSpPr>
        <p:sp>
          <p:nvSpPr>
            <p:cNvPr id="6" name="Rectangle 5">
              <a:extLst>
                <a:ext uri="{FF2B5EF4-FFF2-40B4-BE49-F238E27FC236}">
                  <a16:creationId xmlns:a16="http://schemas.microsoft.com/office/drawing/2014/main" id="{7574B4B9-CF99-0FB9-9718-C56E0C3E6251}"/>
                </a:ext>
              </a:extLst>
            </p:cNvPr>
            <p:cNvSpPr/>
            <p:nvPr/>
          </p:nvSpPr>
          <p:spPr>
            <a:xfrm>
              <a:off x="676289" y="3141162"/>
              <a:ext cx="2504463" cy="991118"/>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554492"/>
              <a:r>
                <a:rPr lang="en-US" sz="1600" b="1" kern="0" dirty="0">
                  <a:solidFill>
                    <a:prstClr val="white"/>
                  </a:solidFill>
                  <a:latin typeface="Aptos" panose="020B0004020202020204" pitchFamily="34" charset="0"/>
                </a:rPr>
                <a:t>INFLUENCER </a:t>
              </a:r>
            </a:p>
            <a:p>
              <a:pPr algn="ctr" defTabSz="554492"/>
              <a:r>
                <a:rPr lang="en-US" sz="1600" b="1" kern="0" dirty="0">
                  <a:solidFill>
                    <a:prstClr val="white"/>
                  </a:solidFill>
                  <a:latin typeface="Aptos" panose="020B0004020202020204" pitchFamily="34" charset="0"/>
                </a:rPr>
                <a:t>MARKETING IMPACT</a:t>
              </a:r>
            </a:p>
          </p:txBody>
        </p:sp>
        <p:sp>
          <p:nvSpPr>
            <p:cNvPr id="10" name="Rectangle 9">
              <a:extLst>
                <a:ext uri="{FF2B5EF4-FFF2-40B4-BE49-F238E27FC236}">
                  <a16:creationId xmlns:a16="http://schemas.microsoft.com/office/drawing/2014/main" id="{F749D672-DA90-E530-233F-33E7A3231E82}"/>
                </a:ext>
              </a:extLst>
            </p:cNvPr>
            <p:cNvSpPr/>
            <p:nvPr/>
          </p:nvSpPr>
          <p:spPr>
            <a:xfrm>
              <a:off x="3463442" y="3141162"/>
              <a:ext cx="2504463" cy="991118"/>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554492"/>
              <a:r>
                <a:rPr lang="en-US" sz="1600" b="1" kern="0" dirty="0">
                  <a:solidFill>
                    <a:prstClr val="white"/>
                  </a:solidFill>
                  <a:latin typeface="Aptos" panose="020B0004020202020204" pitchFamily="34" charset="0"/>
                </a:rPr>
                <a:t>AMPLIFY AWARNESS THROUGH KEY EVENTS</a:t>
              </a:r>
            </a:p>
          </p:txBody>
        </p:sp>
        <p:sp>
          <p:nvSpPr>
            <p:cNvPr id="11" name="Rectangle 10">
              <a:extLst>
                <a:ext uri="{FF2B5EF4-FFF2-40B4-BE49-F238E27FC236}">
                  <a16:creationId xmlns:a16="http://schemas.microsoft.com/office/drawing/2014/main" id="{7E89A4C8-6534-AE70-383B-C8802056F39B}"/>
                </a:ext>
              </a:extLst>
            </p:cNvPr>
            <p:cNvSpPr/>
            <p:nvPr/>
          </p:nvSpPr>
          <p:spPr>
            <a:xfrm>
              <a:off x="6250597" y="3141162"/>
              <a:ext cx="2504463" cy="991118"/>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554492"/>
              <a:r>
                <a:rPr lang="en-US" sz="1600" b="1" kern="0" dirty="0">
                  <a:solidFill>
                    <a:prstClr val="white"/>
                  </a:solidFill>
                  <a:latin typeface="Aptos" panose="020B0004020202020204" pitchFamily="34" charset="0"/>
                </a:rPr>
                <a:t>ADRESSING THE LOOSE SKIN EPIDEMIC </a:t>
              </a:r>
            </a:p>
          </p:txBody>
        </p:sp>
        <p:sp>
          <p:nvSpPr>
            <p:cNvPr id="12" name="Rectangle 11">
              <a:extLst>
                <a:ext uri="{FF2B5EF4-FFF2-40B4-BE49-F238E27FC236}">
                  <a16:creationId xmlns:a16="http://schemas.microsoft.com/office/drawing/2014/main" id="{1F97A533-6D01-E0E8-9AC0-F338BDE23A2D}"/>
                </a:ext>
              </a:extLst>
            </p:cNvPr>
            <p:cNvSpPr/>
            <p:nvPr/>
          </p:nvSpPr>
          <p:spPr>
            <a:xfrm>
              <a:off x="9037750" y="3141162"/>
              <a:ext cx="2504463" cy="991118"/>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554492"/>
              <a:r>
                <a:rPr lang="en-US" sz="1600" b="1" kern="0" dirty="0">
                  <a:solidFill>
                    <a:prstClr val="white"/>
                  </a:solidFill>
                  <a:latin typeface="Aptos" panose="020B0004020202020204" pitchFamily="34" charset="0"/>
                </a:rPr>
                <a:t>PRACTICE GROWTH + ENHANCING RESULTS</a:t>
              </a:r>
            </a:p>
          </p:txBody>
        </p:sp>
      </p:grpSp>
      <p:sp>
        <p:nvSpPr>
          <p:cNvPr id="14" name="Slide Number Placeholder 13">
            <a:extLst>
              <a:ext uri="{FF2B5EF4-FFF2-40B4-BE49-F238E27FC236}">
                <a16:creationId xmlns:a16="http://schemas.microsoft.com/office/drawing/2014/main" id="{85DF450E-744C-CA93-5C7B-A61B9E3E580C}"/>
              </a:ext>
            </a:extLst>
          </p:cNvPr>
          <p:cNvSpPr>
            <a:spLocks noGrp="1"/>
          </p:cNvSpPr>
          <p:nvPr>
            <p:ph type="sldNum" sz="quarter" idx="12"/>
          </p:nvPr>
        </p:nvSpPr>
        <p:spPr/>
        <p:txBody>
          <a:bodyPr/>
          <a:lstStyle/>
          <a:p>
            <a:fld id="{2255CA7B-1B59-4C07-BE3D-E8AE49649A7D}" type="slidenum">
              <a:rPr lang="en-US" smtClean="0"/>
              <a:t>11</a:t>
            </a:fld>
            <a:endParaRPr lang="en-US" dirty="0"/>
          </a:p>
        </p:txBody>
      </p:sp>
    </p:spTree>
    <p:extLst>
      <p:ext uri="{BB962C8B-B14F-4D97-AF65-F5344CB8AC3E}">
        <p14:creationId xmlns:p14="http://schemas.microsoft.com/office/powerpoint/2010/main" val="1596577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701A58-EA7D-B09B-9AE4-ED446198FCDD}"/>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7B2907CB-BA13-0612-A1F6-E9B6181BB90E}"/>
              </a:ext>
            </a:extLst>
          </p:cNvPr>
          <p:cNvSpPr>
            <a:spLocks noGrp="1"/>
          </p:cNvSpPr>
          <p:nvPr>
            <p:ph type="title"/>
          </p:nvPr>
        </p:nvSpPr>
        <p:spPr/>
        <p:txBody>
          <a:bodyPr/>
          <a:lstStyle/>
          <a:p>
            <a:r>
              <a:rPr lang="en-US" dirty="0"/>
              <a:t>Global Presence </a:t>
            </a:r>
          </a:p>
        </p:txBody>
      </p:sp>
      <p:sp>
        <p:nvSpPr>
          <p:cNvPr id="11" name="object 4">
            <a:extLst>
              <a:ext uri="{FF2B5EF4-FFF2-40B4-BE49-F238E27FC236}">
                <a16:creationId xmlns:a16="http://schemas.microsoft.com/office/drawing/2014/main" id="{6567CA20-DC30-1E6F-22C5-CC0C737A5AA5}"/>
              </a:ext>
            </a:extLst>
          </p:cNvPr>
          <p:cNvSpPr txBox="1"/>
          <p:nvPr/>
        </p:nvSpPr>
        <p:spPr>
          <a:xfrm>
            <a:off x="557842" y="1694014"/>
            <a:ext cx="3206221" cy="3873431"/>
          </a:xfrm>
          <a:prstGeom prst="rect">
            <a:avLst/>
          </a:prstGeom>
        </p:spPr>
        <p:txBody>
          <a:bodyPr vert="horz" wrap="square" lIns="0" tIns="41972" rIns="0" bIns="0" rtlCol="0">
            <a:spAutoFit/>
          </a:bodyPr>
          <a:lstStyle/>
          <a:p>
            <a:pPr marL="7701" marR="179055" defTabSz="554492">
              <a:spcAft>
                <a:spcPts val="1455"/>
              </a:spcAft>
            </a:pPr>
            <a:r>
              <a:rPr lang="en-US" sz="1577" kern="0" dirty="0">
                <a:solidFill>
                  <a:prstClr val="white"/>
                </a:solidFill>
                <a:latin typeface="Calibri"/>
                <a:cs typeface="Lucida Sans Unicode"/>
              </a:rPr>
              <a:t>Driving growth by expanding customer base and increasing utilization from existing accounts</a:t>
            </a:r>
          </a:p>
          <a:p>
            <a:pPr marL="7701" marR="179055" defTabSz="554492">
              <a:spcAft>
                <a:spcPts val="1455"/>
              </a:spcAft>
            </a:pPr>
            <a:r>
              <a:rPr lang="en-US" sz="1577" kern="0" dirty="0">
                <a:solidFill>
                  <a:prstClr val="white"/>
                </a:solidFill>
                <a:latin typeface="Calibri"/>
                <a:cs typeface="Lucida Sans Unicode"/>
              </a:rPr>
              <a:t>We are also registered to sell our products through distributors in </a:t>
            </a:r>
            <a:r>
              <a:rPr lang="en-US" sz="1577" b="1" i="1" kern="0" dirty="0">
                <a:solidFill>
                  <a:prstClr val="white"/>
                </a:solidFill>
                <a:latin typeface="Calibri"/>
                <a:cs typeface="Lucida Sans Unicode"/>
              </a:rPr>
              <a:t>over 60 countries.</a:t>
            </a:r>
          </a:p>
          <a:p>
            <a:pPr marL="7701" marR="179055" defTabSz="554492">
              <a:spcAft>
                <a:spcPts val="1455"/>
              </a:spcAft>
            </a:pPr>
            <a:r>
              <a:rPr lang="en-US" sz="1577" kern="0" dirty="0">
                <a:solidFill>
                  <a:prstClr val="white"/>
                </a:solidFill>
                <a:latin typeface="Calibri"/>
                <a:cs typeface="Lucida Sans Unicode"/>
              </a:rPr>
              <a:t>Our manufacturing operations are supported by facilities located in Clearwater, FL, Sofia, Bulgaria and through our contract manufacturing partner in Ningbo, China.</a:t>
            </a:r>
          </a:p>
          <a:p>
            <a:pPr marL="7701" marR="179055" defTabSz="554492">
              <a:spcAft>
                <a:spcPts val="1455"/>
              </a:spcAft>
            </a:pPr>
            <a:endParaRPr lang="en-US" sz="1577" kern="0" dirty="0">
              <a:solidFill>
                <a:prstClr val="white"/>
              </a:solidFill>
              <a:latin typeface="Calibri"/>
              <a:cs typeface="Lucida Sans Unicode"/>
            </a:endParaRPr>
          </a:p>
          <a:p>
            <a:pPr marL="7701" marR="179055" defTabSz="554492">
              <a:spcAft>
                <a:spcPts val="1455"/>
              </a:spcAft>
            </a:pPr>
            <a:r>
              <a:rPr lang="en-US" sz="970" kern="0" baseline="30000" dirty="0">
                <a:solidFill>
                  <a:prstClr val="white"/>
                </a:solidFill>
                <a:latin typeface="Calibri"/>
                <a:cs typeface="Lucida Sans Unicode"/>
              </a:rPr>
              <a:t>1</a:t>
            </a:r>
            <a:r>
              <a:rPr lang="en-US" sz="970" kern="0" dirty="0">
                <a:solidFill>
                  <a:prstClr val="white"/>
                </a:solidFill>
                <a:latin typeface="Calibri"/>
                <a:cs typeface="Lucida Sans Unicode"/>
              </a:rPr>
              <a:t> as of December 31, 2023</a:t>
            </a:r>
          </a:p>
        </p:txBody>
      </p:sp>
      <p:grpSp>
        <p:nvGrpSpPr>
          <p:cNvPr id="313" name="Group 312">
            <a:extLst>
              <a:ext uri="{FF2B5EF4-FFF2-40B4-BE49-F238E27FC236}">
                <a16:creationId xmlns:a16="http://schemas.microsoft.com/office/drawing/2014/main" id="{F9DB1C4C-BE2E-BD28-EAFC-597D2C90C0C9}"/>
              </a:ext>
            </a:extLst>
          </p:cNvPr>
          <p:cNvGrpSpPr/>
          <p:nvPr/>
        </p:nvGrpSpPr>
        <p:grpSpPr>
          <a:xfrm>
            <a:off x="3533769" y="1398893"/>
            <a:ext cx="8228198" cy="4463672"/>
            <a:chOff x="3061457" y="1233996"/>
            <a:chExt cx="8878925" cy="4672996"/>
          </a:xfrm>
        </p:grpSpPr>
        <p:sp>
          <p:nvSpPr>
            <p:cNvPr id="7" name="object 36">
              <a:extLst>
                <a:ext uri="{FF2B5EF4-FFF2-40B4-BE49-F238E27FC236}">
                  <a16:creationId xmlns:a16="http://schemas.microsoft.com/office/drawing/2014/main" id="{D24F6DCB-2EBF-C95B-D7DA-271858B5E73C}"/>
                </a:ext>
              </a:extLst>
            </p:cNvPr>
            <p:cNvSpPr txBox="1"/>
            <p:nvPr/>
          </p:nvSpPr>
          <p:spPr>
            <a:xfrm>
              <a:off x="5442386" y="3238986"/>
              <a:ext cx="1727026" cy="357647"/>
            </a:xfrm>
            <a:prstGeom prst="rect">
              <a:avLst/>
            </a:prstGeom>
          </p:spPr>
          <p:txBody>
            <a:bodyPr vert="horz" wrap="square" lIns="0" tIns="23489" rIns="0" bIns="0" rtlCol="0">
              <a:spAutoFit/>
            </a:bodyPr>
            <a:lstStyle/>
            <a:p>
              <a:pPr marL="7701" marR="3081" defTabSz="554492">
                <a:spcBef>
                  <a:spcPts val="200"/>
                </a:spcBef>
                <a:defRPr/>
              </a:pPr>
              <a:r>
                <a:rPr lang="en-US" sz="1050" kern="0" dirty="0">
                  <a:solidFill>
                    <a:srgbClr val="14396C"/>
                  </a:solidFill>
                  <a:latin typeface="Aptos" panose="020B0004020202020204" pitchFamily="34" charset="0"/>
                  <a:cs typeface="Arial"/>
                </a:rPr>
                <a:t>Clearwater, Florida </a:t>
              </a:r>
            </a:p>
            <a:p>
              <a:pPr marL="7701" marR="3081" defTabSz="554492">
                <a:spcBef>
                  <a:spcPts val="200"/>
                </a:spcBef>
                <a:defRPr/>
              </a:pPr>
              <a:r>
                <a:rPr lang="en-US" sz="849" b="1" i="1" kern="0" dirty="0">
                  <a:solidFill>
                    <a:srgbClr val="14396C"/>
                  </a:solidFill>
                  <a:latin typeface="Aptos" panose="020B0004020202020204" pitchFamily="34" charset="0"/>
                  <a:cs typeface="Arial"/>
                </a:rPr>
                <a:t>Manufacturing facility </a:t>
              </a:r>
            </a:p>
          </p:txBody>
        </p:sp>
        <p:grpSp>
          <p:nvGrpSpPr>
            <p:cNvPr id="12" name="Group 11">
              <a:extLst>
                <a:ext uri="{FF2B5EF4-FFF2-40B4-BE49-F238E27FC236}">
                  <a16:creationId xmlns:a16="http://schemas.microsoft.com/office/drawing/2014/main" id="{63D9399B-7316-CA0C-3901-FE7D916D7E9E}"/>
                </a:ext>
              </a:extLst>
            </p:cNvPr>
            <p:cNvGrpSpPr/>
            <p:nvPr/>
          </p:nvGrpSpPr>
          <p:grpSpPr>
            <a:xfrm>
              <a:off x="3061457" y="1233996"/>
              <a:ext cx="8878925" cy="4672996"/>
              <a:chOff x="2052946" y="1751817"/>
              <a:chExt cx="6186488" cy="3255963"/>
            </a:xfrm>
            <a:solidFill>
              <a:schemeClr val="tx1">
                <a:alpha val="10000"/>
              </a:schemeClr>
            </a:solidFill>
          </p:grpSpPr>
          <p:grpSp>
            <p:nvGrpSpPr>
              <p:cNvPr id="14" name="Group 205">
                <a:extLst>
                  <a:ext uri="{FF2B5EF4-FFF2-40B4-BE49-F238E27FC236}">
                    <a16:creationId xmlns:a16="http://schemas.microsoft.com/office/drawing/2014/main" id="{36ED9AF8-5D1F-2AAE-9C0F-EC346C8B4630}"/>
                  </a:ext>
                </a:extLst>
              </p:cNvPr>
              <p:cNvGrpSpPr>
                <a:grpSpLocks/>
              </p:cNvGrpSpPr>
              <p:nvPr/>
            </p:nvGrpSpPr>
            <p:grpSpPr bwMode="auto">
              <a:xfrm>
                <a:off x="2052946" y="1751817"/>
                <a:ext cx="6186488" cy="3255963"/>
                <a:chOff x="792" y="1298"/>
                <a:chExt cx="3897" cy="2051"/>
              </a:xfrm>
              <a:grpFill/>
            </p:grpSpPr>
            <p:sp>
              <p:nvSpPr>
                <p:cNvPr id="80" name="Freeform 75">
                  <a:extLst>
                    <a:ext uri="{FF2B5EF4-FFF2-40B4-BE49-F238E27FC236}">
                      <a16:creationId xmlns:a16="http://schemas.microsoft.com/office/drawing/2014/main" id="{A63D8BE2-FE55-33E8-667C-FFEFDC2BB1ED}"/>
                    </a:ext>
                  </a:extLst>
                </p:cNvPr>
                <p:cNvSpPr>
                  <a:spLocks noEditPoints="1"/>
                </p:cNvSpPr>
                <p:nvPr/>
              </p:nvSpPr>
              <p:spPr bwMode="auto">
                <a:xfrm>
                  <a:off x="2604" y="2026"/>
                  <a:ext cx="147" cy="123"/>
                </a:xfrm>
                <a:custGeom>
                  <a:avLst/>
                  <a:gdLst>
                    <a:gd name="T0" fmla="*/ 116 w 147"/>
                    <a:gd name="T1" fmla="*/ 59 h 123"/>
                    <a:gd name="T2" fmla="*/ 107 w 147"/>
                    <a:gd name="T3" fmla="*/ 64 h 123"/>
                    <a:gd name="T4" fmla="*/ 109 w 147"/>
                    <a:gd name="T5" fmla="*/ 57 h 123"/>
                    <a:gd name="T6" fmla="*/ 119 w 147"/>
                    <a:gd name="T7" fmla="*/ 47 h 123"/>
                    <a:gd name="T8" fmla="*/ 123 w 147"/>
                    <a:gd name="T9" fmla="*/ 45 h 123"/>
                    <a:gd name="T10" fmla="*/ 126 w 147"/>
                    <a:gd name="T11" fmla="*/ 36 h 123"/>
                    <a:gd name="T12" fmla="*/ 128 w 147"/>
                    <a:gd name="T13" fmla="*/ 26 h 123"/>
                    <a:gd name="T14" fmla="*/ 119 w 147"/>
                    <a:gd name="T15" fmla="*/ 24 h 123"/>
                    <a:gd name="T16" fmla="*/ 109 w 147"/>
                    <a:gd name="T17" fmla="*/ 21 h 123"/>
                    <a:gd name="T18" fmla="*/ 102 w 147"/>
                    <a:gd name="T19" fmla="*/ 17 h 123"/>
                    <a:gd name="T20" fmla="*/ 93 w 147"/>
                    <a:gd name="T21" fmla="*/ 14 h 123"/>
                    <a:gd name="T22" fmla="*/ 86 w 147"/>
                    <a:gd name="T23" fmla="*/ 10 h 123"/>
                    <a:gd name="T24" fmla="*/ 78 w 147"/>
                    <a:gd name="T25" fmla="*/ 0 h 123"/>
                    <a:gd name="T26" fmla="*/ 67 w 147"/>
                    <a:gd name="T27" fmla="*/ 2 h 123"/>
                    <a:gd name="T28" fmla="*/ 64 w 147"/>
                    <a:gd name="T29" fmla="*/ 14 h 123"/>
                    <a:gd name="T30" fmla="*/ 50 w 147"/>
                    <a:gd name="T31" fmla="*/ 19 h 123"/>
                    <a:gd name="T32" fmla="*/ 43 w 147"/>
                    <a:gd name="T33" fmla="*/ 21 h 123"/>
                    <a:gd name="T34" fmla="*/ 38 w 147"/>
                    <a:gd name="T35" fmla="*/ 19 h 123"/>
                    <a:gd name="T36" fmla="*/ 31 w 147"/>
                    <a:gd name="T37" fmla="*/ 19 h 123"/>
                    <a:gd name="T38" fmla="*/ 33 w 147"/>
                    <a:gd name="T39" fmla="*/ 29 h 123"/>
                    <a:gd name="T40" fmla="*/ 29 w 147"/>
                    <a:gd name="T41" fmla="*/ 31 h 123"/>
                    <a:gd name="T42" fmla="*/ 17 w 147"/>
                    <a:gd name="T43" fmla="*/ 29 h 123"/>
                    <a:gd name="T44" fmla="*/ 10 w 147"/>
                    <a:gd name="T45" fmla="*/ 31 h 123"/>
                    <a:gd name="T46" fmla="*/ 3 w 147"/>
                    <a:gd name="T47" fmla="*/ 36 h 123"/>
                    <a:gd name="T48" fmla="*/ 3 w 147"/>
                    <a:gd name="T49" fmla="*/ 36 h 123"/>
                    <a:gd name="T50" fmla="*/ 5 w 147"/>
                    <a:gd name="T51" fmla="*/ 38 h 123"/>
                    <a:gd name="T52" fmla="*/ 5 w 147"/>
                    <a:gd name="T53" fmla="*/ 43 h 123"/>
                    <a:gd name="T54" fmla="*/ 15 w 147"/>
                    <a:gd name="T55" fmla="*/ 45 h 123"/>
                    <a:gd name="T56" fmla="*/ 22 w 147"/>
                    <a:gd name="T57" fmla="*/ 45 h 123"/>
                    <a:gd name="T58" fmla="*/ 24 w 147"/>
                    <a:gd name="T59" fmla="*/ 50 h 123"/>
                    <a:gd name="T60" fmla="*/ 31 w 147"/>
                    <a:gd name="T61" fmla="*/ 50 h 123"/>
                    <a:gd name="T62" fmla="*/ 29 w 147"/>
                    <a:gd name="T63" fmla="*/ 55 h 123"/>
                    <a:gd name="T64" fmla="*/ 38 w 147"/>
                    <a:gd name="T65" fmla="*/ 62 h 123"/>
                    <a:gd name="T66" fmla="*/ 38 w 147"/>
                    <a:gd name="T67" fmla="*/ 69 h 123"/>
                    <a:gd name="T68" fmla="*/ 41 w 147"/>
                    <a:gd name="T69" fmla="*/ 74 h 123"/>
                    <a:gd name="T70" fmla="*/ 38 w 147"/>
                    <a:gd name="T71" fmla="*/ 83 h 123"/>
                    <a:gd name="T72" fmla="*/ 33 w 147"/>
                    <a:gd name="T73" fmla="*/ 100 h 123"/>
                    <a:gd name="T74" fmla="*/ 38 w 147"/>
                    <a:gd name="T75" fmla="*/ 102 h 123"/>
                    <a:gd name="T76" fmla="*/ 55 w 147"/>
                    <a:gd name="T77" fmla="*/ 107 h 123"/>
                    <a:gd name="T78" fmla="*/ 67 w 147"/>
                    <a:gd name="T79" fmla="*/ 107 h 123"/>
                    <a:gd name="T80" fmla="*/ 81 w 147"/>
                    <a:gd name="T81" fmla="*/ 109 h 123"/>
                    <a:gd name="T82" fmla="*/ 88 w 147"/>
                    <a:gd name="T83" fmla="*/ 95 h 123"/>
                    <a:gd name="T84" fmla="*/ 97 w 147"/>
                    <a:gd name="T85" fmla="*/ 100 h 123"/>
                    <a:gd name="T86" fmla="*/ 114 w 147"/>
                    <a:gd name="T87" fmla="*/ 102 h 123"/>
                    <a:gd name="T88" fmla="*/ 126 w 147"/>
                    <a:gd name="T89" fmla="*/ 93 h 123"/>
                    <a:gd name="T90" fmla="*/ 119 w 147"/>
                    <a:gd name="T91" fmla="*/ 81 h 123"/>
                    <a:gd name="T92" fmla="*/ 119 w 147"/>
                    <a:gd name="T93" fmla="*/ 71 h 123"/>
                    <a:gd name="T94" fmla="*/ 145 w 147"/>
                    <a:gd name="T95" fmla="*/ 123 h 123"/>
                    <a:gd name="T96" fmla="*/ 140 w 147"/>
                    <a:gd name="T97" fmla="*/ 119 h 123"/>
                    <a:gd name="T98" fmla="*/ 138 w 147"/>
                    <a:gd name="T99" fmla="*/ 116 h 123"/>
                    <a:gd name="T100" fmla="*/ 138 w 147"/>
                    <a:gd name="T101" fmla="*/ 111 h 123"/>
                    <a:gd name="T102" fmla="*/ 145 w 147"/>
                    <a:gd name="T103" fmla="*/ 107 h 123"/>
                    <a:gd name="T104" fmla="*/ 147 w 147"/>
                    <a:gd name="T105" fmla="*/ 102 h 123"/>
                    <a:gd name="T106" fmla="*/ 147 w 147"/>
                    <a:gd name="T107" fmla="*/ 11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7" h="123">
                      <a:moveTo>
                        <a:pt x="121" y="66"/>
                      </a:moveTo>
                      <a:lnTo>
                        <a:pt x="119" y="64"/>
                      </a:lnTo>
                      <a:lnTo>
                        <a:pt x="119" y="64"/>
                      </a:lnTo>
                      <a:lnTo>
                        <a:pt x="119" y="62"/>
                      </a:lnTo>
                      <a:lnTo>
                        <a:pt x="116" y="59"/>
                      </a:lnTo>
                      <a:lnTo>
                        <a:pt x="114" y="59"/>
                      </a:lnTo>
                      <a:lnTo>
                        <a:pt x="112" y="62"/>
                      </a:lnTo>
                      <a:lnTo>
                        <a:pt x="112" y="64"/>
                      </a:lnTo>
                      <a:lnTo>
                        <a:pt x="109" y="64"/>
                      </a:lnTo>
                      <a:lnTo>
                        <a:pt x="107" y="64"/>
                      </a:lnTo>
                      <a:lnTo>
                        <a:pt x="107" y="62"/>
                      </a:lnTo>
                      <a:lnTo>
                        <a:pt x="109" y="62"/>
                      </a:lnTo>
                      <a:lnTo>
                        <a:pt x="109" y="62"/>
                      </a:lnTo>
                      <a:lnTo>
                        <a:pt x="109" y="59"/>
                      </a:lnTo>
                      <a:lnTo>
                        <a:pt x="109" y="57"/>
                      </a:lnTo>
                      <a:lnTo>
                        <a:pt x="114" y="52"/>
                      </a:lnTo>
                      <a:lnTo>
                        <a:pt x="114" y="52"/>
                      </a:lnTo>
                      <a:lnTo>
                        <a:pt x="116" y="50"/>
                      </a:lnTo>
                      <a:lnTo>
                        <a:pt x="119" y="50"/>
                      </a:lnTo>
                      <a:lnTo>
                        <a:pt x="119" y="47"/>
                      </a:lnTo>
                      <a:lnTo>
                        <a:pt x="116" y="45"/>
                      </a:lnTo>
                      <a:lnTo>
                        <a:pt x="119" y="45"/>
                      </a:lnTo>
                      <a:lnTo>
                        <a:pt x="121" y="45"/>
                      </a:lnTo>
                      <a:lnTo>
                        <a:pt x="121" y="45"/>
                      </a:lnTo>
                      <a:lnTo>
                        <a:pt x="123" y="45"/>
                      </a:lnTo>
                      <a:lnTo>
                        <a:pt x="126" y="45"/>
                      </a:lnTo>
                      <a:lnTo>
                        <a:pt x="126" y="43"/>
                      </a:lnTo>
                      <a:lnTo>
                        <a:pt x="123" y="40"/>
                      </a:lnTo>
                      <a:lnTo>
                        <a:pt x="123" y="38"/>
                      </a:lnTo>
                      <a:lnTo>
                        <a:pt x="126" y="36"/>
                      </a:lnTo>
                      <a:lnTo>
                        <a:pt x="126" y="33"/>
                      </a:lnTo>
                      <a:lnTo>
                        <a:pt x="126" y="31"/>
                      </a:lnTo>
                      <a:lnTo>
                        <a:pt x="128" y="29"/>
                      </a:lnTo>
                      <a:lnTo>
                        <a:pt x="130" y="26"/>
                      </a:lnTo>
                      <a:lnTo>
                        <a:pt x="128" y="26"/>
                      </a:lnTo>
                      <a:lnTo>
                        <a:pt x="126" y="26"/>
                      </a:lnTo>
                      <a:lnTo>
                        <a:pt x="123" y="24"/>
                      </a:lnTo>
                      <a:lnTo>
                        <a:pt x="121" y="24"/>
                      </a:lnTo>
                      <a:lnTo>
                        <a:pt x="119" y="24"/>
                      </a:lnTo>
                      <a:lnTo>
                        <a:pt x="119" y="24"/>
                      </a:lnTo>
                      <a:lnTo>
                        <a:pt x="116" y="24"/>
                      </a:lnTo>
                      <a:lnTo>
                        <a:pt x="114" y="24"/>
                      </a:lnTo>
                      <a:lnTo>
                        <a:pt x="114" y="21"/>
                      </a:lnTo>
                      <a:lnTo>
                        <a:pt x="112" y="21"/>
                      </a:lnTo>
                      <a:lnTo>
                        <a:pt x="109" y="21"/>
                      </a:lnTo>
                      <a:lnTo>
                        <a:pt x="107" y="21"/>
                      </a:lnTo>
                      <a:lnTo>
                        <a:pt x="107" y="19"/>
                      </a:lnTo>
                      <a:lnTo>
                        <a:pt x="104" y="19"/>
                      </a:lnTo>
                      <a:lnTo>
                        <a:pt x="102" y="19"/>
                      </a:lnTo>
                      <a:lnTo>
                        <a:pt x="102" y="17"/>
                      </a:lnTo>
                      <a:lnTo>
                        <a:pt x="100" y="17"/>
                      </a:lnTo>
                      <a:lnTo>
                        <a:pt x="95" y="14"/>
                      </a:lnTo>
                      <a:lnTo>
                        <a:pt x="95" y="14"/>
                      </a:lnTo>
                      <a:lnTo>
                        <a:pt x="93" y="14"/>
                      </a:lnTo>
                      <a:lnTo>
                        <a:pt x="93" y="14"/>
                      </a:lnTo>
                      <a:lnTo>
                        <a:pt x="90" y="14"/>
                      </a:lnTo>
                      <a:lnTo>
                        <a:pt x="88" y="12"/>
                      </a:lnTo>
                      <a:lnTo>
                        <a:pt x="88" y="10"/>
                      </a:lnTo>
                      <a:lnTo>
                        <a:pt x="88" y="10"/>
                      </a:lnTo>
                      <a:lnTo>
                        <a:pt x="86" y="10"/>
                      </a:lnTo>
                      <a:lnTo>
                        <a:pt x="83" y="10"/>
                      </a:lnTo>
                      <a:lnTo>
                        <a:pt x="81" y="7"/>
                      </a:lnTo>
                      <a:lnTo>
                        <a:pt x="81" y="5"/>
                      </a:lnTo>
                      <a:lnTo>
                        <a:pt x="78" y="5"/>
                      </a:lnTo>
                      <a:lnTo>
                        <a:pt x="78" y="0"/>
                      </a:lnTo>
                      <a:lnTo>
                        <a:pt x="76" y="0"/>
                      </a:lnTo>
                      <a:lnTo>
                        <a:pt x="76" y="0"/>
                      </a:lnTo>
                      <a:lnTo>
                        <a:pt x="71" y="0"/>
                      </a:lnTo>
                      <a:lnTo>
                        <a:pt x="71" y="0"/>
                      </a:lnTo>
                      <a:lnTo>
                        <a:pt x="67" y="2"/>
                      </a:lnTo>
                      <a:lnTo>
                        <a:pt x="67" y="5"/>
                      </a:lnTo>
                      <a:lnTo>
                        <a:pt x="67" y="7"/>
                      </a:lnTo>
                      <a:lnTo>
                        <a:pt x="67" y="10"/>
                      </a:lnTo>
                      <a:lnTo>
                        <a:pt x="64" y="14"/>
                      </a:lnTo>
                      <a:lnTo>
                        <a:pt x="64" y="14"/>
                      </a:lnTo>
                      <a:lnTo>
                        <a:pt x="59" y="14"/>
                      </a:lnTo>
                      <a:lnTo>
                        <a:pt x="57" y="14"/>
                      </a:lnTo>
                      <a:lnTo>
                        <a:pt x="55" y="14"/>
                      </a:lnTo>
                      <a:lnTo>
                        <a:pt x="52" y="17"/>
                      </a:lnTo>
                      <a:lnTo>
                        <a:pt x="50" y="19"/>
                      </a:lnTo>
                      <a:lnTo>
                        <a:pt x="52" y="19"/>
                      </a:lnTo>
                      <a:lnTo>
                        <a:pt x="52" y="21"/>
                      </a:lnTo>
                      <a:lnTo>
                        <a:pt x="50" y="21"/>
                      </a:lnTo>
                      <a:lnTo>
                        <a:pt x="48" y="24"/>
                      </a:lnTo>
                      <a:lnTo>
                        <a:pt x="43" y="21"/>
                      </a:lnTo>
                      <a:lnTo>
                        <a:pt x="41" y="21"/>
                      </a:lnTo>
                      <a:lnTo>
                        <a:pt x="41" y="21"/>
                      </a:lnTo>
                      <a:lnTo>
                        <a:pt x="38" y="21"/>
                      </a:lnTo>
                      <a:lnTo>
                        <a:pt x="38" y="19"/>
                      </a:lnTo>
                      <a:lnTo>
                        <a:pt x="38" y="19"/>
                      </a:lnTo>
                      <a:lnTo>
                        <a:pt x="36" y="17"/>
                      </a:lnTo>
                      <a:lnTo>
                        <a:pt x="33" y="19"/>
                      </a:lnTo>
                      <a:lnTo>
                        <a:pt x="31" y="19"/>
                      </a:lnTo>
                      <a:lnTo>
                        <a:pt x="31" y="17"/>
                      </a:lnTo>
                      <a:lnTo>
                        <a:pt x="31" y="19"/>
                      </a:lnTo>
                      <a:lnTo>
                        <a:pt x="31" y="21"/>
                      </a:lnTo>
                      <a:lnTo>
                        <a:pt x="33" y="24"/>
                      </a:lnTo>
                      <a:lnTo>
                        <a:pt x="33" y="26"/>
                      </a:lnTo>
                      <a:lnTo>
                        <a:pt x="33" y="26"/>
                      </a:lnTo>
                      <a:lnTo>
                        <a:pt x="33" y="29"/>
                      </a:lnTo>
                      <a:lnTo>
                        <a:pt x="36" y="29"/>
                      </a:lnTo>
                      <a:lnTo>
                        <a:pt x="36" y="31"/>
                      </a:lnTo>
                      <a:lnTo>
                        <a:pt x="31" y="31"/>
                      </a:lnTo>
                      <a:lnTo>
                        <a:pt x="29" y="31"/>
                      </a:lnTo>
                      <a:lnTo>
                        <a:pt x="29" y="31"/>
                      </a:lnTo>
                      <a:lnTo>
                        <a:pt x="26" y="31"/>
                      </a:lnTo>
                      <a:lnTo>
                        <a:pt x="26" y="31"/>
                      </a:lnTo>
                      <a:lnTo>
                        <a:pt x="24" y="33"/>
                      </a:lnTo>
                      <a:lnTo>
                        <a:pt x="19" y="29"/>
                      </a:lnTo>
                      <a:lnTo>
                        <a:pt x="17" y="29"/>
                      </a:lnTo>
                      <a:lnTo>
                        <a:pt x="15" y="29"/>
                      </a:lnTo>
                      <a:lnTo>
                        <a:pt x="12" y="31"/>
                      </a:lnTo>
                      <a:lnTo>
                        <a:pt x="12" y="31"/>
                      </a:lnTo>
                      <a:lnTo>
                        <a:pt x="10" y="31"/>
                      </a:lnTo>
                      <a:lnTo>
                        <a:pt x="10" y="31"/>
                      </a:lnTo>
                      <a:lnTo>
                        <a:pt x="7" y="31"/>
                      </a:lnTo>
                      <a:lnTo>
                        <a:pt x="5" y="31"/>
                      </a:lnTo>
                      <a:lnTo>
                        <a:pt x="3" y="33"/>
                      </a:lnTo>
                      <a:lnTo>
                        <a:pt x="0" y="33"/>
                      </a:lnTo>
                      <a:lnTo>
                        <a:pt x="3" y="36"/>
                      </a:lnTo>
                      <a:lnTo>
                        <a:pt x="3" y="36"/>
                      </a:lnTo>
                      <a:lnTo>
                        <a:pt x="5" y="36"/>
                      </a:lnTo>
                      <a:lnTo>
                        <a:pt x="5" y="36"/>
                      </a:lnTo>
                      <a:lnTo>
                        <a:pt x="5" y="36"/>
                      </a:lnTo>
                      <a:lnTo>
                        <a:pt x="3" y="36"/>
                      </a:lnTo>
                      <a:lnTo>
                        <a:pt x="3" y="38"/>
                      </a:lnTo>
                      <a:lnTo>
                        <a:pt x="5" y="36"/>
                      </a:lnTo>
                      <a:lnTo>
                        <a:pt x="5" y="36"/>
                      </a:lnTo>
                      <a:lnTo>
                        <a:pt x="5" y="38"/>
                      </a:lnTo>
                      <a:lnTo>
                        <a:pt x="5" y="38"/>
                      </a:lnTo>
                      <a:lnTo>
                        <a:pt x="3" y="38"/>
                      </a:lnTo>
                      <a:lnTo>
                        <a:pt x="3" y="40"/>
                      </a:lnTo>
                      <a:lnTo>
                        <a:pt x="5" y="40"/>
                      </a:lnTo>
                      <a:lnTo>
                        <a:pt x="5" y="43"/>
                      </a:lnTo>
                      <a:lnTo>
                        <a:pt x="5" y="43"/>
                      </a:lnTo>
                      <a:lnTo>
                        <a:pt x="7" y="40"/>
                      </a:lnTo>
                      <a:lnTo>
                        <a:pt x="10" y="43"/>
                      </a:lnTo>
                      <a:lnTo>
                        <a:pt x="10" y="43"/>
                      </a:lnTo>
                      <a:lnTo>
                        <a:pt x="15" y="43"/>
                      </a:lnTo>
                      <a:lnTo>
                        <a:pt x="15" y="45"/>
                      </a:lnTo>
                      <a:lnTo>
                        <a:pt x="17" y="45"/>
                      </a:lnTo>
                      <a:lnTo>
                        <a:pt x="19" y="45"/>
                      </a:lnTo>
                      <a:lnTo>
                        <a:pt x="22" y="45"/>
                      </a:lnTo>
                      <a:lnTo>
                        <a:pt x="22" y="45"/>
                      </a:lnTo>
                      <a:lnTo>
                        <a:pt x="22" y="45"/>
                      </a:lnTo>
                      <a:lnTo>
                        <a:pt x="22" y="45"/>
                      </a:lnTo>
                      <a:lnTo>
                        <a:pt x="24" y="45"/>
                      </a:lnTo>
                      <a:lnTo>
                        <a:pt x="24" y="45"/>
                      </a:lnTo>
                      <a:lnTo>
                        <a:pt x="24" y="47"/>
                      </a:lnTo>
                      <a:lnTo>
                        <a:pt x="24" y="50"/>
                      </a:lnTo>
                      <a:lnTo>
                        <a:pt x="26" y="50"/>
                      </a:lnTo>
                      <a:lnTo>
                        <a:pt x="29" y="47"/>
                      </a:lnTo>
                      <a:lnTo>
                        <a:pt x="31" y="50"/>
                      </a:lnTo>
                      <a:lnTo>
                        <a:pt x="33" y="50"/>
                      </a:lnTo>
                      <a:lnTo>
                        <a:pt x="31" y="50"/>
                      </a:lnTo>
                      <a:lnTo>
                        <a:pt x="29" y="50"/>
                      </a:lnTo>
                      <a:lnTo>
                        <a:pt x="26" y="52"/>
                      </a:lnTo>
                      <a:lnTo>
                        <a:pt x="29" y="52"/>
                      </a:lnTo>
                      <a:lnTo>
                        <a:pt x="29" y="55"/>
                      </a:lnTo>
                      <a:lnTo>
                        <a:pt x="29" y="55"/>
                      </a:lnTo>
                      <a:lnTo>
                        <a:pt x="29" y="57"/>
                      </a:lnTo>
                      <a:lnTo>
                        <a:pt x="31" y="57"/>
                      </a:lnTo>
                      <a:lnTo>
                        <a:pt x="33" y="59"/>
                      </a:lnTo>
                      <a:lnTo>
                        <a:pt x="36" y="62"/>
                      </a:lnTo>
                      <a:lnTo>
                        <a:pt x="38" y="62"/>
                      </a:lnTo>
                      <a:lnTo>
                        <a:pt x="38" y="64"/>
                      </a:lnTo>
                      <a:lnTo>
                        <a:pt x="38" y="64"/>
                      </a:lnTo>
                      <a:lnTo>
                        <a:pt x="38" y="66"/>
                      </a:lnTo>
                      <a:lnTo>
                        <a:pt x="38" y="66"/>
                      </a:lnTo>
                      <a:lnTo>
                        <a:pt x="38" y="69"/>
                      </a:lnTo>
                      <a:lnTo>
                        <a:pt x="38" y="69"/>
                      </a:lnTo>
                      <a:lnTo>
                        <a:pt x="43" y="71"/>
                      </a:lnTo>
                      <a:lnTo>
                        <a:pt x="45" y="78"/>
                      </a:lnTo>
                      <a:lnTo>
                        <a:pt x="43" y="76"/>
                      </a:lnTo>
                      <a:lnTo>
                        <a:pt x="41" y="74"/>
                      </a:lnTo>
                      <a:lnTo>
                        <a:pt x="41" y="71"/>
                      </a:lnTo>
                      <a:lnTo>
                        <a:pt x="38" y="74"/>
                      </a:lnTo>
                      <a:lnTo>
                        <a:pt x="38" y="78"/>
                      </a:lnTo>
                      <a:lnTo>
                        <a:pt x="38" y="81"/>
                      </a:lnTo>
                      <a:lnTo>
                        <a:pt x="38" y="83"/>
                      </a:lnTo>
                      <a:lnTo>
                        <a:pt x="38" y="83"/>
                      </a:lnTo>
                      <a:lnTo>
                        <a:pt x="38" y="90"/>
                      </a:lnTo>
                      <a:lnTo>
                        <a:pt x="36" y="97"/>
                      </a:lnTo>
                      <a:lnTo>
                        <a:pt x="33" y="97"/>
                      </a:lnTo>
                      <a:lnTo>
                        <a:pt x="33" y="100"/>
                      </a:lnTo>
                      <a:lnTo>
                        <a:pt x="33" y="100"/>
                      </a:lnTo>
                      <a:lnTo>
                        <a:pt x="36" y="100"/>
                      </a:lnTo>
                      <a:lnTo>
                        <a:pt x="36" y="102"/>
                      </a:lnTo>
                      <a:lnTo>
                        <a:pt x="36" y="104"/>
                      </a:lnTo>
                      <a:lnTo>
                        <a:pt x="38" y="102"/>
                      </a:lnTo>
                      <a:lnTo>
                        <a:pt x="43" y="104"/>
                      </a:lnTo>
                      <a:lnTo>
                        <a:pt x="45" y="107"/>
                      </a:lnTo>
                      <a:lnTo>
                        <a:pt x="48" y="107"/>
                      </a:lnTo>
                      <a:lnTo>
                        <a:pt x="50" y="109"/>
                      </a:lnTo>
                      <a:lnTo>
                        <a:pt x="55" y="107"/>
                      </a:lnTo>
                      <a:lnTo>
                        <a:pt x="55" y="109"/>
                      </a:lnTo>
                      <a:lnTo>
                        <a:pt x="57" y="107"/>
                      </a:lnTo>
                      <a:lnTo>
                        <a:pt x="62" y="107"/>
                      </a:lnTo>
                      <a:lnTo>
                        <a:pt x="64" y="107"/>
                      </a:lnTo>
                      <a:lnTo>
                        <a:pt x="67" y="107"/>
                      </a:lnTo>
                      <a:lnTo>
                        <a:pt x="71" y="109"/>
                      </a:lnTo>
                      <a:lnTo>
                        <a:pt x="76" y="109"/>
                      </a:lnTo>
                      <a:lnTo>
                        <a:pt x="81" y="111"/>
                      </a:lnTo>
                      <a:lnTo>
                        <a:pt x="81" y="111"/>
                      </a:lnTo>
                      <a:lnTo>
                        <a:pt x="81" y="109"/>
                      </a:lnTo>
                      <a:lnTo>
                        <a:pt x="81" y="107"/>
                      </a:lnTo>
                      <a:lnTo>
                        <a:pt x="81" y="104"/>
                      </a:lnTo>
                      <a:lnTo>
                        <a:pt x="81" y="102"/>
                      </a:lnTo>
                      <a:lnTo>
                        <a:pt x="83" y="100"/>
                      </a:lnTo>
                      <a:lnTo>
                        <a:pt x="88" y="95"/>
                      </a:lnTo>
                      <a:lnTo>
                        <a:pt x="90" y="95"/>
                      </a:lnTo>
                      <a:lnTo>
                        <a:pt x="90" y="97"/>
                      </a:lnTo>
                      <a:lnTo>
                        <a:pt x="93" y="97"/>
                      </a:lnTo>
                      <a:lnTo>
                        <a:pt x="95" y="100"/>
                      </a:lnTo>
                      <a:lnTo>
                        <a:pt x="97" y="100"/>
                      </a:lnTo>
                      <a:lnTo>
                        <a:pt x="100" y="97"/>
                      </a:lnTo>
                      <a:lnTo>
                        <a:pt x="102" y="97"/>
                      </a:lnTo>
                      <a:lnTo>
                        <a:pt x="107" y="102"/>
                      </a:lnTo>
                      <a:lnTo>
                        <a:pt x="109" y="102"/>
                      </a:lnTo>
                      <a:lnTo>
                        <a:pt x="114" y="102"/>
                      </a:lnTo>
                      <a:lnTo>
                        <a:pt x="116" y="102"/>
                      </a:lnTo>
                      <a:lnTo>
                        <a:pt x="116" y="100"/>
                      </a:lnTo>
                      <a:lnTo>
                        <a:pt x="119" y="97"/>
                      </a:lnTo>
                      <a:lnTo>
                        <a:pt x="126" y="93"/>
                      </a:lnTo>
                      <a:lnTo>
                        <a:pt x="126" y="93"/>
                      </a:lnTo>
                      <a:lnTo>
                        <a:pt x="126" y="90"/>
                      </a:lnTo>
                      <a:lnTo>
                        <a:pt x="126" y="88"/>
                      </a:lnTo>
                      <a:lnTo>
                        <a:pt x="123" y="88"/>
                      </a:lnTo>
                      <a:lnTo>
                        <a:pt x="119" y="85"/>
                      </a:lnTo>
                      <a:lnTo>
                        <a:pt x="119" y="81"/>
                      </a:lnTo>
                      <a:lnTo>
                        <a:pt x="116" y="78"/>
                      </a:lnTo>
                      <a:lnTo>
                        <a:pt x="119" y="76"/>
                      </a:lnTo>
                      <a:lnTo>
                        <a:pt x="121" y="76"/>
                      </a:lnTo>
                      <a:lnTo>
                        <a:pt x="121" y="71"/>
                      </a:lnTo>
                      <a:lnTo>
                        <a:pt x="119" y="71"/>
                      </a:lnTo>
                      <a:lnTo>
                        <a:pt x="119" y="69"/>
                      </a:lnTo>
                      <a:lnTo>
                        <a:pt x="119" y="66"/>
                      </a:lnTo>
                      <a:lnTo>
                        <a:pt x="121" y="66"/>
                      </a:lnTo>
                      <a:lnTo>
                        <a:pt x="121" y="66"/>
                      </a:lnTo>
                      <a:close/>
                      <a:moveTo>
                        <a:pt x="145" y="123"/>
                      </a:moveTo>
                      <a:lnTo>
                        <a:pt x="140" y="121"/>
                      </a:lnTo>
                      <a:lnTo>
                        <a:pt x="140" y="121"/>
                      </a:lnTo>
                      <a:lnTo>
                        <a:pt x="140" y="121"/>
                      </a:lnTo>
                      <a:lnTo>
                        <a:pt x="142" y="121"/>
                      </a:lnTo>
                      <a:lnTo>
                        <a:pt x="140" y="119"/>
                      </a:lnTo>
                      <a:lnTo>
                        <a:pt x="140" y="119"/>
                      </a:lnTo>
                      <a:lnTo>
                        <a:pt x="140" y="119"/>
                      </a:lnTo>
                      <a:lnTo>
                        <a:pt x="138" y="116"/>
                      </a:lnTo>
                      <a:lnTo>
                        <a:pt x="138" y="116"/>
                      </a:lnTo>
                      <a:lnTo>
                        <a:pt x="138" y="116"/>
                      </a:lnTo>
                      <a:lnTo>
                        <a:pt x="138" y="114"/>
                      </a:lnTo>
                      <a:lnTo>
                        <a:pt x="138" y="114"/>
                      </a:lnTo>
                      <a:lnTo>
                        <a:pt x="138" y="111"/>
                      </a:lnTo>
                      <a:lnTo>
                        <a:pt x="138" y="111"/>
                      </a:lnTo>
                      <a:lnTo>
                        <a:pt x="138" y="111"/>
                      </a:lnTo>
                      <a:lnTo>
                        <a:pt x="138" y="111"/>
                      </a:lnTo>
                      <a:lnTo>
                        <a:pt x="138" y="107"/>
                      </a:lnTo>
                      <a:lnTo>
                        <a:pt x="142" y="107"/>
                      </a:lnTo>
                      <a:lnTo>
                        <a:pt x="142" y="107"/>
                      </a:lnTo>
                      <a:lnTo>
                        <a:pt x="145" y="107"/>
                      </a:lnTo>
                      <a:lnTo>
                        <a:pt x="145" y="107"/>
                      </a:lnTo>
                      <a:lnTo>
                        <a:pt x="145" y="104"/>
                      </a:lnTo>
                      <a:lnTo>
                        <a:pt x="145" y="104"/>
                      </a:lnTo>
                      <a:lnTo>
                        <a:pt x="145" y="102"/>
                      </a:lnTo>
                      <a:lnTo>
                        <a:pt x="147" y="102"/>
                      </a:lnTo>
                      <a:lnTo>
                        <a:pt x="147" y="104"/>
                      </a:lnTo>
                      <a:lnTo>
                        <a:pt x="147" y="107"/>
                      </a:lnTo>
                      <a:lnTo>
                        <a:pt x="147" y="111"/>
                      </a:lnTo>
                      <a:lnTo>
                        <a:pt x="147" y="116"/>
                      </a:lnTo>
                      <a:lnTo>
                        <a:pt x="147" y="119"/>
                      </a:lnTo>
                      <a:lnTo>
                        <a:pt x="145" y="123"/>
                      </a:lnTo>
                      <a:lnTo>
                        <a:pt x="145" y="123"/>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Freeform 16">
                  <a:extLst>
                    <a:ext uri="{FF2B5EF4-FFF2-40B4-BE49-F238E27FC236}">
                      <a16:creationId xmlns:a16="http://schemas.microsoft.com/office/drawing/2014/main" id="{5E2EF049-3690-7DFD-7853-A4FC5CAEF62A}"/>
                    </a:ext>
                  </a:extLst>
                </p:cNvPr>
                <p:cNvSpPr>
                  <a:spLocks/>
                </p:cNvSpPr>
                <p:nvPr/>
              </p:nvSpPr>
              <p:spPr bwMode="auto">
                <a:xfrm>
                  <a:off x="3570" y="1964"/>
                  <a:ext cx="347" cy="150"/>
                </a:xfrm>
                <a:custGeom>
                  <a:avLst/>
                  <a:gdLst>
                    <a:gd name="T0" fmla="*/ 12 w 347"/>
                    <a:gd name="T1" fmla="*/ 45 h 150"/>
                    <a:gd name="T2" fmla="*/ 21 w 347"/>
                    <a:gd name="T3" fmla="*/ 36 h 150"/>
                    <a:gd name="T4" fmla="*/ 23 w 347"/>
                    <a:gd name="T5" fmla="*/ 31 h 150"/>
                    <a:gd name="T6" fmla="*/ 38 w 347"/>
                    <a:gd name="T7" fmla="*/ 27 h 150"/>
                    <a:gd name="T8" fmla="*/ 47 w 347"/>
                    <a:gd name="T9" fmla="*/ 29 h 150"/>
                    <a:gd name="T10" fmla="*/ 59 w 347"/>
                    <a:gd name="T11" fmla="*/ 29 h 150"/>
                    <a:gd name="T12" fmla="*/ 73 w 347"/>
                    <a:gd name="T13" fmla="*/ 38 h 150"/>
                    <a:gd name="T14" fmla="*/ 85 w 347"/>
                    <a:gd name="T15" fmla="*/ 38 h 150"/>
                    <a:gd name="T16" fmla="*/ 97 w 347"/>
                    <a:gd name="T17" fmla="*/ 38 h 150"/>
                    <a:gd name="T18" fmla="*/ 101 w 347"/>
                    <a:gd name="T19" fmla="*/ 24 h 150"/>
                    <a:gd name="T20" fmla="*/ 92 w 347"/>
                    <a:gd name="T21" fmla="*/ 12 h 150"/>
                    <a:gd name="T22" fmla="*/ 101 w 347"/>
                    <a:gd name="T23" fmla="*/ 5 h 150"/>
                    <a:gd name="T24" fmla="*/ 109 w 347"/>
                    <a:gd name="T25" fmla="*/ 3 h 150"/>
                    <a:gd name="T26" fmla="*/ 123 w 347"/>
                    <a:gd name="T27" fmla="*/ 8 h 150"/>
                    <a:gd name="T28" fmla="*/ 137 w 347"/>
                    <a:gd name="T29" fmla="*/ 10 h 150"/>
                    <a:gd name="T30" fmla="*/ 142 w 347"/>
                    <a:gd name="T31" fmla="*/ 19 h 150"/>
                    <a:gd name="T32" fmla="*/ 149 w 347"/>
                    <a:gd name="T33" fmla="*/ 27 h 150"/>
                    <a:gd name="T34" fmla="*/ 163 w 347"/>
                    <a:gd name="T35" fmla="*/ 27 h 150"/>
                    <a:gd name="T36" fmla="*/ 177 w 347"/>
                    <a:gd name="T37" fmla="*/ 22 h 150"/>
                    <a:gd name="T38" fmla="*/ 196 w 347"/>
                    <a:gd name="T39" fmla="*/ 24 h 150"/>
                    <a:gd name="T40" fmla="*/ 210 w 347"/>
                    <a:gd name="T41" fmla="*/ 31 h 150"/>
                    <a:gd name="T42" fmla="*/ 227 w 347"/>
                    <a:gd name="T43" fmla="*/ 36 h 150"/>
                    <a:gd name="T44" fmla="*/ 243 w 347"/>
                    <a:gd name="T45" fmla="*/ 34 h 150"/>
                    <a:gd name="T46" fmla="*/ 260 w 347"/>
                    <a:gd name="T47" fmla="*/ 29 h 150"/>
                    <a:gd name="T48" fmla="*/ 269 w 347"/>
                    <a:gd name="T49" fmla="*/ 19 h 150"/>
                    <a:gd name="T50" fmla="*/ 279 w 347"/>
                    <a:gd name="T51" fmla="*/ 15 h 150"/>
                    <a:gd name="T52" fmla="*/ 291 w 347"/>
                    <a:gd name="T53" fmla="*/ 19 h 150"/>
                    <a:gd name="T54" fmla="*/ 300 w 347"/>
                    <a:gd name="T55" fmla="*/ 34 h 150"/>
                    <a:gd name="T56" fmla="*/ 305 w 347"/>
                    <a:gd name="T57" fmla="*/ 53 h 150"/>
                    <a:gd name="T58" fmla="*/ 324 w 347"/>
                    <a:gd name="T59" fmla="*/ 48 h 150"/>
                    <a:gd name="T60" fmla="*/ 340 w 347"/>
                    <a:gd name="T61" fmla="*/ 50 h 150"/>
                    <a:gd name="T62" fmla="*/ 347 w 347"/>
                    <a:gd name="T63" fmla="*/ 64 h 150"/>
                    <a:gd name="T64" fmla="*/ 340 w 347"/>
                    <a:gd name="T65" fmla="*/ 67 h 150"/>
                    <a:gd name="T66" fmla="*/ 326 w 347"/>
                    <a:gd name="T67" fmla="*/ 69 h 150"/>
                    <a:gd name="T68" fmla="*/ 319 w 347"/>
                    <a:gd name="T69" fmla="*/ 74 h 150"/>
                    <a:gd name="T70" fmla="*/ 310 w 347"/>
                    <a:gd name="T71" fmla="*/ 86 h 150"/>
                    <a:gd name="T72" fmla="*/ 295 w 347"/>
                    <a:gd name="T73" fmla="*/ 95 h 150"/>
                    <a:gd name="T74" fmla="*/ 284 w 347"/>
                    <a:gd name="T75" fmla="*/ 95 h 150"/>
                    <a:gd name="T76" fmla="*/ 269 w 347"/>
                    <a:gd name="T77" fmla="*/ 102 h 150"/>
                    <a:gd name="T78" fmla="*/ 279 w 347"/>
                    <a:gd name="T79" fmla="*/ 114 h 150"/>
                    <a:gd name="T80" fmla="*/ 262 w 347"/>
                    <a:gd name="T81" fmla="*/ 131 h 150"/>
                    <a:gd name="T82" fmla="*/ 241 w 347"/>
                    <a:gd name="T83" fmla="*/ 136 h 150"/>
                    <a:gd name="T84" fmla="*/ 213 w 347"/>
                    <a:gd name="T85" fmla="*/ 150 h 150"/>
                    <a:gd name="T86" fmla="*/ 198 w 347"/>
                    <a:gd name="T87" fmla="*/ 147 h 150"/>
                    <a:gd name="T88" fmla="*/ 170 w 347"/>
                    <a:gd name="T89" fmla="*/ 138 h 150"/>
                    <a:gd name="T90" fmla="*/ 146 w 347"/>
                    <a:gd name="T91" fmla="*/ 140 h 150"/>
                    <a:gd name="T92" fmla="*/ 113 w 347"/>
                    <a:gd name="T93" fmla="*/ 140 h 150"/>
                    <a:gd name="T94" fmla="*/ 104 w 347"/>
                    <a:gd name="T95" fmla="*/ 124 h 150"/>
                    <a:gd name="T96" fmla="*/ 97 w 347"/>
                    <a:gd name="T97" fmla="*/ 119 h 150"/>
                    <a:gd name="T98" fmla="*/ 85 w 347"/>
                    <a:gd name="T99" fmla="*/ 114 h 150"/>
                    <a:gd name="T100" fmla="*/ 68 w 347"/>
                    <a:gd name="T101" fmla="*/ 109 h 150"/>
                    <a:gd name="T102" fmla="*/ 42 w 347"/>
                    <a:gd name="T103" fmla="*/ 102 h 150"/>
                    <a:gd name="T104" fmla="*/ 45 w 347"/>
                    <a:gd name="T105" fmla="*/ 93 h 150"/>
                    <a:gd name="T106" fmla="*/ 40 w 347"/>
                    <a:gd name="T107" fmla="*/ 83 h 150"/>
                    <a:gd name="T108" fmla="*/ 35 w 347"/>
                    <a:gd name="T109" fmla="*/ 74 h 150"/>
                    <a:gd name="T110" fmla="*/ 26 w 347"/>
                    <a:gd name="T111" fmla="*/ 72 h 150"/>
                    <a:gd name="T112" fmla="*/ 16 w 347"/>
                    <a:gd name="T113" fmla="*/ 69 h 150"/>
                    <a:gd name="T114" fmla="*/ 12 w 347"/>
                    <a:gd name="T115" fmla="*/ 69 h 150"/>
                    <a:gd name="T116" fmla="*/ 2 w 347"/>
                    <a:gd name="T117" fmla="*/ 62 h 150"/>
                    <a:gd name="T118" fmla="*/ 0 w 347"/>
                    <a:gd name="T119" fmla="*/ 57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47" h="150">
                      <a:moveTo>
                        <a:pt x="0" y="55"/>
                      </a:moveTo>
                      <a:lnTo>
                        <a:pt x="0" y="50"/>
                      </a:lnTo>
                      <a:lnTo>
                        <a:pt x="2" y="50"/>
                      </a:lnTo>
                      <a:lnTo>
                        <a:pt x="7" y="50"/>
                      </a:lnTo>
                      <a:lnTo>
                        <a:pt x="9" y="48"/>
                      </a:lnTo>
                      <a:lnTo>
                        <a:pt x="12" y="45"/>
                      </a:lnTo>
                      <a:lnTo>
                        <a:pt x="14" y="45"/>
                      </a:lnTo>
                      <a:lnTo>
                        <a:pt x="14" y="43"/>
                      </a:lnTo>
                      <a:lnTo>
                        <a:pt x="16" y="41"/>
                      </a:lnTo>
                      <a:lnTo>
                        <a:pt x="19" y="41"/>
                      </a:lnTo>
                      <a:lnTo>
                        <a:pt x="19" y="38"/>
                      </a:lnTo>
                      <a:lnTo>
                        <a:pt x="21" y="36"/>
                      </a:lnTo>
                      <a:lnTo>
                        <a:pt x="21" y="36"/>
                      </a:lnTo>
                      <a:lnTo>
                        <a:pt x="23" y="34"/>
                      </a:lnTo>
                      <a:lnTo>
                        <a:pt x="23" y="34"/>
                      </a:lnTo>
                      <a:lnTo>
                        <a:pt x="23" y="34"/>
                      </a:lnTo>
                      <a:lnTo>
                        <a:pt x="23" y="31"/>
                      </a:lnTo>
                      <a:lnTo>
                        <a:pt x="23" y="31"/>
                      </a:lnTo>
                      <a:lnTo>
                        <a:pt x="28" y="31"/>
                      </a:lnTo>
                      <a:lnTo>
                        <a:pt x="28" y="31"/>
                      </a:lnTo>
                      <a:lnTo>
                        <a:pt x="30" y="29"/>
                      </a:lnTo>
                      <a:lnTo>
                        <a:pt x="33" y="27"/>
                      </a:lnTo>
                      <a:lnTo>
                        <a:pt x="35" y="27"/>
                      </a:lnTo>
                      <a:lnTo>
                        <a:pt x="38" y="27"/>
                      </a:lnTo>
                      <a:lnTo>
                        <a:pt x="40" y="27"/>
                      </a:lnTo>
                      <a:lnTo>
                        <a:pt x="42" y="27"/>
                      </a:lnTo>
                      <a:lnTo>
                        <a:pt x="45" y="27"/>
                      </a:lnTo>
                      <a:lnTo>
                        <a:pt x="45" y="27"/>
                      </a:lnTo>
                      <a:lnTo>
                        <a:pt x="47" y="27"/>
                      </a:lnTo>
                      <a:lnTo>
                        <a:pt x="47" y="29"/>
                      </a:lnTo>
                      <a:lnTo>
                        <a:pt x="47" y="29"/>
                      </a:lnTo>
                      <a:lnTo>
                        <a:pt x="49" y="29"/>
                      </a:lnTo>
                      <a:lnTo>
                        <a:pt x="52" y="29"/>
                      </a:lnTo>
                      <a:lnTo>
                        <a:pt x="54" y="29"/>
                      </a:lnTo>
                      <a:lnTo>
                        <a:pt x="56" y="29"/>
                      </a:lnTo>
                      <a:lnTo>
                        <a:pt x="59" y="29"/>
                      </a:lnTo>
                      <a:lnTo>
                        <a:pt x="59" y="29"/>
                      </a:lnTo>
                      <a:lnTo>
                        <a:pt x="61" y="31"/>
                      </a:lnTo>
                      <a:lnTo>
                        <a:pt x="61" y="34"/>
                      </a:lnTo>
                      <a:lnTo>
                        <a:pt x="66" y="36"/>
                      </a:lnTo>
                      <a:lnTo>
                        <a:pt x="68" y="38"/>
                      </a:lnTo>
                      <a:lnTo>
                        <a:pt x="73" y="38"/>
                      </a:lnTo>
                      <a:lnTo>
                        <a:pt x="73" y="38"/>
                      </a:lnTo>
                      <a:lnTo>
                        <a:pt x="75" y="38"/>
                      </a:lnTo>
                      <a:lnTo>
                        <a:pt x="78" y="36"/>
                      </a:lnTo>
                      <a:lnTo>
                        <a:pt x="80" y="36"/>
                      </a:lnTo>
                      <a:lnTo>
                        <a:pt x="82" y="36"/>
                      </a:lnTo>
                      <a:lnTo>
                        <a:pt x="85" y="38"/>
                      </a:lnTo>
                      <a:lnTo>
                        <a:pt x="87" y="36"/>
                      </a:lnTo>
                      <a:lnTo>
                        <a:pt x="92" y="36"/>
                      </a:lnTo>
                      <a:lnTo>
                        <a:pt x="92" y="38"/>
                      </a:lnTo>
                      <a:lnTo>
                        <a:pt x="94" y="38"/>
                      </a:lnTo>
                      <a:lnTo>
                        <a:pt x="97" y="36"/>
                      </a:lnTo>
                      <a:lnTo>
                        <a:pt x="97" y="38"/>
                      </a:lnTo>
                      <a:lnTo>
                        <a:pt x="101" y="36"/>
                      </a:lnTo>
                      <a:lnTo>
                        <a:pt x="104" y="34"/>
                      </a:lnTo>
                      <a:lnTo>
                        <a:pt x="101" y="34"/>
                      </a:lnTo>
                      <a:lnTo>
                        <a:pt x="99" y="31"/>
                      </a:lnTo>
                      <a:lnTo>
                        <a:pt x="99" y="29"/>
                      </a:lnTo>
                      <a:lnTo>
                        <a:pt x="101" y="24"/>
                      </a:lnTo>
                      <a:lnTo>
                        <a:pt x="101" y="24"/>
                      </a:lnTo>
                      <a:lnTo>
                        <a:pt x="99" y="22"/>
                      </a:lnTo>
                      <a:lnTo>
                        <a:pt x="97" y="22"/>
                      </a:lnTo>
                      <a:lnTo>
                        <a:pt x="94" y="19"/>
                      </a:lnTo>
                      <a:lnTo>
                        <a:pt x="92" y="17"/>
                      </a:lnTo>
                      <a:lnTo>
                        <a:pt x="92" y="12"/>
                      </a:lnTo>
                      <a:lnTo>
                        <a:pt x="94" y="10"/>
                      </a:lnTo>
                      <a:lnTo>
                        <a:pt x="94" y="10"/>
                      </a:lnTo>
                      <a:lnTo>
                        <a:pt x="97" y="8"/>
                      </a:lnTo>
                      <a:lnTo>
                        <a:pt x="99" y="8"/>
                      </a:lnTo>
                      <a:lnTo>
                        <a:pt x="99" y="8"/>
                      </a:lnTo>
                      <a:lnTo>
                        <a:pt x="101" y="5"/>
                      </a:lnTo>
                      <a:lnTo>
                        <a:pt x="99" y="3"/>
                      </a:lnTo>
                      <a:lnTo>
                        <a:pt x="99" y="3"/>
                      </a:lnTo>
                      <a:lnTo>
                        <a:pt x="101" y="0"/>
                      </a:lnTo>
                      <a:lnTo>
                        <a:pt x="104" y="0"/>
                      </a:lnTo>
                      <a:lnTo>
                        <a:pt x="106" y="3"/>
                      </a:lnTo>
                      <a:lnTo>
                        <a:pt x="109" y="3"/>
                      </a:lnTo>
                      <a:lnTo>
                        <a:pt x="111" y="5"/>
                      </a:lnTo>
                      <a:lnTo>
                        <a:pt x="111" y="5"/>
                      </a:lnTo>
                      <a:lnTo>
                        <a:pt x="113" y="5"/>
                      </a:lnTo>
                      <a:lnTo>
                        <a:pt x="118" y="5"/>
                      </a:lnTo>
                      <a:lnTo>
                        <a:pt x="120" y="5"/>
                      </a:lnTo>
                      <a:lnTo>
                        <a:pt x="123" y="8"/>
                      </a:lnTo>
                      <a:lnTo>
                        <a:pt x="123" y="8"/>
                      </a:lnTo>
                      <a:lnTo>
                        <a:pt x="127" y="8"/>
                      </a:lnTo>
                      <a:lnTo>
                        <a:pt x="127" y="8"/>
                      </a:lnTo>
                      <a:lnTo>
                        <a:pt x="130" y="10"/>
                      </a:lnTo>
                      <a:lnTo>
                        <a:pt x="135" y="8"/>
                      </a:lnTo>
                      <a:lnTo>
                        <a:pt x="137" y="10"/>
                      </a:lnTo>
                      <a:lnTo>
                        <a:pt x="137" y="10"/>
                      </a:lnTo>
                      <a:lnTo>
                        <a:pt x="137" y="12"/>
                      </a:lnTo>
                      <a:lnTo>
                        <a:pt x="139" y="15"/>
                      </a:lnTo>
                      <a:lnTo>
                        <a:pt x="139" y="15"/>
                      </a:lnTo>
                      <a:lnTo>
                        <a:pt x="139" y="17"/>
                      </a:lnTo>
                      <a:lnTo>
                        <a:pt x="142" y="19"/>
                      </a:lnTo>
                      <a:lnTo>
                        <a:pt x="142" y="19"/>
                      </a:lnTo>
                      <a:lnTo>
                        <a:pt x="142" y="22"/>
                      </a:lnTo>
                      <a:lnTo>
                        <a:pt x="144" y="22"/>
                      </a:lnTo>
                      <a:lnTo>
                        <a:pt x="146" y="24"/>
                      </a:lnTo>
                      <a:lnTo>
                        <a:pt x="146" y="24"/>
                      </a:lnTo>
                      <a:lnTo>
                        <a:pt x="149" y="27"/>
                      </a:lnTo>
                      <a:lnTo>
                        <a:pt x="153" y="27"/>
                      </a:lnTo>
                      <a:lnTo>
                        <a:pt x="156" y="27"/>
                      </a:lnTo>
                      <a:lnTo>
                        <a:pt x="156" y="27"/>
                      </a:lnTo>
                      <a:lnTo>
                        <a:pt x="158" y="27"/>
                      </a:lnTo>
                      <a:lnTo>
                        <a:pt x="161" y="27"/>
                      </a:lnTo>
                      <a:lnTo>
                        <a:pt x="163" y="27"/>
                      </a:lnTo>
                      <a:lnTo>
                        <a:pt x="163" y="27"/>
                      </a:lnTo>
                      <a:lnTo>
                        <a:pt x="165" y="27"/>
                      </a:lnTo>
                      <a:lnTo>
                        <a:pt x="168" y="24"/>
                      </a:lnTo>
                      <a:lnTo>
                        <a:pt x="170" y="22"/>
                      </a:lnTo>
                      <a:lnTo>
                        <a:pt x="175" y="22"/>
                      </a:lnTo>
                      <a:lnTo>
                        <a:pt x="177" y="22"/>
                      </a:lnTo>
                      <a:lnTo>
                        <a:pt x="179" y="22"/>
                      </a:lnTo>
                      <a:lnTo>
                        <a:pt x="182" y="19"/>
                      </a:lnTo>
                      <a:lnTo>
                        <a:pt x="187" y="22"/>
                      </a:lnTo>
                      <a:lnTo>
                        <a:pt x="189" y="22"/>
                      </a:lnTo>
                      <a:lnTo>
                        <a:pt x="194" y="22"/>
                      </a:lnTo>
                      <a:lnTo>
                        <a:pt x="196" y="24"/>
                      </a:lnTo>
                      <a:lnTo>
                        <a:pt x="198" y="27"/>
                      </a:lnTo>
                      <a:lnTo>
                        <a:pt x="203" y="27"/>
                      </a:lnTo>
                      <a:lnTo>
                        <a:pt x="206" y="27"/>
                      </a:lnTo>
                      <a:lnTo>
                        <a:pt x="206" y="27"/>
                      </a:lnTo>
                      <a:lnTo>
                        <a:pt x="208" y="29"/>
                      </a:lnTo>
                      <a:lnTo>
                        <a:pt x="210" y="31"/>
                      </a:lnTo>
                      <a:lnTo>
                        <a:pt x="210" y="31"/>
                      </a:lnTo>
                      <a:lnTo>
                        <a:pt x="213" y="31"/>
                      </a:lnTo>
                      <a:lnTo>
                        <a:pt x="215" y="34"/>
                      </a:lnTo>
                      <a:lnTo>
                        <a:pt x="217" y="34"/>
                      </a:lnTo>
                      <a:lnTo>
                        <a:pt x="222" y="34"/>
                      </a:lnTo>
                      <a:lnTo>
                        <a:pt x="227" y="36"/>
                      </a:lnTo>
                      <a:lnTo>
                        <a:pt x="232" y="36"/>
                      </a:lnTo>
                      <a:lnTo>
                        <a:pt x="236" y="34"/>
                      </a:lnTo>
                      <a:lnTo>
                        <a:pt x="236" y="34"/>
                      </a:lnTo>
                      <a:lnTo>
                        <a:pt x="239" y="34"/>
                      </a:lnTo>
                      <a:lnTo>
                        <a:pt x="241" y="36"/>
                      </a:lnTo>
                      <a:lnTo>
                        <a:pt x="243" y="34"/>
                      </a:lnTo>
                      <a:lnTo>
                        <a:pt x="243" y="31"/>
                      </a:lnTo>
                      <a:lnTo>
                        <a:pt x="248" y="29"/>
                      </a:lnTo>
                      <a:lnTo>
                        <a:pt x="250" y="29"/>
                      </a:lnTo>
                      <a:lnTo>
                        <a:pt x="253" y="29"/>
                      </a:lnTo>
                      <a:lnTo>
                        <a:pt x="255" y="29"/>
                      </a:lnTo>
                      <a:lnTo>
                        <a:pt x="260" y="29"/>
                      </a:lnTo>
                      <a:lnTo>
                        <a:pt x="262" y="27"/>
                      </a:lnTo>
                      <a:lnTo>
                        <a:pt x="262" y="24"/>
                      </a:lnTo>
                      <a:lnTo>
                        <a:pt x="262" y="24"/>
                      </a:lnTo>
                      <a:lnTo>
                        <a:pt x="265" y="22"/>
                      </a:lnTo>
                      <a:lnTo>
                        <a:pt x="267" y="19"/>
                      </a:lnTo>
                      <a:lnTo>
                        <a:pt x="269" y="19"/>
                      </a:lnTo>
                      <a:lnTo>
                        <a:pt x="269" y="17"/>
                      </a:lnTo>
                      <a:lnTo>
                        <a:pt x="272" y="15"/>
                      </a:lnTo>
                      <a:lnTo>
                        <a:pt x="272" y="15"/>
                      </a:lnTo>
                      <a:lnTo>
                        <a:pt x="274" y="15"/>
                      </a:lnTo>
                      <a:lnTo>
                        <a:pt x="276" y="15"/>
                      </a:lnTo>
                      <a:lnTo>
                        <a:pt x="279" y="15"/>
                      </a:lnTo>
                      <a:lnTo>
                        <a:pt x="281" y="17"/>
                      </a:lnTo>
                      <a:lnTo>
                        <a:pt x="284" y="19"/>
                      </a:lnTo>
                      <a:lnTo>
                        <a:pt x="286" y="19"/>
                      </a:lnTo>
                      <a:lnTo>
                        <a:pt x="286" y="17"/>
                      </a:lnTo>
                      <a:lnTo>
                        <a:pt x="288" y="19"/>
                      </a:lnTo>
                      <a:lnTo>
                        <a:pt x="291" y="19"/>
                      </a:lnTo>
                      <a:lnTo>
                        <a:pt x="293" y="17"/>
                      </a:lnTo>
                      <a:lnTo>
                        <a:pt x="293" y="17"/>
                      </a:lnTo>
                      <a:lnTo>
                        <a:pt x="295" y="15"/>
                      </a:lnTo>
                      <a:lnTo>
                        <a:pt x="300" y="17"/>
                      </a:lnTo>
                      <a:lnTo>
                        <a:pt x="303" y="17"/>
                      </a:lnTo>
                      <a:lnTo>
                        <a:pt x="300" y="34"/>
                      </a:lnTo>
                      <a:lnTo>
                        <a:pt x="300" y="38"/>
                      </a:lnTo>
                      <a:lnTo>
                        <a:pt x="298" y="41"/>
                      </a:lnTo>
                      <a:lnTo>
                        <a:pt x="300" y="43"/>
                      </a:lnTo>
                      <a:lnTo>
                        <a:pt x="298" y="48"/>
                      </a:lnTo>
                      <a:lnTo>
                        <a:pt x="300" y="50"/>
                      </a:lnTo>
                      <a:lnTo>
                        <a:pt x="305" y="53"/>
                      </a:lnTo>
                      <a:lnTo>
                        <a:pt x="310" y="50"/>
                      </a:lnTo>
                      <a:lnTo>
                        <a:pt x="314" y="50"/>
                      </a:lnTo>
                      <a:lnTo>
                        <a:pt x="319" y="50"/>
                      </a:lnTo>
                      <a:lnTo>
                        <a:pt x="321" y="53"/>
                      </a:lnTo>
                      <a:lnTo>
                        <a:pt x="324" y="48"/>
                      </a:lnTo>
                      <a:lnTo>
                        <a:pt x="324" y="48"/>
                      </a:lnTo>
                      <a:lnTo>
                        <a:pt x="324" y="45"/>
                      </a:lnTo>
                      <a:lnTo>
                        <a:pt x="326" y="43"/>
                      </a:lnTo>
                      <a:lnTo>
                        <a:pt x="326" y="43"/>
                      </a:lnTo>
                      <a:lnTo>
                        <a:pt x="333" y="43"/>
                      </a:lnTo>
                      <a:lnTo>
                        <a:pt x="336" y="48"/>
                      </a:lnTo>
                      <a:lnTo>
                        <a:pt x="340" y="50"/>
                      </a:lnTo>
                      <a:lnTo>
                        <a:pt x="343" y="55"/>
                      </a:lnTo>
                      <a:lnTo>
                        <a:pt x="347" y="57"/>
                      </a:lnTo>
                      <a:lnTo>
                        <a:pt x="347" y="60"/>
                      </a:lnTo>
                      <a:lnTo>
                        <a:pt x="347" y="60"/>
                      </a:lnTo>
                      <a:lnTo>
                        <a:pt x="347" y="62"/>
                      </a:lnTo>
                      <a:lnTo>
                        <a:pt x="347" y="64"/>
                      </a:lnTo>
                      <a:lnTo>
                        <a:pt x="347" y="64"/>
                      </a:lnTo>
                      <a:lnTo>
                        <a:pt x="345" y="67"/>
                      </a:lnTo>
                      <a:lnTo>
                        <a:pt x="345" y="67"/>
                      </a:lnTo>
                      <a:lnTo>
                        <a:pt x="343" y="64"/>
                      </a:lnTo>
                      <a:lnTo>
                        <a:pt x="340" y="64"/>
                      </a:lnTo>
                      <a:lnTo>
                        <a:pt x="340" y="67"/>
                      </a:lnTo>
                      <a:lnTo>
                        <a:pt x="336" y="64"/>
                      </a:lnTo>
                      <a:lnTo>
                        <a:pt x="333" y="64"/>
                      </a:lnTo>
                      <a:lnTo>
                        <a:pt x="333" y="67"/>
                      </a:lnTo>
                      <a:lnTo>
                        <a:pt x="329" y="69"/>
                      </a:lnTo>
                      <a:lnTo>
                        <a:pt x="326" y="72"/>
                      </a:lnTo>
                      <a:lnTo>
                        <a:pt x="326" y="69"/>
                      </a:lnTo>
                      <a:lnTo>
                        <a:pt x="324" y="69"/>
                      </a:lnTo>
                      <a:lnTo>
                        <a:pt x="324" y="72"/>
                      </a:lnTo>
                      <a:lnTo>
                        <a:pt x="324" y="72"/>
                      </a:lnTo>
                      <a:lnTo>
                        <a:pt x="321" y="74"/>
                      </a:lnTo>
                      <a:lnTo>
                        <a:pt x="321" y="72"/>
                      </a:lnTo>
                      <a:lnTo>
                        <a:pt x="319" y="74"/>
                      </a:lnTo>
                      <a:lnTo>
                        <a:pt x="317" y="76"/>
                      </a:lnTo>
                      <a:lnTo>
                        <a:pt x="317" y="79"/>
                      </a:lnTo>
                      <a:lnTo>
                        <a:pt x="317" y="81"/>
                      </a:lnTo>
                      <a:lnTo>
                        <a:pt x="317" y="83"/>
                      </a:lnTo>
                      <a:lnTo>
                        <a:pt x="314" y="83"/>
                      </a:lnTo>
                      <a:lnTo>
                        <a:pt x="310" y="86"/>
                      </a:lnTo>
                      <a:lnTo>
                        <a:pt x="307" y="86"/>
                      </a:lnTo>
                      <a:lnTo>
                        <a:pt x="303" y="86"/>
                      </a:lnTo>
                      <a:lnTo>
                        <a:pt x="303" y="88"/>
                      </a:lnTo>
                      <a:lnTo>
                        <a:pt x="300" y="91"/>
                      </a:lnTo>
                      <a:lnTo>
                        <a:pt x="298" y="93"/>
                      </a:lnTo>
                      <a:lnTo>
                        <a:pt x="295" y="95"/>
                      </a:lnTo>
                      <a:lnTo>
                        <a:pt x="293" y="95"/>
                      </a:lnTo>
                      <a:lnTo>
                        <a:pt x="293" y="98"/>
                      </a:lnTo>
                      <a:lnTo>
                        <a:pt x="293" y="98"/>
                      </a:lnTo>
                      <a:lnTo>
                        <a:pt x="291" y="98"/>
                      </a:lnTo>
                      <a:lnTo>
                        <a:pt x="286" y="95"/>
                      </a:lnTo>
                      <a:lnTo>
                        <a:pt x="284" y="95"/>
                      </a:lnTo>
                      <a:lnTo>
                        <a:pt x="281" y="93"/>
                      </a:lnTo>
                      <a:lnTo>
                        <a:pt x="279" y="93"/>
                      </a:lnTo>
                      <a:lnTo>
                        <a:pt x="274" y="93"/>
                      </a:lnTo>
                      <a:lnTo>
                        <a:pt x="272" y="95"/>
                      </a:lnTo>
                      <a:lnTo>
                        <a:pt x="269" y="98"/>
                      </a:lnTo>
                      <a:lnTo>
                        <a:pt x="269" y="102"/>
                      </a:lnTo>
                      <a:lnTo>
                        <a:pt x="269" y="105"/>
                      </a:lnTo>
                      <a:lnTo>
                        <a:pt x="269" y="107"/>
                      </a:lnTo>
                      <a:lnTo>
                        <a:pt x="274" y="109"/>
                      </a:lnTo>
                      <a:lnTo>
                        <a:pt x="279" y="112"/>
                      </a:lnTo>
                      <a:lnTo>
                        <a:pt x="279" y="112"/>
                      </a:lnTo>
                      <a:lnTo>
                        <a:pt x="279" y="114"/>
                      </a:lnTo>
                      <a:lnTo>
                        <a:pt x="276" y="117"/>
                      </a:lnTo>
                      <a:lnTo>
                        <a:pt x="272" y="121"/>
                      </a:lnTo>
                      <a:lnTo>
                        <a:pt x="269" y="126"/>
                      </a:lnTo>
                      <a:lnTo>
                        <a:pt x="267" y="128"/>
                      </a:lnTo>
                      <a:lnTo>
                        <a:pt x="265" y="128"/>
                      </a:lnTo>
                      <a:lnTo>
                        <a:pt x="262" y="131"/>
                      </a:lnTo>
                      <a:lnTo>
                        <a:pt x="258" y="131"/>
                      </a:lnTo>
                      <a:lnTo>
                        <a:pt x="255" y="133"/>
                      </a:lnTo>
                      <a:lnTo>
                        <a:pt x="253" y="136"/>
                      </a:lnTo>
                      <a:lnTo>
                        <a:pt x="250" y="136"/>
                      </a:lnTo>
                      <a:lnTo>
                        <a:pt x="246" y="136"/>
                      </a:lnTo>
                      <a:lnTo>
                        <a:pt x="241" y="136"/>
                      </a:lnTo>
                      <a:lnTo>
                        <a:pt x="239" y="138"/>
                      </a:lnTo>
                      <a:lnTo>
                        <a:pt x="229" y="140"/>
                      </a:lnTo>
                      <a:lnTo>
                        <a:pt x="224" y="143"/>
                      </a:lnTo>
                      <a:lnTo>
                        <a:pt x="220" y="145"/>
                      </a:lnTo>
                      <a:lnTo>
                        <a:pt x="215" y="147"/>
                      </a:lnTo>
                      <a:lnTo>
                        <a:pt x="213" y="150"/>
                      </a:lnTo>
                      <a:lnTo>
                        <a:pt x="210" y="150"/>
                      </a:lnTo>
                      <a:lnTo>
                        <a:pt x="208" y="150"/>
                      </a:lnTo>
                      <a:lnTo>
                        <a:pt x="208" y="147"/>
                      </a:lnTo>
                      <a:lnTo>
                        <a:pt x="208" y="147"/>
                      </a:lnTo>
                      <a:lnTo>
                        <a:pt x="203" y="147"/>
                      </a:lnTo>
                      <a:lnTo>
                        <a:pt x="198" y="147"/>
                      </a:lnTo>
                      <a:lnTo>
                        <a:pt x="194" y="147"/>
                      </a:lnTo>
                      <a:lnTo>
                        <a:pt x="191" y="145"/>
                      </a:lnTo>
                      <a:lnTo>
                        <a:pt x="184" y="143"/>
                      </a:lnTo>
                      <a:lnTo>
                        <a:pt x="177" y="140"/>
                      </a:lnTo>
                      <a:lnTo>
                        <a:pt x="172" y="138"/>
                      </a:lnTo>
                      <a:lnTo>
                        <a:pt x="170" y="138"/>
                      </a:lnTo>
                      <a:lnTo>
                        <a:pt x="161" y="136"/>
                      </a:lnTo>
                      <a:lnTo>
                        <a:pt x="156" y="136"/>
                      </a:lnTo>
                      <a:lnTo>
                        <a:pt x="153" y="136"/>
                      </a:lnTo>
                      <a:lnTo>
                        <a:pt x="151" y="138"/>
                      </a:lnTo>
                      <a:lnTo>
                        <a:pt x="151" y="138"/>
                      </a:lnTo>
                      <a:lnTo>
                        <a:pt x="146" y="140"/>
                      </a:lnTo>
                      <a:lnTo>
                        <a:pt x="142" y="140"/>
                      </a:lnTo>
                      <a:lnTo>
                        <a:pt x="132" y="140"/>
                      </a:lnTo>
                      <a:lnTo>
                        <a:pt x="125" y="140"/>
                      </a:lnTo>
                      <a:lnTo>
                        <a:pt x="120" y="140"/>
                      </a:lnTo>
                      <a:lnTo>
                        <a:pt x="116" y="140"/>
                      </a:lnTo>
                      <a:lnTo>
                        <a:pt x="113" y="140"/>
                      </a:lnTo>
                      <a:lnTo>
                        <a:pt x="111" y="140"/>
                      </a:lnTo>
                      <a:lnTo>
                        <a:pt x="109" y="136"/>
                      </a:lnTo>
                      <a:lnTo>
                        <a:pt x="109" y="133"/>
                      </a:lnTo>
                      <a:lnTo>
                        <a:pt x="106" y="128"/>
                      </a:lnTo>
                      <a:lnTo>
                        <a:pt x="104" y="128"/>
                      </a:lnTo>
                      <a:lnTo>
                        <a:pt x="104" y="124"/>
                      </a:lnTo>
                      <a:lnTo>
                        <a:pt x="104" y="124"/>
                      </a:lnTo>
                      <a:lnTo>
                        <a:pt x="101" y="121"/>
                      </a:lnTo>
                      <a:lnTo>
                        <a:pt x="99" y="121"/>
                      </a:lnTo>
                      <a:lnTo>
                        <a:pt x="99" y="121"/>
                      </a:lnTo>
                      <a:lnTo>
                        <a:pt x="97" y="119"/>
                      </a:lnTo>
                      <a:lnTo>
                        <a:pt x="97" y="119"/>
                      </a:lnTo>
                      <a:lnTo>
                        <a:pt x="97" y="117"/>
                      </a:lnTo>
                      <a:lnTo>
                        <a:pt x="97" y="119"/>
                      </a:lnTo>
                      <a:lnTo>
                        <a:pt x="92" y="117"/>
                      </a:lnTo>
                      <a:lnTo>
                        <a:pt x="90" y="117"/>
                      </a:lnTo>
                      <a:lnTo>
                        <a:pt x="85" y="114"/>
                      </a:lnTo>
                      <a:lnTo>
                        <a:pt x="85" y="114"/>
                      </a:lnTo>
                      <a:lnTo>
                        <a:pt x="82" y="114"/>
                      </a:lnTo>
                      <a:lnTo>
                        <a:pt x="80" y="114"/>
                      </a:lnTo>
                      <a:lnTo>
                        <a:pt x="80" y="112"/>
                      </a:lnTo>
                      <a:lnTo>
                        <a:pt x="78" y="109"/>
                      </a:lnTo>
                      <a:lnTo>
                        <a:pt x="68" y="107"/>
                      </a:lnTo>
                      <a:lnTo>
                        <a:pt x="68" y="109"/>
                      </a:lnTo>
                      <a:lnTo>
                        <a:pt x="68" y="109"/>
                      </a:lnTo>
                      <a:lnTo>
                        <a:pt x="64" y="109"/>
                      </a:lnTo>
                      <a:lnTo>
                        <a:pt x="59" y="109"/>
                      </a:lnTo>
                      <a:lnTo>
                        <a:pt x="49" y="107"/>
                      </a:lnTo>
                      <a:lnTo>
                        <a:pt x="45" y="107"/>
                      </a:lnTo>
                      <a:lnTo>
                        <a:pt x="42" y="102"/>
                      </a:lnTo>
                      <a:lnTo>
                        <a:pt x="42" y="100"/>
                      </a:lnTo>
                      <a:lnTo>
                        <a:pt x="42" y="100"/>
                      </a:lnTo>
                      <a:lnTo>
                        <a:pt x="45" y="98"/>
                      </a:lnTo>
                      <a:lnTo>
                        <a:pt x="45" y="98"/>
                      </a:lnTo>
                      <a:lnTo>
                        <a:pt x="47" y="95"/>
                      </a:lnTo>
                      <a:lnTo>
                        <a:pt x="45" y="93"/>
                      </a:lnTo>
                      <a:lnTo>
                        <a:pt x="45" y="91"/>
                      </a:lnTo>
                      <a:lnTo>
                        <a:pt x="45" y="91"/>
                      </a:lnTo>
                      <a:lnTo>
                        <a:pt x="45" y="88"/>
                      </a:lnTo>
                      <a:lnTo>
                        <a:pt x="42" y="86"/>
                      </a:lnTo>
                      <a:lnTo>
                        <a:pt x="42" y="86"/>
                      </a:lnTo>
                      <a:lnTo>
                        <a:pt x="40" y="83"/>
                      </a:lnTo>
                      <a:lnTo>
                        <a:pt x="38" y="83"/>
                      </a:lnTo>
                      <a:lnTo>
                        <a:pt x="38" y="81"/>
                      </a:lnTo>
                      <a:lnTo>
                        <a:pt x="38" y="79"/>
                      </a:lnTo>
                      <a:lnTo>
                        <a:pt x="35" y="76"/>
                      </a:lnTo>
                      <a:lnTo>
                        <a:pt x="35" y="76"/>
                      </a:lnTo>
                      <a:lnTo>
                        <a:pt x="35" y="74"/>
                      </a:lnTo>
                      <a:lnTo>
                        <a:pt x="33" y="74"/>
                      </a:lnTo>
                      <a:lnTo>
                        <a:pt x="30" y="72"/>
                      </a:lnTo>
                      <a:lnTo>
                        <a:pt x="30" y="72"/>
                      </a:lnTo>
                      <a:lnTo>
                        <a:pt x="28" y="72"/>
                      </a:lnTo>
                      <a:lnTo>
                        <a:pt x="26" y="72"/>
                      </a:lnTo>
                      <a:lnTo>
                        <a:pt x="26" y="72"/>
                      </a:lnTo>
                      <a:lnTo>
                        <a:pt x="23" y="72"/>
                      </a:lnTo>
                      <a:lnTo>
                        <a:pt x="23" y="72"/>
                      </a:lnTo>
                      <a:lnTo>
                        <a:pt x="21" y="69"/>
                      </a:lnTo>
                      <a:lnTo>
                        <a:pt x="21" y="69"/>
                      </a:lnTo>
                      <a:lnTo>
                        <a:pt x="19" y="69"/>
                      </a:lnTo>
                      <a:lnTo>
                        <a:pt x="16" y="69"/>
                      </a:lnTo>
                      <a:lnTo>
                        <a:pt x="16" y="72"/>
                      </a:lnTo>
                      <a:lnTo>
                        <a:pt x="14" y="72"/>
                      </a:lnTo>
                      <a:lnTo>
                        <a:pt x="14" y="72"/>
                      </a:lnTo>
                      <a:lnTo>
                        <a:pt x="12" y="72"/>
                      </a:lnTo>
                      <a:lnTo>
                        <a:pt x="12" y="69"/>
                      </a:lnTo>
                      <a:lnTo>
                        <a:pt x="12" y="69"/>
                      </a:lnTo>
                      <a:lnTo>
                        <a:pt x="9" y="67"/>
                      </a:lnTo>
                      <a:lnTo>
                        <a:pt x="7" y="64"/>
                      </a:lnTo>
                      <a:lnTo>
                        <a:pt x="4" y="64"/>
                      </a:lnTo>
                      <a:lnTo>
                        <a:pt x="4" y="64"/>
                      </a:lnTo>
                      <a:lnTo>
                        <a:pt x="2" y="62"/>
                      </a:lnTo>
                      <a:lnTo>
                        <a:pt x="2" y="62"/>
                      </a:lnTo>
                      <a:lnTo>
                        <a:pt x="2" y="60"/>
                      </a:lnTo>
                      <a:lnTo>
                        <a:pt x="2" y="60"/>
                      </a:lnTo>
                      <a:lnTo>
                        <a:pt x="2" y="60"/>
                      </a:lnTo>
                      <a:lnTo>
                        <a:pt x="2" y="60"/>
                      </a:lnTo>
                      <a:lnTo>
                        <a:pt x="0" y="60"/>
                      </a:lnTo>
                      <a:lnTo>
                        <a:pt x="0" y="57"/>
                      </a:lnTo>
                      <a:lnTo>
                        <a:pt x="0" y="57"/>
                      </a:lnTo>
                      <a:lnTo>
                        <a:pt x="0" y="55"/>
                      </a:lnTo>
                      <a:lnTo>
                        <a:pt x="0" y="55"/>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Freeform 11">
                  <a:extLst>
                    <a:ext uri="{FF2B5EF4-FFF2-40B4-BE49-F238E27FC236}">
                      <a16:creationId xmlns:a16="http://schemas.microsoft.com/office/drawing/2014/main" id="{90C19EA9-E218-8A2D-E0A7-09BBB23D5F5A}"/>
                    </a:ext>
                  </a:extLst>
                </p:cNvPr>
                <p:cNvSpPr>
                  <a:spLocks noEditPoints="1"/>
                </p:cNvSpPr>
                <p:nvPr/>
              </p:nvSpPr>
              <p:spPr bwMode="auto">
                <a:xfrm>
                  <a:off x="2902" y="1334"/>
                  <a:ext cx="1491" cy="815"/>
                </a:xfrm>
                <a:custGeom>
                  <a:avLst/>
                  <a:gdLst>
                    <a:gd name="T0" fmla="*/ 482 w 630"/>
                    <a:gd name="T1" fmla="*/ 281 h 344"/>
                    <a:gd name="T2" fmla="*/ 440 w 630"/>
                    <a:gd name="T3" fmla="*/ 246 h 344"/>
                    <a:gd name="T4" fmla="*/ 393 w 630"/>
                    <a:gd name="T5" fmla="*/ 277 h 344"/>
                    <a:gd name="T6" fmla="*/ 306 w 630"/>
                    <a:gd name="T7" fmla="*/ 278 h 344"/>
                    <a:gd name="T8" fmla="*/ 215 w 630"/>
                    <a:gd name="T9" fmla="*/ 264 h 344"/>
                    <a:gd name="T10" fmla="*/ 158 w 630"/>
                    <a:gd name="T11" fmla="*/ 271 h 344"/>
                    <a:gd name="T12" fmla="*/ 107 w 630"/>
                    <a:gd name="T13" fmla="*/ 293 h 344"/>
                    <a:gd name="T14" fmla="*/ 91 w 630"/>
                    <a:gd name="T15" fmla="*/ 343 h 344"/>
                    <a:gd name="T16" fmla="*/ 53 w 630"/>
                    <a:gd name="T17" fmla="*/ 293 h 344"/>
                    <a:gd name="T18" fmla="*/ 9 w 630"/>
                    <a:gd name="T19" fmla="*/ 231 h 344"/>
                    <a:gd name="T20" fmla="*/ 17 w 630"/>
                    <a:gd name="T21" fmla="*/ 164 h 344"/>
                    <a:gd name="T22" fmla="*/ 23 w 630"/>
                    <a:gd name="T23" fmla="*/ 187 h 344"/>
                    <a:gd name="T24" fmla="*/ 64 w 630"/>
                    <a:gd name="T25" fmla="*/ 182 h 344"/>
                    <a:gd name="T26" fmla="*/ 98 w 630"/>
                    <a:gd name="T27" fmla="*/ 165 h 344"/>
                    <a:gd name="T28" fmla="*/ 155 w 630"/>
                    <a:gd name="T29" fmla="*/ 155 h 344"/>
                    <a:gd name="T30" fmla="*/ 172 w 630"/>
                    <a:gd name="T31" fmla="*/ 157 h 344"/>
                    <a:gd name="T32" fmla="*/ 188 w 630"/>
                    <a:gd name="T33" fmla="*/ 152 h 344"/>
                    <a:gd name="T34" fmla="*/ 182 w 630"/>
                    <a:gd name="T35" fmla="*/ 119 h 344"/>
                    <a:gd name="T36" fmla="*/ 189 w 630"/>
                    <a:gd name="T37" fmla="*/ 100 h 344"/>
                    <a:gd name="T38" fmla="*/ 208 w 630"/>
                    <a:gd name="T39" fmla="*/ 67 h 344"/>
                    <a:gd name="T40" fmla="*/ 237 w 630"/>
                    <a:gd name="T41" fmla="*/ 45 h 344"/>
                    <a:gd name="T42" fmla="*/ 277 w 630"/>
                    <a:gd name="T43" fmla="*/ 65 h 344"/>
                    <a:gd name="T44" fmla="*/ 294 w 630"/>
                    <a:gd name="T45" fmla="*/ 79 h 344"/>
                    <a:gd name="T46" fmla="*/ 355 w 630"/>
                    <a:gd name="T47" fmla="*/ 76 h 344"/>
                    <a:gd name="T48" fmla="*/ 400 w 630"/>
                    <a:gd name="T49" fmla="*/ 71 h 344"/>
                    <a:gd name="T50" fmla="*/ 442 w 630"/>
                    <a:gd name="T51" fmla="*/ 64 h 344"/>
                    <a:gd name="T52" fmla="*/ 536 w 630"/>
                    <a:gd name="T53" fmla="*/ 65 h 344"/>
                    <a:gd name="T54" fmla="*/ 596 w 630"/>
                    <a:gd name="T55" fmla="*/ 54 h 344"/>
                    <a:gd name="T56" fmla="*/ 623 w 630"/>
                    <a:gd name="T57" fmla="*/ 68 h 344"/>
                    <a:gd name="T58" fmla="*/ 606 w 630"/>
                    <a:gd name="T59" fmla="*/ 91 h 344"/>
                    <a:gd name="T60" fmla="*/ 609 w 630"/>
                    <a:gd name="T61" fmla="*/ 129 h 344"/>
                    <a:gd name="T62" fmla="*/ 577 w 630"/>
                    <a:gd name="T63" fmla="*/ 171 h 344"/>
                    <a:gd name="T64" fmla="*/ 588 w 630"/>
                    <a:gd name="T65" fmla="*/ 234 h 344"/>
                    <a:gd name="T66" fmla="*/ 564 w 630"/>
                    <a:gd name="T67" fmla="*/ 143 h 344"/>
                    <a:gd name="T68" fmla="*/ 537 w 630"/>
                    <a:gd name="T69" fmla="*/ 159 h 344"/>
                    <a:gd name="T70" fmla="*/ 503 w 630"/>
                    <a:gd name="T71" fmla="*/ 182 h 344"/>
                    <a:gd name="T72" fmla="*/ 496 w 630"/>
                    <a:gd name="T73" fmla="*/ 230 h 344"/>
                    <a:gd name="T74" fmla="*/ 500 w 630"/>
                    <a:gd name="T75" fmla="*/ 313 h 344"/>
                    <a:gd name="T76" fmla="*/ 43 w 630"/>
                    <a:gd name="T77" fmla="*/ 36 h 344"/>
                    <a:gd name="T78" fmla="*/ 58 w 630"/>
                    <a:gd name="T79" fmla="*/ 22 h 344"/>
                    <a:gd name="T80" fmla="*/ 54 w 630"/>
                    <a:gd name="T81" fmla="*/ 36 h 344"/>
                    <a:gd name="T82" fmla="*/ 57 w 630"/>
                    <a:gd name="T83" fmla="*/ 37 h 344"/>
                    <a:gd name="T84" fmla="*/ 70 w 630"/>
                    <a:gd name="T85" fmla="*/ 31 h 344"/>
                    <a:gd name="T86" fmla="*/ 90 w 630"/>
                    <a:gd name="T87" fmla="*/ 119 h 344"/>
                    <a:gd name="T88" fmla="*/ 110 w 630"/>
                    <a:gd name="T89" fmla="*/ 78 h 344"/>
                    <a:gd name="T90" fmla="*/ 86 w 630"/>
                    <a:gd name="T91" fmla="*/ 110 h 344"/>
                    <a:gd name="T92" fmla="*/ 82 w 630"/>
                    <a:gd name="T93" fmla="*/ 124 h 344"/>
                    <a:gd name="T94" fmla="*/ 104 w 630"/>
                    <a:gd name="T95" fmla="*/ 146 h 344"/>
                    <a:gd name="T96" fmla="*/ 202 w 630"/>
                    <a:gd name="T97" fmla="*/ 131 h 344"/>
                    <a:gd name="T98" fmla="*/ 158 w 630"/>
                    <a:gd name="T99" fmla="*/ 114 h 344"/>
                    <a:gd name="T100" fmla="*/ 170 w 630"/>
                    <a:gd name="T101" fmla="*/ 76 h 344"/>
                    <a:gd name="T102" fmla="*/ 205 w 630"/>
                    <a:gd name="T103" fmla="*/ 55 h 344"/>
                    <a:gd name="T104" fmla="*/ 156 w 630"/>
                    <a:gd name="T105" fmla="*/ 7 h 344"/>
                    <a:gd name="T106" fmla="*/ 180 w 630"/>
                    <a:gd name="T107" fmla="*/ 27 h 344"/>
                    <a:gd name="T108" fmla="*/ 388 w 630"/>
                    <a:gd name="T109" fmla="*/ 18 h 344"/>
                    <a:gd name="T110" fmla="*/ 352 w 630"/>
                    <a:gd name="T111" fmla="*/ 27 h 344"/>
                    <a:gd name="T112" fmla="*/ 210 w 630"/>
                    <a:gd name="T113" fmla="*/ 21 h 344"/>
                    <a:gd name="T114" fmla="*/ 286 w 630"/>
                    <a:gd name="T115" fmla="*/ 72 h 344"/>
                    <a:gd name="T116" fmla="*/ 497 w 630"/>
                    <a:gd name="T117" fmla="*/ 68 h 344"/>
                    <a:gd name="T118" fmla="*/ 533 w 630"/>
                    <a:gd name="T119" fmla="*/ 262 h 344"/>
                    <a:gd name="T120" fmla="*/ 528 w 630"/>
                    <a:gd name="T121" fmla="*/ 277 h 344"/>
                    <a:gd name="T122" fmla="*/ 582 w 630"/>
                    <a:gd name="T123" fmla="*/ 174 h 344"/>
                    <a:gd name="T124" fmla="*/ 579 w 630"/>
                    <a:gd name="T125" fmla="*/ 26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30" h="344">
                      <a:moveTo>
                        <a:pt x="488" y="316"/>
                      </a:moveTo>
                      <a:cubicBezTo>
                        <a:pt x="488" y="316"/>
                        <a:pt x="488" y="316"/>
                        <a:pt x="488" y="316"/>
                      </a:cubicBezTo>
                      <a:cubicBezTo>
                        <a:pt x="487" y="315"/>
                        <a:pt x="487" y="315"/>
                        <a:pt x="487" y="315"/>
                      </a:cubicBezTo>
                      <a:cubicBezTo>
                        <a:pt x="487" y="315"/>
                        <a:pt x="487" y="315"/>
                        <a:pt x="487" y="315"/>
                      </a:cubicBezTo>
                      <a:cubicBezTo>
                        <a:pt x="488" y="314"/>
                        <a:pt x="488" y="314"/>
                        <a:pt x="488" y="314"/>
                      </a:cubicBezTo>
                      <a:cubicBezTo>
                        <a:pt x="488" y="314"/>
                        <a:pt x="488" y="314"/>
                        <a:pt x="488" y="314"/>
                      </a:cubicBezTo>
                      <a:cubicBezTo>
                        <a:pt x="487" y="314"/>
                        <a:pt x="487" y="314"/>
                        <a:pt x="487" y="314"/>
                      </a:cubicBezTo>
                      <a:cubicBezTo>
                        <a:pt x="487" y="313"/>
                        <a:pt x="487" y="313"/>
                        <a:pt x="487" y="313"/>
                      </a:cubicBezTo>
                      <a:cubicBezTo>
                        <a:pt x="487" y="313"/>
                        <a:pt x="487" y="313"/>
                        <a:pt x="487" y="313"/>
                      </a:cubicBezTo>
                      <a:cubicBezTo>
                        <a:pt x="488" y="312"/>
                        <a:pt x="488" y="312"/>
                        <a:pt x="488" y="312"/>
                      </a:cubicBezTo>
                      <a:cubicBezTo>
                        <a:pt x="489" y="312"/>
                        <a:pt x="489" y="312"/>
                        <a:pt x="489" y="312"/>
                      </a:cubicBezTo>
                      <a:cubicBezTo>
                        <a:pt x="489" y="312"/>
                        <a:pt x="489" y="312"/>
                        <a:pt x="489" y="312"/>
                      </a:cubicBezTo>
                      <a:cubicBezTo>
                        <a:pt x="489" y="312"/>
                        <a:pt x="489" y="312"/>
                        <a:pt x="489" y="312"/>
                      </a:cubicBezTo>
                      <a:cubicBezTo>
                        <a:pt x="489" y="311"/>
                        <a:pt x="489" y="311"/>
                        <a:pt x="489" y="311"/>
                      </a:cubicBezTo>
                      <a:cubicBezTo>
                        <a:pt x="489" y="311"/>
                        <a:pt x="489" y="311"/>
                        <a:pt x="489" y="311"/>
                      </a:cubicBezTo>
                      <a:cubicBezTo>
                        <a:pt x="489" y="310"/>
                        <a:pt x="489" y="310"/>
                        <a:pt x="489" y="310"/>
                      </a:cubicBezTo>
                      <a:cubicBezTo>
                        <a:pt x="489" y="309"/>
                        <a:pt x="489" y="309"/>
                        <a:pt x="489" y="309"/>
                      </a:cubicBezTo>
                      <a:cubicBezTo>
                        <a:pt x="489" y="309"/>
                        <a:pt x="489" y="309"/>
                        <a:pt x="489" y="309"/>
                      </a:cubicBezTo>
                      <a:cubicBezTo>
                        <a:pt x="489" y="308"/>
                        <a:pt x="489" y="308"/>
                        <a:pt x="489" y="308"/>
                      </a:cubicBezTo>
                      <a:cubicBezTo>
                        <a:pt x="489" y="307"/>
                        <a:pt x="489" y="307"/>
                        <a:pt x="489" y="307"/>
                      </a:cubicBezTo>
                      <a:cubicBezTo>
                        <a:pt x="489" y="306"/>
                        <a:pt x="489" y="306"/>
                        <a:pt x="489" y="306"/>
                      </a:cubicBezTo>
                      <a:cubicBezTo>
                        <a:pt x="488" y="305"/>
                        <a:pt x="488" y="305"/>
                        <a:pt x="488" y="305"/>
                      </a:cubicBezTo>
                      <a:cubicBezTo>
                        <a:pt x="489" y="304"/>
                        <a:pt x="489" y="304"/>
                        <a:pt x="489" y="304"/>
                      </a:cubicBezTo>
                      <a:cubicBezTo>
                        <a:pt x="488" y="303"/>
                        <a:pt x="488" y="303"/>
                        <a:pt x="488" y="303"/>
                      </a:cubicBezTo>
                      <a:cubicBezTo>
                        <a:pt x="488" y="303"/>
                        <a:pt x="488" y="303"/>
                        <a:pt x="488" y="303"/>
                      </a:cubicBezTo>
                      <a:cubicBezTo>
                        <a:pt x="487" y="302"/>
                        <a:pt x="487" y="302"/>
                        <a:pt x="487" y="302"/>
                      </a:cubicBezTo>
                      <a:cubicBezTo>
                        <a:pt x="486" y="301"/>
                        <a:pt x="486" y="301"/>
                        <a:pt x="486" y="301"/>
                      </a:cubicBezTo>
                      <a:cubicBezTo>
                        <a:pt x="486" y="300"/>
                        <a:pt x="486" y="300"/>
                        <a:pt x="486" y="300"/>
                      </a:cubicBezTo>
                      <a:cubicBezTo>
                        <a:pt x="486" y="300"/>
                        <a:pt x="486" y="300"/>
                        <a:pt x="486" y="300"/>
                      </a:cubicBezTo>
                      <a:cubicBezTo>
                        <a:pt x="487" y="299"/>
                        <a:pt x="487" y="299"/>
                        <a:pt x="487" y="299"/>
                      </a:cubicBezTo>
                      <a:cubicBezTo>
                        <a:pt x="487" y="299"/>
                        <a:pt x="487" y="299"/>
                        <a:pt x="487" y="299"/>
                      </a:cubicBezTo>
                      <a:cubicBezTo>
                        <a:pt x="488" y="299"/>
                        <a:pt x="488" y="299"/>
                        <a:pt x="488" y="299"/>
                      </a:cubicBezTo>
                      <a:cubicBezTo>
                        <a:pt x="488" y="298"/>
                        <a:pt x="488" y="298"/>
                        <a:pt x="488" y="298"/>
                      </a:cubicBezTo>
                      <a:cubicBezTo>
                        <a:pt x="489" y="297"/>
                        <a:pt x="489" y="297"/>
                        <a:pt x="489" y="297"/>
                      </a:cubicBezTo>
                      <a:cubicBezTo>
                        <a:pt x="489" y="297"/>
                        <a:pt x="489" y="297"/>
                        <a:pt x="489" y="297"/>
                      </a:cubicBezTo>
                      <a:cubicBezTo>
                        <a:pt x="490" y="297"/>
                        <a:pt x="490" y="297"/>
                        <a:pt x="490" y="297"/>
                      </a:cubicBezTo>
                      <a:cubicBezTo>
                        <a:pt x="491" y="297"/>
                        <a:pt x="491" y="297"/>
                        <a:pt x="491" y="297"/>
                      </a:cubicBezTo>
                      <a:cubicBezTo>
                        <a:pt x="494" y="298"/>
                        <a:pt x="494" y="298"/>
                        <a:pt x="494" y="298"/>
                      </a:cubicBezTo>
                      <a:cubicBezTo>
                        <a:pt x="494" y="298"/>
                        <a:pt x="494" y="298"/>
                        <a:pt x="494" y="298"/>
                      </a:cubicBezTo>
                      <a:cubicBezTo>
                        <a:pt x="495" y="298"/>
                        <a:pt x="495" y="298"/>
                        <a:pt x="495" y="298"/>
                      </a:cubicBezTo>
                      <a:cubicBezTo>
                        <a:pt x="495" y="297"/>
                        <a:pt x="495" y="297"/>
                        <a:pt x="495" y="297"/>
                      </a:cubicBezTo>
                      <a:cubicBezTo>
                        <a:pt x="495" y="297"/>
                        <a:pt x="495" y="297"/>
                        <a:pt x="495" y="297"/>
                      </a:cubicBezTo>
                      <a:cubicBezTo>
                        <a:pt x="495" y="296"/>
                        <a:pt x="495" y="296"/>
                        <a:pt x="495" y="296"/>
                      </a:cubicBezTo>
                      <a:cubicBezTo>
                        <a:pt x="494" y="296"/>
                        <a:pt x="494" y="296"/>
                        <a:pt x="494" y="296"/>
                      </a:cubicBezTo>
                      <a:cubicBezTo>
                        <a:pt x="495" y="295"/>
                        <a:pt x="495" y="295"/>
                        <a:pt x="495" y="295"/>
                      </a:cubicBezTo>
                      <a:cubicBezTo>
                        <a:pt x="494" y="295"/>
                        <a:pt x="494" y="295"/>
                        <a:pt x="494" y="295"/>
                      </a:cubicBezTo>
                      <a:cubicBezTo>
                        <a:pt x="494" y="295"/>
                        <a:pt x="494" y="295"/>
                        <a:pt x="494" y="295"/>
                      </a:cubicBezTo>
                      <a:cubicBezTo>
                        <a:pt x="495" y="294"/>
                        <a:pt x="495" y="294"/>
                        <a:pt x="495" y="294"/>
                      </a:cubicBezTo>
                      <a:cubicBezTo>
                        <a:pt x="495" y="293"/>
                        <a:pt x="495" y="293"/>
                        <a:pt x="495" y="293"/>
                      </a:cubicBezTo>
                      <a:cubicBezTo>
                        <a:pt x="495" y="293"/>
                        <a:pt x="495" y="293"/>
                        <a:pt x="495" y="293"/>
                      </a:cubicBezTo>
                      <a:cubicBezTo>
                        <a:pt x="495" y="292"/>
                        <a:pt x="495" y="292"/>
                        <a:pt x="495" y="292"/>
                      </a:cubicBezTo>
                      <a:cubicBezTo>
                        <a:pt x="495" y="292"/>
                        <a:pt x="495" y="292"/>
                        <a:pt x="495" y="292"/>
                      </a:cubicBezTo>
                      <a:cubicBezTo>
                        <a:pt x="495" y="292"/>
                        <a:pt x="495" y="292"/>
                        <a:pt x="495" y="292"/>
                      </a:cubicBezTo>
                      <a:cubicBezTo>
                        <a:pt x="495" y="291"/>
                        <a:pt x="495" y="291"/>
                        <a:pt x="495" y="291"/>
                      </a:cubicBezTo>
                      <a:cubicBezTo>
                        <a:pt x="495" y="291"/>
                        <a:pt x="495" y="291"/>
                        <a:pt x="495" y="291"/>
                      </a:cubicBezTo>
                      <a:cubicBezTo>
                        <a:pt x="495" y="290"/>
                        <a:pt x="495" y="290"/>
                        <a:pt x="495" y="290"/>
                      </a:cubicBezTo>
                      <a:cubicBezTo>
                        <a:pt x="495" y="290"/>
                        <a:pt x="495" y="290"/>
                        <a:pt x="495" y="290"/>
                      </a:cubicBezTo>
                      <a:cubicBezTo>
                        <a:pt x="496" y="289"/>
                        <a:pt x="496" y="289"/>
                        <a:pt x="496" y="289"/>
                      </a:cubicBezTo>
                      <a:cubicBezTo>
                        <a:pt x="496" y="289"/>
                        <a:pt x="496" y="289"/>
                        <a:pt x="496" y="289"/>
                      </a:cubicBezTo>
                      <a:cubicBezTo>
                        <a:pt x="495" y="289"/>
                        <a:pt x="495" y="289"/>
                        <a:pt x="495" y="289"/>
                      </a:cubicBezTo>
                      <a:cubicBezTo>
                        <a:pt x="495" y="288"/>
                        <a:pt x="495" y="288"/>
                        <a:pt x="495" y="288"/>
                      </a:cubicBezTo>
                      <a:cubicBezTo>
                        <a:pt x="495" y="287"/>
                        <a:pt x="495" y="287"/>
                        <a:pt x="495" y="287"/>
                      </a:cubicBezTo>
                      <a:cubicBezTo>
                        <a:pt x="495" y="287"/>
                        <a:pt x="495" y="287"/>
                        <a:pt x="495" y="287"/>
                      </a:cubicBezTo>
                      <a:cubicBezTo>
                        <a:pt x="495" y="286"/>
                        <a:pt x="495" y="286"/>
                        <a:pt x="495" y="286"/>
                      </a:cubicBezTo>
                      <a:cubicBezTo>
                        <a:pt x="495" y="286"/>
                        <a:pt x="495" y="286"/>
                        <a:pt x="495" y="286"/>
                      </a:cubicBezTo>
                      <a:cubicBezTo>
                        <a:pt x="495" y="286"/>
                        <a:pt x="495" y="286"/>
                        <a:pt x="495" y="286"/>
                      </a:cubicBezTo>
                      <a:cubicBezTo>
                        <a:pt x="495" y="285"/>
                        <a:pt x="495" y="285"/>
                        <a:pt x="495" y="285"/>
                      </a:cubicBezTo>
                      <a:cubicBezTo>
                        <a:pt x="495" y="285"/>
                        <a:pt x="495" y="285"/>
                        <a:pt x="495" y="285"/>
                      </a:cubicBezTo>
                      <a:cubicBezTo>
                        <a:pt x="494" y="285"/>
                        <a:pt x="494" y="285"/>
                        <a:pt x="494" y="285"/>
                      </a:cubicBezTo>
                      <a:cubicBezTo>
                        <a:pt x="495" y="284"/>
                        <a:pt x="495" y="284"/>
                        <a:pt x="495" y="284"/>
                      </a:cubicBezTo>
                      <a:cubicBezTo>
                        <a:pt x="495" y="283"/>
                        <a:pt x="495" y="283"/>
                        <a:pt x="495" y="283"/>
                      </a:cubicBezTo>
                      <a:cubicBezTo>
                        <a:pt x="495" y="283"/>
                        <a:pt x="495" y="283"/>
                        <a:pt x="495" y="283"/>
                      </a:cubicBezTo>
                      <a:cubicBezTo>
                        <a:pt x="494" y="283"/>
                        <a:pt x="494" y="283"/>
                        <a:pt x="494" y="283"/>
                      </a:cubicBezTo>
                      <a:cubicBezTo>
                        <a:pt x="494" y="282"/>
                        <a:pt x="494" y="282"/>
                        <a:pt x="494" y="282"/>
                      </a:cubicBezTo>
                      <a:cubicBezTo>
                        <a:pt x="495" y="282"/>
                        <a:pt x="495" y="282"/>
                        <a:pt x="495" y="282"/>
                      </a:cubicBezTo>
                      <a:cubicBezTo>
                        <a:pt x="496" y="281"/>
                        <a:pt x="496" y="281"/>
                        <a:pt x="496" y="281"/>
                      </a:cubicBezTo>
                      <a:cubicBezTo>
                        <a:pt x="496" y="281"/>
                        <a:pt x="496" y="281"/>
                        <a:pt x="496" y="281"/>
                      </a:cubicBezTo>
                      <a:cubicBezTo>
                        <a:pt x="496" y="280"/>
                        <a:pt x="496" y="280"/>
                        <a:pt x="496" y="280"/>
                      </a:cubicBezTo>
                      <a:cubicBezTo>
                        <a:pt x="496" y="279"/>
                        <a:pt x="496" y="279"/>
                        <a:pt x="496" y="279"/>
                      </a:cubicBezTo>
                      <a:cubicBezTo>
                        <a:pt x="495" y="279"/>
                        <a:pt x="495" y="279"/>
                        <a:pt x="495" y="279"/>
                      </a:cubicBezTo>
                      <a:cubicBezTo>
                        <a:pt x="495" y="279"/>
                        <a:pt x="495" y="279"/>
                        <a:pt x="495" y="279"/>
                      </a:cubicBezTo>
                      <a:cubicBezTo>
                        <a:pt x="495" y="278"/>
                        <a:pt x="495" y="278"/>
                        <a:pt x="495" y="278"/>
                      </a:cubicBezTo>
                      <a:cubicBezTo>
                        <a:pt x="494" y="277"/>
                        <a:pt x="494" y="277"/>
                        <a:pt x="494" y="277"/>
                      </a:cubicBezTo>
                      <a:cubicBezTo>
                        <a:pt x="494" y="277"/>
                        <a:pt x="494" y="277"/>
                        <a:pt x="494" y="277"/>
                      </a:cubicBezTo>
                      <a:cubicBezTo>
                        <a:pt x="494" y="276"/>
                        <a:pt x="494" y="276"/>
                        <a:pt x="494" y="276"/>
                      </a:cubicBezTo>
                      <a:cubicBezTo>
                        <a:pt x="494" y="276"/>
                        <a:pt x="494" y="276"/>
                        <a:pt x="494" y="276"/>
                      </a:cubicBezTo>
                      <a:cubicBezTo>
                        <a:pt x="494" y="275"/>
                        <a:pt x="494" y="275"/>
                        <a:pt x="494" y="275"/>
                      </a:cubicBezTo>
                      <a:cubicBezTo>
                        <a:pt x="493" y="275"/>
                        <a:pt x="493" y="275"/>
                        <a:pt x="493" y="275"/>
                      </a:cubicBezTo>
                      <a:cubicBezTo>
                        <a:pt x="492" y="275"/>
                        <a:pt x="492" y="275"/>
                        <a:pt x="492" y="275"/>
                      </a:cubicBezTo>
                      <a:cubicBezTo>
                        <a:pt x="491" y="274"/>
                        <a:pt x="491" y="274"/>
                        <a:pt x="491" y="274"/>
                      </a:cubicBezTo>
                      <a:cubicBezTo>
                        <a:pt x="491" y="275"/>
                        <a:pt x="491" y="275"/>
                        <a:pt x="491" y="275"/>
                      </a:cubicBezTo>
                      <a:cubicBezTo>
                        <a:pt x="490" y="275"/>
                        <a:pt x="490" y="275"/>
                        <a:pt x="490" y="275"/>
                      </a:cubicBezTo>
                      <a:cubicBezTo>
                        <a:pt x="490" y="275"/>
                        <a:pt x="490" y="275"/>
                        <a:pt x="490" y="275"/>
                      </a:cubicBezTo>
                      <a:cubicBezTo>
                        <a:pt x="489" y="276"/>
                        <a:pt x="489" y="276"/>
                        <a:pt x="489" y="276"/>
                      </a:cubicBezTo>
                      <a:cubicBezTo>
                        <a:pt x="489" y="276"/>
                        <a:pt x="489" y="276"/>
                        <a:pt x="489" y="276"/>
                      </a:cubicBezTo>
                      <a:cubicBezTo>
                        <a:pt x="488" y="276"/>
                        <a:pt x="488" y="276"/>
                        <a:pt x="488" y="276"/>
                      </a:cubicBezTo>
                      <a:cubicBezTo>
                        <a:pt x="488" y="277"/>
                        <a:pt x="488" y="277"/>
                        <a:pt x="488" y="277"/>
                      </a:cubicBezTo>
                      <a:cubicBezTo>
                        <a:pt x="487" y="277"/>
                        <a:pt x="487" y="277"/>
                        <a:pt x="487" y="277"/>
                      </a:cubicBezTo>
                      <a:cubicBezTo>
                        <a:pt x="487" y="277"/>
                        <a:pt x="487" y="277"/>
                        <a:pt x="487" y="277"/>
                      </a:cubicBezTo>
                      <a:cubicBezTo>
                        <a:pt x="486" y="278"/>
                        <a:pt x="486" y="278"/>
                        <a:pt x="486" y="278"/>
                      </a:cubicBezTo>
                      <a:cubicBezTo>
                        <a:pt x="486" y="279"/>
                        <a:pt x="486" y="279"/>
                        <a:pt x="486" y="279"/>
                      </a:cubicBezTo>
                      <a:cubicBezTo>
                        <a:pt x="486" y="279"/>
                        <a:pt x="486" y="279"/>
                        <a:pt x="486" y="279"/>
                      </a:cubicBezTo>
                      <a:cubicBezTo>
                        <a:pt x="486" y="280"/>
                        <a:pt x="486" y="280"/>
                        <a:pt x="486" y="280"/>
                      </a:cubicBezTo>
                      <a:cubicBezTo>
                        <a:pt x="486" y="280"/>
                        <a:pt x="486" y="280"/>
                        <a:pt x="486" y="280"/>
                      </a:cubicBezTo>
                      <a:cubicBezTo>
                        <a:pt x="485" y="280"/>
                        <a:pt x="485" y="280"/>
                        <a:pt x="485" y="280"/>
                      </a:cubicBezTo>
                      <a:cubicBezTo>
                        <a:pt x="484" y="281"/>
                        <a:pt x="484" y="281"/>
                        <a:pt x="484" y="281"/>
                      </a:cubicBezTo>
                      <a:cubicBezTo>
                        <a:pt x="483" y="281"/>
                        <a:pt x="483" y="281"/>
                        <a:pt x="483" y="281"/>
                      </a:cubicBezTo>
                      <a:cubicBezTo>
                        <a:pt x="483" y="281"/>
                        <a:pt x="483" y="281"/>
                        <a:pt x="483" y="281"/>
                      </a:cubicBezTo>
                      <a:cubicBezTo>
                        <a:pt x="482" y="281"/>
                        <a:pt x="482" y="281"/>
                        <a:pt x="482" y="281"/>
                      </a:cubicBezTo>
                      <a:cubicBezTo>
                        <a:pt x="482" y="281"/>
                        <a:pt x="482" y="281"/>
                        <a:pt x="482" y="281"/>
                      </a:cubicBezTo>
                      <a:cubicBezTo>
                        <a:pt x="481" y="282"/>
                        <a:pt x="481" y="282"/>
                        <a:pt x="481" y="282"/>
                      </a:cubicBezTo>
                      <a:cubicBezTo>
                        <a:pt x="481" y="281"/>
                        <a:pt x="481" y="281"/>
                        <a:pt x="481" y="281"/>
                      </a:cubicBezTo>
                      <a:cubicBezTo>
                        <a:pt x="480" y="280"/>
                        <a:pt x="480" y="280"/>
                        <a:pt x="480" y="280"/>
                      </a:cubicBezTo>
                      <a:cubicBezTo>
                        <a:pt x="480" y="280"/>
                        <a:pt x="480" y="280"/>
                        <a:pt x="480" y="280"/>
                      </a:cubicBezTo>
                      <a:cubicBezTo>
                        <a:pt x="479" y="281"/>
                        <a:pt x="479" y="281"/>
                        <a:pt x="479" y="281"/>
                      </a:cubicBezTo>
                      <a:cubicBezTo>
                        <a:pt x="478" y="281"/>
                        <a:pt x="478" y="281"/>
                        <a:pt x="478" y="281"/>
                      </a:cubicBezTo>
                      <a:cubicBezTo>
                        <a:pt x="478" y="281"/>
                        <a:pt x="478" y="281"/>
                        <a:pt x="478" y="281"/>
                      </a:cubicBezTo>
                      <a:cubicBezTo>
                        <a:pt x="477" y="280"/>
                        <a:pt x="477" y="280"/>
                        <a:pt x="477" y="280"/>
                      </a:cubicBezTo>
                      <a:cubicBezTo>
                        <a:pt x="477" y="280"/>
                        <a:pt x="477" y="280"/>
                        <a:pt x="477" y="280"/>
                      </a:cubicBezTo>
                      <a:cubicBezTo>
                        <a:pt x="476" y="278"/>
                        <a:pt x="476" y="278"/>
                        <a:pt x="476" y="278"/>
                      </a:cubicBezTo>
                      <a:cubicBezTo>
                        <a:pt x="476" y="278"/>
                        <a:pt x="476" y="278"/>
                        <a:pt x="476" y="278"/>
                      </a:cubicBezTo>
                      <a:cubicBezTo>
                        <a:pt x="476" y="278"/>
                        <a:pt x="476" y="278"/>
                        <a:pt x="476" y="278"/>
                      </a:cubicBezTo>
                      <a:cubicBezTo>
                        <a:pt x="476" y="277"/>
                        <a:pt x="476" y="277"/>
                        <a:pt x="476" y="277"/>
                      </a:cubicBezTo>
                      <a:cubicBezTo>
                        <a:pt x="476" y="276"/>
                        <a:pt x="476" y="276"/>
                        <a:pt x="476" y="276"/>
                      </a:cubicBezTo>
                      <a:cubicBezTo>
                        <a:pt x="476" y="275"/>
                        <a:pt x="476" y="275"/>
                        <a:pt x="476" y="275"/>
                      </a:cubicBezTo>
                      <a:cubicBezTo>
                        <a:pt x="475" y="275"/>
                        <a:pt x="475" y="275"/>
                        <a:pt x="475" y="275"/>
                      </a:cubicBezTo>
                      <a:cubicBezTo>
                        <a:pt x="475" y="275"/>
                        <a:pt x="475" y="275"/>
                        <a:pt x="475" y="275"/>
                      </a:cubicBezTo>
                      <a:cubicBezTo>
                        <a:pt x="475" y="274"/>
                        <a:pt x="475" y="274"/>
                        <a:pt x="475" y="274"/>
                      </a:cubicBezTo>
                      <a:cubicBezTo>
                        <a:pt x="475" y="274"/>
                        <a:pt x="475" y="274"/>
                        <a:pt x="475" y="274"/>
                      </a:cubicBezTo>
                      <a:cubicBezTo>
                        <a:pt x="475" y="273"/>
                        <a:pt x="475" y="273"/>
                        <a:pt x="475" y="273"/>
                      </a:cubicBezTo>
                      <a:cubicBezTo>
                        <a:pt x="475" y="273"/>
                        <a:pt x="475" y="273"/>
                        <a:pt x="475" y="273"/>
                      </a:cubicBezTo>
                      <a:cubicBezTo>
                        <a:pt x="475" y="273"/>
                        <a:pt x="475" y="273"/>
                        <a:pt x="475" y="273"/>
                      </a:cubicBezTo>
                      <a:cubicBezTo>
                        <a:pt x="474" y="273"/>
                        <a:pt x="474" y="273"/>
                        <a:pt x="474" y="273"/>
                      </a:cubicBezTo>
                      <a:cubicBezTo>
                        <a:pt x="474" y="274"/>
                        <a:pt x="474" y="274"/>
                        <a:pt x="474" y="274"/>
                      </a:cubicBezTo>
                      <a:cubicBezTo>
                        <a:pt x="473" y="274"/>
                        <a:pt x="473" y="274"/>
                        <a:pt x="473" y="274"/>
                      </a:cubicBezTo>
                      <a:cubicBezTo>
                        <a:pt x="472" y="274"/>
                        <a:pt x="472" y="274"/>
                        <a:pt x="472" y="274"/>
                      </a:cubicBezTo>
                      <a:cubicBezTo>
                        <a:pt x="472" y="273"/>
                        <a:pt x="472" y="273"/>
                        <a:pt x="472" y="273"/>
                      </a:cubicBezTo>
                      <a:cubicBezTo>
                        <a:pt x="472" y="273"/>
                        <a:pt x="472" y="273"/>
                        <a:pt x="472" y="273"/>
                      </a:cubicBezTo>
                      <a:cubicBezTo>
                        <a:pt x="471" y="273"/>
                        <a:pt x="471" y="273"/>
                        <a:pt x="471" y="273"/>
                      </a:cubicBezTo>
                      <a:cubicBezTo>
                        <a:pt x="470" y="273"/>
                        <a:pt x="470" y="273"/>
                        <a:pt x="470" y="273"/>
                      </a:cubicBezTo>
                      <a:cubicBezTo>
                        <a:pt x="470" y="272"/>
                        <a:pt x="470" y="272"/>
                        <a:pt x="470" y="272"/>
                      </a:cubicBezTo>
                      <a:cubicBezTo>
                        <a:pt x="470" y="272"/>
                        <a:pt x="470" y="272"/>
                        <a:pt x="470" y="272"/>
                      </a:cubicBezTo>
                      <a:cubicBezTo>
                        <a:pt x="469" y="272"/>
                        <a:pt x="469" y="272"/>
                        <a:pt x="469" y="272"/>
                      </a:cubicBezTo>
                      <a:cubicBezTo>
                        <a:pt x="469" y="271"/>
                        <a:pt x="469" y="271"/>
                        <a:pt x="469" y="271"/>
                      </a:cubicBezTo>
                      <a:cubicBezTo>
                        <a:pt x="469" y="271"/>
                        <a:pt x="469" y="271"/>
                        <a:pt x="469" y="271"/>
                      </a:cubicBezTo>
                      <a:cubicBezTo>
                        <a:pt x="468" y="271"/>
                        <a:pt x="468" y="271"/>
                        <a:pt x="468" y="271"/>
                      </a:cubicBezTo>
                      <a:cubicBezTo>
                        <a:pt x="468" y="270"/>
                        <a:pt x="468" y="270"/>
                        <a:pt x="468" y="270"/>
                      </a:cubicBezTo>
                      <a:cubicBezTo>
                        <a:pt x="468" y="270"/>
                        <a:pt x="468" y="270"/>
                        <a:pt x="468" y="270"/>
                      </a:cubicBezTo>
                      <a:cubicBezTo>
                        <a:pt x="467" y="270"/>
                        <a:pt x="467" y="270"/>
                        <a:pt x="467" y="270"/>
                      </a:cubicBezTo>
                      <a:cubicBezTo>
                        <a:pt x="467" y="270"/>
                        <a:pt x="467" y="270"/>
                        <a:pt x="467" y="270"/>
                      </a:cubicBezTo>
                      <a:cubicBezTo>
                        <a:pt x="467" y="270"/>
                        <a:pt x="467" y="270"/>
                        <a:pt x="467" y="270"/>
                      </a:cubicBezTo>
                      <a:cubicBezTo>
                        <a:pt x="466" y="270"/>
                        <a:pt x="466" y="270"/>
                        <a:pt x="466" y="270"/>
                      </a:cubicBezTo>
                      <a:cubicBezTo>
                        <a:pt x="466" y="270"/>
                        <a:pt x="466" y="270"/>
                        <a:pt x="466" y="270"/>
                      </a:cubicBezTo>
                      <a:cubicBezTo>
                        <a:pt x="465" y="271"/>
                        <a:pt x="465" y="271"/>
                        <a:pt x="465" y="271"/>
                      </a:cubicBezTo>
                      <a:cubicBezTo>
                        <a:pt x="465" y="270"/>
                        <a:pt x="465" y="270"/>
                        <a:pt x="465" y="270"/>
                      </a:cubicBezTo>
                      <a:cubicBezTo>
                        <a:pt x="465" y="270"/>
                        <a:pt x="465" y="270"/>
                        <a:pt x="465" y="270"/>
                      </a:cubicBezTo>
                      <a:cubicBezTo>
                        <a:pt x="464" y="270"/>
                        <a:pt x="464" y="270"/>
                        <a:pt x="464" y="270"/>
                      </a:cubicBezTo>
                      <a:cubicBezTo>
                        <a:pt x="463" y="270"/>
                        <a:pt x="463" y="270"/>
                        <a:pt x="463" y="270"/>
                      </a:cubicBezTo>
                      <a:cubicBezTo>
                        <a:pt x="463" y="269"/>
                        <a:pt x="463" y="269"/>
                        <a:pt x="463" y="269"/>
                      </a:cubicBezTo>
                      <a:cubicBezTo>
                        <a:pt x="463" y="269"/>
                        <a:pt x="463" y="269"/>
                        <a:pt x="463" y="269"/>
                      </a:cubicBezTo>
                      <a:cubicBezTo>
                        <a:pt x="463" y="269"/>
                        <a:pt x="463" y="269"/>
                        <a:pt x="463" y="269"/>
                      </a:cubicBezTo>
                      <a:cubicBezTo>
                        <a:pt x="462" y="269"/>
                        <a:pt x="462" y="269"/>
                        <a:pt x="462" y="269"/>
                      </a:cubicBezTo>
                      <a:cubicBezTo>
                        <a:pt x="462" y="269"/>
                        <a:pt x="462" y="269"/>
                        <a:pt x="462" y="269"/>
                      </a:cubicBezTo>
                      <a:cubicBezTo>
                        <a:pt x="461" y="269"/>
                        <a:pt x="461" y="269"/>
                        <a:pt x="461" y="269"/>
                      </a:cubicBezTo>
                      <a:cubicBezTo>
                        <a:pt x="461" y="269"/>
                        <a:pt x="461" y="269"/>
                        <a:pt x="461" y="269"/>
                      </a:cubicBezTo>
                      <a:cubicBezTo>
                        <a:pt x="460" y="269"/>
                        <a:pt x="460" y="269"/>
                        <a:pt x="460" y="269"/>
                      </a:cubicBezTo>
                      <a:cubicBezTo>
                        <a:pt x="460" y="269"/>
                        <a:pt x="460" y="269"/>
                        <a:pt x="460" y="269"/>
                      </a:cubicBezTo>
                      <a:cubicBezTo>
                        <a:pt x="459" y="269"/>
                        <a:pt x="459" y="269"/>
                        <a:pt x="459" y="269"/>
                      </a:cubicBezTo>
                      <a:cubicBezTo>
                        <a:pt x="459" y="268"/>
                        <a:pt x="459" y="268"/>
                        <a:pt x="459" y="268"/>
                      </a:cubicBezTo>
                      <a:cubicBezTo>
                        <a:pt x="458" y="268"/>
                        <a:pt x="458" y="268"/>
                        <a:pt x="458" y="268"/>
                      </a:cubicBezTo>
                      <a:cubicBezTo>
                        <a:pt x="457" y="267"/>
                        <a:pt x="457" y="267"/>
                        <a:pt x="457" y="267"/>
                      </a:cubicBezTo>
                      <a:cubicBezTo>
                        <a:pt x="456" y="266"/>
                        <a:pt x="456" y="266"/>
                        <a:pt x="456" y="266"/>
                      </a:cubicBezTo>
                      <a:cubicBezTo>
                        <a:pt x="456" y="266"/>
                        <a:pt x="456" y="266"/>
                        <a:pt x="456" y="266"/>
                      </a:cubicBezTo>
                      <a:cubicBezTo>
                        <a:pt x="456" y="265"/>
                        <a:pt x="456" y="265"/>
                        <a:pt x="456" y="265"/>
                      </a:cubicBezTo>
                      <a:cubicBezTo>
                        <a:pt x="456" y="265"/>
                        <a:pt x="456" y="265"/>
                        <a:pt x="456" y="265"/>
                      </a:cubicBezTo>
                      <a:cubicBezTo>
                        <a:pt x="455" y="265"/>
                        <a:pt x="455" y="265"/>
                        <a:pt x="455" y="265"/>
                      </a:cubicBezTo>
                      <a:cubicBezTo>
                        <a:pt x="455" y="264"/>
                        <a:pt x="455" y="264"/>
                        <a:pt x="455" y="264"/>
                      </a:cubicBezTo>
                      <a:cubicBezTo>
                        <a:pt x="455" y="263"/>
                        <a:pt x="455" y="263"/>
                        <a:pt x="455" y="263"/>
                      </a:cubicBezTo>
                      <a:cubicBezTo>
                        <a:pt x="454" y="263"/>
                        <a:pt x="454" y="263"/>
                        <a:pt x="454" y="263"/>
                      </a:cubicBezTo>
                      <a:cubicBezTo>
                        <a:pt x="454" y="262"/>
                        <a:pt x="454" y="262"/>
                        <a:pt x="454" y="262"/>
                      </a:cubicBezTo>
                      <a:cubicBezTo>
                        <a:pt x="452" y="261"/>
                        <a:pt x="452" y="261"/>
                        <a:pt x="452" y="261"/>
                      </a:cubicBezTo>
                      <a:cubicBezTo>
                        <a:pt x="452" y="260"/>
                        <a:pt x="452" y="260"/>
                        <a:pt x="452" y="260"/>
                      </a:cubicBezTo>
                      <a:cubicBezTo>
                        <a:pt x="451" y="259"/>
                        <a:pt x="451" y="259"/>
                        <a:pt x="451" y="259"/>
                      </a:cubicBezTo>
                      <a:cubicBezTo>
                        <a:pt x="451" y="258"/>
                        <a:pt x="451" y="258"/>
                        <a:pt x="451" y="258"/>
                      </a:cubicBezTo>
                      <a:cubicBezTo>
                        <a:pt x="450" y="259"/>
                        <a:pt x="450" y="259"/>
                        <a:pt x="450" y="259"/>
                      </a:cubicBezTo>
                      <a:cubicBezTo>
                        <a:pt x="450" y="258"/>
                        <a:pt x="450" y="258"/>
                        <a:pt x="450" y="258"/>
                      </a:cubicBezTo>
                      <a:cubicBezTo>
                        <a:pt x="450" y="258"/>
                        <a:pt x="450" y="258"/>
                        <a:pt x="450" y="258"/>
                      </a:cubicBezTo>
                      <a:cubicBezTo>
                        <a:pt x="450" y="258"/>
                        <a:pt x="450" y="258"/>
                        <a:pt x="450" y="258"/>
                      </a:cubicBezTo>
                      <a:cubicBezTo>
                        <a:pt x="450" y="257"/>
                        <a:pt x="450" y="257"/>
                        <a:pt x="450" y="257"/>
                      </a:cubicBezTo>
                      <a:cubicBezTo>
                        <a:pt x="449" y="257"/>
                        <a:pt x="449" y="257"/>
                        <a:pt x="449" y="257"/>
                      </a:cubicBezTo>
                      <a:cubicBezTo>
                        <a:pt x="449" y="256"/>
                        <a:pt x="449" y="256"/>
                        <a:pt x="449" y="256"/>
                      </a:cubicBezTo>
                      <a:cubicBezTo>
                        <a:pt x="449" y="256"/>
                        <a:pt x="449" y="256"/>
                        <a:pt x="449" y="256"/>
                      </a:cubicBezTo>
                      <a:cubicBezTo>
                        <a:pt x="448" y="255"/>
                        <a:pt x="448" y="255"/>
                        <a:pt x="448" y="255"/>
                      </a:cubicBezTo>
                      <a:cubicBezTo>
                        <a:pt x="448" y="254"/>
                        <a:pt x="448" y="254"/>
                        <a:pt x="448" y="254"/>
                      </a:cubicBezTo>
                      <a:cubicBezTo>
                        <a:pt x="447" y="254"/>
                        <a:pt x="447" y="254"/>
                        <a:pt x="447" y="254"/>
                      </a:cubicBezTo>
                      <a:cubicBezTo>
                        <a:pt x="447" y="253"/>
                        <a:pt x="447" y="253"/>
                        <a:pt x="447" y="253"/>
                      </a:cubicBezTo>
                      <a:cubicBezTo>
                        <a:pt x="447" y="253"/>
                        <a:pt x="447" y="253"/>
                        <a:pt x="447" y="253"/>
                      </a:cubicBezTo>
                      <a:cubicBezTo>
                        <a:pt x="447" y="252"/>
                        <a:pt x="447" y="252"/>
                        <a:pt x="447" y="252"/>
                      </a:cubicBezTo>
                      <a:cubicBezTo>
                        <a:pt x="446" y="252"/>
                        <a:pt x="446" y="252"/>
                        <a:pt x="446" y="252"/>
                      </a:cubicBezTo>
                      <a:cubicBezTo>
                        <a:pt x="445" y="252"/>
                        <a:pt x="445" y="252"/>
                        <a:pt x="445" y="252"/>
                      </a:cubicBezTo>
                      <a:cubicBezTo>
                        <a:pt x="445" y="251"/>
                        <a:pt x="445" y="251"/>
                        <a:pt x="445" y="251"/>
                      </a:cubicBezTo>
                      <a:cubicBezTo>
                        <a:pt x="445" y="251"/>
                        <a:pt x="445" y="251"/>
                        <a:pt x="445" y="251"/>
                      </a:cubicBezTo>
                      <a:cubicBezTo>
                        <a:pt x="445" y="250"/>
                        <a:pt x="445" y="250"/>
                        <a:pt x="445" y="250"/>
                      </a:cubicBezTo>
                      <a:cubicBezTo>
                        <a:pt x="445" y="250"/>
                        <a:pt x="445" y="250"/>
                        <a:pt x="445" y="250"/>
                      </a:cubicBezTo>
                      <a:cubicBezTo>
                        <a:pt x="444" y="250"/>
                        <a:pt x="444" y="250"/>
                        <a:pt x="444" y="250"/>
                      </a:cubicBezTo>
                      <a:cubicBezTo>
                        <a:pt x="444" y="249"/>
                        <a:pt x="444" y="249"/>
                        <a:pt x="444" y="249"/>
                      </a:cubicBezTo>
                      <a:cubicBezTo>
                        <a:pt x="444" y="249"/>
                        <a:pt x="444" y="249"/>
                        <a:pt x="444" y="249"/>
                      </a:cubicBezTo>
                      <a:cubicBezTo>
                        <a:pt x="443" y="249"/>
                        <a:pt x="443" y="249"/>
                        <a:pt x="443" y="249"/>
                      </a:cubicBezTo>
                      <a:cubicBezTo>
                        <a:pt x="443" y="249"/>
                        <a:pt x="443" y="249"/>
                        <a:pt x="443" y="249"/>
                      </a:cubicBezTo>
                      <a:cubicBezTo>
                        <a:pt x="442" y="248"/>
                        <a:pt x="442" y="248"/>
                        <a:pt x="442" y="248"/>
                      </a:cubicBezTo>
                      <a:cubicBezTo>
                        <a:pt x="443" y="248"/>
                        <a:pt x="443" y="248"/>
                        <a:pt x="443" y="248"/>
                      </a:cubicBezTo>
                      <a:cubicBezTo>
                        <a:pt x="443" y="248"/>
                        <a:pt x="443" y="248"/>
                        <a:pt x="443" y="248"/>
                      </a:cubicBezTo>
                      <a:cubicBezTo>
                        <a:pt x="442" y="247"/>
                        <a:pt x="442" y="247"/>
                        <a:pt x="442" y="247"/>
                      </a:cubicBezTo>
                      <a:cubicBezTo>
                        <a:pt x="441" y="248"/>
                        <a:pt x="441" y="248"/>
                        <a:pt x="441" y="248"/>
                      </a:cubicBezTo>
                      <a:cubicBezTo>
                        <a:pt x="441" y="247"/>
                        <a:pt x="441" y="247"/>
                        <a:pt x="441" y="247"/>
                      </a:cubicBezTo>
                      <a:cubicBezTo>
                        <a:pt x="441" y="247"/>
                        <a:pt x="441" y="247"/>
                        <a:pt x="441" y="247"/>
                      </a:cubicBezTo>
                      <a:cubicBezTo>
                        <a:pt x="441" y="247"/>
                        <a:pt x="441" y="247"/>
                        <a:pt x="441" y="247"/>
                      </a:cubicBezTo>
                      <a:cubicBezTo>
                        <a:pt x="441" y="247"/>
                        <a:pt x="441" y="247"/>
                        <a:pt x="441" y="247"/>
                      </a:cubicBezTo>
                      <a:cubicBezTo>
                        <a:pt x="440" y="246"/>
                        <a:pt x="440" y="246"/>
                        <a:pt x="440" y="246"/>
                      </a:cubicBezTo>
                      <a:cubicBezTo>
                        <a:pt x="440" y="246"/>
                        <a:pt x="440" y="246"/>
                        <a:pt x="440" y="246"/>
                      </a:cubicBezTo>
                      <a:cubicBezTo>
                        <a:pt x="439" y="246"/>
                        <a:pt x="439" y="246"/>
                        <a:pt x="439" y="246"/>
                      </a:cubicBezTo>
                      <a:cubicBezTo>
                        <a:pt x="439" y="245"/>
                        <a:pt x="439" y="245"/>
                        <a:pt x="439" y="245"/>
                      </a:cubicBezTo>
                      <a:cubicBezTo>
                        <a:pt x="438" y="246"/>
                        <a:pt x="438" y="246"/>
                        <a:pt x="438" y="246"/>
                      </a:cubicBezTo>
                      <a:cubicBezTo>
                        <a:pt x="438" y="246"/>
                        <a:pt x="438" y="246"/>
                        <a:pt x="438" y="246"/>
                      </a:cubicBezTo>
                      <a:cubicBezTo>
                        <a:pt x="437" y="245"/>
                        <a:pt x="437" y="245"/>
                        <a:pt x="437" y="245"/>
                      </a:cubicBezTo>
                      <a:cubicBezTo>
                        <a:pt x="437" y="246"/>
                        <a:pt x="437" y="246"/>
                        <a:pt x="437" y="246"/>
                      </a:cubicBezTo>
                      <a:cubicBezTo>
                        <a:pt x="437" y="246"/>
                        <a:pt x="437" y="246"/>
                        <a:pt x="437" y="246"/>
                      </a:cubicBezTo>
                      <a:cubicBezTo>
                        <a:pt x="437" y="246"/>
                        <a:pt x="437" y="246"/>
                        <a:pt x="437" y="246"/>
                      </a:cubicBezTo>
                      <a:cubicBezTo>
                        <a:pt x="436" y="246"/>
                        <a:pt x="436" y="246"/>
                        <a:pt x="436" y="246"/>
                      </a:cubicBezTo>
                      <a:cubicBezTo>
                        <a:pt x="435" y="246"/>
                        <a:pt x="435" y="246"/>
                        <a:pt x="435" y="246"/>
                      </a:cubicBezTo>
                      <a:cubicBezTo>
                        <a:pt x="435" y="246"/>
                        <a:pt x="435" y="246"/>
                        <a:pt x="435" y="246"/>
                      </a:cubicBezTo>
                      <a:cubicBezTo>
                        <a:pt x="434" y="246"/>
                        <a:pt x="434" y="246"/>
                        <a:pt x="434" y="246"/>
                      </a:cubicBezTo>
                      <a:cubicBezTo>
                        <a:pt x="433" y="246"/>
                        <a:pt x="433" y="246"/>
                        <a:pt x="433" y="246"/>
                      </a:cubicBezTo>
                      <a:cubicBezTo>
                        <a:pt x="433" y="245"/>
                        <a:pt x="433" y="245"/>
                        <a:pt x="433" y="245"/>
                      </a:cubicBezTo>
                      <a:cubicBezTo>
                        <a:pt x="431" y="245"/>
                        <a:pt x="431" y="245"/>
                        <a:pt x="431" y="245"/>
                      </a:cubicBezTo>
                      <a:cubicBezTo>
                        <a:pt x="431" y="245"/>
                        <a:pt x="431" y="245"/>
                        <a:pt x="431" y="245"/>
                      </a:cubicBezTo>
                      <a:cubicBezTo>
                        <a:pt x="430" y="244"/>
                        <a:pt x="430" y="244"/>
                        <a:pt x="430" y="244"/>
                      </a:cubicBezTo>
                      <a:cubicBezTo>
                        <a:pt x="429" y="244"/>
                        <a:pt x="429" y="244"/>
                        <a:pt x="429" y="244"/>
                      </a:cubicBezTo>
                      <a:cubicBezTo>
                        <a:pt x="429" y="244"/>
                        <a:pt x="429" y="244"/>
                        <a:pt x="429" y="244"/>
                      </a:cubicBezTo>
                      <a:cubicBezTo>
                        <a:pt x="428" y="245"/>
                        <a:pt x="428" y="245"/>
                        <a:pt x="428" y="245"/>
                      </a:cubicBezTo>
                      <a:cubicBezTo>
                        <a:pt x="427" y="245"/>
                        <a:pt x="427" y="245"/>
                        <a:pt x="427" y="245"/>
                      </a:cubicBezTo>
                      <a:cubicBezTo>
                        <a:pt x="427" y="245"/>
                        <a:pt x="427" y="245"/>
                        <a:pt x="427" y="245"/>
                      </a:cubicBezTo>
                      <a:cubicBezTo>
                        <a:pt x="427" y="246"/>
                        <a:pt x="427" y="246"/>
                        <a:pt x="427" y="246"/>
                      </a:cubicBezTo>
                      <a:cubicBezTo>
                        <a:pt x="426" y="246"/>
                        <a:pt x="426" y="246"/>
                        <a:pt x="426" y="246"/>
                      </a:cubicBezTo>
                      <a:cubicBezTo>
                        <a:pt x="425" y="246"/>
                        <a:pt x="425" y="246"/>
                        <a:pt x="425" y="246"/>
                      </a:cubicBezTo>
                      <a:cubicBezTo>
                        <a:pt x="424" y="246"/>
                        <a:pt x="424" y="246"/>
                        <a:pt x="424" y="246"/>
                      </a:cubicBezTo>
                      <a:cubicBezTo>
                        <a:pt x="424" y="246"/>
                        <a:pt x="424" y="246"/>
                        <a:pt x="424" y="246"/>
                      </a:cubicBezTo>
                      <a:cubicBezTo>
                        <a:pt x="423" y="246"/>
                        <a:pt x="423" y="246"/>
                        <a:pt x="423" y="246"/>
                      </a:cubicBezTo>
                      <a:cubicBezTo>
                        <a:pt x="422" y="247"/>
                        <a:pt x="422" y="247"/>
                        <a:pt x="422" y="247"/>
                      </a:cubicBezTo>
                      <a:cubicBezTo>
                        <a:pt x="422" y="247"/>
                        <a:pt x="422" y="247"/>
                        <a:pt x="422" y="247"/>
                      </a:cubicBezTo>
                      <a:cubicBezTo>
                        <a:pt x="421" y="247"/>
                        <a:pt x="421" y="247"/>
                        <a:pt x="421" y="247"/>
                      </a:cubicBezTo>
                      <a:cubicBezTo>
                        <a:pt x="421" y="247"/>
                        <a:pt x="421" y="247"/>
                        <a:pt x="421" y="247"/>
                      </a:cubicBezTo>
                      <a:cubicBezTo>
                        <a:pt x="420" y="247"/>
                        <a:pt x="420" y="247"/>
                        <a:pt x="420" y="247"/>
                      </a:cubicBezTo>
                      <a:cubicBezTo>
                        <a:pt x="420" y="247"/>
                        <a:pt x="420" y="247"/>
                        <a:pt x="420" y="247"/>
                      </a:cubicBezTo>
                      <a:cubicBezTo>
                        <a:pt x="418" y="247"/>
                        <a:pt x="418" y="247"/>
                        <a:pt x="418" y="247"/>
                      </a:cubicBezTo>
                      <a:cubicBezTo>
                        <a:pt x="418" y="248"/>
                        <a:pt x="418" y="248"/>
                        <a:pt x="418" y="248"/>
                      </a:cubicBezTo>
                      <a:cubicBezTo>
                        <a:pt x="418" y="248"/>
                        <a:pt x="418" y="248"/>
                        <a:pt x="418" y="248"/>
                      </a:cubicBezTo>
                      <a:cubicBezTo>
                        <a:pt x="417" y="249"/>
                        <a:pt x="417" y="249"/>
                        <a:pt x="417" y="249"/>
                      </a:cubicBezTo>
                      <a:cubicBezTo>
                        <a:pt x="417" y="250"/>
                        <a:pt x="417" y="250"/>
                        <a:pt x="417" y="250"/>
                      </a:cubicBezTo>
                      <a:cubicBezTo>
                        <a:pt x="416" y="250"/>
                        <a:pt x="416" y="250"/>
                        <a:pt x="416" y="250"/>
                      </a:cubicBezTo>
                      <a:cubicBezTo>
                        <a:pt x="416" y="251"/>
                        <a:pt x="416" y="251"/>
                        <a:pt x="416" y="251"/>
                      </a:cubicBezTo>
                      <a:cubicBezTo>
                        <a:pt x="416" y="251"/>
                        <a:pt x="416" y="251"/>
                        <a:pt x="416" y="251"/>
                      </a:cubicBezTo>
                      <a:cubicBezTo>
                        <a:pt x="416" y="252"/>
                        <a:pt x="416" y="252"/>
                        <a:pt x="416" y="252"/>
                      </a:cubicBezTo>
                      <a:cubicBezTo>
                        <a:pt x="416" y="253"/>
                        <a:pt x="416" y="253"/>
                        <a:pt x="416" y="253"/>
                      </a:cubicBezTo>
                      <a:cubicBezTo>
                        <a:pt x="417" y="253"/>
                        <a:pt x="417" y="253"/>
                        <a:pt x="417" y="253"/>
                      </a:cubicBezTo>
                      <a:cubicBezTo>
                        <a:pt x="418" y="252"/>
                        <a:pt x="418" y="252"/>
                        <a:pt x="418" y="252"/>
                      </a:cubicBezTo>
                      <a:cubicBezTo>
                        <a:pt x="419" y="252"/>
                        <a:pt x="419" y="252"/>
                        <a:pt x="419" y="252"/>
                      </a:cubicBezTo>
                      <a:cubicBezTo>
                        <a:pt x="419" y="252"/>
                        <a:pt x="419" y="252"/>
                        <a:pt x="419" y="252"/>
                      </a:cubicBezTo>
                      <a:cubicBezTo>
                        <a:pt x="420" y="253"/>
                        <a:pt x="420" y="253"/>
                        <a:pt x="420" y="253"/>
                      </a:cubicBezTo>
                      <a:cubicBezTo>
                        <a:pt x="420" y="254"/>
                        <a:pt x="420" y="254"/>
                        <a:pt x="420" y="254"/>
                      </a:cubicBezTo>
                      <a:cubicBezTo>
                        <a:pt x="421" y="254"/>
                        <a:pt x="421" y="254"/>
                        <a:pt x="421" y="254"/>
                      </a:cubicBezTo>
                      <a:cubicBezTo>
                        <a:pt x="421" y="255"/>
                        <a:pt x="421" y="255"/>
                        <a:pt x="421" y="255"/>
                      </a:cubicBezTo>
                      <a:cubicBezTo>
                        <a:pt x="421" y="255"/>
                        <a:pt x="421" y="255"/>
                        <a:pt x="421" y="255"/>
                      </a:cubicBezTo>
                      <a:cubicBezTo>
                        <a:pt x="421" y="256"/>
                        <a:pt x="421" y="256"/>
                        <a:pt x="421" y="256"/>
                      </a:cubicBezTo>
                      <a:cubicBezTo>
                        <a:pt x="421" y="257"/>
                        <a:pt x="421" y="257"/>
                        <a:pt x="421" y="257"/>
                      </a:cubicBezTo>
                      <a:cubicBezTo>
                        <a:pt x="420" y="258"/>
                        <a:pt x="420" y="258"/>
                        <a:pt x="420" y="258"/>
                      </a:cubicBezTo>
                      <a:cubicBezTo>
                        <a:pt x="420" y="259"/>
                        <a:pt x="420" y="259"/>
                        <a:pt x="420" y="259"/>
                      </a:cubicBezTo>
                      <a:cubicBezTo>
                        <a:pt x="419" y="259"/>
                        <a:pt x="419" y="259"/>
                        <a:pt x="419" y="259"/>
                      </a:cubicBezTo>
                      <a:cubicBezTo>
                        <a:pt x="419" y="260"/>
                        <a:pt x="419" y="260"/>
                        <a:pt x="419" y="260"/>
                      </a:cubicBezTo>
                      <a:cubicBezTo>
                        <a:pt x="418" y="261"/>
                        <a:pt x="418" y="261"/>
                        <a:pt x="418" y="261"/>
                      </a:cubicBezTo>
                      <a:cubicBezTo>
                        <a:pt x="419" y="261"/>
                        <a:pt x="419" y="261"/>
                        <a:pt x="419" y="261"/>
                      </a:cubicBezTo>
                      <a:cubicBezTo>
                        <a:pt x="419" y="262"/>
                        <a:pt x="419" y="262"/>
                        <a:pt x="419" y="262"/>
                      </a:cubicBezTo>
                      <a:cubicBezTo>
                        <a:pt x="419" y="263"/>
                        <a:pt x="419" y="263"/>
                        <a:pt x="419" y="263"/>
                      </a:cubicBezTo>
                      <a:cubicBezTo>
                        <a:pt x="420" y="263"/>
                        <a:pt x="420" y="263"/>
                        <a:pt x="420" y="263"/>
                      </a:cubicBezTo>
                      <a:cubicBezTo>
                        <a:pt x="419" y="264"/>
                        <a:pt x="419" y="264"/>
                        <a:pt x="419" y="264"/>
                      </a:cubicBezTo>
                      <a:cubicBezTo>
                        <a:pt x="419" y="264"/>
                        <a:pt x="419" y="264"/>
                        <a:pt x="419" y="264"/>
                      </a:cubicBezTo>
                      <a:cubicBezTo>
                        <a:pt x="419" y="265"/>
                        <a:pt x="419" y="265"/>
                        <a:pt x="419" y="265"/>
                      </a:cubicBezTo>
                      <a:cubicBezTo>
                        <a:pt x="419" y="266"/>
                        <a:pt x="419" y="266"/>
                        <a:pt x="419" y="266"/>
                      </a:cubicBezTo>
                      <a:cubicBezTo>
                        <a:pt x="419" y="267"/>
                        <a:pt x="419" y="267"/>
                        <a:pt x="419" y="267"/>
                      </a:cubicBezTo>
                      <a:cubicBezTo>
                        <a:pt x="419" y="267"/>
                        <a:pt x="419" y="267"/>
                        <a:pt x="419" y="267"/>
                      </a:cubicBezTo>
                      <a:cubicBezTo>
                        <a:pt x="419" y="269"/>
                        <a:pt x="419" y="269"/>
                        <a:pt x="419" y="269"/>
                      </a:cubicBezTo>
                      <a:cubicBezTo>
                        <a:pt x="419" y="269"/>
                        <a:pt x="419" y="269"/>
                        <a:pt x="419" y="269"/>
                      </a:cubicBezTo>
                      <a:cubicBezTo>
                        <a:pt x="420" y="269"/>
                        <a:pt x="420" y="269"/>
                        <a:pt x="420" y="269"/>
                      </a:cubicBezTo>
                      <a:cubicBezTo>
                        <a:pt x="420" y="269"/>
                        <a:pt x="420" y="269"/>
                        <a:pt x="420" y="269"/>
                      </a:cubicBezTo>
                      <a:cubicBezTo>
                        <a:pt x="420" y="269"/>
                        <a:pt x="420" y="269"/>
                        <a:pt x="420" y="269"/>
                      </a:cubicBezTo>
                      <a:cubicBezTo>
                        <a:pt x="421" y="270"/>
                        <a:pt x="421" y="270"/>
                        <a:pt x="421" y="270"/>
                      </a:cubicBezTo>
                      <a:cubicBezTo>
                        <a:pt x="420" y="271"/>
                        <a:pt x="420" y="271"/>
                        <a:pt x="420" y="271"/>
                      </a:cubicBezTo>
                      <a:cubicBezTo>
                        <a:pt x="420" y="271"/>
                        <a:pt x="420" y="271"/>
                        <a:pt x="420" y="271"/>
                      </a:cubicBezTo>
                      <a:cubicBezTo>
                        <a:pt x="418" y="271"/>
                        <a:pt x="418" y="271"/>
                        <a:pt x="418" y="271"/>
                      </a:cubicBezTo>
                      <a:cubicBezTo>
                        <a:pt x="417" y="272"/>
                        <a:pt x="417" y="272"/>
                        <a:pt x="417" y="272"/>
                      </a:cubicBezTo>
                      <a:cubicBezTo>
                        <a:pt x="415" y="274"/>
                        <a:pt x="415" y="274"/>
                        <a:pt x="415" y="274"/>
                      </a:cubicBezTo>
                      <a:cubicBezTo>
                        <a:pt x="414" y="274"/>
                        <a:pt x="414" y="274"/>
                        <a:pt x="414" y="274"/>
                      </a:cubicBezTo>
                      <a:cubicBezTo>
                        <a:pt x="413" y="274"/>
                        <a:pt x="413" y="274"/>
                        <a:pt x="413" y="274"/>
                      </a:cubicBezTo>
                      <a:cubicBezTo>
                        <a:pt x="412" y="273"/>
                        <a:pt x="412" y="273"/>
                        <a:pt x="412" y="273"/>
                      </a:cubicBezTo>
                      <a:cubicBezTo>
                        <a:pt x="411" y="274"/>
                        <a:pt x="411" y="274"/>
                        <a:pt x="411" y="274"/>
                      </a:cubicBezTo>
                      <a:cubicBezTo>
                        <a:pt x="411" y="273"/>
                        <a:pt x="411" y="273"/>
                        <a:pt x="411" y="273"/>
                      </a:cubicBezTo>
                      <a:cubicBezTo>
                        <a:pt x="410" y="273"/>
                        <a:pt x="410" y="273"/>
                        <a:pt x="410" y="273"/>
                      </a:cubicBezTo>
                      <a:cubicBezTo>
                        <a:pt x="410" y="273"/>
                        <a:pt x="410" y="273"/>
                        <a:pt x="410" y="273"/>
                      </a:cubicBezTo>
                      <a:cubicBezTo>
                        <a:pt x="409" y="273"/>
                        <a:pt x="409" y="273"/>
                        <a:pt x="409" y="273"/>
                      </a:cubicBezTo>
                      <a:cubicBezTo>
                        <a:pt x="407" y="272"/>
                        <a:pt x="407" y="272"/>
                        <a:pt x="407" y="272"/>
                      </a:cubicBezTo>
                      <a:cubicBezTo>
                        <a:pt x="406" y="273"/>
                        <a:pt x="406" y="273"/>
                        <a:pt x="406" y="273"/>
                      </a:cubicBezTo>
                      <a:cubicBezTo>
                        <a:pt x="406" y="273"/>
                        <a:pt x="406" y="273"/>
                        <a:pt x="406" y="273"/>
                      </a:cubicBezTo>
                      <a:cubicBezTo>
                        <a:pt x="405" y="274"/>
                        <a:pt x="405" y="274"/>
                        <a:pt x="405" y="274"/>
                      </a:cubicBezTo>
                      <a:cubicBezTo>
                        <a:pt x="404" y="274"/>
                        <a:pt x="404" y="274"/>
                        <a:pt x="404" y="274"/>
                      </a:cubicBezTo>
                      <a:cubicBezTo>
                        <a:pt x="403" y="273"/>
                        <a:pt x="403" y="273"/>
                        <a:pt x="403" y="273"/>
                      </a:cubicBezTo>
                      <a:cubicBezTo>
                        <a:pt x="403" y="274"/>
                        <a:pt x="403" y="274"/>
                        <a:pt x="403" y="274"/>
                      </a:cubicBezTo>
                      <a:cubicBezTo>
                        <a:pt x="402" y="274"/>
                        <a:pt x="402" y="274"/>
                        <a:pt x="402" y="274"/>
                      </a:cubicBezTo>
                      <a:cubicBezTo>
                        <a:pt x="401" y="273"/>
                        <a:pt x="401" y="273"/>
                        <a:pt x="401" y="273"/>
                      </a:cubicBezTo>
                      <a:cubicBezTo>
                        <a:pt x="400" y="272"/>
                        <a:pt x="400" y="272"/>
                        <a:pt x="400" y="272"/>
                      </a:cubicBezTo>
                      <a:cubicBezTo>
                        <a:pt x="399" y="272"/>
                        <a:pt x="399" y="272"/>
                        <a:pt x="399" y="272"/>
                      </a:cubicBezTo>
                      <a:cubicBezTo>
                        <a:pt x="398" y="272"/>
                        <a:pt x="398" y="272"/>
                        <a:pt x="398" y="272"/>
                      </a:cubicBezTo>
                      <a:cubicBezTo>
                        <a:pt x="397" y="272"/>
                        <a:pt x="397" y="272"/>
                        <a:pt x="397" y="272"/>
                      </a:cubicBezTo>
                      <a:cubicBezTo>
                        <a:pt x="397" y="272"/>
                        <a:pt x="397" y="272"/>
                        <a:pt x="397" y="272"/>
                      </a:cubicBezTo>
                      <a:cubicBezTo>
                        <a:pt x="396" y="273"/>
                        <a:pt x="396" y="273"/>
                        <a:pt x="396" y="273"/>
                      </a:cubicBezTo>
                      <a:cubicBezTo>
                        <a:pt x="396" y="274"/>
                        <a:pt x="396" y="274"/>
                        <a:pt x="396" y="274"/>
                      </a:cubicBezTo>
                      <a:cubicBezTo>
                        <a:pt x="395" y="274"/>
                        <a:pt x="395" y="274"/>
                        <a:pt x="395" y="274"/>
                      </a:cubicBezTo>
                      <a:cubicBezTo>
                        <a:pt x="394" y="275"/>
                        <a:pt x="394" y="275"/>
                        <a:pt x="394" y="275"/>
                      </a:cubicBezTo>
                      <a:cubicBezTo>
                        <a:pt x="393" y="276"/>
                        <a:pt x="393" y="276"/>
                        <a:pt x="393" y="276"/>
                      </a:cubicBezTo>
                      <a:cubicBezTo>
                        <a:pt x="393" y="276"/>
                        <a:pt x="393" y="276"/>
                        <a:pt x="393" y="276"/>
                      </a:cubicBezTo>
                      <a:cubicBezTo>
                        <a:pt x="393" y="277"/>
                        <a:pt x="393" y="277"/>
                        <a:pt x="393" y="277"/>
                      </a:cubicBezTo>
                      <a:cubicBezTo>
                        <a:pt x="392" y="278"/>
                        <a:pt x="392" y="278"/>
                        <a:pt x="392" y="278"/>
                      </a:cubicBezTo>
                      <a:cubicBezTo>
                        <a:pt x="390" y="278"/>
                        <a:pt x="390" y="278"/>
                        <a:pt x="390" y="278"/>
                      </a:cubicBezTo>
                      <a:cubicBezTo>
                        <a:pt x="389" y="278"/>
                        <a:pt x="389" y="278"/>
                        <a:pt x="389" y="278"/>
                      </a:cubicBezTo>
                      <a:cubicBezTo>
                        <a:pt x="388" y="278"/>
                        <a:pt x="388" y="278"/>
                        <a:pt x="388" y="278"/>
                      </a:cubicBezTo>
                      <a:cubicBezTo>
                        <a:pt x="387" y="278"/>
                        <a:pt x="387" y="278"/>
                        <a:pt x="387" y="278"/>
                      </a:cubicBezTo>
                      <a:cubicBezTo>
                        <a:pt x="385" y="279"/>
                        <a:pt x="385" y="279"/>
                        <a:pt x="385" y="279"/>
                      </a:cubicBezTo>
                      <a:cubicBezTo>
                        <a:pt x="385" y="280"/>
                        <a:pt x="385" y="280"/>
                        <a:pt x="385" y="280"/>
                      </a:cubicBezTo>
                      <a:cubicBezTo>
                        <a:pt x="384" y="281"/>
                        <a:pt x="384" y="281"/>
                        <a:pt x="384" y="281"/>
                      </a:cubicBezTo>
                      <a:cubicBezTo>
                        <a:pt x="383" y="280"/>
                        <a:pt x="383" y="280"/>
                        <a:pt x="383" y="280"/>
                      </a:cubicBezTo>
                      <a:cubicBezTo>
                        <a:pt x="382" y="280"/>
                        <a:pt x="382" y="280"/>
                        <a:pt x="382" y="280"/>
                      </a:cubicBezTo>
                      <a:cubicBezTo>
                        <a:pt x="382" y="280"/>
                        <a:pt x="382" y="280"/>
                        <a:pt x="382" y="280"/>
                      </a:cubicBezTo>
                      <a:cubicBezTo>
                        <a:pt x="380" y="281"/>
                        <a:pt x="380" y="281"/>
                        <a:pt x="380" y="281"/>
                      </a:cubicBezTo>
                      <a:cubicBezTo>
                        <a:pt x="378" y="281"/>
                        <a:pt x="378" y="281"/>
                        <a:pt x="378" y="281"/>
                      </a:cubicBezTo>
                      <a:cubicBezTo>
                        <a:pt x="376" y="280"/>
                        <a:pt x="376" y="280"/>
                        <a:pt x="376" y="280"/>
                      </a:cubicBezTo>
                      <a:cubicBezTo>
                        <a:pt x="374" y="280"/>
                        <a:pt x="374" y="280"/>
                        <a:pt x="374" y="280"/>
                      </a:cubicBezTo>
                      <a:cubicBezTo>
                        <a:pt x="373" y="280"/>
                        <a:pt x="373" y="280"/>
                        <a:pt x="373" y="280"/>
                      </a:cubicBezTo>
                      <a:cubicBezTo>
                        <a:pt x="372" y="279"/>
                        <a:pt x="372" y="279"/>
                        <a:pt x="372" y="279"/>
                      </a:cubicBezTo>
                      <a:cubicBezTo>
                        <a:pt x="371" y="279"/>
                        <a:pt x="371" y="279"/>
                        <a:pt x="371" y="279"/>
                      </a:cubicBezTo>
                      <a:cubicBezTo>
                        <a:pt x="371" y="279"/>
                        <a:pt x="371" y="279"/>
                        <a:pt x="371" y="279"/>
                      </a:cubicBezTo>
                      <a:cubicBezTo>
                        <a:pt x="370" y="278"/>
                        <a:pt x="370" y="278"/>
                        <a:pt x="370" y="278"/>
                      </a:cubicBezTo>
                      <a:cubicBezTo>
                        <a:pt x="369" y="277"/>
                        <a:pt x="369" y="277"/>
                        <a:pt x="369" y="277"/>
                      </a:cubicBezTo>
                      <a:cubicBezTo>
                        <a:pt x="369" y="277"/>
                        <a:pt x="369" y="277"/>
                        <a:pt x="369" y="277"/>
                      </a:cubicBezTo>
                      <a:cubicBezTo>
                        <a:pt x="368" y="277"/>
                        <a:pt x="368" y="277"/>
                        <a:pt x="368" y="277"/>
                      </a:cubicBezTo>
                      <a:cubicBezTo>
                        <a:pt x="366" y="277"/>
                        <a:pt x="366" y="277"/>
                        <a:pt x="366" y="277"/>
                      </a:cubicBezTo>
                      <a:cubicBezTo>
                        <a:pt x="365" y="276"/>
                        <a:pt x="365" y="276"/>
                        <a:pt x="365" y="276"/>
                      </a:cubicBezTo>
                      <a:cubicBezTo>
                        <a:pt x="364" y="275"/>
                        <a:pt x="364" y="275"/>
                        <a:pt x="364" y="275"/>
                      </a:cubicBezTo>
                      <a:cubicBezTo>
                        <a:pt x="362" y="275"/>
                        <a:pt x="362" y="275"/>
                        <a:pt x="362" y="275"/>
                      </a:cubicBezTo>
                      <a:cubicBezTo>
                        <a:pt x="361" y="275"/>
                        <a:pt x="361" y="275"/>
                        <a:pt x="361" y="275"/>
                      </a:cubicBezTo>
                      <a:cubicBezTo>
                        <a:pt x="359" y="274"/>
                        <a:pt x="359" y="274"/>
                        <a:pt x="359" y="274"/>
                      </a:cubicBezTo>
                      <a:cubicBezTo>
                        <a:pt x="358" y="275"/>
                        <a:pt x="358" y="275"/>
                        <a:pt x="358" y="275"/>
                      </a:cubicBezTo>
                      <a:cubicBezTo>
                        <a:pt x="357" y="275"/>
                        <a:pt x="357" y="275"/>
                        <a:pt x="357" y="275"/>
                      </a:cubicBezTo>
                      <a:cubicBezTo>
                        <a:pt x="356" y="275"/>
                        <a:pt x="356" y="275"/>
                        <a:pt x="356" y="275"/>
                      </a:cubicBezTo>
                      <a:cubicBezTo>
                        <a:pt x="354" y="275"/>
                        <a:pt x="354" y="275"/>
                        <a:pt x="354" y="275"/>
                      </a:cubicBezTo>
                      <a:cubicBezTo>
                        <a:pt x="353" y="276"/>
                        <a:pt x="353" y="276"/>
                        <a:pt x="353" y="276"/>
                      </a:cubicBezTo>
                      <a:cubicBezTo>
                        <a:pt x="352" y="277"/>
                        <a:pt x="352" y="277"/>
                        <a:pt x="352" y="277"/>
                      </a:cubicBezTo>
                      <a:cubicBezTo>
                        <a:pt x="351" y="277"/>
                        <a:pt x="351" y="277"/>
                        <a:pt x="351" y="277"/>
                      </a:cubicBezTo>
                      <a:cubicBezTo>
                        <a:pt x="351" y="277"/>
                        <a:pt x="351" y="277"/>
                        <a:pt x="351" y="277"/>
                      </a:cubicBezTo>
                      <a:cubicBezTo>
                        <a:pt x="350" y="277"/>
                        <a:pt x="350" y="277"/>
                        <a:pt x="350" y="277"/>
                      </a:cubicBezTo>
                      <a:cubicBezTo>
                        <a:pt x="349" y="277"/>
                        <a:pt x="349" y="277"/>
                        <a:pt x="349" y="277"/>
                      </a:cubicBezTo>
                      <a:cubicBezTo>
                        <a:pt x="348" y="277"/>
                        <a:pt x="348" y="277"/>
                        <a:pt x="348" y="277"/>
                      </a:cubicBezTo>
                      <a:cubicBezTo>
                        <a:pt x="348" y="277"/>
                        <a:pt x="348" y="277"/>
                        <a:pt x="348" y="277"/>
                      </a:cubicBezTo>
                      <a:cubicBezTo>
                        <a:pt x="347" y="277"/>
                        <a:pt x="347" y="277"/>
                        <a:pt x="347" y="277"/>
                      </a:cubicBezTo>
                      <a:cubicBezTo>
                        <a:pt x="345" y="277"/>
                        <a:pt x="345" y="277"/>
                        <a:pt x="345" y="277"/>
                      </a:cubicBezTo>
                      <a:cubicBezTo>
                        <a:pt x="344" y="276"/>
                        <a:pt x="344" y="276"/>
                        <a:pt x="344" y="276"/>
                      </a:cubicBezTo>
                      <a:cubicBezTo>
                        <a:pt x="344" y="276"/>
                        <a:pt x="344" y="276"/>
                        <a:pt x="344" y="276"/>
                      </a:cubicBezTo>
                      <a:cubicBezTo>
                        <a:pt x="343" y="275"/>
                        <a:pt x="343" y="275"/>
                        <a:pt x="343" y="275"/>
                      </a:cubicBezTo>
                      <a:cubicBezTo>
                        <a:pt x="342" y="275"/>
                        <a:pt x="342" y="275"/>
                        <a:pt x="342" y="275"/>
                      </a:cubicBezTo>
                      <a:cubicBezTo>
                        <a:pt x="342" y="274"/>
                        <a:pt x="342" y="274"/>
                        <a:pt x="342" y="274"/>
                      </a:cubicBezTo>
                      <a:cubicBezTo>
                        <a:pt x="342" y="274"/>
                        <a:pt x="342" y="274"/>
                        <a:pt x="342" y="274"/>
                      </a:cubicBezTo>
                      <a:cubicBezTo>
                        <a:pt x="341" y="273"/>
                        <a:pt x="341" y="273"/>
                        <a:pt x="341" y="273"/>
                      </a:cubicBezTo>
                      <a:cubicBezTo>
                        <a:pt x="341" y="272"/>
                        <a:pt x="341" y="272"/>
                        <a:pt x="341" y="272"/>
                      </a:cubicBezTo>
                      <a:cubicBezTo>
                        <a:pt x="341" y="272"/>
                        <a:pt x="341" y="272"/>
                        <a:pt x="341" y="272"/>
                      </a:cubicBezTo>
                      <a:cubicBezTo>
                        <a:pt x="340" y="271"/>
                        <a:pt x="340" y="271"/>
                        <a:pt x="340" y="271"/>
                      </a:cubicBezTo>
                      <a:cubicBezTo>
                        <a:pt x="340" y="270"/>
                        <a:pt x="340" y="270"/>
                        <a:pt x="340" y="270"/>
                      </a:cubicBezTo>
                      <a:cubicBezTo>
                        <a:pt x="340" y="270"/>
                        <a:pt x="340" y="270"/>
                        <a:pt x="340" y="270"/>
                      </a:cubicBezTo>
                      <a:cubicBezTo>
                        <a:pt x="339" y="269"/>
                        <a:pt x="339" y="269"/>
                        <a:pt x="339" y="269"/>
                      </a:cubicBezTo>
                      <a:cubicBezTo>
                        <a:pt x="337" y="270"/>
                        <a:pt x="337" y="270"/>
                        <a:pt x="337" y="270"/>
                      </a:cubicBezTo>
                      <a:cubicBezTo>
                        <a:pt x="336" y="269"/>
                        <a:pt x="336" y="269"/>
                        <a:pt x="336" y="269"/>
                      </a:cubicBezTo>
                      <a:cubicBezTo>
                        <a:pt x="336" y="269"/>
                        <a:pt x="336" y="269"/>
                        <a:pt x="336" y="269"/>
                      </a:cubicBezTo>
                      <a:cubicBezTo>
                        <a:pt x="334" y="269"/>
                        <a:pt x="334" y="269"/>
                        <a:pt x="334" y="269"/>
                      </a:cubicBezTo>
                      <a:cubicBezTo>
                        <a:pt x="334" y="269"/>
                        <a:pt x="334" y="269"/>
                        <a:pt x="334" y="269"/>
                      </a:cubicBezTo>
                      <a:cubicBezTo>
                        <a:pt x="333" y="268"/>
                        <a:pt x="333" y="268"/>
                        <a:pt x="333" y="268"/>
                      </a:cubicBezTo>
                      <a:cubicBezTo>
                        <a:pt x="332" y="268"/>
                        <a:pt x="332" y="268"/>
                        <a:pt x="332" y="268"/>
                      </a:cubicBezTo>
                      <a:cubicBezTo>
                        <a:pt x="330" y="268"/>
                        <a:pt x="330" y="268"/>
                        <a:pt x="330" y="268"/>
                      </a:cubicBezTo>
                      <a:cubicBezTo>
                        <a:pt x="329" y="268"/>
                        <a:pt x="329" y="268"/>
                        <a:pt x="329" y="268"/>
                      </a:cubicBezTo>
                      <a:cubicBezTo>
                        <a:pt x="329" y="268"/>
                        <a:pt x="329" y="268"/>
                        <a:pt x="329" y="268"/>
                      </a:cubicBezTo>
                      <a:cubicBezTo>
                        <a:pt x="328" y="267"/>
                        <a:pt x="328" y="267"/>
                        <a:pt x="328" y="267"/>
                      </a:cubicBezTo>
                      <a:cubicBezTo>
                        <a:pt x="327" y="267"/>
                        <a:pt x="327" y="267"/>
                        <a:pt x="327" y="267"/>
                      </a:cubicBezTo>
                      <a:cubicBezTo>
                        <a:pt x="326" y="266"/>
                        <a:pt x="326" y="266"/>
                        <a:pt x="326" y="266"/>
                      </a:cubicBezTo>
                      <a:cubicBezTo>
                        <a:pt x="325" y="266"/>
                        <a:pt x="325" y="266"/>
                        <a:pt x="325" y="266"/>
                      </a:cubicBezTo>
                      <a:cubicBezTo>
                        <a:pt x="324" y="267"/>
                        <a:pt x="324" y="267"/>
                        <a:pt x="324" y="267"/>
                      </a:cubicBezTo>
                      <a:cubicBezTo>
                        <a:pt x="324" y="267"/>
                        <a:pt x="324" y="267"/>
                        <a:pt x="324" y="267"/>
                      </a:cubicBezTo>
                      <a:cubicBezTo>
                        <a:pt x="325" y="268"/>
                        <a:pt x="325" y="268"/>
                        <a:pt x="325" y="268"/>
                      </a:cubicBezTo>
                      <a:cubicBezTo>
                        <a:pt x="324" y="269"/>
                        <a:pt x="324" y="269"/>
                        <a:pt x="324" y="269"/>
                      </a:cubicBezTo>
                      <a:cubicBezTo>
                        <a:pt x="324" y="269"/>
                        <a:pt x="324" y="269"/>
                        <a:pt x="324" y="269"/>
                      </a:cubicBezTo>
                      <a:cubicBezTo>
                        <a:pt x="323" y="269"/>
                        <a:pt x="323" y="269"/>
                        <a:pt x="323" y="269"/>
                      </a:cubicBezTo>
                      <a:cubicBezTo>
                        <a:pt x="322" y="270"/>
                        <a:pt x="322" y="270"/>
                        <a:pt x="322" y="270"/>
                      </a:cubicBezTo>
                      <a:cubicBezTo>
                        <a:pt x="322" y="270"/>
                        <a:pt x="322" y="270"/>
                        <a:pt x="322" y="270"/>
                      </a:cubicBezTo>
                      <a:cubicBezTo>
                        <a:pt x="321" y="271"/>
                        <a:pt x="321" y="271"/>
                        <a:pt x="321" y="271"/>
                      </a:cubicBezTo>
                      <a:cubicBezTo>
                        <a:pt x="321" y="273"/>
                        <a:pt x="321" y="273"/>
                        <a:pt x="321" y="273"/>
                      </a:cubicBezTo>
                      <a:cubicBezTo>
                        <a:pt x="322" y="274"/>
                        <a:pt x="322" y="274"/>
                        <a:pt x="322" y="274"/>
                      </a:cubicBezTo>
                      <a:cubicBezTo>
                        <a:pt x="323" y="275"/>
                        <a:pt x="323" y="275"/>
                        <a:pt x="323" y="275"/>
                      </a:cubicBezTo>
                      <a:cubicBezTo>
                        <a:pt x="324" y="275"/>
                        <a:pt x="324" y="275"/>
                        <a:pt x="324" y="275"/>
                      </a:cubicBezTo>
                      <a:cubicBezTo>
                        <a:pt x="325" y="276"/>
                        <a:pt x="325" y="276"/>
                        <a:pt x="325" y="276"/>
                      </a:cubicBezTo>
                      <a:cubicBezTo>
                        <a:pt x="325" y="276"/>
                        <a:pt x="325" y="276"/>
                        <a:pt x="325" y="276"/>
                      </a:cubicBezTo>
                      <a:cubicBezTo>
                        <a:pt x="324" y="278"/>
                        <a:pt x="324" y="278"/>
                        <a:pt x="324" y="278"/>
                      </a:cubicBezTo>
                      <a:cubicBezTo>
                        <a:pt x="324" y="279"/>
                        <a:pt x="324" y="279"/>
                        <a:pt x="324" y="279"/>
                      </a:cubicBezTo>
                      <a:cubicBezTo>
                        <a:pt x="325" y="280"/>
                        <a:pt x="325" y="280"/>
                        <a:pt x="325" y="280"/>
                      </a:cubicBezTo>
                      <a:cubicBezTo>
                        <a:pt x="326" y="280"/>
                        <a:pt x="326" y="280"/>
                        <a:pt x="326" y="280"/>
                      </a:cubicBezTo>
                      <a:cubicBezTo>
                        <a:pt x="325" y="281"/>
                        <a:pt x="325" y="281"/>
                        <a:pt x="325" y="281"/>
                      </a:cubicBezTo>
                      <a:cubicBezTo>
                        <a:pt x="323" y="282"/>
                        <a:pt x="323" y="282"/>
                        <a:pt x="323" y="282"/>
                      </a:cubicBezTo>
                      <a:cubicBezTo>
                        <a:pt x="323" y="281"/>
                        <a:pt x="323" y="281"/>
                        <a:pt x="323" y="281"/>
                      </a:cubicBezTo>
                      <a:cubicBezTo>
                        <a:pt x="322" y="282"/>
                        <a:pt x="322" y="282"/>
                        <a:pt x="322" y="282"/>
                      </a:cubicBezTo>
                      <a:cubicBezTo>
                        <a:pt x="321" y="282"/>
                        <a:pt x="321" y="282"/>
                        <a:pt x="321" y="282"/>
                      </a:cubicBezTo>
                      <a:cubicBezTo>
                        <a:pt x="321" y="281"/>
                        <a:pt x="321" y="281"/>
                        <a:pt x="321" y="281"/>
                      </a:cubicBezTo>
                      <a:cubicBezTo>
                        <a:pt x="319" y="281"/>
                        <a:pt x="319" y="281"/>
                        <a:pt x="319" y="281"/>
                      </a:cubicBezTo>
                      <a:cubicBezTo>
                        <a:pt x="318" y="282"/>
                        <a:pt x="318" y="282"/>
                        <a:pt x="318" y="282"/>
                      </a:cubicBezTo>
                      <a:cubicBezTo>
                        <a:pt x="317" y="281"/>
                        <a:pt x="317" y="281"/>
                        <a:pt x="317" y="281"/>
                      </a:cubicBezTo>
                      <a:cubicBezTo>
                        <a:pt x="316" y="281"/>
                        <a:pt x="316" y="281"/>
                        <a:pt x="316" y="281"/>
                      </a:cubicBezTo>
                      <a:cubicBezTo>
                        <a:pt x="315" y="281"/>
                        <a:pt x="315" y="281"/>
                        <a:pt x="315" y="281"/>
                      </a:cubicBezTo>
                      <a:cubicBezTo>
                        <a:pt x="314" y="282"/>
                        <a:pt x="314" y="282"/>
                        <a:pt x="314" y="282"/>
                      </a:cubicBezTo>
                      <a:cubicBezTo>
                        <a:pt x="313" y="282"/>
                        <a:pt x="313" y="282"/>
                        <a:pt x="313" y="282"/>
                      </a:cubicBezTo>
                      <a:cubicBezTo>
                        <a:pt x="313" y="282"/>
                        <a:pt x="313" y="282"/>
                        <a:pt x="313" y="282"/>
                      </a:cubicBezTo>
                      <a:cubicBezTo>
                        <a:pt x="311" y="282"/>
                        <a:pt x="311" y="282"/>
                        <a:pt x="311" y="282"/>
                      </a:cubicBezTo>
                      <a:cubicBezTo>
                        <a:pt x="310" y="281"/>
                        <a:pt x="310" y="281"/>
                        <a:pt x="310" y="281"/>
                      </a:cubicBezTo>
                      <a:cubicBezTo>
                        <a:pt x="308" y="280"/>
                        <a:pt x="308" y="280"/>
                        <a:pt x="308" y="280"/>
                      </a:cubicBezTo>
                      <a:cubicBezTo>
                        <a:pt x="308" y="279"/>
                        <a:pt x="308" y="279"/>
                        <a:pt x="308" y="279"/>
                      </a:cubicBezTo>
                      <a:cubicBezTo>
                        <a:pt x="307" y="278"/>
                        <a:pt x="307" y="278"/>
                        <a:pt x="307" y="278"/>
                      </a:cubicBezTo>
                      <a:cubicBezTo>
                        <a:pt x="307" y="278"/>
                        <a:pt x="307" y="278"/>
                        <a:pt x="307" y="278"/>
                      </a:cubicBezTo>
                      <a:cubicBezTo>
                        <a:pt x="306" y="278"/>
                        <a:pt x="306" y="278"/>
                        <a:pt x="306" y="278"/>
                      </a:cubicBezTo>
                      <a:cubicBezTo>
                        <a:pt x="305" y="278"/>
                        <a:pt x="305" y="278"/>
                        <a:pt x="305" y="278"/>
                      </a:cubicBezTo>
                      <a:cubicBezTo>
                        <a:pt x="304" y="278"/>
                        <a:pt x="304" y="278"/>
                        <a:pt x="304" y="278"/>
                      </a:cubicBezTo>
                      <a:cubicBezTo>
                        <a:pt x="303" y="278"/>
                        <a:pt x="303" y="278"/>
                        <a:pt x="303" y="278"/>
                      </a:cubicBezTo>
                      <a:cubicBezTo>
                        <a:pt x="302" y="278"/>
                        <a:pt x="302" y="278"/>
                        <a:pt x="302" y="278"/>
                      </a:cubicBezTo>
                      <a:cubicBezTo>
                        <a:pt x="302" y="278"/>
                        <a:pt x="302" y="278"/>
                        <a:pt x="302" y="278"/>
                      </a:cubicBezTo>
                      <a:cubicBezTo>
                        <a:pt x="302" y="277"/>
                        <a:pt x="302" y="277"/>
                        <a:pt x="302" y="277"/>
                      </a:cubicBezTo>
                      <a:cubicBezTo>
                        <a:pt x="301" y="277"/>
                        <a:pt x="301" y="277"/>
                        <a:pt x="301" y="277"/>
                      </a:cubicBezTo>
                      <a:cubicBezTo>
                        <a:pt x="301" y="277"/>
                        <a:pt x="301" y="277"/>
                        <a:pt x="301" y="277"/>
                      </a:cubicBezTo>
                      <a:cubicBezTo>
                        <a:pt x="300" y="277"/>
                        <a:pt x="300" y="277"/>
                        <a:pt x="300" y="277"/>
                      </a:cubicBezTo>
                      <a:cubicBezTo>
                        <a:pt x="299" y="277"/>
                        <a:pt x="299" y="277"/>
                        <a:pt x="299" y="277"/>
                      </a:cubicBezTo>
                      <a:cubicBezTo>
                        <a:pt x="298" y="277"/>
                        <a:pt x="298" y="277"/>
                        <a:pt x="298" y="277"/>
                      </a:cubicBezTo>
                      <a:cubicBezTo>
                        <a:pt x="297" y="277"/>
                        <a:pt x="297" y="277"/>
                        <a:pt x="297" y="277"/>
                      </a:cubicBezTo>
                      <a:cubicBezTo>
                        <a:pt x="296" y="277"/>
                        <a:pt x="296" y="277"/>
                        <a:pt x="296" y="277"/>
                      </a:cubicBezTo>
                      <a:cubicBezTo>
                        <a:pt x="295" y="278"/>
                        <a:pt x="295" y="278"/>
                        <a:pt x="295" y="278"/>
                      </a:cubicBezTo>
                      <a:cubicBezTo>
                        <a:pt x="294" y="279"/>
                        <a:pt x="294" y="279"/>
                        <a:pt x="294" y="279"/>
                      </a:cubicBezTo>
                      <a:cubicBezTo>
                        <a:pt x="294" y="279"/>
                        <a:pt x="294" y="279"/>
                        <a:pt x="294" y="279"/>
                      </a:cubicBezTo>
                      <a:cubicBezTo>
                        <a:pt x="292" y="279"/>
                        <a:pt x="292" y="279"/>
                        <a:pt x="292" y="279"/>
                      </a:cubicBezTo>
                      <a:cubicBezTo>
                        <a:pt x="292" y="279"/>
                        <a:pt x="292" y="279"/>
                        <a:pt x="292" y="279"/>
                      </a:cubicBezTo>
                      <a:cubicBezTo>
                        <a:pt x="292" y="280"/>
                        <a:pt x="292" y="280"/>
                        <a:pt x="292" y="280"/>
                      </a:cubicBezTo>
                      <a:cubicBezTo>
                        <a:pt x="292" y="280"/>
                        <a:pt x="292" y="280"/>
                        <a:pt x="292" y="280"/>
                      </a:cubicBezTo>
                      <a:cubicBezTo>
                        <a:pt x="292" y="280"/>
                        <a:pt x="292" y="280"/>
                        <a:pt x="292" y="280"/>
                      </a:cubicBezTo>
                      <a:cubicBezTo>
                        <a:pt x="291" y="281"/>
                        <a:pt x="291" y="281"/>
                        <a:pt x="291" y="281"/>
                      </a:cubicBezTo>
                      <a:cubicBezTo>
                        <a:pt x="291" y="281"/>
                        <a:pt x="291" y="281"/>
                        <a:pt x="291" y="281"/>
                      </a:cubicBezTo>
                      <a:cubicBezTo>
                        <a:pt x="290" y="282"/>
                        <a:pt x="290" y="282"/>
                        <a:pt x="290" y="282"/>
                      </a:cubicBezTo>
                      <a:cubicBezTo>
                        <a:pt x="290" y="283"/>
                        <a:pt x="290" y="283"/>
                        <a:pt x="290" y="283"/>
                      </a:cubicBezTo>
                      <a:cubicBezTo>
                        <a:pt x="289" y="283"/>
                        <a:pt x="289" y="283"/>
                        <a:pt x="289" y="283"/>
                      </a:cubicBezTo>
                      <a:cubicBezTo>
                        <a:pt x="288" y="284"/>
                        <a:pt x="288" y="284"/>
                        <a:pt x="288" y="284"/>
                      </a:cubicBezTo>
                      <a:cubicBezTo>
                        <a:pt x="288" y="285"/>
                        <a:pt x="288" y="285"/>
                        <a:pt x="288" y="285"/>
                      </a:cubicBezTo>
                      <a:cubicBezTo>
                        <a:pt x="287" y="285"/>
                        <a:pt x="287" y="285"/>
                        <a:pt x="287" y="285"/>
                      </a:cubicBezTo>
                      <a:cubicBezTo>
                        <a:pt x="286" y="286"/>
                        <a:pt x="286" y="286"/>
                        <a:pt x="286" y="286"/>
                      </a:cubicBezTo>
                      <a:cubicBezTo>
                        <a:pt x="285" y="287"/>
                        <a:pt x="285" y="287"/>
                        <a:pt x="285" y="287"/>
                      </a:cubicBezTo>
                      <a:cubicBezTo>
                        <a:pt x="283" y="287"/>
                        <a:pt x="283" y="287"/>
                        <a:pt x="283" y="287"/>
                      </a:cubicBezTo>
                      <a:cubicBezTo>
                        <a:pt x="282" y="287"/>
                        <a:pt x="282" y="287"/>
                        <a:pt x="282" y="287"/>
                      </a:cubicBezTo>
                      <a:cubicBezTo>
                        <a:pt x="282" y="289"/>
                        <a:pt x="282" y="289"/>
                        <a:pt x="282" y="289"/>
                      </a:cubicBezTo>
                      <a:cubicBezTo>
                        <a:pt x="282" y="289"/>
                        <a:pt x="282" y="289"/>
                        <a:pt x="282" y="289"/>
                      </a:cubicBezTo>
                      <a:cubicBezTo>
                        <a:pt x="281" y="289"/>
                        <a:pt x="281" y="289"/>
                        <a:pt x="281" y="289"/>
                      </a:cubicBezTo>
                      <a:cubicBezTo>
                        <a:pt x="280" y="288"/>
                        <a:pt x="280" y="288"/>
                        <a:pt x="280" y="288"/>
                      </a:cubicBezTo>
                      <a:cubicBezTo>
                        <a:pt x="280" y="288"/>
                        <a:pt x="280" y="288"/>
                        <a:pt x="280" y="288"/>
                      </a:cubicBezTo>
                      <a:cubicBezTo>
                        <a:pt x="279" y="288"/>
                        <a:pt x="279" y="288"/>
                        <a:pt x="279" y="288"/>
                      </a:cubicBezTo>
                      <a:cubicBezTo>
                        <a:pt x="278" y="288"/>
                        <a:pt x="278" y="288"/>
                        <a:pt x="278" y="288"/>
                      </a:cubicBezTo>
                      <a:cubicBezTo>
                        <a:pt x="277" y="287"/>
                        <a:pt x="277" y="287"/>
                        <a:pt x="277" y="287"/>
                      </a:cubicBezTo>
                      <a:cubicBezTo>
                        <a:pt x="276" y="287"/>
                        <a:pt x="276" y="287"/>
                        <a:pt x="276" y="287"/>
                      </a:cubicBezTo>
                      <a:cubicBezTo>
                        <a:pt x="276" y="286"/>
                        <a:pt x="276" y="286"/>
                        <a:pt x="276" y="286"/>
                      </a:cubicBezTo>
                      <a:cubicBezTo>
                        <a:pt x="276" y="285"/>
                        <a:pt x="276" y="285"/>
                        <a:pt x="276" y="285"/>
                      </a:cubicBezTo>
                      <a:cubicBezTo>
                        <a:pt x="276" y="285"/>
                        <a:pt x="276" y="285"/>
                        <a:pt x="276" y="285"/>
                      </a:cubicBezTo>
                      <a:cubicBezTo>
                        <a:pt x="275" y="285"/>
                        <a:pt x="275" y="285"/>
                        <a:pt x="275" y="285"/>
                      </a:cubicBezTo>
                      <a:cubicBezTo>
                        <a:pt x="275" y="286"/>
                        <a:pt x="275" y="286"/>
                        <a:pt x="275" y="286"/>
                      </a:cubicBezTo>
                      <a:cubicBezTo>
                        <a:pt x="274" y="286"/>
                        <a:pt x="274" y="286"/>
                        <a:pt x="274" y="286"/>
                      </a:cubicBezTo>
                      <a:cubicBezTo>
                        <a:pt x="271" y="286"/>
                        <a:pt x="271" y="286"/>
                        <a:pt x="271" y="286"/>
                      </a:cubicBezTo>
                      <a:cubicBezTo>
                        <a:pt x="270" y="287"/>
                        <a:pt x="270" y="287"/>
                        <a:pt x="270" y="287"/>
                      </a:cubicBezTo>
                      <a:cubicBezTo>
                        <a:pt x="270" y="287"/>
                        <a:pt x="270" y="287"/>
                        <a:pt x="270" y="287"/>
                      </a:cubicBezTo>
                      <a:cubicBezTo>
                        <a:pt x="269" y="287"/>
                        <a:pt x="269" y="287"/>
                        <a:pt x="269" y="287"/>
                      </a:cubicBezTo>
                      <a:cubicBezTo>
                        <a:pt x="269" y="286"/>
                        <a:pt x="269" y="286"/>
                        <a:pt x="269" y="286"/>
                      </a:cubicBezTo>
                      <a:cubicBezTo>
                        <a:pt x="268" y="286"/>
                        <a:pt x="268" y="286"/>
                        <a:pt x="268" y="286"/>
                      </a:cubicBezTo>
                      <a:cubicBezTo>
                        <a:pt x="268" y="286"/>
                        <a:pt x="268" y="286"/>
                        <a:pt x="268" y="286"/>
                      </a:cubicBezTo>
                      <a:cubicBezTo>
                        <a:pt x="267" y="286"/>
                        <a:pt x="267" y="286"/>
                        <a:pt x="267" y="286"/>
                      </a:cubicBezTo>
                      <a:cubicBezTo>
                        <a:pt x="267" y="285"/>
                        <a:pt x="267" y="285"/>
                        <a:pt x="267" y="285"/>
                      </a:cubicBezTo>
                      <a:cubicBezTo>
                        <a:pt x="267" y="285"/>
                        <a:pt x="267" y="285"/>
                        <a:pt x="267" y="285"/>
                      </a:cubicBezTo>
                      <a:cubicBezTo>
                        <a:pt x="267" y="284"/>
                        <a:pt x="267" y="284"/>
                        <a:pt x="267" y="284"/>
                      </a:cubicBezTo>
                      <a:cubicBezTo>
                        <a:pt x="267" y="284"/>
                        <a:pt x="267" y="284"/>
                        <a:pt x="267" y="284"/>
                      </a:cubicBezTo>
                      <a:cubicBezTo>
                        <a:pt x="267" y="283"/>
                        <a:pt x="267" y="283"/>
                        <a:pt x="267" y="283"/>
                      </a:cubicBezTo>
                      <a:cubicBezTo>
                        <a:pt x="266" y="283"/>
                        <a:pt x="266" y="283"/>
                        <a:pt x="266" y="283"/>
                      </a:cubicBezTo>
                      <a:cubicBezTo>
                        <a:pt x="265" y="283"/>
                        <a:pt x="265" y="283"/>
                        <a:pt x="265" y="283"/>
                      </a:cubicBezTo>
                      <a:cubicBezTo>
                        <a:pt x="264" y="282"/>
                        <a:pt x="264" y="282"/>
                        <a:pt x="264" y="282"/>
                      </a:cubicBezTo>
                      <a:cubicBezTo>
                        <a:pt x="264" y="282"/>
                        <a:pt x="264" y="282"/>
                        <a:pt x="264" y="282"/>
                      </a:cubicBezTo>
                      <a:cubicBezTo>
                        <a:pt x="263" y="281"/>
                        <a:pt x="263" y="281"/>
                        <a:pt x="263" y="281"/>
                      </a:cubicBezTo>
                      <a:cubicBezTo>
                        <a:pt x="262" y="280"/>
                        <a:pt x="262" y="280"/>
                        <a:pt x="262" y="280"/>
                      </a:cubicBezTo>
                      <a:cubicBezTo>
                        <a:pt x="261" y="279"/>
                        <a:pt x="261" y="279"/>
                        <a:pt x="261" y="279"/>
                      </a:cubicBezTo>
                      <a:cubicBezTo>
                        <a:pt x="260" y="279"/>
                        <a:pt x="260" y="279"/>
                        <a:pt x="260" y="279"/>
                      </a:cubicBezTo>
                      <a:cubicBezTo>
                        <a:pt x="258" y="279"/>
                        <a:pt x="258" y="279"/>
                        <a:pt x="258" y="279"/>
                      </a:cubicBezTo>
                      <a:cubicBezTo>
                        <a:pt x="256" y="279"/>
                        <a:pt x="256" y="279"/>
                        <a:pt x="256" y="279"/>
                      </a:cubicBezTo>
                      <a:cubicBezTo>
                        <a:pt x="256" y="280"/>
                        <a:pt x="256" y="280"/>
                        <a:pt x="256" y="280"/>
                      </a:cubicBezTo>
                      <a:cubicBezTo>
                        <a:pt x="256" y="280"/>
                        <a:pt x="256" y="280"/>
                        <a:pt x="256" y="280"/>
                      </a:cubicBezTo>
                      <a:cubicBezTo>
                        <a:pt x="256" y="280"/>
                        <a:pt x="256" y="280"/>
                        <a:pt x="256" y="280"/>
                      </a:cubicBezTo>
                      <a:cubicBezTo>
                        <a:pt x="255" y="281"/>
                        <a:pt x="255" y="281"/>
                        <a:pt x="255" y="281"/>
                      </a:cubicBezTo>
                      <a:cubicBezTo>
                        <a:pt x="254" y="281"/>
                        <a:pt x="254" y="281"/>
                        <a:pt x="254" y="281"/>
                      </a:cubicBezTo>
                      <a:cubicBezTo>
                        <a:pt x="253" y="281"/>
                        <a:pt x="253" y="281"/>
                        <a:pt x="253" y="281"/>
                      </a:cubicBezTo>
                      <a:cubicBezTo>
                        <a:pt x="252" y="280"/>
                        <a:pt x="252" y="280"/>
                        <a:pt x="252" y="280"/>
                      </a:cubicBezTo>
                      <a:cubicBezTo>
                        <a:pt x="251" y="281"/>
                        <a:pt x="251" y="281"/>
                        <a:pt x="251" y="281"/>
                      </a:cubicBezTo>
                      <a:cubicBezTo>
                        <a:pt x="251" y="281"/>
                        <a:pt x="251" y="281"/>
                        <a:pt x="251" y="281"/>
                      </a:cubicBezTo>
                      <a:cubicBezTo>
                        <a:pt x="250" y="281"/>
                        <a:pt x="250" y="281"/>
                        <a:pt x="250" y="281"/>
                      </a:cubicBezTo>
                      <a:cubicBezTo>
                        <a:pt x="249" y="280"/>
                        <a:pt x="249" y="280"/>
                        <a:pt x="249" y="280"/>
                      </a:cubicBezTo>
                      <a:cubicBezTo>
                        <a:pt x="248" y="280"/>
                        <a:pt x="248" y="280"/>
                        <a:pt x="248" y="280"/>
                      </a:cubicBezTo>
                      <a:cubicBezTo>
                        <a:pt x="248" y="279"/>
                        <a:pt x="248" y="279"/>
                        <a:pt x="248" y="279"/>
                      </a:cubicBezTo>
                      <a:cubicBezTo>
                        <a:pt x="248" y="279"/>
                        <a:pt x="248" y="279"/>
                        <a:pt x="248" y="279"/>
                      </a:cubicBezTo>
                      <a:cubicBezTo>
                        <a:pt x="247" y="278"/>
                        <a:pt x="247" y="278"/>
                        <a:pt x="247" y="278"/>
                      </a:cubicBezTo>
                      <a:cubicBezTo>
                        <a:pt x="246" y="279"/>
                        <a:pt x="246" y="279"/>
                        <a:pt x="246" y="279"/>
                      </a:cubicBezTo>
                      <a:cubicBezTo>
                        <a:pt x="246" y="280"/>
                        <a:pt x="246" y="280"/>
                        <a:pt x="246" y="280"/>
                      </a:cubicBezTo>
                      <a:cubicBezTo>
                        <a:pt x="246" y="280"/>
                        <a:pt x="246" y="280"/>
                        <a:pt x="246" y="280"/>
                      </a:cubicBezTo>
                      <a:cubicBezTo>
                        <a:pt x="246" y="280"/>
                        <a:pt x="246" y="280"/>
                        <a:pt x="246" y="280"/>
                      </a:cubicBezTo>
                      <a:cubicBezTo>
                        <a:pt x="245" y="281"/>
                        <a:pt x="245" y="281"/>
                        <a:pt x="245" y="281"/>
                      </a:cubicBezTo>
                      <a:cubicBezTo>
                        <a:pt x="244" y="281"/>
                        <a:pt x="244" y="281"/>
                        <a:pt x="244" y="281"/>
                      </a:cubicBezTo>
                      <a:cubicBezTo>
                        <a:pt x="232" y="268"/>
                        <a:pt x="232" y="268"/>
                        <a:pt x="232" y="268"/>
                      </a:cubicBezTo>
                      <a:cubicBezTo>
                        <a:pt x="224" y="262"/>
                        <a:pt x="224" y="262"/>
                        <a:pt x="224" y="262"/>
                      </a:cubicBezTo>
                      <a:cubicBezTo>
                        <a:pt x="223" y="261"/>
                        <a:pt x="223" y="261"/>
                        <a:pt x="223" y="261"/>
                      </a:cubicBezTo>
                      <a:cubicBezTo>
                        <a:pt x="224" y="261"/>
                        <a:pt x="224" y="261"/>
                        <a:pt x="224" y="261"/>
                      </a:cubicBezTo>
                      <a:cubicBezTo>
                        <a:pt x="225" y="260"/>
                        <a:pt x="225" y="260"/>
                        <a:pt x="225" y="260"/>
                      </a:cubicBezTo>
                      <a:cubicBezTo>
                        <a:pt x="225" y="259"/>
                        <a:pt x="225" y="259"/>
                        <a:pt x="225" y="259"/>
                      </a:cubicBezTo>
                      <a:cubicBezTo>
                        <a:pt x="224" y="259"/>
                        <a:pt x="224" y="259"/>
                        <a:pt x="224" y="259"/>
                      </a:cubicBezTo>
                      <a:cubicBezTo>
                        <a:pt x="223" y="259"/>
                        <a:pt x="223" y="259"/>
                        <a:pt x="223" y="259"/>
                      </a:cubicBezTo>
                      <a:cubicBezTo>
                        <a:pt x="222" y="260"/>
                        <a:pt x="222" y="260"/>
                        <a:pt x="222" y="260"/>
                      </a:cubicBezTo>
                      <a:cubicBezTo>
                        <a:pt x="221" y="260"/>
                        <a:pt x="221" y="260"/>
                        <a:pt x="221" y="260"/>
                      </a:cubicBezTo>
                      <a:cubicBezTo>
                        <a:pt x="221" y="261"/>
                        <a:pt x="221" y="261"/>
                        <a:pt x="221" y="261"/>
                      </a:cubicBezTo>
                      <a:cubicBezTo>
                        <a:pt x="220" y="262"/>
                        <a:pt x="220" y="262"/>
                        <a:pt x="220" y="262"/>
                      </a:cubicBezTo>
                      <a:cubicBezTo>
                        <a:pt x="220" y="262"/>
                        <a:pt x="220" y="262"/>
                        <a:pt x="220" y="262"/>
                      </a:cubicBezTo>
                      <a:cubicBezTo>
                        <a:pt x="219" y="263"/>
                        <a:pt x="219" y="263"/>
                        <a:pt x="219" y="263"/>
                      </a:cubicBezTo>
                      <a:cubicBezTo>
                        <a:pt x="218" y="263"/>
                        <a:pt x="218" y="263"/>
                        <a:pt x="218" y="263"/>
                      </a:cubicBezTo>
                      <a:cubicBezTo>
                        <a:pt x="218" y="264"/>
                        <a:pt x="218" y="264"/>
                        <a:pt x="218" y="264"/>
                      </a:cubicBezTo>
                      <a:cubicBezTo>
                        <a:pt x="216" y="264"/>
                        <a:pt x="216" y="264"/>
                        <a:pt x="216" y="264"/>
                      </a:cubicBezTo>
                      <a:cubicBezTo>
                        <a:pt x="215" y="264"/>
                        <a:pt x="215" y="264"/>
                        <a:pt x="215" y="264"/>
                      </a:cubicBezTo>
                      <a:cubicBezTo>
                        <a:pt x="215" y="265"/>
                        <a:pt x="215" y="265"/>
                        <a:pt x="215" y="265"/>
                      </a:cubicBezTo>
                      <a:cubicBezTo>
                        <a:pt x="215" y="266"/>
                        <a:pt x="215" y="266"/>
                        <a:pt x="215" y="266"/>
                      </a:cubicBezTo>
                      <a:cubicBezTo>
                        <a:pt x="214" y="266"/>
                        <a:pt x="214" y="266"/>
                        <a:pt x="214" y="266"/>
                      </a:cubicBezTo>
                      <a:cubicBezTo>
                        <a:pt x="212" y="265"/>
                        <a:pt x="212" y="265"/>
                        <a:pt x="212" y="265"/>
                      </a:cubicBezTo>
                      <a:cubicBezTo>
                        <a:pt x="211" y="265"/>
                        <a:pt x="211" y="265"/>
                        <a:pt x="211" y="265"/>
                      </a:cubicBezTo>
                      <a:cubicBezTo>
                        <a:pt x="211" y="266"/>
                        <a:pt x="211" y="266"/>
                        <a:pt x="211" y="266"/>
                      </a:cubicBezTo>
                      <a:cubicBezTo>
                        <a:pt x="210" y="266"/>
                        <a:pt x="210" y="266"/>
                        <a:pt x="210" y="266"/>
                      </a:cubicBezTo>
                      <a:cubicBezTo>
                        <a:pt x="210" y="265"/>
                        <a:pt x="210" y="265"/>
                        <a:pt x="210" y="265"/>
                      </a:cubicBezTo>
                      <a:cubicBezTo>
                        <a:pt x="210" y="264"/>
                        <a:pt x="210" y="264"/>
                        <a:pt x="210" y="264"/>
                      </a:cubicBezTo>
                      <a:cubicBezTo>
                        <a:pt x="210" y="264"/>
                        <a:pt x="210" y="264"/>
                        <a:pt x="210" y="264"/>
                      </a:cubicBezTo>
                      <a:cubicBezTo>
                        <a:pt x="211" y="263"/>
                        <a:pt x="211" y="263"/>
                        <a:pt x="211" y="263"/>
                      </a:cubicBezTo>
                      <a:cubicBezTo>
                        <a:pt x="210" y="263"/>
                        <a:pt x="210" y="263"/>
                        <a:pt x="210" y="263"/>
                      </a:cubicBezTo>
                      <a:cubicBezTo>
                        <a:pt x="209" y="263"/>
                        <a:pt x="209" y="263"/>
                        <a:pt x="209" y="263"/>
                      </a:cubicBezTo>
                      <a:cubicBezTo>
                        <a:pt x="209" y="263"/>
                        <a:pt x="209" y="263"/>
                        <a:pt x="209" y="263"/>
                      </a:cubicBezTo>
                      <a:cubicBezTo>
                        <a:pt x="207" y="262"/>
                        <a:pt x="207" y="262"/>
                        <a:pt x="207" y="262"/>
                      </a:cubicBezTo>
                      <a:cubicBezTo>
                        <a:pt x="206" y="263"/>
                        <a:pt x="206" y="263"/>
                        <a:pt x="206" y="263"/>
                      </a:cubicBezTo>
                      <a:cubicBezTo>
                        <a:pt x="206" y="263"/>
                        <a:pt x="206" y="263"/>
                        <a:pt x="206" y="263"/>
                      </a:cubicBezTo>
                      <a:cubicBezTo>
                        <a:pt x="207" y="263"/>
                        <a:pt x="207" y="263"/>
                        <a:pt x="207" y="263"/>
                      </a:cubicBezTo>
                      <a:cubicBezTo>
                        <a:pt x="206" y="264"/>
                        <a:pt x="206" y="264"/>
                        <a:pt x="206" y="264"/>
                      </a:cubicBezTo>
                      <a:cubicBezTo>
                        <a:pt x="205" y="264"/>
                        <a:pt x="205" y="264"/>
                        <a:pt x="205" y="264"/>
                      </a:cubicBezTo>
                      <a:cubicBezTo>
                        <a:pt x="205" y="263"/>
                        <a:pt x="205" y="263"/>
                        <a:pt x="205" y="263"/>
                      </a:cubicBezTo>
                      <a:cubicBezTo>
                        <a:pt x="205" y="261"/>
                        <a:pt x="205" y="261"/>
                        <a:pt x="205" y="261"/>
                      </a:cubicBezTo>
                      <a:cubicBezTo>
                        <a:pt x="203" y="260"/>
                        <a:pt x="203" y="260"/>
                        <a:pt x="203" y="260"/>
                      </a:cubicBezTo>
                      <a:cubicBezTo>
                        <a:pt x="203" y="261"/>
                        <a:pt x="203" y="261"/>
                        <a:pt x="203" y="261"/>
                      </a:cubicBezTo>
                      <a:cubicBezTo>
                        <a:pt x="203" y="261"/>
                        <a:pt x="203" y="261"/>
                        <a:pt x="203" y="261"/>
                      </a:cubicBezTo>
                      <a:cubicBezTo>
                        <a:pt x="203" y="262"/>
                        <a:pt x="203" y="262"/>
                        <a:pt x="203" y="262"/>
                      </a:cubicBezTo>
                      <a:cubicBezTo>
                        <a:pt x="202" y="262"/>
                        <a:pt x="202" y="262"/>
                        <a:pt x="202" y="262"/>
                      </a:cubicBezTo>
                      <a:cubicBezTo>
                        <a:pt x="202" y="261"/>
                        <a:pt x="202" y="261"/>
                        <a:pt x="202" y="261"/>
                      </a:cubicBezTo>
                      <a:cubicBezTo>
                        <a:pt x="201" y="261"/>
                        <a:pt x="201" y="261"/>
                        <a:pt x="201" y="261"/>
                      </a:cubicBezTo>
                      <a:cubicBezTo>
                        <a:pt x="201" y="262"/>
                        <a:pt x="201" y="262"/>
                        <a:pt x="201" y="262"/>
                      </a:cubicBezTo>
                      <a:cubicBezTo>
                        <a:pt x="201" y="262"/>
                        <a:pt x="201" y="262"/>
                        <a:pt x="201" y="262"/>
                      </a:cubicBezTo>
                      <a:cubicBezTo>
                        <a:pt x="200" y="262"/>
                        <a:pt x="200" y="262"/>
                        <a:pt x="200" y="262"/>
                      </a:cubicBezTo>
                      <a:cubicBezTo>
                        <a:pt x="199" y="263"/>
                        <a:pt x="199" y="263"/>
                        <a:pt x="199" y="263"/>
                      </a:cubicBezTo>
                      <a:cubicBezTo>
                        <a:pt x="198" y="262"/>
                        <a:pt x="198" y="262"/>
                        <a:pt x="198" y="262"/>
                      </a:cubicBezTo>
                      <a:cubicBezTo>
                        <a:pt x="198" y="261"/>
                        <a:pt x="198" y="261"/>
                        <a:pt x="198" y="261"/>
                      </a:cubicBezTo>
                      <a:cubicBezTo>
                        <a:pt x="199" y="261"/>
                        <a:pt x="199" y="261"/>
                        <a:pt x="199" y="261"/>
                      </a:cubicBezTo>
                      <a:cubicBezTo>
                        <a:pt x="199" y="261"/>
                        <a:pt x="199" y="261"/>
                        <a:pt x="199" y="261"/>
                      </a:cubicBezTo>
                      <a:cubicBezTo>
                        <a:pt x="198" y="260"/>
                        <a:pt x="198" y="260"/>
                        <a:pt x="198" y="260"/>
                      </a:cubicBezTo>
                      <a:cubicBezTo>
                        <a:pt x="199" y="259"/>
                        <a:pt x="199" y="259"/>
                        <a:pt x="199" y="259"/>
                      </a:cubicBezTo>
                      <a:cubicBezTo>
                        <a:pt x="199" y="259"/>
                        <a:pt x="199" y="259"/>
                        <a:pt x="199" y="259"/>
                      </a:cubicBezTo>
                      <a:cubicBezTo>
                        <a:pt x="198" y="258"/>
                        <a:pt x="198" y="258"/>
                        <a:pt x="198" y="258"/>
                      </a:cubicBezTo>
                      <a:cubicBezTo>
                        <a:pt x="197" y="258"/>
                        <a:pt x="197" y="258"/>
                        <a:pt x="197" y="258"/>
                      </a:cubicBezTo>
                      <a:cubicBezTo>
                        <a:pt x="197" y="257"/>
                        <a:pt x="197" y="257"/>
                        <a:pt x="197" y="257"/>
                      </a:cubicBezTo>
                      <a:cubicBezTo>
                        <a:pt x="197" y="257"/>
                        <a:pt x="197" y="257"/>
                        <a:pt x="197" y="257"/>
                      </a:cubicBezTo>
                      <a:cubicBezTo>
                        <a:pt x="196" y="255"/>
                        <a:pt x="196" y="255"/>
                        <a:pt x="196" y="255"/>
                      </a:cubicBezTo>
                      <a:cubicBezTo>
                        <a:pt x="195" y="255"/>
                        <a:pt x="195" y="255"/>
                        <a:pt x="195" y="255"/>
                      </a:cubicBezTo>
                      <a:cubicBezTo>
                        <a:pt x="194" y="256"/>
                        <a:pt x="194" y="256"/>
                        <a:pt x="194" y="256"/>
                      </a:cubicBezTo>
                      <a:cubicBezTo>
                        <a:pt x="193" y="256"/>
                        <a:pt x="193" y="256"/>
                        <a:pt x="193" y="256"/>
                      </a:cubicBezTo>
                      <a:cubicBezTo>
                        <a:pt x="192" y="255"/>
                        <a:pt x="192" y="255"/>
                        <a:pt x="192" y="255"/>
                      </a:cubicBezTo>
                      <a:cubicBezTo>
                        <a:pt x="191" y="255"/>
                        <a:pt x="191" y="255"/>
                        <a:pt x="191" y="255"/>
                      </a:cubicBezTo>
                      <a:cubicBezTo>
                        <a:pt x="189" y="255"/>
                        <a:pt x="189" y="255"/>
                        <a:pt x="189" y="255"/>
                      </a:cubicBezTo>
                      <a:cubicBezTo>
                        <a:pt x="189" y="255"/>
                        <a:pt x="189" y="255"/>
                        <a:pt x="189" y="255"/>
                      </a:cubicBezTo>
                      <a:cubicBezTo>
                        <a:pt x="188" y="255"/>
                        <a:pt x="188" y="255"/>
                        <a:pt x="188" y="255"/>
                      </a:cubicBezTo>
                      <a:cubicBezTo>
                        <a:pt x="187" y="255"/>
                        <a:pt x="187" y="255"/>
                        <a:pt x="187" y="255"/>
                      </a:cubicBezTo>
                      <a:cubicBezTo>
                        <a:pt x="187" y="256"/>
                        <a:pt x="187" y="256"/>
                        <a:pt x="187" y="256"/>
                      </a:cubicBezTo>
                      <a:cubicBezTo>
                        <a:pt x="186" y="256"/>
                        <a:pt x="186" y="256"/>
                        <a:pt x="186" y="256"/>
                      </a:cubicBezTo>
                      <a:cubicBezTo>
                        <a:pt x="185" y="257"/>
                        <a:pt x="185" y="257"/>
                        <a:pt x="185" y="257"/>
                      </a:cubicBezTo>
                      <a:cubicBezTo>
                        <a:pt x="186" y="257"/>
                        <a:pt x="186" y="257"/>
                        <a:pt x="186" y="257"/>
                      </a:cubicBezTo>
                      <a:cubicBezTo>
                        <a:pt x="186" y="258"/>
                        <a:pt x="186" y="258"/>
                        <a:pt x="186" y="258"/>
                      </a:cubicBezTo>
                      <a:cubicBezTo>
                        <a:pt x="184" y="258"/>
                        <a:pt x="184" y="258"/>
                        <a:pt x="184" y="258"/>
                      </a:cubicBezTo>
                      <a:cubicBezTo>
                        <a:pt x="184" y="258"/>
                        <a:pt x="184" y="258"/>
                        <a:pt x="184" y="258"/>
                      </a:cubicBezTo>
                      <a:cubicBezTo>
                        <a:pt x="183" y="259"/>
                        <a:pt x="183" y="259"/>
                        <a:pt x="183" y="259"/>
                      </a:cubicBezTo>
                      <a:cubicBezTo>
                        <a:pt x="182" y="259"/>
                        <a:pt x="182" y="259"/>
                        <a:pt x="182" y="259"/>
                      </a:cubicBezTo>
                      <a:cubicBezTo>
                        <a:pt x="182" y="259"/>
                        <a:pt x="182" y="259"/>
                        <a:pt x="182" y="259"/>
                      </a:cubicBezTo>
                      <a:cubicBezTo>
                        <a:pt x="181" y="259"/>
                        <a:pt x="181" y="259"/>
                        <a:pt x="181" y="259"/>
                      </a:cubicBezTo>
                      <a:cubicBezTo>
                        <a:pt x="179" y="260"/>
                        <a:pt x="179" y="260"/>
                        <a:pt x="179" y="260"/>
                      </a:cubicBezTo>
                      <a:cubicBezTo>
                        <a:pt x="178" y="261"/>
                        <a:pt x="178" y="261"/>
                        <a:pt x="178" y="261"/>
                      </a:cubicBezTo>
                      <a:cubicBezTo>
                        <a:pt x="177" y="261"/>
                        <a:pt x="177" y="261"/>
                        <a:pt x="177" y="261"/>
                      </a:cubicBezTo>
                      <a:cubicBezTo>
                        <a:pt x="176" y="261"/>
                        <a:pt x="176" y="261"/>
                        <a:pt x="176" y="261"/>
                      </a:cubicBezTo>
                      <a:cubicBezTo>
                        <a:pt x="176" y="261"/>
                        <a:pt x="176" y="261"/>
                        <a:pt x="176" y="261"/>
                      </a:cubicBezTo>
                      <a:cubicBezTo>
                        <a:pt x="175" y="261"/>
                        <a:pt x="175" y="261"/>
                        <a:pt x="175" y="261"/>
                      </a:cubicBezTo>
                      <a:cubicBezTo>
                        <a:pt x="175" y="262"/>
                        <a:pt x="175" y="262"/>
                        <a:pt x="175" y="262"/>
                      </a:cubicBezTo>
                      <a:cubicBezTo>
                        <a:pt x="174" y="262"/>
                        <a:pt x="174" y="262"/>
                        <a:pt x="174" y="262"/>
                      </a:cubicBezTo>
                      <a:cubicBezTo>
                        <a:pt x="174" y="262"/>
                        <a:pt x="174" y="262"/>
                        <a:pt x="174" y="262"/>
                      </a:cubicBezTo>
                      <a:cubicBezTo>
                        <a:pt x="174" y="263"/>
                        <a:pt x="174" y="263"/>
                        <a:pt x="174" y="263"/>
                      </a:cubicBezTo>
                      <a:cubicBezTo>
                        <a:pt x="173" y="263"/>
                        <a:pt x="173" y="263"/>
                        <a:pt x="173" y="263"/>
                      </a:cubicBezTo>
                      <a:cubicBezTo>
                        <a:pt x="173" y="263"/>
                        <a:pt x="173" y="263"/>
                        <a:pt x="173" y="263"/>
                      </a:cubicBezTo>
                      <a:cubicBezTo>
                        <a:pt x="172" y="263"/>
                        <a:pt x="172" y="263"/>
                        <a:pt x="172" y="263"/>
                      </a:cubicBezTo>
                      <a:cubicBezTo>
                        <a:pt x="171" y="264"/>
                        <a:pt x="171" y="264"/>
                        <a:pt x="171" y="264"/>
                      </a:cubicBezTo>
                      <a:cubicBezTo>
                        <a:pt x="170" y="264"/>
                        <a:pt x="170" y="264"/>
                        <a:pt x="170" y="264"/>
                      </a:cubicBezTo>
                      <a:cubicBezTo>
                        <a:pt x="169" y="264"/>
                        <a:pt x="169" y="264"/>
                        <a:pt x="169" y="264"/>
                      </a:cubicBezTo>
                      <a:cubicBezTo>
                        <a:pt x="168" y="265"/>
                        <a:pt x="168" y="265"/>
                        <a:pt x="168" y="265"/>
                      </a:cubicBezTo>
                      <a:cubicBezTo>
                        <a:pt x="167" y="265"/>
                        <a:pt x="167" y="265"/>
                        <a:pt x="167" y="265"/>
                      </a:cubicBezTo>
                      <a:cubicBezTo>
                        <a:pt x="166" y="265"/>
                        <a:pt x="166" y="265"/>
                        <a:pt x="166" y="265"/>
                      </a:cubicBezTo>
                      <a:cubicBezTo>
                        <a:pt x="165" y="265"/>
                        <a:pt x="165" y="265"/>
                        <a:pt x="165" y="265"/>
                      </a:cubicBezTo>
                      <a:cubicBezTo>
                        <a:pt x="163" y="266"/>
                        <a:pt x="163" y="266"/>
                        <a:pt x="163" y="266"/>
                      </a:cubicBezTo>
                      <a:cubicBezTo>
                        <a:pt x="163" y="266"/>
                        <a:pt x="163" y="266"/>
                        <a:pt x="163" y="266"/>
                      </a:cubicBezTo>
                      <a:cubicBezTo>
                        <a:pt x="163" y="267"/>
                        <a:pt x="163" y="267"/>
                        <a:pt x="163" y="267"/>
                      </a:cubicBezTo>
                      <a:cubicBezTo>
                        <a:pt x="162" y="266"/>
                        <a:pt x="162" y="266"/>
                        <a:pt x="162" y="266"/>
                      </a:cubicBezTo>
                      <a:cubicBezTo>
                        <a:pt x="161" y="266"/>
                        <a:pt x="161" y="266"/>
                        <a:pt x="161" y="266"/>
                      </a:cubicBezTo>
                      <a:cubicBezTo>
                        <a:pt x="160" y="267"/>
                        <a:pt x="160" y="267"/>
                        <a:pt x="160" y="267"/>
                      </a:cubicBezTo>
                      <a:cubicBezTo>
                        <a:pt x="160" y="267"/>
                        <a:pt x="160" y="267"/>
                        <a:pt x="160" y="267"/>
                      </a:cubicBezTo>
                      <a:cubicBezTo>
                        <a:pt x="160" y="268"/>
                        <a:pt x="160" y="268"/>
                        <a:pt x="160" y="268"/>
                      </a:cubicBezTo>
                      <a:cubicBezTo>
                        <a:pt x="159" y="267"/>
                        <a:pt x="159" y="267"/>
                        <a:pt x="159" y="267"/>
                      </a:cubicBezTo>
                      <a:cubicBezTo>
                        <a:pt x="158" y="267"/>
                        <a:pt x="158" y="267"/>
                        <a:pt x="158" y="267"/>
                      </a:cubicBezTo>
                      <a:cubicBezTo>
                        <a:pt x="158" y="267"/>
                        <a:pt x="158" y="267"/>
                        <a:pt x="158" y="267"/>
                      </a:cubicBezTo>
                      <a:cubicBezTo>
                        <a:pt x="157" y="267"/>
                        <a:pt x="157" y="267"/>
                        <a:pt x="157" y="267"/>
                      </a:cubicBezTo>
                      <a:cubicBezTo>
                        <a:pt x="157" y="267"/>
                        <a:pt x="157" y="267"/>
                        <a:pt x="157" y="267"/>
                      </a:cubicBezTo>
                      <a:cubicBezTo>
                        <a:pt x="156" y="267"/>
                        <a:pt x="156" y="267"/>
                        <a:pt x="156" y="267"/>
                      </a:cubicBezTo>
                      <a:cubicBezTo>
                        <a:pt x="155" y="268"/>
                        <a:pt x="155" y="268"/>
                        <a:pt x="155" y="268"/>
                      </a:cubicBezTo>
                      <a:cubicBezTo>
                        <a:pt x="156" y="269"/>
                        <a:pt x="156" y="269"/>
                        <a:pt x="156" y="269"/>
                      </a:cubicBezTo>
                      <a:cubicBezTo>
                        <a:pt x="155" y="269"/>
                        <a:pt x="155" y="269"/>
                        <a:pt x="155" y="269"/>
                      </a:cubicBezTo>
                      <a:cubicBezTo>
                        <a:pt x="156" y="269"/>
                        <a:pt x="156" y="269"/>
                        <a:pt x="156" y="269"/>
                      </a:cubicBezTo>
                      <a:cubicBezTo>
                        <a:pt x="157" y="269"/>
                        <a:pt x="157" y="269"/>
                        <a:pt x="157" y="269"/>
                      </a:cubicBezTo>
                      <a:cubicBezTo>
                        <a:pt x="158" y="270"/>
                        <a:pt x="158" y="270"/>
                        <a:pt x="158" y="270"/>
                      </a:cubicBezTo>
                      <a:cubicBezTo>
                        <a:pt x="156" y="270"/>
                        <a:pt x="156" y="270"/>
                        <a:pt x="156" y="270"/>
                      </a:cubicBezTo>
                      <a:cubicBezTo>
                        <a:pt x="156" y="270"/>
                        <a:pt x="156" y="270"/>
                        <a:pt x="156" y="270"/>
                      </a:cubicBezTo>
                      <a:cubicBezTo>
                        <a:pt x="156" y="271"/>
                        <a:pt x="156" y="271"/>
                        <a:pt x="156" y="271"/>
                      </a:cubicBezTo>
                      <a:cubicBezTo>
                        <a:pt x="157" y="271"/>
                        <a:pt x="157" y="271"/>
                        <a:pt x="157" y="271"/>
                      </a:cubicBezTo>
                      <a:cubicBezTo>
                        <a:pt x="158" y="271"/>
                        <a:pt x="158" y="271"/>
                        <a:pt x="158" y="271"/>
                      </a:cubicBezTo>
                      <a:cubicBezTo>
                        <a:pt x="159" y="271"/>
                        <a:pt x="159" y="271"/>
                        <a:pt x="159" y="271"/>
                      </a:cubicBezTo>
                      <a:cubicBezTo>
                        <a:pt x="160" y="271"/>
                        <a:pt x="160" y="271"/>
                        <a:pt x="160" y="271"/>
                      </a:cubicBezTo>
                      <a:cubicBezTo>
                        <a:pt x="160" y="272"/>
                        <a:pt x="160" y="272"/>
                        <a:pt x="160" y="272"/>
                      </a:cubicBezTo>
                      <a:cubicBezTo>
                        <a:pt x="161" y="272"/>
                        <a:pt x="161" y="272"/>
                        <a:pt x="161" y="272"/>
                      </a:cubicBezTo>
                      <a:cubicBezTo>
                        <a:pt x="161" y="273"/>
                        <a:pt x="161" y="273"/>
                        <a:pt x="161" y="273"/>
                      </a:cubicBezTo>
                      <a:cubicBezTo>
                        <a:pt x="161" y="273"/>
                        <a:pt x="161" y="273"/>
                        <a:pt x="161" y="273"/>
                      </a:cubicBezTo>
                      <a:cubicBezTo>
                        <a:pt x="160" y="273"/>
                        <a:pt x="160" y="273"/>
                        <a:pt x="160" y="273"/>
                      </a:cubicBezTo>
                      <a:cubicBezTo>
                        <a:pt x="158" y="273"/>
                        <a:pt x="158" y="273"/>
                        <a:pt x="158" y="273"/>
                      </a:cubicBezTo>
                      <a:cubicBezTo>
                        <a:pt x="157" y="274"/>
                        <a:pt x="157" y="274"/>
                        <a:pt x="157" y="274"/>
                      </a:cubicBezTo>
                      <a:cubicBezTo>
                        <a:pt x="156" y="275"/>
                        <a:pt x="156" y="275"/>
                        <a:pt x="156" y="275"/>
                      </a:cubicBezTo>
                      <a:cubicBezTo>
                        <a:pt x="156" y="276"/>
                        <a:pt x="156" y="276"/>
                        <a:pt x="156" y="276"/>
                      </a:cubicBezTo>
                      <a:cubicBezTo>
                        <a:pt x="157" y="276"/>
                        <a:pt x="157" y="276"/>
                        <a:pt x="157" y="276"/>
                      </a:cubicBezTo>
                      <a:cubicBezTo>
                        <a:pt x="157" y="277"/>
                        <a:pt x="157" y="277"/>
                        <a:pt x="157" y="277"/>
                      </a:cubicBezTo>
                      <a:cubicBezTo>
                        <a:pt x="156" y="278"/>
                        <a:pt x="156" y="278"/>
                        <a:pt x="156" y="278"/>
                      </a:cubicBezTo>
                      <a:cubicBezTo>
                        <a:pt x="156" y="279"/>
                        <a:pt x="156" y="279"/>
                        <a:pt x="156" y="279"/>
                      </a:cubicBezTo>
                      <a:cubicBezTo>
                        <a:pt x="155" y="279"/>
                        <a:pt x="155" y="279"/>
                        <a:pt x="155" y="279"/>
                      </a:cubicBezTo>
                      <a:cubicBezTo>
                        <a:pt x="155" y="280"/>
                        <a:pt x="155" y="280"/>
                        <a:pt x="155" y="280"/>
                      </a:cubicBezTo>
                      <a:cubicBezTo>
                        <a:pt x="155" y="280"/>
                        <a:pt x="155" y="280"/>
                        <a:pt x="155" y="280"/>
                      </a:cubicBezTo>
                      <a:cubicBezTo>
                        <a:pt x="155" y="281"/>
                        <a:pt x="155" y="281"/>
                        <a:pt x="155" y="281"/>
                      </a:cubicBezTo>
                      <a:cubicBezTo>
                        <a:pt x="156" y="281"/>
                        <a:pt x="156" y="281"/>
                        <a:pt x="156" y="281"/>
                      </a:cubicBezTo>
                      <a:cubicBezTo>
                        <a:pt x="157" y="281"/>
                        <a:pt x="157" y="281"/>
                        <a:pt x="157" y="281"/>
                      </a:cubicBezTo>
                      <a:cubicBezTo>
                        <a:pt x="158" y="281"/>
                        <a:pt x="158" y="281"/>
                        <a:pt x="158" y="281"/>
                      </a:cubicBezTo>
                      <a:cubicBezTo>
                        <a:pt x="158" y="282"/>
                        <a:pt x="158" y="282"/>
                        <a:pt x="158" y="282"/>
                      </a:cubicBezTo>
                      <a:cubicBezTo>
                        <a:pt x="159" y="283"/>
                        <a:pt x="159" y="283"/>
                        <a:pt x="159" y="283"/>
                      </a:cubicBezTo>
                      <a:cubicBezTo>
                        <a:pt x="161" y="283"/>
                        <a:pt x="161" y="283"/>
                        <a:pt x="161" y="283"/>
                      </a:cubicBezTo>
                      <a:cubicBezTo>
                        <a:pt x="161" y="283"/>
                        <a:pt x="161" y="283"/>
                        <a:pt x="161" y="283"/>
                      </a:cubicBezTo>
                      <a:cubicBezTo>
                        <a:pt x="161" y="286"/>
                        <a:pt x="161" y="286"/>
                        <a:pt x="161" y="286"/>
                      </a:cubicBezTo>
                      <a:cubicBezTo>
                        <a:pt x="161" y="287"/>
                        <a:pt x="161" y="287"/>
                        <a:pt x="161" y="287"/>
                      </a:cubicBezTo>
                      <a:cubicBezTo>
                        <a:pt x="159" y="288"/>
                        <a:pt x="159" y="288"/>
                        <a:pt x="159" y="288"/>
                      </a:cubicBezTo>
                      <a:cubicBezTo>
                        <a:pt x="158" y="287"/>
                        <a:pt x="158" y="287"/>
                        <a:pt x="158" y="287"/>
                      </a:cubicBezTo>
                      <a:cubicBezTo>
                        <a:pt x="156" y="287"/>
                        <a:pt x="156" y="287"/>
                        <a:pt x="156" y="287"/>
                      </a:cubicBezTo>
                      <a:cubicBezTo>
                        <a:pt x="156" y="287"/>
                        <a:pt x="156" y="287"/>
                        <a:pt x="156" y="287"/>
                      </a:cubicBezTo>
                      <a:cubicBezTo>
                        <a:pt x="156" y="288"/>
                        <a:pt x="156" y="288"/>
                        <a:pt x="156" y="288"/>
                      </a:cubicBezTo>
                      <a:cubicBezTo>
                        <a:pt x="155" y="289"/>
                        <a:pt x="155" y="289"/>
                        <a:pt x="155" y="289"/>
                      </a:cubicBezTo>
                      <a:cubicBezTo>
                        <a:pt x="154" y="289"/>
                        <a:pt x="154" y="289"/>
                        <a:pt x="154" y="289"/>
                      </a:cubicBezTo>
                      <a:cubicBezTo>
                        <a:pt x="153" y="288"/>
                        <a:pt x="153" y="288"/>
                        <a:pt x="153" y="288"/>
                      </a:cubicBezTo>
                      <a:cubicBezTo>
                        <a:pt x="151" y="288"/>
                        <a:pt x="151" y="288"/>
                        <a:pt x="151" y="288"/>
                      </a:cubicBezTo>
                      <a:cubicBezTo>
                        <a:pt x="151" y="288"/>
                        <a:pt x="151" y="288"/>
                        <a:pt x="151" y="288"/>
                      </a:cubicBezTo>
                      <a:cubicBezTo>
                        <a:pt x="150" y="288"/>
                        <a:pt x="150" y="288"/>
                        <a:pt x="150" y="288"/>
                      </a:cubicBezTo>
                      <a:cubicBezTo>
                        <a:pt x="149" y="288"/>
                        <a:pt x="149" y="288"/>
                        <a:pt x="149" y="288"/>
                      </a:cubicBezTo>
                      <a:cubicBezTo>
                        <a:pt x="148" y="287"/>
                        <a:pt x="148" y="287"/>
                        <a:pt x="148" y="287"/>
                      </a:cubicBezTo>
                      <a:cubicBezTo>
                        <a:pt x="149" y="286"/>
                        <a:pt x="149" y="286"/>
                        <a:pt x="149" y="286"/>
                      </a:cubicBezTo>
                      <a:cubicBezTo>
                        <a:pt x="149" y="286"/>
                        <a:pt x="149" y="286"/>
                        <a:pt x="149" y="286"/>
                      </a:cubicBezTo>
                      <a:cubicBezTo>
                        <a:pt x="149" y="286"/>
                        <a:pt x="149" y="286"/>
                        <a:pt x="149" y="286"/>
                      </a:cubicBezTo>
                      <a:cubicBezTo>
                        <a:pt x="148" y="285"/>
                        <a:pt x="148" y="285"/>
                        <a:pt x="148" y="285"/>
                      </a:cubicBezTo>
                      <a:cubicBezTo>
                        <a:pt x="147" y="286"/>
                        <a:pt x="147" y="286"/>
                        <a:pt x="147" y="286"/>
                      </a:cubicBezTo>
                      <a:cubicBezTo>
                        <a:pt x="146" y="286"/>
                        <a:pt x="146" y="286"/>
                        <a:pt x="146" y="286"/>
                      </a:cubicBezTo>
                      <a:cubicBezTo>
                        <a:pt x="145" y="286"/>
                        <a:pt x="145" y="286"/>
                        <a:pt x="145" y="286"/>
                      </a:cubicBezTo>
                      <a:cubicBezTo>
                        <a:pt x="145" y="287"/>
                        <a:pt x="145" y="287"/>
                        <a:pt x="145" y="287"/>
                      </a:cubicBezTo>
                      <a:cubicBezTo>
                        <a:pt x="144" y="287"/>
                        <a:pt x="144" y="287"/>
                        <a:pt x="144" y="287"/>
                      </a:cubicBezTo>
                      <a:cubicBezTo>
                        <a:pt x="144" y="286"/>
                        <a:pt x="144" y="286"/>
                        <a:pt x="144" y="286"/>
                      </a:cubicBezTo>
                      <a:cubicBezTo>
                        <a:pt x="142" y="285"/>
                        <a:pt x="142" y="285"/>
                        <a:pt x="142" y="285"/>
                      </a:cubicBezTo>
                      <a:cubicBezTo>
                        <a:pt x="141" y="285"/>
                        <a:pt x="141" y="285"/>
                        <a:pt x="141" y="285"/>
                      </a:cubicBezTo>
                      <a:cubicBezTo>
                        <a:pt x="141" y="286"/>
                        <a:pt x="141" y="286"/>
                        <a:pt x="141" y="286"/>
                      </a:cubicBezTo>
                      <a:cubicBezTo>
                        <a:pt x="140" y="286"/>
                        <a:pt x="140" y="286"/>
                        <a:pt x="140" y="286"/>
                      </a:cubicBezTo>
                      <a:cubicBezTo>
                        <a:pt x="140" y="286"/>
                        <a:pt x="140" y="286"/>
                        <a:pt x="140" y="286"/>
                      </a:cubicBezTo>
                      <a:cubicBezTo>
                        <a:pt x="139" y="287"/>
                        <a:pt x="139" y="287"/>
                        <a:pt x="139" y="287"/>
                      </a:cubicBezTo>
                      <a:cubicBezTo>
                        <a:pt x="138" y="287"/>
                        <a:pt x="138" y="287"/>
                        <a:pt x="138" y="287"/>
                      </a:cubicBezTo>
                      <a:cubicBezTo>
                        <a:pt x="138" y="288"/>
                        <a:pt x="138" y="288"/>
                        <a:pt x="138" y="288"/>
                      </a:cubicBezTo>
                      <a:cubicBezTo>
                        <a:pt x="137" y="289"/>
                        <a:pt x="137" y="289"/>
                        <a:pt x="137" y="289"/>
                      </a:cubicBezTo>
                      <a:cubicBezTo>
                        <a:pt x="136" y="289"/>
                        <a:pt x="136" y="289"/>
                        <a:pt x="136" y="289"/>
                      </a:cubicBezTo>
                      <a:cubicBezTo>
                        <a:pt x="136" y="288"/>
                        <a:pt x="136" y="288"/>
                        <a:pt x="136" y="288"/>
                      </a:cubicBezTo>
                      <a:cubicBezTo>
                        <a:pt x="134" y="288"/>
                        <a:pt x="134" y="288"/>
                        <a:pt x="134" y="288"/>
                      </a:cubicBezTo>
                      <a:cubicBezTo>
                        <a:pt x="133" y="287"/>
                        <a:pt x="133" y="287"/>
                        <a:pt x="133" y="287"/>
                      </a:cubicBezTo>
                      <a:cubicBezTo>
                        <a:pt x="132" y="287"/>
                        <a:pt x="132" y="287"/>
                        <a:pt x="132" y="287"/>
                      </a:cubicBezTo>
                      <a:cubicBezTo>
                        <a:pt x="133" y="288"/>
                        <a:pt x="133" y="288"/>
                        <a:pt x="133" y="288"/>
                      </a:cubicBezTo>
                      <a:cubicBezTo>
                        <a:pt x="132" y="289"/>
                        <a:pt x="132" y="289"/>
                        <a:pt x="132" y="289"/>
                      </a:cubicBezTo>
                      <a:cubicBezTo>
                        <a:pt x="131" y="289"/>
                        <a:pt x="131" y="289"/>
                        <a:pt x="131" y="289"/>
                      </a:cubicBezTo>
                      <a:cubicBezTo>
                        <a:pt x="131" y="288"/>
                        <a:pt x="131" y="288"/>
                        <a:pt x="131" y="288"/>
                      </a:cubicBezTo>
                      <a:cubicBezTo>
                        <a:pt x="131" y="288"/>
                        <a:pt x="131" y="288"/>
                        <a:pt x="131" y="288"/>
                      </a:cubicBezTo>
                      <a:cubicBezTo>
                        <a:pt x="130" y="288"/>
                        <a:pt x="130" y="288"/>
                        <a:pt x="130" y="288"/>
                      </a:cubicBezTo>
                      <a:cubicBezTo>
                        <a:pt x="129" y="287"/>
                        <a:pt x="129" y="287"/>
                        <a:pt x="129" y="287"/>
                      </a:cubicBezTo>
                      <a:cubicBezTo>
                        <a:pt x="128" y="286"/>
                        <a:pt x="128" y="286"/>
                        <a:pt x="128" y="286"/>
                      </a:cubicBezTo>
                      <a:cubicBezTo>
                        <a:pt x="127" y="286"/>
                        <a:pt x="127" y="286"/>
                        <a:pt x="127" y="286"/>
                      </a:cubicBezTo>
                      <a:cubicBezTo>
                        <a:pt x="126" y="285"/>
                        <a:pt x="126" y="285"/>
                        <a:pt x="126" y="285"/>
                      </a:cubicBezTo>
                      <a:cubicBezTo>
                        <a:pt x="126" y="285"/>
                        <a:pt x="126" y="285"/>
                        <a:pt x="126" y="285"/>
                      </a:cubicBezTo>
                      <a:cubicBezTo>
                        <a:pt x="125" y="284"/>
                        <a:pt x="125" y="284"/>
                        <a:pt x="125" y="284"/>
                      </a:cubicBezTo>
                      <a:cubicBezTo>
                        <a:pt x="124" y="284"/>
                        <a:pt x="124" y="284"/>
                        <a:pt x="124" y="284"/>
                      </a:cubicBezTo>
                      <a:cubicBezTo>
                        <a:pt x="123" y="284"/>
                        <a:pt x="123" y="284"/>
                        <a:pt x="123" y="284"/>
                      </a:cubicBezTo>
                      <a:cubicBezTo>
                        <a:pt x="122" y="284"/>
                        <a:pt x="122" y="284"/>
                        <a:pt x="122" y="284"/>
                      </a:cubicBezTo>
                      <a:cubicBezTo>
                        <a:pt x="121" y="283"/>
                        <a:pt x="121" y="283"/>
                        <a:pt x="121" y="283"/>
                      </a:cubicBezTo>
                      <a:cubicBezTo>
                        <a:pt x="120" y="283"/>
                        <a:pt x="120" y="283"/>
                        <a:pt x="120" y="283"/>
                      </a:cubicBezTo>
                      <a:cubicBezTo>
                        <a:pt x="119" y="283"/>
                        <a:pt x="119" y="283"/>
                        <a:pt x="119" y="283"/>
                      </a:cubicBezTo>
                      <a:cubicBezTo>
                        <a:pt x="118" y="283"/>
                        <a:pt x="118" y="283"/>
                        <a:pt x="118" y="283"/>
                      </a:cubicBezTo>
                      <a:cubicBezTo>
                        <a:pt x="118" y="284"/>
                        <a:pt x="118" y="284"/>
                        <a:pt x="118" y="284"/>
                      </a:cubicBezTo>
                      <a:cubicBezTo>
                        <a:pt x="117" y="284"/>
                        <a:pt x="117" y="284"/>
                        <a:pt x="117" y="284"/>
                      </a:cubicBezTo>
                      <a:cubicBezTo>
                        <a:pt x="117" y="284"/>
                        <a:pt x="117" y="284"/>
                        <a:pt x="117" y="284"/>
                      </a:cubicBezTo>
                      <a:cubicBezTo>
                        <a:pt x="117" y="284"/>
                        <a:pt x="117" y="284"/>
                        <a:pt x="117" y="284"/>
                      </a:cubicBezTo>
                      <a:cubicBezTo>
                        <a:pt x="117" y="285"/>
                        <a:pt x="117" y="285"/>
                        <a:pt x="117" y="285"/>
                      </a:cubicBezTo>
                      <a:cubicBezTo>
                        <a:pt x="116" y="285"/>
                        <a:pt x="116" y="285"/>
                        <a:pt x="116" y="285"/>
                      </a:cubicBezTo>
                      <a:cubicBezTo>
                        <a:pt x="115" y="285"/>
                        <a:pt x="115" y="285"/>
                        <a:pt x="115" y="285"/>
                      </a:cubicBezTo>
                      <a:cubicBezTo>
                        <a:pt x="116" y="284"/>
                        <a:pt x="116" y="284"/>
                        <a:pt x="116" y="284"/>
                      </a:cubicBezTo>
                      <a:cubicBezTo>
                        <a:pt x="116" y="283"/>
                        <a:pt x="116" y="283"/>
                        <a:pt x="116" y="283"/>
                      </a:cubicBezTo>
                      <a:cubicBezTo>
                        <a:pt x="115" y="283"/>
                        <a:pt x="115" y="283"/>
                        <a:pt x="115" y="283"/>
                      </a:cubicBezTo>
                      <a:cubicBezTo>
                        <a:pt x="113" y="282"/>
                        <a:pt x="113" y="282"/>
                        <a:pt x="113" y="282"/>
                      </a:cubicBezTo>
                      <a:cubicBezTo>
                        <a:pt x="113" y="283"/>
                        <a:pt x="113" y="283"/>
                        <a:pt x="113" y="283"/>
                      </a:cubicBezTo>
                      <a:cubicBezTo>
                        <a:pt x="113" y="284"/>
                        <a:pt x="113" y="284"/>
                        <a:pt x="113" y="284"/>
                      </a:cubicBezTo>
                      <a:cubicBezTo>
                        <a:pt x="113" y="284"/>
                        <a:pt x="113" y="284"/>
                        <a:pt x="113" y="284"/>
                      </a:cubicBezTo>
                      <a:cubicBezTo>
                        <a:pt x="112" y="284"/>
                        <a:pt x="112" y="284"/>
                        <a:pt x="112" y="284"/>
                      </a:cubicBezTo>
                      <a:cubicBezTo>
                        <a:pt x="112" y="285"/>
                        <a:pt x="112" y="285"/>
                        <a:pt x="112" y="285"/>
                      </a:cubicBezTo>
                      <a:cubicBezTo>
                        <a:pt x="111" y="286"/>
                        <a:pt x="111" y="286"/>
                        <a:pt x="111" y="286"/>
                      </a:cubicBezTo>
                      <a:cubicBezTo>
                        <a:pt x="110" y="286"/>
                        <a:pt x="110" y="286"/>
                        <a:pt x="110" y="286"/>
                      </a:cubicBezTo>
                      <a:cubicBezTo>
                        <a:pt x="109" y="287"/>
                        <a:pt x="109" y="287"/>
                        <a:pt x="109" y="287"/>
                      </a:cubicBezTo>
                      <a:cubicBezTo>
                        <a:pt x="109" y="288"/>
                        <a:pt x="109" y="288"/>
                        <a:pt x="109" y="288"/>
                      </a:cubicBezTo>
                      <a:cubicBezTo>
                        <a:pt x="109" y="288"/>
                        <a:pt x="109" y="288"/>
                        <a:pt x="109" y="288"/>
                      </a:cubicBezTo>
                      <a:cubicBezTo>
                        <a:pt x="109" y="289"/>
                        <a:pt x="109" y="289"/>
                        <a:pt x="109" y="289"/>
                      </a:cubicBezTo>
                      <a:cubicBezTo>
                        <a:pt x="108" y="289"/>
                        <a:pt x="108" y="289"/>
                        <a:pt x="108" y="289"/>
                      </a:cubicBezTo>
                      <a:cubicBezTo>
                        <a:pt x="106" y="290"/>
                        <a:pt x="106" y="290"/>
                        <a:pt x="106" y="290"/>
                      </a:cubicBezTo>
                      <a:cubicBezTo>
                        <a:pt x="107" y="293"/>
                        <a:pt x="107" y="293"/>
                        <a:pt x="107" y="293"/>
                      </a:cubicBezTo>
                      <a:cubicBezTo>
                        <a:pt x="107" y="293"/>
                        <a:pt x="107" y="293"/>
                        <a:pt x="107" y="293"/>
                      </a:cubicBezTo>
                      <a:cubicBezTo>
                        <a:pt x="107" y="295"/>
                        <a:pt x="107" y="295"/>
                        <a:pt x="107" y="295"/>
                      </a:cubicBezTo>
                      <a:cubicBezTo>
                        <a:pt x="106" y="295"/>
                        <a:pt x="106" y="295"/>
                        <a:pt x="106" y="295"/>
                      </a:cubicBezTo>
                      <a:cubicBezTo>
                        <a:pt x="104" y="294"/>
                        <a:pt x="104" y="294"/>
                        <a:pt x="104" y="294"/>
                      </a:cubicBezTo>
                      <a:cubicBezTo>
                        <a:pt x="104" y="293"/>
                        <a:pt x="104" y="293"/>
                        <a:pt x="104" y="293"/>
                      </a:cubicBezTo>
                      <a:cubicBezTo>
                        <a:pt x="101" y="291"/>
                        <a:pt x="101" y="291"/>
                        <a:pt x="101" y="291"/>
                      </a:cubicBezTo>
                      <a:cubicBezTo>
                        <a:pt x="101" y="292"/>
                        <a:pt x="101" y="292"/>
                        <a:pt x="101" y="292"/>
                      </a:cubicBezTo>
                      <a:cubicBezTo>
                        <a:pt x="101" y="293"/>
                        <a:pt x="101" y="293"/>
                        <a:pt x="101" y="293"/>
                      </a:cubicBezTo>
                      <a:cubicBezTo>
                        <a:pt x="99" y="295"/>
                        <a:pt x="99" y="295"/>
                        <a:pt x="99" y="295"/>
                      </a:cubicBezTo>
                      <a:cubicBezTo>
                        <a:pt x="98" y="295"/>
                        <a:pt x="98" y="295"/>
                        <a:pt x="98" y="295"/>
                      </a:cubicBezTo>
                      <a:cubicBezTo>
                        <a:pt x="99" y="297"/>
                        <a:pt x="99" y="297"/>
                        <a:pt x="99" y="297"/>
                      </a:cubicBezTo>
                      <a:cubicBezTo>
                        <a:pt x="99" y="298"/>
                        <a:pt x="99" y="298"/>
                        <a:pt x="99" y="298"/>
                      </a:cubicBezTo>
                      <a:cubicBezTo>
                        <a:pt x="99" y="300"/>
                        <a:pt x="99" y="300"/>
                        <a:pt x="99" y="300"/>
                      </a:cubicBezTo>
                      <a:cubicBezTo>
                        <a:pt x="98" y="302"/>
                        <a:pt x="98" y="302"/>
                        <a:pt x="98" y="302"/>
                      </a:cubicBezTo>
                      <a:cubicBezTo>
                        <a:pt x="100" y="303"/>
                        <a:pt x="100" y="303"/>
                        <a:pt x="100" y="303"/>
                      </a:cubicBezTo>
                      <a:cubicBezTo>
                        <a:pt x="101" y="304"/>
                        <a:pt x="101" y="304"/>
                        <a:pt x="101" y="304"/>
                      </a:cubicBezTo>
                      <a:cubicBezTo>
                        <a:pt x="101" y="304"/>
                        <a:pt x="101" y="304"/>
                        <a:pt x="101" y="304"/>
                      </a:cubicBezTo>
                      <a:cubicBezTo>
                        <a:pt x="102" y="306"/>
                        <a:pt x="102" y="306"/>
                        <a:pt x="102" y="306"/>
                      </a:cubicBezTo>
                      <a:cubicBezTo>
                        <a:pt x="103" y="305"/>
                        <a:pt x="103" y="305"/>
                        <a:pt x="103" y="305"/>
                      </a:cubicBezTo>
                      <a:cubicBezTo>
                        <a:pt x="106" y="306"/>
                        <a:pt x="106" y="306"/>
                        <a:pt x="106" y="306"/>
                      </a:cubicBezTo>
                      <a:cubicBezTo>
                        <a:pt x="108" y="308"/>
                        <a:pt x="108" y="308"/>
                        <a:pt x="108" y="308"/>
                      </a:cubicBezTo>
                      <a:cubicBezTo>
                        <a:pt x="110" y="311"/>
                        <a:pt x="110" y="311"/>
                        <a:pt x="110" y="311"/>
                      </a:cubicBezTo>
                      <a:cubicBezTo>
                        <a:pt x="108" y="311"/>
                        <a:pt x="108" y="311"/>
                        <a:pt x="108" y="311"/>
                      </a:cubicBezTo>
                      <a:cubicBezTo>
                        <a:pt x="108" y="311"/>
                        <a:pt x="108" y="311"/>
                        <a:pt x="108" y="311"/>
                      </a:cubicBezTo>
                      <a:cubicBezTo>
                        <a:pt x="110" y="312"/>
                        <a:pt x="110" y="312"/>
                        <a:pt x="110" y="312"/>
                      </a:cubicBezTo>
                      <a:cubicBezTo>
                        <a:pt x="111" y="312"/>
                        <a:pt x="111" y="312"/>
                        <a:pt x="111" y="312"/>
                      </a:cubicBezTo>
                      <a:cubicBezTo>
                        <a:pt x="112" y="313"/>
                        <a:pt x="112" y="313"/>
                        <a:pt x="112" y="313"/>
                      </a:cubicBezTo>
                      <a:cubicBezTo>
                        <a:pt x="112" y="313"/>
                        <a:pt x="112" y="313"/>
                        <a:pt x="112" y="313"/>
                      </a:cubicBezTo>
                      <a:cubicBezTo>
                        <a:pt x="112" y="313"/>
                        <a:pt x="112" y="313"/>
                        <a:pt x="112" y="313"/>
                      </a:cubicBezTo>
                      <a:cubicBezTo>
                        <a:pt x="112" y="313"/>
                        <a:pt x="112" y="313"/>
                        <a:pt x="112" y="313"/>
                      </a:cubicBezTo>
                      <a:cubicBezTo>
                        <a:pt x="112" y="313"/>
                        <a:pt x="112" y="313"/>
                        <a:pt x="112" y="313"/>
                      </a:cubicBezTo>
                      <a:cubicBezTo>
                        <a:pt x="111" y="314"/>
                        <a:pt x="111" y="314"/>
                        <a:pt x="111" y="314"/>
                      </a:cubicBezTo>
                      <a:cubicBezTo>
                        <a:pt x="112" y="314"/>
                        <a:pt x="112" y="314"/>
                        <a:pt x="112" y="314"/>
                      </a:cubicBezTo>
                      <a:cubicBezTo>
                        <a:pt x="112" y="314"/>
                        <a:pt x="112" y="314"/>
                        <a:pt x="112" y="314"/>
                      </a:cubicBezTo>
                      <a:cubicBezTo>
                        <a:pt x="111" y="314"/>
                        <a:pt x="111" y="314"/>
                        <a:pt x="111" y="314"/>
                      </a:cubicBezTo>
                      <a:cubicBezTo>
                        <a:pt x="112" y="315"/>
                        <a:pt x="112" y="315"/>
                        <a:pt x="112" y="315"/>
                      </a:cubicBezTo>
                      <a:cubicBezTo>
                        <a:pt x="112" y="315"/>
                        <a:pt x="112" y="315"/>
                        <a:pt x="112" y="315"/>
                      </a:cubicBezTo>
                      <a:cubicBezTo>
                        <a:pt x="111" y="315"/>
                        <a:pt x="111" y="315"/>
                        <a:pt x="111" y="315"/>
                      </a:cubicBezTo>
                      <a:cubicBezTo>
                        <a:pt x="110" y="315"/>
                        <a:pt x="110" y="315"/>
                        <a:pt x="110" y="315"/>
                      </a:cubicBezTo>
                      <a:cubicBezTo>
                        <a:pt x="110" y="315"/>
                        <a:pt x="110" y="315"/>
                        <a:pt x="110" y="315"/>
                      </a:cubicBezTo>
                      <a:cubicBezTo>
                        <a:pt x="109" y="315"/>
                        <a:pt x="109" y="315"/>
                        <a:pt x="109" y="315"/>
                      </a:cubicBezTo>
                      <a:cubicBezTo>
                        <a:pt x="110" y="316"/>
                        <a:pt x="110" y="316"/>
                        <a:pt x="110" y="316"/>
                      </a:cubicBezTo>
                      <a:cubicBezTo>
                        <a:pt x="111" y="316"/>
                        <a:pt x="111" y="316"/>
                        <a:pt x="111" y="316"/>
                      </a:cubicBezTo>
                      <a:cubicBezTo>
                        <a:pt x="110" y="317"/>
                        <a:pt x="110" y="317"/>
                        <a:pt x="110" y="317"/>
                      </a:cubicBezTo>
                      <a:cubicBezTo>
                        <a:pt x="110" y="316"/>
                        <a:pt x="110" y="316"/>
                        <a:pt x="110" y="316"/>
                      </a:cubicBezTo>
                      <a:cubicBezTo>
                        <a:pt x="110" y="316"/>
                        <a:pt x="109" y="316"/>
                        <a:pt x="109" y="316"/>
                      </a:cubicBezTo>
                      <a:cubicBezTo>
                        <a:pt x="109" y="316"/>
                        <a:pt x="109" y="316"/>
                        <a:pt x="109" y="316"/>
                      </a:cubicBezTo>
                      <a:cubicBezTo>
                        <a:pt x="108" y="316"/>
                        <a:pt x="108" y="316"/>
                        <a:pt x="108" y="316"/>
                      </a:cubicBezTo>
                      <a:cubicBezTo>
                        <a:pt x="109" y="316"/>
                        <a:pt x="109" y="316"/>
                        <a:pt x="109" y="316"/>
                      </a:cubicBezTo>
                      <a:cubicBezTo>
                        <a:pt x="109" y="317"/>
                        <a:pt x="109" y="317"/>
                        <a:pt x="109" y="317"/>
                      </a:cubicBezTo>
                      <a:cubicBezTo>
                        <a:pt x="108" y="317"/>
                        <a:pt x="108" y="317"/>
                        <a:pt x="108" y="317"/>
                      </a:cubicBezTo>
                      <a:cubicBezTo>
                        <a:pt x="108" y="317"/>
                        <a:pt x="108" y="317"/>
                        <a:pt x="108" y="317"/>
                      </a:cubicBezTo>
                      <a:cubicBezTo>
                        <a:pt x="107" y="318"/>
                        <a:pt x="107" y="318"/>
                        <a:pt x="107" y="318"/>
                      </a:cubicBezTo>
                      <a:cubicBezTo>
                        <a:pt x="107" y="317"/>
                        <a:pt x="107" y="317"/>
                        <a:pt x="107" y="317"/>
                      </a:cubicBezTo>
                      <a:cubicBezTo>
                        <a:pt x="107" y="318"/>
                        <a:pt x="107" y="318"/>
                        <a:pt x="107" y="318"/>
                      </a:cubicBezTo>
                      <a:cubicBezTo>
                        <a:pt x="106" y="318"/>
                        <a:pt x="106" y="318"/>
                        <a:pt x="106" y="318"/>
                      </a:cubicBezTo>
                      <a:cubicBezTo>
                        <a:pt x="106" y="318"/>
                        <a:pt x="106" y="318"/>
                        <a:pt x="106" y="318"/>
                      </a:cubicBezTo>
                      <a:cubicBezTo>
                        <a:pt x="105" y="317"/>
                        <a:pt x="105" y="317"/>
                        <a:pt x="105" y="317"/>
                      </a:cubicBezTo>
                      <a:cubicBezTo>
                        <a:pt x="105" y="318"/>
                        <a:pt x="105" y="318"/>
                        <a:pt x="105" y="318"/>
                      </a:cubicBezTo>
                      <a:cubicBezTo>
                        <a:pt x="105" y="319"/>
                        <a:pt x="105" y="319"/>
                        <a:pt x="105" y="319"/>
                      </a:cubicBezTo>
                      <a:cubicBezTo>
                        <a:pt x="105" y="320"/>
                        <a:pt x="105" y="320"/>
                        <a:pt x="105" y="320"/>
                      </a:cubicBezTo>
                      <a:cubicBezTo>
                        <a:pt x="104" y="320"/>
                        <a:pt x="104" y="320"/>
                        <a:pt x="104" y="320"/>
                      </a:cubicBezTo>
                      <a:cubicBezTo>
                        <a:pt x="104" y="321"/>
                        <a:pt x="104" y="321"/>
                        <a:pt x="104" y="321"/>
                      </a:cubicBezTo>
                      <a:cubicBezTo>
                        <a:pt x="103" y="321"/>
                        <a:pt x="103" y="321"/>
                        <a:pt x="103" y="321"/>
                      </a:cubicBezTo>
                      <a:cubicBezTo>
                        <a:pt x="103" y="323"/>
                        <a:pt x="103" y="323"/>
                        <a:pt x="103" y="323"/>
                      </a:cubicBezTo>
                      <a:cubicBezTo>
                        <a:pt x="103" y="323"/>
                        <a:pt x="103" y="323"/>
                        <a:pt x="103" y="323"/>
                      </a:cubicBezTo>
                      <a:cubicBezTo>
                        <a:pt x="103" y="324"/>
                        <a:pt x="103" y="324"/>
                        <a:pt x="103" y="324"/>
                      </a:cubicBezTo>
                      <a:cubicBezTo>
                        <a:pt x="103" y="326"/>
                        <a:pt x="103" y="326"/>
                        <a:pt x="103" y="326"/>
                      </a:cubicBezTo>
                      <a:cubicBezTo>
                        <a:pt x="104" y="326"/>
                        <a:pt x="104" y="326"/>
                        <a:pt x="104" y="326"/>
                      </a:cubicBezTo>
                      <a:cubicBezTo>
                        <a:pt x="104" y="326"/>
                        <a:pt x="104" y="326"/>
                        <a:pt x="104" y="326"/>
                      </a:cubicBezTo>
                      <a:cubicBezTo>
                        <a:pt x="105" y="326"/>
                        <a:pt x="105" y="326"/>
                        <a:pt x="105" y="326"/>
                      </a:cubicBezTo>
                      <a:cubicBezTo>
                        <a:pt x="106" y="327"/>
                        <a:pt x="106" y="327"/>
                        <a:pt x="106" y="327"/>
                      </a:cubicBezTo>
                      <a:cubicBezTo>
                        <a:pt x="106" y="328"/>
                        <a:pt x="106" y="328"/>
                        <a:pt x="106" y="328"/>
                      </a:cubicBezTo>
                      <a:cubicBezTo>
                        <a:pt x="107" y="329"/>
                        <a:pt x="107" y="329"/>
                        <a:pt x="107" y="329"/>
                      </a:cubicBezTo>
                      <a:cubicBezTo>
                        <a:pt x="107" y="328"/>
                        <a:pt x="107" y="328"/>
                        <a:pt x="107" y="328"/>
                      </a:cubicBezTo>
                      <a:cubicBezTo>
                        <a:pt x="108" y="328"/>
                        <a:pt x="108" y="328"/>
                        <a:pt x="108" y="328"/>
                      </a:cubicBezTo>
                      <a:cubicBezTo>
                        <a:pt x="108" y="329"/>
                        <a:pt x="108" y="329"/>
                        <a:pt x="108" y="329"/>
                      </a:cubicBezTo>
                      <a:cubicBezTo>
                        <a:pt x="107" y="330"/>
                        <a:pt x="107" y="330"/>
                        <a:pt x="107" y="330"/>
                      </a:cubicBezTo>
                      <a:cubicBezTo>
                        <a:pt x="107" y="329"/>
                        <a:pt x="107" y="329"/>
                        <a:pt x="107" y="329"/>
                      </a:cubicBezTo>
                      <a:cubicBezTo>
                        <a:pt x="107" y="330"/>
                        <a:pt x="107" y="330"/>
                        <a:pt x="107" y="330"/>
                      </a:cubicBezTo>
                      <a:cubicBezTo>
                        <a:pt x="107" y="330"/>
                        <a:pt x="107" y="330"/>
                        <a:pt x="107" y="330"/>
                      </a:cubicBezTo>
                      <a:cubicBezTo>
                        <a:pt x="108" y="331"/>
                        <a:pt x="108" y="331"/>
                        <a:pt x="108" y="331"/>
                      </a:cubicBezTo>
                      <a:cubicBezTo>
                        <a:pt x="108" y="331"/>
                        <a:pt x="108" y="331"/>
                        <a:pt x="108" y="331"/>
                      </a:cubicBezTo>
                      <a:cubicBezTo>
                        <a:pt x="108" y="333"/>
                        <a:pt x="108" y="333"/>
                        <a:pt x="108" y="333"/>
                      </a:cubicBezTo>
                      <a:cubicBezTo>
                        <a:pt x="109" y="333"/>
                        <a:pt x="109" y="333"/>
                        <a:pt x="109" y="333"/>
                      </a:cubicBezTo>
                      <a:cubicBezTo>
                        <a:pt x="109" y="335"/>
                        <a:pt x="109" y="335"/>
                        <a:pt x="109" y="335"/>
                      </a:cubicBezTo>
                      <a:cubicBezTo>
                        <a:pt x="111" y="337"/>
                        <a:pt x="111" y="337"/>
                        <a:pt x="111" y="337"/>
                      </a:cubicBezTo>
                      <a:cubicBezTo>
                        <a:pt x="113" y="338"/>
                        <a:pt x="113" y="338"/>
                        <a:pt x="113" y="338"/>
                      </a:cubicBezTo>
                      <a:cubicBezTo>
                        <a:pt x="114" y="339"/>
                        <a:pt x="114" y="339"/>
                        <a:pt x="114" y="339"/>
                      </a:cubicBezTo>
                      <a:cubicBezTo>
                        <a:pt x="114" y="339"/>
                        <a:pt x="114" y="339"/>
                        <a:pt x="114" y="339"/>
                      </a:cubicBezTo>
                      <a:cubicBezTo>
                        <a:pt x="112" y="340"/>
                        <a:pt x="112" y="340"/>
                        <a:pt x="112" y="340"/>
                      </a:cubicBezTo>
                      <a:cubicBezTo>
                        <a:pt x="111" y="341"/>
                        <a:pt x="111" y="341"/>
                        <a:pt x="111" y="341"/>
                      </a:cubicBezTo>
                      <a:cubicBezTo>
                        <a:pt x="110" y="342"/>
                        <a:pt x="110" y="342"/>
                        <a:pt x="110" y="342"/>
                      </a:cubicBezTo>
                      <a:cubicBezTo>
                        <a:pt x="108" y="342"/>
                        <a:pt x="108" y="342"/>
                        <a:pt x="108" y="342"/>
                      </a:cubicBezTo>
                      <a:cubicBezTo>
                        <a:pt x="108" y="341"/>
                        <a:pt x="108" y="341"/>
                        <a:pt x="108" y="341"/>
                      </a:cubicBezTo>
                      <a:cubicBezTo>
                        <a:pt x="105" y="339"/>
                        <a:pt x="105" y="339"/>
                        <a:pt x="105" y="339"/>
                      </a:cubicBezTo>
                      <a:cubicBezTo>
                        <a:pt x="104" y="339"/>
                        <a:pt x="104" y="339"/>
                        <a:pt x="104" y="339"/>
                      </a:cubicBezTo>
                      <a:cubicBezTo>
                        <a:pt x="103" y="340"/>
                        <a:pt x="103" y="340"/>
                        <a:pt x="103" y="340"/>
                      </a:cubicBezTo>
                      <a:cubicBezTo>
                        <a:pt x="105" y="341"/>
                        <a:pt x="105" y="341"/>
                        <a:pt x="105" y="341"/>
                      </a:cubicBezTo>
                      <a:cubicBezTo>
                        <a:pt x="105" y="342"/>
                        <a:pt x="105" y="342"/>
                        <a:pt x="105" y="342"/>
                      </a:cubicBezTo>
                      <a:cubicBezTo>
                        <a:pt x="105" y="344"/>
                        <a:pt x="105" y="344"/>
                        <a:pt x="105" y="344"/>
                      </a:cubicBezTo>
                      <a:cubicBezTo>
                        <a:pt x="103" y="343"/>
                        <a:pt x="103" y="343"/>
                        <a:pt x="103" y="343"/>
                      </a:cubicBezTo>
                      <a:cubicBezTo>
                        <a:pt x="102" y="343"/>
                        <a:pt x="102" y="343"/>
                        <a:pt x="102" y="343"/>
                      </a:cubicBezTo>
                      <a:cubicBezTo>
                        <a:pt x="99" y="341"/>
                        <a:pt x="99" y="341"/>
                        <a:pt x="99" y="341"/>
                      </a:cubicBezTo>
                      <a:cubicBezTo>
                        <a:pt x="97" y="342"/>
                        <a:pt x="97" y="342"/>
                        <a:pt x="97" y="342"/>
                      </a:cubicBezTo>
                      <a:cubicBezTo>
                        <a:pt x="97" y="343"/>
                        <a:pt x="97" y="343"/>
                        <a:pt x="97" y="343"/>
                      </a:cubicBezTo>
                      <a:cubicBezTo>
                        <a:pt x="98" y="343"/>
                        <a:pt x="98" y="343"/>
                        <a:pt x="98" y="343"/>
                      </a:cubicBezTo>
                      <a:cubicBezTo>
                        <a:pt x="97" y="342"/>
                        <a:pt x="97" y="342"/>
                        <a:pt x="97" y="342"/>
                      </a:cubicBezTo>
                      <a:cubicBezTo>
                        <a:pt x="94" y="343"/>
                        <a:pt x="94" y="343"/>
                        <a:pt x="94" y="343"/>
                      </a:cubicBezTo>
                      <a:cubicBezTo>
                        <a:pt x="93" y="342"/>
                        <a:pt x="93" y="342"/>
                        <a:pt x="93" y="342"/>
                      </a:cubicBezTo>
                      <a:cubicBezTo>
                        <a:pt x="91" y="343"/>
                        <a:pt x="91" y="343"/>
                        <a:pt x="91" y="343"/>
                      </a:cubicBezTo>
                      <a:cubicBezTo>
                        <a:pt x="90" y="343"/>
                        <a:pt x="90" y="343"/>
                        <a:pt x="90" y="343"/>
                      </a:cubicBezTo>
                      <a:cubicBezTo>
                        <a:pt x="90" y="343"/>
                        <a:pt x="90" y="343"/>
                        <a:pt x="90" y="343"/>
                      </a:cubicBezTo>
                      <a:cubicBezTo>
                        <a:pt x="89" y="343"/>
                        <a:pt x="89" y="343"/>
                        <a:pt x="89" y="343"/>
                      </a:cubicBezTo>
                      <a:cubicBezTo>
                        <a:pt x="87" y="342"/>
                        <a:pt x="87" y="342"/>
                        <a:pt x="87" y="342"/>
                      </a:cubicBezTo>
                      <a:cubicBezTo>
                        <a:pt x="86" y="341"/>
                        <a:pt x="86" y="341"/>
                        <a:pt x="86" y="341"/>
                      </a:cubicBezTo>
                      <a:cubicBezTo>
                        <a:pt x="85" y="342"/>
                        <a:pt x="85" y="342"/>
                        <a:pt x="85" y="342"/>
                      </a:cubicBezTo>
                      <a:cubicBezTo>
                        <a:pt x="85" y="342"/>
                        <a:pt x="85" y="342"/>
                        <a:pt x="85" y="342"/>
                      </a:cubicBezTo>
                      <a:cubicBezTo>
                        <a:pt x="84" y="342"/>
                        <a:pt x="84" y="342"/>
                        <a:pt x="84" y="342"/>
                      </a:cubicBezTo>
                      <a:cubicBezTo>
                        <a:pt x="83" y="342"/>
                        <a:pt x="83" y="342"/>
                        <a:pt x="83" y="342"/>
                      </a:cubicBezTo>
                      <a:cubicBezTo>
                        <a:pt x="83" y="342"/>
                        <a:pt x="83" y="342"/>
                        <a:pt x="83" y="342"/>
                      </a:cubicBezTo>
                      <a:cubicBezTo>
                        <a:pt x="82" y="341"/>
                        <a:pt x="82" y="341"/>
                        <a:pt x="82" y="341"/>
                      </a:cubicBezTo>
                      <a:cubicBezTo>
                        <a:pt x="82" y="341"/>
                        <a:pt x="82" y="341"/>
                        <a:pt x="82" y="341"/>
                      </a:cubicBezTo>
                      <a:cubicBezTo>
                        <a:pt x="82" y="341"/>
                        <a:pt x="82" y="341"/>
                        <a:pt x="82" y="341"/>
                      </a:cubicBezTo>
                      <a:cubicBezTo>
                        <a:pt x="82" y="341"/>
                        <a:pt x="82" y="341"/>
                        <a:pt x="82" y="341"/>
                      </a:cubicBezTo>
                      <a:cubicBezTo>
                        <a:pt x="82" y="340"/>
                        <a:pt x="82" y="340"/>
                        <a:pt x="82" y="340"/>
                      </a:cubicBezTo>
                      <a:cubicBezTo>
                        <a:pt x="82" y="340"/>
                        <a:pt x="82" y="340"/>
                        <a:pt x="82" y="340"/>
                      </a:cubicBezTo>
                      <a:cubicBezTo>
                        <a:pt x="81" y="338"/>
                        <a:pt x="81" y="338"/>
                        <a:pt x="81" y="338"/>
                      </a:cubicBezTo>
                      <a:cubicBezTo>
                        <a:pt x="81" y="336"/>
                        <a:pt x="81" y="336"/>
                        <a:pt x="81" y="336"/>
                      </a:cubicBezTo>
                      <a:cubicBezTo>
                        <a:pt x="80" y="336"/>
                        <a:pt x="80" y="336"/>
                        <a:pt x="80" y="336"/>
                      </a:cubicBezTo>
                      <a:cubicBezTo>
                        <a:pt x="79" y="334"/>
                        <a:pt x="79" y="334"/>
                        <a:pt x="79" y="334"/>
                      </a:cubicBezTo>
                      <a:cubicBezTo>
                        <a:pt x="78" y="334"/>
                        <a:pt x="78" y="334"/>
                        <a:pt x="78" y="334"/>
                      </a:cubicBezTo>
                      <a:cubicBezTo>
                        <a:pt x="78" y="334"/>
                        <a:pt x="78" y="334"/>
                        <a:pt x="78" y="334"/>
                      </a:cubicBezTo>
                      <a:cubicBezTo>
                        <a:pt x="77" y="333"/>
                        <a:pt x="77" y="333"/>
                        <a:pt x="77" y="333"/>
                      </a:cubicBezTo>
                      <a:cubicBezTo>
                        <a:pt x="76" y="333"/>
                        <a:pt x="76" y="333"/>
                        <a:pt x="76" y="333"/>
                      </a:cubicBezTo>
                      <a:cubicBezTo>
                        <a:pt x="76" y="333"/>
                        <a:pt x="76" y="333"/>
                        <a:pt x="76" y="333"/>
                      </a:cubicBezTo>
                      <a:cubicBezTo>
                        <a:pt x="75" y="333"/>
                        <a:pt x="75" y="333"/>
                        <a:pt x="75" y="333"/>
                      </a:cubicBezTo>
                      <a:cubicBezTo>
                        <a:pt x="74" y="332"/>
                        <a:pt x="74" y="332"/>
                        <a:pt x="74" y="332"/>
                      </a:cubicBezTo>
                      <a:cubicBezTo>
                        <a:pt x="74" y="332"/>
                        <a:pt x="74" y="332"/>
                        <a:pt x="74" y="332"/>
                      </a:cubicBezTo>
                      <a:cubicBezTo>
                        <a:pt x="73" y="331"/>
                        <a:pt x="73" y="331"/>
                        <a:pt x="73" y="331"/>
                      </a:cubicBezTo>
                      <a:cubicBezTo>
                        <a:pt x="73" y="331"/>
                        <a:pt x="73" y="331"/>
                        <a:pt x="73" y="331"/>
                      </a:cubicBezTo>
                      <a:cubicBezTo>
                        <a:pt x="72" y="331"/>
                        <a:pt x="72" y="331"/>
                        <a:pt x="72" y="331"/>
                      </a:cubicBezTo>
                      <a:cubicBezTo>
                        <a:pt x="71" y="330"/>
                        <a:pt x="71" y="330"/>
                        <a:pt x="71" y="330"/>
                      </a:cubicBezTo>
                      <a:cubicBezTo>
                        <a:pt x="71" y="330"/>
                        <a:pt x="71" y="330"/>
                        <a:pt x="71" y="330"/>
                      </a:cubicBezTo>
                      <a:cubicBezTo>
                        <a:pt x="70" y="329"/>
                        <a:pt x="70" y="329"/>
                        <a:pt x="70" y="329"/>
                      </a:cubicBezTo>
                      <a:cubicBezTo>
                        <a:pt x="69" y="328"/>
                        <a:pt x="69" y="328"/>
                        <a:pt x="69" y="328"/>
                      </a:cubicBezTo>
                      <a:cubicBezTo>
                        <a:pt x="66" y="326"/>
                        <a:pt x="66" y="326"/>
                        <a:pt x="66" y="326"/>
                      </a:cubicBezTo>
                      <a:cubicBezTo>
                        <a:pt x="65" y="326"/>
                        <a:pt x="65" y="326"/>
                        <a:pt x="65" y="326"/>
                      </a:cubicBezTo>
                      <a:cubicBezTo>
                        <a:pt x="63" y="325"/>
                        <a:pt x="63" y="325"/>
                        <a:pt x="63" y="325"/>
                      </a:cubicBezTo>
                      <a:cubicBezTo>
                        <a:pt x="61" y="325"/>
                        <a:pt x="61" y="325"/>
                        <a:pt x="61" y="325"/>
                      </a:cubicBezTo>
                      <a:cubicBezTo>
                        <a:pt x="60" y="324"/>
                        <a:pt x="60" y="324"/>
                        <a:pt x="60" y="324"/>
                      </a:cubicBezTo>
                      <a:cubicBezTo>
                        <a:pt x="60" y="323"/>
                        <a:pt x="60" y="323"/>
                        <a:pt x="60" y="323"/>
                      </a:cubicBezTo>
                      <a:cubicBezTo>
                        <a:pt x="59" y="322"/>
                        <a:pt x="59" y="322"/>
                        <a:pt x="59" y="322"/>
                      </a:cubicBezTo>
                      <a:cubicBezTo>
                        <a:pt x="58" y="323"/>
                        <a:pt x="58" y="323"/>
                        <a:pt x="58" y="323"/>
                      </a:cubicBezTo>
                      <a:cubicBezTo>
                        <a:pt x="57" y="322"/>
                        <a:pt x="57" y="322"/>
                        <a:pt x="57" y="322"/>
                      </a:cubicBezTo>
                      <a:cubicBezTo>
                        <a:pt x="58" y="322"/>
                        <a:pt x="58" y="322"/>
                        <a:pt x="58" y="322"/>
                      </a:cubicBezTo>
                      <a:cubicBezTo>
                        <a:pt x="59" y="322"/>
                        <a:pt x="59" y="322"/>
                        <a:pt x="59" y="322"/>
                      </a:cubicBezTo>
                      <a:cubicBezTo>
                        <a:pt x="58" y="321"/>
                        <a:pt x="58" y="321"/>
                        <a:pt x="58" y="321"/>
                      </a:cubicBezTo>
                      <a:cubicBezTo>
                        <a:pt x="58" y="321"/>
                        <a:pt x="58" y="321"/>
                        <a:pt x="58" y="321"/>
                      </a:cubicBezTo>
                      <a:cubicBezTo>
                        <a:pt x="59" y="321"/>
                        <a:pt x="59" y="321"/>
                        <a:pt x="59" y="321"/>
                      </a:cubicBezTo>
                      <a:cubicBezTo>
                        <a:pt x="60" y="321"/>
                        <a:pt x="60" y="321"/>
                        <a:pt x="60" y="321"/>
                      </a:cubicBezTo>
                      <a:cubicBezTo>
                        <a:pt x="60" y="321"/>
                        <a:pt x="60" y="321"/>
                        <a:pt x="60" y="321"/>
                      </a:cubicBezTo>
                      <a:cubicBezTo>
                        <a:pt x="61" y="321"/>
                        <a:pt x="61" y="321"/>
                        <a:pt x="61" y="321"/>
                      </a:cubicBezTo>
                      <a:cubicBezTo>
                        <a:pt x="61" y="320"/>
                        <a:pt x="61" y="320"/>
                        <a:pt x="61" y="320"/>
                      </a:cubicBezTo>
                      <a:cubicBezTo>
                        <a:pt x="61" y="320"/>
                        <a:pt x="61" y="320"/>
                        <a:pt x="61" y="320"/>
                      </a:cubicBezTo>
                      <a:cubicBezTo>
                        <a:pt x="61" y="319"/>
                        <a:pt x="61" y="319"/>
                        <a:pt x="61" y="319"/>
                      </a:cubicBezTo>
                      <a:cubicBezTo>
                        <a:pt x="62" y="318"/>
                        <a:pt x="62" y="318"/>
                        <a:pt x="62" y="318"/>
                      </a:cubicBezTo>
                      <a:cubicBezTo>
                        <a:pt x="62" y="318"/>
                        <a:pt x="62" y="318"/>
                        <a:pt x="62" y="318"/>
                      </a:cubicBezTo>
                      <a:cubicBezTo>
                        <a:pt x="62" y="317"/>
                        <a:pt x="62" y="317"/>
                        <a:pt x="62" y="317"/>
                      </a:cubicBezTo>
                      <a:cubicBezTo>
                        <a:pt x="63" y="317"/>
                        <a:pt x="63" y="317"/>
                        <a:pt x="63" y="317"/>
                      </a:cubicBezTo>
                      <a:cubicBezTo>
                        <a:pt x="63" y="317"/>
                        <a:pt x="63" y="317"/>
                        <a:pt x="63" y="317"/>
                      </a:cubicBezTo>
                      <a:cubicBezTo>
                        <a:pt x="64" y="317"/>
                        <a:pt x="64" y="317"/>
                        <a:pt x="64" y="317"/>
                      </a:cubicBezTo>
                      <a:cubicBezTo>
                        <a:pt x="64" y="316"/>
                        <a:pt x="64" y="316"/>
                        <a:pt x="64" y="316"/>
                      </a:cubicBezTo>
                      <a:cubicBezTo>
                        <a:pt x="63" y="316"/>
                        <a:pt x="63" y="316"/>
                        <a:pt x="63" y="316"/>
                      </a:cubicBezTo>
                      <a:cubicBezTo>
                        <a:pt x="63" y="316"/>
                        <a:pt x="63" y="316"/>
                        <a:pt x="63" y="316"/>
                      </a:cubicBezTo>
                      <a:cubicBezTo>
                        <a:pt x="62" y="316"/>
                        <a:pt x="62" y="316"/>
                        <a:pt x="62" y="316"/>
                      </a:cubicBezTo>
                      <a:cubicBezTo>
                        <a:pt x="62" y="315"/>
                        <a:pt x="62" y="315"/>
                        <a:pt x="62" y="315"/>
                      </a:cubicBezTo>
                      <a:cubicBezTo>
                        <a:pt x="61" y="314"/>
                        <a:pt x="61" y="314"/>
                        <a:pt x="61" y="314"/>
                      </a:cubicBezTo>
                      <a:cubicBezTo>
                        <a:pt x="63" y="314"/>
                        <a:pt x="63" y="314"/>
                        <a:pt x="63" y="314"/>
                      </a:cubicBezTo>
                      <a:cubicBezTo>
                        <a:pt x="64" y="314"/>
                        <a:pt x="64" y="314"/>
                        <a:pt x="64" y="314"/>
                      </a:cubicBezTo>
                      <a:cubicBezTo>
                        <a:pt x="64" y="314"/>
                        <a:pt x="64" y="314"/>
                        <a:pt x="64" y="314"/>
                      </a:cubicBezTo>
                      <a:cubicBezTo>
                        <a:pt x="64" y="314"/>
                        <a:pt x="64" y="314"/>
                        <a:pt x="64" y="314"/>
                      </a:cubicBezTo>
                      <a:cubicBezTo>
                        <a:pt x="63" y="313"/>
                        <a:pt x="63" y="313"/>
                        <a:pt x="63" y="313"/>
                      </a:cubicBezTo>
                      <a:cubicBezTo>
                        <a:pt x="64" y="313"/>
                        <a:pt x="64" y="313"/>
                        <a:pt x="64" y="313"/>
                      </a:cubicBezTo>
                      <a:cubicBezTo>
                        <a:pt x="67" y="311"/>
                        <a:pt x="67" y="311"/>
                        <a:pt x="67" y="311"/>
                      </a:cubicBezTo>
                      <a:cubicBezTo>
                        <a:pt x="67" y="311"/>
                        <a:pt x="67" y="311"/>
                        <a:pt x="67" y="311"/>
                      </a:cubicBezTo>
                      <a:cubicBezTo>
                        <a:pt x="67" y="310"/>
                        <a:pt x="67" y="310"/>
                        <a:pt x="67" y="310"/>
                      </a:cubicBezTo>
                      <a:cubicBezTo>
                        <a:pt x="66" y="310"/>
                        <a:pt x="66" y="310"/>
                        <a:pt x="66" y="310"/>
                      </a:cubicBezTo>
                      <a:cubicBezTo>
                        <a:pt x="64" y="311"/>
                        <a:pt x="64" y="311"/>
                        <a:pt x="64" y="311"/>
                      </a:cubicBezTo>
                      <a:cubicBezTo>
                        <a:pt x="64" y="311"/>
                        <a:pt x="64" y="311"/>
                        <a:pt x="64" y="311"/>
                      </a:cubicBezTo>
                      <a:cubicBezTo>
                        <a:pt x="63" y="311"/>
                        <a:pt x="63" y="311"/>
                        <a:pt x="63" y="311"/>
                      </a:cubicBezTo>
                      <a:cubicBezTo>
                        <a:pt x="63" y="311"/>
                        <a:pt x="63" y="311"/>
                        <a:pt x="63" y="311"/>
                      </a:cubicBezTo>
                      <a:cubicBezTo>
                        <a:pt x="64" y="309"/>
                        <a:pt x="64" y="309"/>
                        <a:pt x="64" y="309"/>
                      </a:cubicBezTo>
                      <a:cubicBezTo>
                        <a:pt x="64" y="309"/>
                        <a:pt x="64" y="309"/>
                        <a:pt x="64" y="309"/>
                      </a:cubicBezTo>
                      <a:cubicBezTo>
                        <a:pt x="65" y="307"/>
                        <a:pt x="65" y="307"/>
                        <a:pt x="65" y="307"/>
                      </a:cubicBezTo>
                      <a:cubicBezTo>
                        <a:pt x="68" y="307"/>
                        <a:pt x="68" y="307"/>
                        <a:pt x="68" y="307"/>
                      </a:cubicBezTo>
                      <a:cubicBezTo>
                        <a:pt x="68" y="306"/>
                        <a:pt x="68" y="306"/>
                        <a:pt x="68" y="306"/>
                      </a:cubicBezTo>
                      <a:cubicBezTo>
                        <a:pt x="68" y="305"/>
                        <a:pt x="68" y="305"/>
                        <a:pt x="68" y="305"/>
                      </a:cubicBezTo>
                      <a:cubicBezTo>
                        <a:pt x="69" y="304"/>
                        <a:pt x="69" y="304"/>
                        <a:pt x="69" y="304"/>
                      </a:cubicBezTo>
                      <a:cubicBezTo>
                        <a:pt x="69" y="303"/>
                        <a:pt x="69" y="303"/>
                        <a:pt x="69" y="303"/>
                      </a:cubicBezTo>
                      <a:cubicBezTo>
                        <a:pt x="67" y="302"/>
                        <a:pt x="67" y="302"/>
                        <a:pt x="67" y="302"/>
                      </a:cubicBezTo>
                      <a:cubicBezTo>
                        <a:pt x="68" y="300"/>
                        <a:pt x="68" y="300"/>
                        <a:pt x="68" y="300"/>
                      </a:cubicBezTo>
                      <a:cubicBezTo>
                        <a:pt x="69" y="300"/>
                        <a:pt x="69" y="300"/>
                        <a:pt x="69" y="300"/>
                      </a:cubicBezTo>
                      <a:cubicBezTo>
                        <a:pt x="69" y="299"/>
                        <a:pt x="69" y="299"/>
                        <a:pt x="69" y="299"/>
                      </a:cubicBezTo>
                      <a:cubicBezTo>
                        <a:pt x="69" y="297"/>
                        <a:pt x="69" y="297"/>
                        <a:pt x="69" y="297"/>
                      </a:cubicBezTo>
                      <a:cubicBezTo>
                        <a:pt x="69" y="297"/>
                        <a:pt x="69" y="297"/>
                        <a:pt x="69" y="297"/>
                      </a:cubicBezTo>
                      <a:cubicBezTo>
                        <a:pt x="68" y="296"/>
                        <a:pt x="68" y="296"/>
                        <a:pt x="68" y="296"/>
                      </a:cubicBezTo>
                      <a:cubicBezTo>
                        <a:pt x="68" y="297"/>
                        <a:pt x="68" y="297"/>
                        <a:pt x="68" y="297"/>
                      </a:cubicBezTo>
                      <a:cubicBezTo>
                        <a:pt x="66" y="297"/>
                        <a:pt x="66" y="297"/>
                        <a:pt x="66" y="297"/>
                      </a:cubicBezTo>
                      <a:cubicBezTo>
                        <a:pt x="65" y="296"/>
                        <a:pt x="65" y="296"/>
                        <a:pt x="65" y="296"/>
                      </a:cubicBezTo>
                      <a:cubicBezTo>
                        <a:pt x="64" y="296"/>
                        <a:pt x="64" y="296"/>
                        <a:pt x="64" y="296"/>
                      </a:cubicBezTo>
                      <a:cubicBezTo>
                        <a:pt x="63" y="296"/>
                        <a:pt x="63" y="296"/>
                        <a:pt x="63" y="296"/>
                      </a:cubicBezTo>
                      <a:cubicBezTo>
                        <a:pt x="62" y="296"/>
                        <a:pt x="62" y="296"/>
                        <a:pt x="62" y="296"/>
                      </a:cubicBezTo>
                      <a:cubicBezTo>
                        <a:pt x="60" y="295"/>
                        <a:pt x="60" y="295"/>
                        <a:pt x="60" y="295"/>
                      </a:cubicBezTo>
                      <a:cubicBezTo>
                        <a:pt x="59" y="296"/>
                        <a:pt x="59" y="296"/>
                        <a:pt x="59" y="296"/>
                      </a:cubicBezTo>
                      <a:cubicBezTo>
                        <a:pt x="59" y="295"/>
                        <a:pt x="59" y="295"/>
                        <a:pt x="59" y="295"/>
                      </a:cubicBezTo>
                      <a:cubicBezTo>
                        <a:pt x="57" y="294"/>
                        <a:pt x="57" y="294"/>
                        <a:pt x="57" y="294"/>
                      </a:cubicBezTo>
                      <a:cubicBezTo>
                        <a:pt x="56" y="292"/>
                        <a:pt x="56" y="292"/>
                        <a:pt x="56" y="292"/>
                      </a:cubicBezTo>
                      <a:cubicBezTo>
                        <a:pt x="55" y="292"/>
                        <a:pt x="55" y="292"/>
                        <a:pt x="55" y="292"/>
                      </a:cubicBezTo>
                      <a:cubicBezTo>
                        <a:pt x="54" y="293"/>
                        <a:pt x="54" y="293"/>
                        <a:pt x="54" y="293"/>
                      </a:cubicBezTo>
                      <a:cubicBezTo>
                        <a:pt x="53" y="293"/>
                        <a:pt x="53" y="293"/>
                        <a:pt x="53" y="293"/>
                      </a:cubicBezTo>
                      <a:cubicBezTo>
                        <a:pt x="52" y="293"/>
                        <a:pt x="52" y="293"/>
                        <a:pt x="52" y="293"/>
                      </a:cubicBezTo>
                      <a:cubicBezTo>
                        <a:pt x="50" y="293"/>
                        <a:pt x="50" y="293"/>
                        <a:pt x="50" y="293"/>
                      </a:cubicBezTo>
                      <a:cubicBezTo>
                        <a:pt x="50" y="293"/>
                        <a:pt x="50" y="293"/>
                        <a:pt x="50" y="293"/>
                      </a:cubicBezTo>
                      <a:cubicBezTo>
                        <a:pt x="47" y="292"/>
                        <a:pt x="47" y="292"/>
                        <a:pt x="47" y="292"/>
                      </a:cubicBezTo>
                      <a:cubicBezTo>
                        <a:pt x="47" y="290"/>
                        <a:pt x="47" y="290"/>
                        <a:pt x="47" y="290"/>
                      </a:cubicBezTo>
                      <a:cubicBezTo>
                        <a:pt x="47" y="289"/>
                        <a:pt x="47" y="289"/>
                        <a:pt x="47" y="289"/>
                      </a:cubicBezTo>
                      <a:cubicBezTo>
                        <a:pt x="46" y="289"/>
                        <a:pt x="46" y="289"/>
                        <a:pt x="46" y="289"/>
                      </a:cubicBezTo>
                      <a:cubicBezTo>
                        <a:pt x="46" y="288"/>
                        <a:pt x="46" y="288"/>
                        <a:pt x="46" y="288"/>
                      </a:cubicBezTo>
                      <a:cubicBezTo>
                        <a:pt x="45" y="287"/>
                        <a:pt x="45" y="287"/>
                        <a:pt x="45" y="287"/>
                      </a:cubicBezTo>
                      <a:cubicBezTo>
                        <a:pt x="42" y="288"/>
                        <a:pt x="42" y="288"/>
                        <a:pt x="42" y="288"/>
                      </a:cubicBezTo>
                      <a:cubicBezTo>
                        <a:pt x="41" y="286"/>
                        <a:pt x="41" y="286"/>
                        <a:pt x="41" y="286"/>
                      </a:cubicBezTo>
                      <a:cubicBezTo>
                        <a:pt x="41" y="285"/>
                        <a:pt x="41" y="285"/>
                        <a:pt x="41" y="285"/>
                      </a:cubicBezTo>
                      <a:cubicBezTo>
                        <a:pt x="40" y="284"/>
                        <a:pt x="40" y="284"/>
                        <a:pt x="40" y="284"/>
                      </a:cubicBezTo>
                      <a:cubicBezTo>
                        <a:pt x="40" y="282"/>
                        <a:pt x="40" y="282"/>
                        <a:pt x="40" y="282"/>
                      </a:cubicBezTo>
                      <a:cubicBezTo>
                        <a:pt x="39" y="282"/>
                        <a:pt x="39" y="282"/>
                        <a:pt x="39" y="282"/>
                      </a:cubicBezTo>
                      <a:cubicBezTo>
                        <a:pt x="37" y="283"/>
                        <a:pt x="37" y="283"/>
                        <a:pt x="37" y="283"/>
                      </a:cubicBezTo>
                      <a:cubicBezTo>
                        <a:pt x="35" y="283"/>
                        <a:pt x="35" y="283"/>
                        <a:pt x="35" y="283"/>
                      </a:cubicBezTo>
                      <a:cubicBezTo>
                        <a:pt x="33" y="282"/>
                        <a:pt x="33" y="282"/>
                        <a:pt x="33" y="282"/>
                      </a:cubicBezTo>
                      <a:cubicBezTo>
                        <a:pt x="32" y="283"/>
                        <a:pt x="32" y="283"/>
                        <a:pt x="32" y="283"/>
                      </a:cubicBezTo>
                      <a:cubicBezTo>
                        <a:pt x="32" y="284"/>
                        <a:pt x="32" y="284"/>
                        <a:pt x="32" y="284"/>
                      </a:cubicBezTo>
                      <a:cubicBezTo>
                        <a:pt x="31" y="284"/>
                        <a:pt x="31" y="284"/>
                        <a:pt x="31" y="284"/>
                      </a:cubicBezTo>
                      <a:cubicBezTo>
                        <a:pt x="30" y="284"/>
                        <a:pt x="30" y="284"/>
                        <a:pt x="30" y="284"/>
                      </a:cubicBezTo>
                      <a:cubicBezTo>
                        <a:pt x="30" y="283"/>
                        <a:pt x="30" y="283"/>
                        <a:pt x="30" y="283"/>
                      </a:cubicBezTo>
                      <a:cubicBezTo>
                        <a:pt x="29" y="281"/>
                        <a:pt x="29" y="281"/>
                        <a:pt x="29" y="281"/>
                      </a:cubicBezTo>
                      <a:cubicBezTo>
                        <a:pt x="29" y="280"/>
                        <a:pt x="29" y="280"/>
                        <a:pt x="29" y="280"/>
                      </a:cubicBezTo>
                      <a:cubicBezTo>
                        <a:pt x="28" y="279"/>
                        <a:pt x="28" y="279"/>
                        <a:pt x="28" y="279"/>
                      </a:cubicBezTo>
                      <a:cubicBezTo>
                        <a:pt x="28" y="278"/>
                        <a:pt x="28" y="278"/>
                        <a:pt x="28" y="278"/>
                      </a:cubicBezTo>
                      <a:cubicBezTo>
                        <a:pt x="29" y="277"/>
                        <a:pt x="29" y="277"/>
                        <a:pt x="29" y="277"/>
                      </a:cubicBezTo>
                      <a:cubicBezTo>
                        <a:pt x="30" y="278"/>
                        <a:pt x="30" y="278"/>
                        <a:pt x="30" y="278"/>
                      </a:cubicBezTo>
                      <a:cubicBezTo>
                        <a:pt x="32" y="278"/>
                        <a:pt x="32" y="278"/>
                        <a:pt x="32" y="278"/>
                      </a:cubicBezTo>
                      <a:cubicBezTo>
                        <a:pt x="33" y="276"/>
                        <a:pt x="33" y="276"/>
                        <a:pt x="33" y="276"/>
                      </a:cubicBezTo>
                      <a:cubicBezTo>
                        <a:pt x="34" y="276"/>
                        <a:pt x="34" y="276"/>
                        <a:pt x="34" y="276"/>
                      </a:cubicBezTo>
                      <a:cubicBezTo>
                        <a:pt x="32" y="275"/>
                        <a:pt x="32" y="275"/>
                        <a:pt x="32" y="275"/>
                      </a:cubicBezTo>
                      <a:cubicBezTo>
                        <a:pt x="32" y="274"/>
                        <a:pt x="32" y="274"/>
                        <a:pt x="32" y="274"/>
                      </a:cubicBezTo>
                      <a:cubicBezTo>
                        <a:pt x="30" y="273"/>
                        <a:pt x="30" y="273"/>
                        <a:pt x="30" y="273"/>
                      </a:cubicBezTo>
                      <a:cubicBezTo>
                        <a:pt x="29" y="272"/>
                        <a:pt x="29" y="272"/>
                        <a:pt x="29" y="272"/>
                      </a:cubicBezTo>
                      <a:cubicBezTo>
                        <a:pt x="28" y="271"/>
                        <a:pt x="28" y="271"/>
                        <a:pt x="28" y="271"/>
                      </a:cubicBezTo>
                      <a:cubicBezTo>
                        <a:pt x="27" y="270"/>
                        <a:pt x="27" y="270"/>
                        <a:pt x="27" y="270"/>
                      </a:cubicBezTo>
                      <a:cubicBezTo>
                        <a:pt x="26" y="269"/>
                        <a:pt x="26" y="269"/>
                        <a:pt x="26" y="269"/>
                      </a:cubicBezTo>
                      <a:cubicBezTo>
                        <a:pt x="26" y="268"/>
                        <a:pt x="26" y="268"/>
                        <a:pt x="26" y="268"/>
                      </a:cubicBezTo>
                      <a:cubicBezTo>
                        <a:pt x="25" y="267"/>
                        <a:pt x="25" y="267"/>
                        <a:pt x="25" y="267"/>
                      </a:cubicBezTo>
                      <a:cubicBezTo>
                        <a:pt x="25" y="265"/>
                        <a:pt x="25" y="265"/>
                        <a:pt x="25" y="265"/>
                      </a:cubicBezTo>
                      <a:cubicBezTo>
                        <a:pt x="24" y="264"/>
                        <a:pt x="24" y="264"/>
                        <a:pt x="24" y="264"/>
                      </a:cubicBezTo>
                      <a:cubicBezTo>
                        <a:pt x="24" y="263"/>
                        <a:pt x="24" y="263"/>
                        <a:pt x="24" y="263"/>
                      </a:cubicBezTo>
                      <a:cubicBezTo>
                        <a:pt x="24" y="262"/>
                        <a:pt x="24" y="262"/>
                        <a:pt x="24" y="262"/>
                      </a:cubicBezTo>
                      <a:cubicBezTo>
                        <a:pt x="22" y="262"/>
                        <a:pt x="22" y="262"/>
                        <a:pt x="22" y="262"/>
                      </a:cubicBezTo>
                      <a:cubicBezTo>
                        <a:pt x="21" y="262"/>
                        <a:pt x="21" y="262"/>
                        <a:pt x="21" y="262"/>
                      </a:cubicBezTo>
                      <a:cubicBezTo>
                        <a:pt x="20" y="261"/>
                        <a:pt x="20" y="261"/>
                        <a:pt x="20" y="261"/>
                      </a:cubicBezTo>
                      <a:cubicBezTo>
                        <a:pt x="19" y="261"/>
                        <a:pt x="19" y="261"/>
                        <a:pt x="19" y="261"/>
                      </a:cubicBezTo>
                      <a:cubicBezTo>
                        <a:pt x="18" y="262"/>
                        <a:pt x="18" y="262"/>
                        <a:pt x="18" y="262"/>
                      </a:cubicBezTo>
                      <a:cubicBezTo>
                        <a:pt x="17" y="261"/>
                        <a:pt x="17" y="261"/>
                        <a:pt x="17" y="261"/>
                      </a:cubicBezTo>
                      <a:cubicBezTo>
                        <a:pt x="16" y="261"/>
                        <a:pt x="16" y="261"/>
                        <a:pt x="16" y="261"/>
                      </a:cubicBezTo>
                      <a:cubicBezTo>
                        <a:pt x="15" y="261"/>
                        <a:pt x="15" y="261"/>
                        <a:pt x="15" y="261"/>
                      </a:cubicBezTo>
                      <a:cubicBezTo>
                        <a:pt x="14" y="260"/>
                        <a:pt x="14" y="260"/>
                        <a:pt x="14" y="260"/>
                      </a:cubicBezTo>
                      <a:cubicBezTo>
                        <a:pt x="13" y="260"/>
                        <a:pt x="13" y="260"/>
                        <a:pt x="13" y="260"/>
                      </a:cubicBezTo>
                      <a:cubicBezTo>
                        <a:pt x="12" y="260"/>
                        <a:pt x="12" y="260"/>
                        <a:pt x="12" y="260"/>
                      </a:cubicBezTo>
                      <a:cubicBezTo>
                        <a:pt x="12" y="260"/>
                        <a:pt x="12" y="260"/>
                        <a:pt x="12" y="260"/>
                      </a:cubicBezTo>
                      <a:cubicBezTo>
                        <a:pt x="11" y="259"/>
                        <a:pt x="11" y="259"/>
                        <a:pt x="11" y="259"/>
                      </a:cubicBezTo>
                      <a:cubicBezTo>
                        <a:pt x="11" y="258"/>
                        <a:pt x="11" y="258"/>
                        <a:pt x="11" y="258"/>
                      </a:cubicBezTo>
                      <a:cubicBezTo>
                        <a:pt x="10" y="257"/>
                        <a:pt x="10" y="257"/>
                        <a:pt x="10" y="257"/>
                      </a:cubicBezTo>
                      <a:cubicBezTo>
                        <a:pt x="10" y="256"/>
                        <a:pt x="10" y="256"/>
                        <a:pt x="10" y="256"/>
                      </a:cubicBezTo>
                      <a:cubicBezTo>
                        <a:pt x="9" y="255"/>
                        <a:pt x="9" y="255"/>
                        <a:pt x="9" y="255"/>
                      </a:cubicBezTo>
                      <a:cubicBezTo>
                        <a:pt x="9" y="255"/>
                        <a:pt x="9" y="255"/>
                        <a:pt x="9" y="255"/>
                      </a:cubicBezTo>
                      <a:cubicBezTo>
                        <a:pt x="9" y="254"/>
                        <a:pt x="9" y="254"/>
                        <a:pt x="9" y="254"/>
                      </a:cubicBezTo>
                      <a:cubicBezTo>
                        <a:pt x="9" y="254"/>
                        <a:pt x="9" y="254"/>
                        <a:pt x="9" y="254"/>
                      </a:cubicBezTo>
                      <a:cubicBezTo>
                        <a:pt x="9" y="253"/>
                        <a:pt x="9" y="253"/>
                        <a:pt x="9" y="253"/>
                      </a:cubicBezTo>
                      <a:cubicBezTo>
                        <a:pt x="9" y="252"/>
                        <a:pt x="9" y="252"/>
                        <a:pt x="9" y="252"/>
                      </a:cubicBezTo>
                      <a:cubicBezTo>
                        <a:pt x="8" y="252"/>
                        <a:pt x="8" y="252"/>
                        <a:pt x="8" y="252"/>
                      </a:cubicBezTo>
                      <a:cubicBezTo>
                        <a:pt x="9" y="251"/>
                        <a:pt x="9" y="251"/>
                        <a:pt x="9" y="251"/>
                      </a:cubicBezTo>
                      <a:cubicBezTo>
                        <a:pt x="8" y="251"/>
                        <a:pt x="8" y="251"/>
                        <a:pt x="8" y="251"/>
                      </a:cubicBezTo>
                      <a:cubicBezTo>
                        <a:pt x="9" y="250"/>
                        <a:pt x="9" y="250"/>
                        <a:pt x="9" y="250"/>
                      </a:cubicBezTo>
                      <a:cubicBezTo>
                        <a:pt x="9" y="249"/>
                        <a:pt x="9" y="249"/>
                        <a:pt x="9" y="249"/>
                      </a:cubicBezTo>
                      <a:cubicBezTo>
                        <a:pt x="7" y="245"/>
                        <a:pt x="7" y="245"/>
                        <a:pt x="7" y="245"/>
                      </a:cubicBezTo>
                      <a:cubicBezTo>
                        <a:pt x="7" y="242"/>
                        <a:pt x="7" y="242"/>
                        <a:pt x="7" y="242"/>
                      </a:cubicBezTo>
                      <a:cubicBezTo>
                        <a:pt x="8" y="242"/>
                        <a:pt x="8" y="242"/>
                        <a:pt x="8" y="242"/>
                      </a:cubicBezTo>
                      <a:cubicBezTo>
                        <a:pt x="8" y="241"/>
                        <a:pt x="8" y="241"/>
                        <a:pt x="8" y="241"/>
                      </a:cubicBezTo>
                      <a:cubicBezTo>
                        <a:pt x="9" y="240"/>
                        <a:pt x="9" y="240"/>
                        <a:pt x="9" y="240"/>
                      </a:cubicBezTo>
                      <a:cubicBezTo>
                        <a:pt x="9" y="240"/>
                        <a:pt x="9" y="240"/>
                        <a:pt x="9" y="240"/>
                      </a:cubicBezTo>
                      <a:cubicBezTo>
                        <a:pt x="9" y="239"/>
                        <a:pt x="9" y="239"/>
                        <a:pt x="9" y="239"/>
                      </a:cubicBezTo>
                      <a:cubicBezTo>
                        <a:pt x="9" y="239"/>
                        <a:pt x="9" y="239"/>
                        <a:pt x="9" y="239"/>
                      </a:cubicBezTo>
                      <a:cubicBezTo>
                        <a:pt x="9" y="239"/>
                        <a:pt x="9" y="239"/>
                        <a:pt x="9" y="239"/>
                      </a:cubicBezTo>
                      <a:cubicBezTo>
                        <a:pt x="9" y="238"/>
                        <a:pt x="9" y="238"/>
                        <a:pt x="9" y="238"/>
                      </a:cubicBezTo>
                      <a:cubicBezTo>
                        <a:pt x="8" y="237"/>
                        <a:pt x="8" y="237"/>
                        <a:pt x="8" y="237"/>
                      </a:cubicBezTo>
                      <a:cubicBezTo>
                        <a:pt x="8" y="237"/>
                        <a:pt x="8" y="237"/>
                        <a:pt x="8" y="237"/>
                      </a:cubicBezTo>
                      <a:cubicBezTo>
                        <a:pt x="9" y="236"/>
                        <a:pt x="9" y="236"/>
                        <a:pt x="9" y="236"/>
                      </a:cubicBezTo>
                      <a:cubicBezTo>
                        <a:pt x="9" y="237"/>
                        <a:pt x="9" y="237"/>
                        <a:pt x="9" y="237"/>
                      </a:cubicBezTo>
                      <a:cubicBezTo>
                        <a:pt x="10" y="237"/>
                        <a:pt x="10" y="237"/>
                        <a:pt x="10" y="237"/>
                      </a:cubicBezTo>
                      <a:cubicBezTo>
                        <a:pt x="10" y="236"/>
                        <a:pt x="10" y="236"/>
                        <a:pt x="10" y="236"/>
                      </a:cubicBezTo>
                      <a:cubicBezTo>
                        <a:pt x="11" y="236"/>
                        <a:pt x="11" y="236"/>
                        <a:pt x="11" y="236"/>
                      </a:cubicBezTo>
                      <a:cubicBezTo>
                        <a:pt x="12" y="236"/>
                        <a:pt x="12" y="236"/>
                        <a:pt x="12" y="236"/>
                      </a:cubicBezTo>
                      <a:cubicBezTo>
                        <a:pt x="13" y="235"/>
                        <a:pt x="13" y="235"/>
                        <a:pt x="13" y="235"/>
                      </a:cubicBezTo>
                      <a:cubicBezTo>
                        <a:pt x="13" y="235"/>
                        <a:pt x="13" y="235"/>
                        <a:pt x="13" y="235"/>
                      </a:cubicBezTo>
                      <a:cubicBezTo>
                        <a:pt x="14" y="234"/>
                        <a:pt x="14" y="234"/>
                        <a:pt x="14" y="234"/>
                      </a:cubicBezTo>
                      <a:cubicBezTo>
                        <a:pt x="15" y="235"/>
                        <a:pt x="15" y="235"/>
                        <a:pt x="15" y="235"/>
                      </a:cubicBezTo>
                      <a:cubicBezTo>
                        <a:pt x="15" y="234"/>
                        <a:pt x="15" y="234"/>
                        <a:pt x="15" y="234"/>
                      </a:cubicBezTo>
                      <a:cubicBezTo>
                        <a:pt x="15" y="233"/>
                        <a:pt x="15" y="233"/>
                        <a:pt x="15" y="233"/>
                      </a:cubicBezTo>
                      <a:cubicBezTo>
                        <a:pt x="14" y="233"/>
                        <a:pt x="14" y="233"/>
                        <a:pt x="14" y="233"/>
                      </a:cubicBezTo>
                      <a:cubicBezTo>
                        <a:pt x="13" y="233"/>
                        <a:pt x="13" y="233"/>
                        <a:pt x="13" y="233"/>
                      </a:cubicBezTo>
                      <a:cubicBezTo>
                        <a:pt x="12" y="233"/>
                        <a:pt x="12" y="233"/>
                        <a:pt x="12" y="233"/>
                      </a:cubicBezTo>
                      <a:cubicBezTo>
                        <a:pt x="12" y="232"/>
                        <a:pt x="12" y="232"/>
                        <a:pt x="12" y="232"/>
                      </a:cubicBezTo>
                      <a:cubicBezTo>
                        <a:pt x="11" y="232"/>
                        <a:pt x="11" y="232"/>
                        <a:pt x="11" y="232"/>
                      </a:cubicBezTo>
                      <a:cubicBezTo>
                        <a:pt x="10" y="231"/>
                        <a:pt x="10" y="231"/>
                        <a:pt x="10" y="231"/>
                      </a:cubicBezTo>
                      <a:cubicBezTo>
                        <a:pt x="10" y="231"/>
                        <a:pt x="10" y="231"/>
                        <a:pt x="10" y="231"/>
                      </a:cubicBezTo>
                      <a:cubicBezTo>
                        <a:pt x="11" y="232"/>
                        <a:pt x="11" y="232"/>
                        <a:pt x="11" y="232"/>
                      </a:cubicBezTo>
                      <a:cubicBezTo>
                        <a:pt x="11" y="231"/>
                        <a:pt x="11" y="231"/>
                        <a:pt x="11" y="231"/>
                      </a:cubicBezTo>
                      <a:cubicBezTo>
                        <a:pt x="10" y="230"/>
                        <a:pt x="10" y="230"/>
                        <a:pt x="10" y="230"/>
                      </a:cubicBezTo>
                      <a:cubicBezTo>
                        <a:pt x="11" y="230"/>
                        <a:pt x="11" y="230"/>
                        <a:pt x="11" y="230"/>
                      </a:cubicBezTo>
                      <a:cubicBezTo>
                        <a:pt x="10" y="230"/>
                        <a:pt x="10" y="230"/>
                        <a:pt x="10" y="230"/>
                      </a:cubicBezTo>
                      <a:cubicBezTo>
                        <a:pt x="10" y="230"/>
                        <a:pt x="9" y="230"/>
                        <a:pt x="9" y="231"/>
                      </a:cubicBezTo>
                      <a:cubicBezTo>
                        <a:pt x="9" y="231"/>
                        <a:pt x="9" y="231"/>
                        <a:pt x="9" y="231"/>
                      </a:cubicBezTo>
                      <a:cubicBezTo>
                        <a:pt x="8" y="231"/>
                        <a:pt x="8" y="231"/>
                        <a:pt x="8" y="231"/>
                      </a:cubicBezTo>
                      <a:cubicBezTo>
                        <a:pt x="8" y="230"/>
                        <a:pt x="8" y="230"/>
                        <a:pt x="8" y="230"/>
                      </a:cubicBezTo>
                      <a:cubicBezTo>
                        <a:pt x="11" y="228"/>
                        <a:pt x="11" y="228"/>
                        <a:pt x="11" y="228"/>
                      </a:cubicBezTo>
                      <a:cubicBezTo>
                        <a:pt x="12" y="227"/>
                        <a:pt x="12" y="227"/>
                        <a:pt x="12" y="227"/>
                      </a:cubicBezTo>
                      <a:cubicBezTo>
                        <a:pt x="13" y="225"/>
                        <a:pt x="13" y="225"/>
                        <a:pt x="13" y="225"/>
                      </a:cubicBezTo>
                      <a:cubicBezTo>
                        <a:pt x="14" y="223"/>
                        <a:pt x="14" y="223"/>
                        <a:pt x="14" y="223"/>
                      </a:cubicBezTo>
                      <a:cubicBezTo>
                        <a:pt x="15" y="221"/>
                        <a:pt x="15" y="221"/>
                        <a:pt x="15" y="221"/>
                      </a:cubicBezTo>
                      <a:cubicBezTo>
                        <a:pt x="17" y="218"/>
                        <a:pt x="17" y="218"/>
                        <a:pt x="17" y="218"/>
                      </a:cubicBezTo>
                      <a:cubicBezTo>
                        <a:pt x="19" y="215"/>
                        <a:pt x="19" y="215"/>
                        <a:pt x="19" y="215"/>
                      </a:cubicBezTo>
                      <a:cubicBezTo>
                        <a:pt x="18" y="214"/>
                        <a:pt x="18" y="214"/>
                        <a:pt x="18" y="214"/>
                      </a:cubicBezTo>
                      <a:cubicBezTo>
                        <a:pt x="16" y="212"/>
                        <a:pt x="16" y="212"/>
                        <a:pt x="16" y="212"/>
                      </a:cubicBezTo>
                      <a:cubicBezTo>
                        <a:pt x="15" y="211"/>
                        <a:pt x="15" y="211"/>
                        <a:pt x="15" y="211"/>
                      </a:cubicBezTo>
                      <a:cubicBezTo>
                        <a:pt x="13" y="208"/>
                        <a:pt x="13" y="208"/>
                        <a:pt x="13" y="208"/>
                      </a:cubicBezTo>
                      <a:cubicBezTo>
                        <a:pt x="13" y="207"/>
                        <a:pt x="13" y="207"/>
                        <a:pt x="13" y="207"/>
                      </a:cubicBezTo>
                      <a:cubicBezTo>
                        <a:pt x="14" y="206"/>
                        <a:pt x="14" y="206"/>
                        <a:pt x="14" y="206"/>
                      </a:cubicBezTo>
                      <a:cubicBezTo>
                        <a:pt x="14" y="205"/>
                        <a:pt x="14" y="205"/>
                        <a:pt x="14" y="205"/>
                      </a:cubicBezTo>
                      <a:cubicBezTo>
                        <a:pt x="12" y="204"/>
                        <a:pt x="12" y="204"/>
                        <a:pt x="12" y="204"/>
                      </a:cubicBezTo>
                      <a:cubicBezTo>
                        <a:pt x="12" y="203"/>
                        <a:pt x="12" y="203"/>
                        <a:pt x="12" y="203"/>
                      </a:cubicBezTo>
                      <a:cubicBezTo>
                        <a:pt x="12" y="201"/>
                        <a:pt x="12" y="201"/>
                        <a:pt x="12" y="201"/>
                      </a:cubicBezTo>
                      <a:cubicBezTo>
                        <a:pt x="12" y="201"/>
                        <a:pt x="12" y="201"/>
                        <a:pt x="12" y="201"/>
                      </a:cubicBezTo>
                      <a:cubicBezTo>
                        <a:pt x="12" y="200"/>
                        <a:pt x="12" y="200"/>
                        <a:pt x="12" y="200"/>
                      </a:cubicBezTo>
                      <a:cubicBezTo>
                        <a:pt x="11" y="200"/>
                        <a:pt x="11" y="200"/>
                        <a:pt x="11" y="200"/>
                      </a:cubicBezTo>
                      <a:cubicBezTo>
                        <a:pt x="10" y="199"/>
                        <a:pt x="10" y="199"/>
                        <a:pt x="10" y="199"/>
                      </a:cubicBezTo>
                      <a:cubicBezTo>
                        <a:pt x="10" y="198"/>
                        <a:pt x="10" y="198"/>
                        <a:pt x="10" y="198"/>
                      </a:cubicBezTo>
                      <a:cubicBezTo>
                        <a:pt x="11" y="197"/>
                        <a:pt x="11" y="197"/>
                        <a:pt x="11" y="197"/>
                      </a:cubicBezTo>
                      <a:cubicBezTo>
                        <a:pt x="10" y="197"/>
                        <a:pt x="10" y="197"/>
                        <a:pt x="10" y="197"/>
                      </a:cubicBezTo>
                      <a:cubicBezTo>
                        <a:pt x="10" y="196"/>
                        <a:pt x="10" y="196"/>
                        <a:pt x="10" y="196"/>
                      </a:cubicBezTo>
                      <a:cubicBezTo>
                        <a:pt x="10" y="193"/>
                        <a:pt x="10" y="193"/>
                        <a:pt x="10" y="193"/>
                      </a:cubicBezTo>
                      <a:cubicBezTo>
                        <a:pt x="11" y="193"/>
                        <a:pt x="11" y="193"/>
                        <a:pt x="11" y="193"/>
                      </a:cubicBezTo>
                      <a:cubicBezTo>
                        <a:pt x="9" y="189"/>
                        <a:pt x="9" y="189"/>
                        <a:pt x="9" y="189"/>
                      </a:cubicBezTo>
                      <a:cubicBezTo>
                        <a:pt x="7" y="185"/>
                        <a:pt x="7" y="185"/>
                        <a:pt x="7" y="185"/>
                      </a:cubicBezTo>
                      <a:cubicBezTo>
                        <a:pt x="6" y="184"/>
                        <a:pt x="6" y="184"/>
                        <a:pt x="6" y="184"/>
                      </a:cubicBezTo>
                      <a:cubicBezTo>
                        <a:pt x="5" y="183"/>
                        <a:pt x="5" y="183"/>
                        <a:pt x="5" y="183"/>
                      </a:cubicBezTo>
                      <a:cubicBezTo>
                        <a:pt x="6" y="181"/>
                        <a:pt x="6" y="181"/>
                        <a:pt x="6" y="181"/>
                      </a:cubicBezTo>
                      <a:cubicBezTo>
                        <a:pt x="7" y="180"/>
                        <a:pt x="7" y="180"/>
                        <a:pt x="7" y="180"/>
                      </a:cubicBezTo>
                      <a:cubicBezTo>
                        <a:pt x="7" y="178"/>
                        <a:pt x="7" y="178"/>
                        <a:pt x="7" y="178"/>
                      </a:cubicBezTo>
                      <a:cubicBezTo>
                        <a:pt x="7" y="178"/>
                        <a:pt x="7" y="178"/>
                        <a:pt x="7" y="178"/>
                      </a:cubicBezTo>
                      <a:cubicBezTo>
                        <a:pt x="5" y="176"/>
                        <a:pt x="5" y="176"/>
                        <a:pt x="5" y="176"/>
                      </a:cubicBezTo>
                      <a:cubicBezTo>
                        <a:pt x="4" y="176"/>
                        <a:pt x="4" y="176"/>
                        <a:pt x="4" y="176"/>
                      </a:cubicBezTo>
                      <a:cubicBezTo>
                        <a:pt x="4" y="175"/>
                        <a:pt x="4" y="175"/>
                        <a:pt x="4" y="175"/>
                      </a:cubicBezTo>
                      <a:cubicBezTo>
                        <a:pt x="2" y="174"/>
                        <a:pt x="2" y="174"/>
                        <a:pt x="2" y="174"/>
                      </a:cubicBezTo>
                      <a:cubicBezTo>
                        <a:pt x="2" y="174"/>
                        <a:pt x="2" y="174"/>
                        <a:pt x="2" y="174"/>
                      </a:cubicBezTo>
                      <a:cubicBezTo>
                        <a:pt x="1" y="172"/>
                        <a:pt x="1" y="172"/>
                        <a:pt x="1" y="172"/>
                      </a:cubicBezTo>
                      <a:cubicBezTo>
                        <a:pt x="0" y="171"/>
                        <a:pt x="0" y="171"/>
                        <a:pt x="0" y="171"/>
                      </a:cubicBezTo>
                      <a:cubicBezTo>
                        <a:pt x="0" y="170"/>
                        <a:pt x="0" y="170"/>
                        <a:pt x="0" y="170"/>
                      </a:cubicBezTo>
                      <a:cubicBezTo>
                        <a:pt x="1" y="169"/>
                        <a:pt x="1" y="169"/>
                        <a:pt x="1" y="169"/>
                      </a:cubicBezTo>
                      <a:cubicBezTo>
                        <a:pt x="0" y="168"/>
                        <a:pt x="0" y="168"/>
                        <a:pt x="0" y="168"/>
                      </a:cubicBezTo>
                      <a:cubicBezTo>
                        <a:pt x="1" y="168"/>
                        <a:pt x="1" y="168"/>
                        <a:pt x="1" y="168"/>
                      </a:cubicBezTo>
                      <a:cubicBezTo>
                        <a:pt x="2" y="167"/>
                        <a:pt x="2" y="167"/>
                        <a:pt x="2" y="167"/>
                      </a:cubicBezTo>
                      <a:cubicBezTo>
                        <a:pt x="2" y="167"/>
                        <a:pt x="2" y="167"/>
                        <a:pt x="2" y="167"/>
                      </a:cubicBezTo>
                      <a:cubicBezTo>
                        <a:pt x="2" y="167"/>
                        <a:pt x="2" y="167"/>
                        <a:pt x="2" y="167"/>
                      </a:cubicBezTo>
                      <a:cubicBezTo>
                        <a:pt x="3" y="166"/>
                        <a:pt x="3" y="166"/>
                        <a:pt x="3" y="166"/>
                      </a:cubicBezTo>
                      <a:cubicBezTo>
                        <a:pt x="4" y="165"/>
                        <a:pt x="4" y="165"/>
                        <a:pt x="4" y="165"/>
                      </a:cubicBezTo>
                      <a:cubicBezTo>
                        <a:pt x="5" y="165"/>
                        <a:pt x="5" y="165"/>
                        <a:pt x="5" y="165"/>
                      </a:cubicBezTo>
                      <a:cubicBezTo>
                        <a:pt x="6" y="164"/>
                        <a:pt x="6" y="164"/>
                        <a:pt x="6" y="164"/>
                      </a:cubicBezTo>
                      <a:cubicBezTo>
                        <a:pt x="6" y="162"/>
                        <a:pt x="6" y="162"/>
                        <a:pt x="6" y="162"/>
                      </a:cubicBezTo>
                      <a:cubicBezTo>
                        <a:pt x="6" y="162"/>
                        <a:pt x="6" y="162"/>
                        <a:pt x="6" y="162"/>
                      </a:cubicBezTo>
                      <a:cubicBezTo>
                        <a:pt x="7" y="163"/>
                        <a:pt x="7" y="163"/>
                        <a:pt x="7" y="163"/>
                      </a:cubicBezTo>
                      <a:cubicBezTo>
                        <a:pt x="8" y="162"/>
                        <a:pt x="8" y="162"/>
                        <a:pt x="8" y="162"/>
                      </a:cubicBezTo>
                      <a:cubicBezTo>
                        <a:pt x="8" y="161"/>
                        <a:pt x="8" y="161"/>
                        <a:pt x="8" y="161"/>
                      </a:cubicBezTo>
                      <a:cubicBezTo>
                        <a:pt x="8" y="161"/>
                        <a:pt x="8" y="161"/>
                        <a:pt x="8" y="161"/>
                      </a:cubicBezTo>
                      <a:cubicBezTo>
                        <a:pt x="9" y="161"/>
                        <a:pt x="9" y="161"/>
                        <a:pt x="9" y="161"/>
                      </a:cubicBezTo>
                      <a:cubicBezTo>
                        <a:pt x="9" y="162"/>
                        <a:pt x="9" y="162"/>
                        <a:pt x="9" y="162"/>
                      </a:cubicBezTo>
                      <a:cubicBezTo>
                        <a:pt x="9" y="162"/>
                        <a:pt x="9" y="162"/>
                        <a:pt x="9" y="162"/>
                      </a:cubicBezTo>
                      <a:cubicBezTo>
                        <a:pt x="10" y="163"/>
                        <a:pt x="10" y="163"/>
                        <a:pt x="10" y="163"/>
                      </a:cubicBezTo>
                      <a:cubicBezTo>
                        <a:pt x="10" y="162"/>
                        <a:pt x="10" y="162"/>
                        <a:pt x="10" y="162"/>
                      </a:cubicBezTo>
                      <a:cubicBezTo>
                        <a:pt x="10" y="161"/>
                        <a:pt x="10" y="161"/>
                        <a:pt x="10" y="161"/>
                      </a:cubicBezTo>
                      <a:cubicBezTo>
                        <a:pt x="11" y="161"/>
                        <a:pt x="11" y="161"/>
                        <a:pt x="11" y="161"/>
                      </a:cubicBezTo>
                      <a:cubicBezTo>
                        <a:pt x="11" y="161"/>
                        <a:pt x="11" y="161"/>
                        <a:pt x="11" y="161"/>
                      </a:cubicBezTo>
                      <a:cubicBezTo>
                        <a:pt x="10" y="161"/>
                        <a:pt x="10" y="161"/>
                        <a:pt x="10" y="161"/>
                      </a:cubicBezTo>
                      <a:cubicBezTo>
                        <a:pt x="10" y="160"/>
                        <a:pt x="10" y="160"/>
                        <a:pt x="10" y="160"/>
                      </a:cubicBezTo>
                      <a:cubicBezTo>
                        <a:pt x="11" y="160"/>
                        <a:pt x="11" y="160"/>
                        <a:pt x="11" y="160"/>
                      </a:cubicBezTo>
                      <a:cubicBezTo>
                        <a:pt x="12" y="160"/>
                        <a:pt x="12" y="160"/>
                        <a:pt x="12" y="160"/>
                      </a:cubicBezTo>
                      <a:cubicBezTo>
                        <a:pt x="12" y="160"/>
                        <a:pt x="12" y="160"/>
                        <a:pt x="12" y="160"/>
                      </a:cubicBezTo>
                      <a:cubicBezTo>
                        <a:pt x="11" y="160"/>
                        <a:pt x="11" y="160"/>
                        <a:pt x="11" y="160"/>
                      </a:cubicBezTo>
                      <a:cubicBezTo>
                        <a:pt x="11" y="159"/>
                        <a:pt x="11" y="159"/>
                        <a:pt x="11" y="159"/>
                      </a:cubicBezTo>
                      <a:cubicBezTo>
                        <a:pt x="11" y="159"/>
                        <a:pt x="11" y="159"/>
                        <a:pt x="11" y="159"/>
                      </a:cubicBezTo>
                      <a:cubicBezTo>
                        <a:pt x="12" y="159"/>
                        <a:pt x="12" y="159"/>
                        <a:pt x="12" y="159"/>
                      </a:cubicBezTo>
                      <a:cubicBezTo>
                        <a:pt x="13" y="160"/>
                        <a:pt x="13" y="160"/>
                        <a:pt x="13" y="160"/>
                      </a:cubicBezTo>
                      <a:cubicBezTo>
                        <a:pt x="14" y="160"/>
                        <a:pt x="14" y="160"/>
                        <a:pt x="14" y="160"/>
                      </a:cubicBezTo>
                      <a:cubicBezTo>
                        <a:pt x="14" y="161"/>
                        <a:pt x="14" y="161"/>
                        <a:pt x="14" y="161"/>
                      </a:cubicBezTo>
                      <a:cubicBezTo>
                        <a:pt x="14" y="160"/>
                        <a:pt x="14" y="160"/>
                        <a:pt x="14" y="160"/>
                      </a:cubicBezTo>
                      <a:cubicBezTo>
                        <a:pt x="15" y="161"/>
                        <a:pt x="15" y="161"/>
                        <a:pt x="15" y="161"/>
                      </a:cubicBezTo>
                      <a:cubicBezTo>
                        <a:pt x="15" y="161"/>
                        <a:pt x="15" y="161"/>
                        <a:pt x="15" y="161"/>
                      </a:cubicBezTo>
                      <a:cubicBezTo>
                        <a:pt x="16" y="161"/>
                        <a:pt x="16" y="161"/>
                        <a:pt x="16" y="161"/>
                      </a:cubicBezTo>
                      <a:cubicBezTo>
                        <a:pt x="16" y="162"/>
                        <a:pt x="16" y="162"/>
                        <a:pt x="16" y="162"/>
                      </a:cubicBezTo>
                      <a:cubicBezTo>
                        <a:pt x="15" y="162"/>
                        <a:pt x="15" y="162"/>
                        <a:pt x="15" y="162"/>
                      </a:cubicBezTo>
                      <a:cubicBezTo>
                        <a:pt x="14" y="162"/>
                        <a:pt x="14" y="162"/>
                        <a:pt x="14" y="162"/>
                      </a:cubicBezTo>
                      <a:cubicBezTo>
                        <a:pt x="13" y="162"/>
                        <a:pt x="13" y="162"/>
                        <a:pt x="13" y="162"/>
                      </a:cubicBezTo>
                      <a:cubicBezTo>
                        <a:pt x="13" y="161"/>
                        <a:pt x="13" y="161"/>
                        <a:pt x="13" y="161"/>
                      </a:cubicBezTo>
                      <a:cubicBezTo>
                        <a:pt x="13" y="161"/>
                        <a:pt x="13" y="161"/>
                        <a:pt x="13" y="161"/>
                      </a:cubicBezTo>
                      <a:cubicBezTo>
                        <a:pt x="12" y="162"/>
                        <a:pt x="12" y="162"/>
                        <a:pt x="12" y="162"/>
                      </a:cubicBezTo>
                      <a:cubicBezTo>
                        <a:pt x="12" y="162"/>
                        <a:pt x="12" y="162"/>
                        <a:pt x="12" y="162"/>
                      </a:cubicBezTo>
                      <a:cubicBezTo>
                        <a:pt x="12" y="163"/>
                        <a:pt x="12" y="163"/>
                        <a:pt x="12" y="163"/>
                      </a:cubicBezTo>
                      <a:cubicBezTo>
                        <a:pt x="13" y="163"/>
                        <a:pt x="13" y="163"/>
                        <a:pt x="13" y="163"/>
                      </a:cubicBezTo>
                      <a:cubicBezTo>
                        <a:pt x="13" y="163"/>
                        <a:pt x="13" y="163"/>
                        <a:pt x="13" y="163"/>
                      </a:cubicBezTo>
                      <a:cubicBezTo>
                        <a:pt x="14" y="164"/>
                        <a:pt x="14" y="164"/>
                        <a:pt x="14" y="164"/>
                      </a:cubicBezTo>
                      <a:cubicBezTo>
                        <a:pt x="14" y="163"/>
                        <a:pt x="14" y="163"/>
                        <a:pt x="14" y="163"/>
                      </a:cubicBezTo>
                      <a:cubicBezTo>
                        <a:pt x="15" y="163"/>
                        <a:pt x="15" y="163"/>
                        <a:pt x="15" y="163"/>
                      </a:cubicBezTo>
                      <a:cubicBezTo>
                        <a:pt x="15" y="164"/>
                        <a:pt x="15" y="164"/>
                        <a:pt x="15" y="164"/>
                      </a:cubicBezTo>
                      <a:cubicBezTo>
                        <a:pt x="16" y="164"/>
                        <a:pt x="16" y="164"/>
                        <a:pt x="16" y="164"/>
                      </a:cubicBezTo>
                      <a:cubicBezTo>
                        <a:pt x="16" y="163"/>
                        <a:pt x="16" y="163"/>
                        <a:pt x="16" y="163"/>
                      </a:cubicBezTo>
                      <a:cubicBezTo>
                        <a:pt x="16" y="164"/>
                        <a:pt x="16" y="164"/>
                        <a:pt x="16" y="164"/>
                      </a:cubicBezTo>
                      <a:cubicBezTo>
                        <a:pt x="16" y="164"/>
                        <a:pt x="16" y="164"/>
                        <a:pt x="16" y="164"/>
                      </a:cubicBezTo>
                      <a:cubicBezTo>
                        <a:pt x="16" y="165"/>
                        <a:pt x="16" y="165"/>
                        <a:pt x="16" y="165"/>
                      </a:cubicBezTo>
                      <a:cubicBezTo>
                        <a:pt x="17" y="164"/>
                        <a:pt x="17" y="164"/>
                        <a:pt x="17" y="164"/>
                      </a:cubicBezTo>
                      <a:cubicBezTo>
                        <a:pt x="17" y="163"/>
                        <a:pt x="17" y="163"/>
                        <a:pt x="17" y="163"/>
                      </a:cubicBezTo>
                      <a:cubicBezTo>
                        <a:pt x="18" y="163"/>
                        <a:pt x="18" y="163"/>
                        <a:pt x="18" y="163"/>
                      </a:cubicBezTo>
                      <a:cubicBezTo>
                        <a:pt x="17" y="164"/>
                        <a:pt x="17" y="164"/>
                        <a:pt x="17" y="164"/>
                      </a:cubicBezTo>
                      <a:cubicBezTo>
                        <a:pt x="17" y="164"/>
                        <a:pt x="17" y="164"/>
                        <a:pt x="17" y="164"/>
                      </a:cubicBezTo>
                      <a:cubicBezTo>
                        <a:pt x="18" y="164"/>
                        <a:pt x="18" y="164"/>
                        <a:pt x="18" y="164"/>
                      </a:cubicBezTo>
                      <a:cubicBezTo>
                        <a:pt x="18" y="165"/>
                        <a:pt x="18" y="165"/>
                        <a:pt x="18" y="165"/>
                      </a:cubicBezTo>
                      <a:cubicBezTo>
                        <a:pt x="18" y="165"/>
                        <a:pt x="18" y="165"/>
                        <a:pt x="18" y="165"/>
                      </a:cubicBezTo>
                      <a:cubicBezTo>
                        <a:pt x="17" y="166"/>
                        <a:pt x="17" y="166"/>
                        <a:pt x="17" y="166"/>
                      </a:cubicBezTo>
                      <a:cubicBezTo>
                        <a:pt x="18" y="166"/>
                        <a:pt x="18" y="166"/>
                        <a:pt x="18" y="166"/>
                      </a:cubicBezTo>
                      <a:cubicBezTo>
                        <a:pt x="19" y="165"/>
                        <a:pt x="19" y="165"/>
                        <a:pt x="19" y="165"/>
                      </a:cubicBezTo>
                      <a:cubicBezTo>
                        <a:pt x="19" y="164"/>
                        <a:pt x="19" y="164"/>
                        <a:pt x="19" y="164"/>
                      </a:cubicBezTo>
                      <a:cubicBezTo>
                        <a:pt x="19" y="164"/>
                        <a:pt x="19" y="164"/>
                        <a:pt x="19" y="164"/>
                      </a:cubicBezTo>
                      <a:cubicBezTo>
                        <a:pt x="20" y="164"/>
                        <a:pt x="20" y="164"/>
                        <a:pt x="20" y="164"/>
                      </a:cubicBezTo>
                      <a:cubicBezTo>
                        <a:pt x="21" y="164"/>
                        <a:pt x="21" y="164"/>
                        <a:pt x="21" y="164"/>
                      </a:cubicBezTo>
                      <a:cubicBezTo>
                        <a:pt x="21" y="164"/>
                        <a:pt x="21" y="164"/>
                        <a:pt x="21" y="164"/>
                      </a:cubicBezTo>
                      <a:cubicBezTo>
                        <a:pt x="20" y="163"/>
                        <a:pt x="20" y="163"/>
                        <a:pt x="20" y="163"/>
                      </a:cubicBezTo>
                      <a:cubicBezTo>
                        <a:pt x="20" y="163"/>
                        <a:pt x="20" y="163"/>
                        <a:pt x="20" y="163"/>
                      </a:cubicBezTo>
                      <a:cubicBezTo>
                        <a:pt x="21" y="163"/>
                        <a:pt x="21" y="163"/>
                        <a:pt x="21" y="163"/>
                      </a:cubicBezTo>
                      <a:cubicBezTo>
                        <a:pt x="22" y="164"/>
                        <a:pt x="22" y="164"/>
                        <a:pt x="22" y="164"/>
                      </a:cubicBezTo>
                      <a:cubicBezTo>
                        <a:pt x="23" y="164"/>
                        <a:pt x="23" y="164"/>
                        <a:pt x="23" y="164"/>
                      </a:cubicBezTo>
                      <a:cubicBezTo>
                        <a:pt x="24" y="164"/>
                        <a:pt x="24" y="164"/>
                        <a:pt x="24" y="164"/>
                      </a:cubicBezTo>
                      <a:cubicBezTo>
                        <a:pt x="25" y="164"/>
                        <a:pt x="25" y="164"/>
                        <a:pt x="25" y="164"/>
                      </a:cubicBezTo>
                      <a:cubicBezTo>
                        <a:pt x="25" y="164"/>
                        <a:pt x="25" y="164"/>
                        <a:pt x="25" y="164"/>
                      </a:cubicBezTo>
                      <a:cubicBezTo>
                        <a:pt x="26" y="164"/>
                        <a:pt x="26" y="164"/>
                        <a:pt x="26" y="164"/>
                      </a:cubicBezTo>
                      <a:cubicBezTo>
                        <a:pt x="27" y="164"/>
                        <a:pt x="27" y="164"/>
                        <a:pt x="27" y="164"/>
                      </a:cubicBezTo>
                      <a:cubicBezTo>
                        <a:pt x="27" y="164"/>
                        <a:pt x="27" y="164"/>
                        <a:pt x="27" y="164"/>
                      </a:cubicBezTo>
                      <a:cubicBezTo>
                        <a:pt x="28" y="164"/>
                        <a:pt x="28" y="164"/>
                        <a:pt x="28" y="164"/>
                      </a:cubicBezTo>
                      <a:cubicBezTo>
                        <a:pt x="33" y="167"/>
                        <a:pt x="33" y="167"/>
                        <a:pt x="33" y="167"/>
                      </a:cubicBezTo>
                      <a:cubicBezTo>
                        <a:pt x="36" y="169"/>
                        <a:pt x="36" y="169"/>
                        <a:pt x="36" y="169"/>
                      </a:cubicBezTo>
                      <a:cubicBezTo>
                        <a:pt x="37" y="169"/>
                        <a:pt x="37" y="169"/>
                        <a:pt x="37" y="169"/>
                      </a:cubicBezTo>
                      <a:cubicBezTo>
                        <a:pt x="38" y="170"/>
                        <a:pt x="38" y="170"/>
                        <a:pt x="38" y="170"/>
                      </a:cubicBezTo>
                      <a:cubicBezTo>
                        <a:pt x="39" y="171"/>
                        <a:pt x="39" y="171"/>
                        <a:pt x="39" y="171"/>
                      </a:cubicBezTo>
                      <a:cubicBezTo>
                        <a:pt x="40" y="171"/>
                        <a:pt x="40" y="171"/>
                        <a:pt x="40" y="171"/>
                      </a:cubicBezTo>
                      <a:cubicBezTo>
                        <a:pt x="40" y="171"/>
                        <a:pt x="40" y="171"/>
                        <a:pt x="40" y="171"/>
                      </a:cubicBezTo>
                      <a:cubicBezTo>
                        <a:pt x="40" y="171"/>
                        <a:pt x="40" y="171"/>
                        <a:pt x="40" y="171"/>
                      </a:cubicBezTo>
                      <a:cubicBezTo>
                        <a:pt x="40" y="171"/>
                        <a:pt x="40" y="171"/>
                        <a:pt x="40" y="171"/>
                      </a:cubicBezTo>
                      <a:cubicBezTo>
                        <a:pt x="41" y="172"/>
                        <a:pt x="41" y="172"/>
                        <a:pt x="41" y="172"/>
                      </a:cubicBezTo>
                      <a:cubicBezTo>
                        <a:pt x="42" y="172"/>
                        <a:pt x="42" y="172"/>
                        <a:pt x="42" y="172"/>
                      </a:cubicBezTo>
                      <a:cubicBezTo>
                        <a:pt x="43" y="173"/>
                        <a:pt x="43" y="173"/>
                        <a:pt x="43" y="173"/>
                      </a:cubicBezTo>
                      <a:cubicBezTo>
                        <a:pt x="44" y="172"/>
                        <a:pt x="44" y="172"/>
                        <a:pt x="44" y="172"/>
                      </a:cubicBezTo>
                      <a:cubicBezTo>
                        <a:pt x="43" y="171"/>
                        <a:pt x="43" y="171"/>
                        <a:pt x="43" y="171"/>
                      </a:cubicBezTo>
                      <a:cubicBezTo>
                        <a:pt x="43" y="171"/>
                        <a:pt x="43" y="171"/>
                        <a:pt x="43" y="171"/>
                      </a:cubicBezTo>
                      <a:cubicBezTo>
                        <a:pt x="44" y="171"/>
                        <a:pt x="44" y="171"/>
                        <a:pt x="44" y="171"/>
                      </a:cubicBezTo>
                      <a:cubicBezTo>
                        <a:pt x="45" y="172"/>
                        <a:pt x="45" y="172"/>
                        <a:pt x="45" y="172"/>
                      </a:cubicBezTo>
                      <a:cubicBezTo>
                        <a:pt x="45" y="173"/>
                        <a:pt x="45" y="173"/>
                        <a:pt x="45" y="173"/>
                      </a:cubicBezTo>
                      <a:cubicBezTo>
                        <a:pt x="46" y="174"/>
                        <a:pt x="46" y="174"/>
                        <a:pt x="46" y="174"/>
                      </a:cubicBezTo>
                      <a:cubicBezTo>
                        <a:pt x="46" y="174"/>
                        <a:pt x="46" y="174"/>
                        <a:pt x="46" y="174"/>
                      </a:cubicBezTo>
                      <a:cubicBezTo>
                        <a:pt x="47" y="175"/>
                        <a:pt x="47" y="175"/>
                        <a:pt x="47" y="175"/>
                      </a:cubicBezTo>
                      <a:cubicBezTo>
                        <a:pt x="48" y="175"/>
                        <a:pt x="48" y="175"/>
                        <a:pt x="48" y="175"/>
                      </a:cubicBezTo>
                      <a:cubicBezTo>
                        <a:pt x="48" y="175"/>
                        <a:pt x="48" y="175"/>
                        <a:pt x="48" y="175"/>
                      </a:cubicBezTo>
                      <a:cubicBezTo>
                        <a:pt x="49" y="176"/>
                        <a:pt x="49" y="176"/>
                        <a:pt x="49" y="176"/>
                      </a:cubicBezTo>
                      <a:cubicBezTo>
                        <a:pt x="50" y="177"/>
                        <a:pt x="50" y="177"/>
                        <a:pt x="50" y="177"/>
                      </a:cubicBezTo>
                      <a:cubicBezTo>
                        <a:pt x="50" y="177"/>
                        <a:pt x="50" y="177"/>
                        <a:pt x="50" y="177"/>
                      </a:cubicBezTo>
                      <a:cubicBezTo>
                        <a:pt x="51" y="178"/>
                        <a:pt x="51" y="178"/>
                        <a:pt x="51" y="178"/>
                      </a:cubicBezTo>
                      <a:cubicBezTo>
                        <a:pt x="51" y="178"/>
                        <a:pt x="51" y="178"/>
                        <a:pt x="51" y="178"/>
                      </a:cubicBezTo>
                      <a:cubicBezTo>
                        <a:pt x="52" y="178"/>
                        <a:pt x="52" y="178"/>
                        <a:pt x="52" y="178"/>
                      </a:cubicBezTo>
                      <a:cubicBezTo>
                        <a:pt x="52" y="179"/>
                        <a:pt x="52" y="179"/>
                        <a:pt x="52" y="179"/>
                      </a:cubicBezTo>
                      <a:cubicBezTo>
                        <a:pt x="52" y="180"/>
                        <a:pt x="52" y="180"/>
                        <a:pt x="52" y="180"/>
                      </a:cubicBezTo>
                      <a:cubicBezTo>
                        <a:pt x="52" y="182"/>
                        <a:pt x="52" y="182"/>
                        <a:pt x="52" y="182"/>
                      </a:cubicBezTo>
                      <a:cubicBezTo>
                        <a:pt x="51" y="182"/>
                        <a:pt x="51" y="182"/>
                        <a:pt x="51" y="182"/>
                      </a:cubicBezTo>
                      <a:cubicBezTo>
                        <a:pt x="51" y="183"/>
                        <a:pt x="51" y="183"/>
                        <a:pt x="51" y="183"/>
                      </a:cubicBezTo>
                      <a:cubicBezTo>
                        <a:pt x="50" y="184"/>
                        <a:pt x="50" y="184"/>
                        <a:pt x="50" y="184"/>
                      </a:cubicBezTo>
                      <a:cubicBezTo>
                        <a:pt x="50" y="185"/>
                        <a:pt x="50" y="185"/>
                        <a:pt x="50" y="185"/>
                      </a:cubicBezTo>
                      <a:cubicBezTo>
                        <a:pt x="48" y="187"/>
                        <a:pt x="48" y="187"/>
                        <a:pt x="48" y="187"/>
                      </a:cubicBezTo>
                      <a:cubicBezTo>
                        <a:pt x="47" y="188"/>
                        <a:pt x="47" y="188"/>
                        <a:pt x="47" y="188"/>
                      </a:cubicBezTo>
                      <a:cubicBezTo>
                        <a:pt x="45" y="188"/>
                        <a:pt x="45" y="188"/>
                        <a:pt x="45" y="188"/>
                      </a:cubicBezTo>
                      <a:cubicBezTo>
                        <a:pt x="45" y="188"/>
                        <a:pt x="45" y="188"/>
                        <a:pt x="45" y="188"/>
                      </a:cubicBezTo>
                      <a:cubicBezTo>
                        <a:pt x="43" y="188"/>
                        <a:pt x="43" y="188"/>
                        <a:pt x="43" y="188"/>
                      </a:cubicBezTo>
                      <a:cubicBezTo>
                        <a:pt x="43" y="189"/>
                        <a:pt x="43" y="189"/>
                        <a:pt x="43" y="189"/>
                      </a:cubicBezTo>
                      <a:cubicBezTo>
                        <a:pt x="41" y="189"/>
                        <a:pt x="41" y="189"/>
                        <a:pt x="41" y="189"/>
                      </a:cubicBezTo>
                      <a:cubicBezTo>
                        <a:pt x="38" y="189"/>
                        <a:pt x="38" y="189"/>
                        <a:pt x="38" y="189"/>
                      </a:cubicBezTo>
                      <a:cubicBezTo>
                        <a:pt x="37" y="188"/>
                        <a:pt x="37" y="188"/>
                        <a:pt x="37" y="188"/>
                      </a:cubicBezTo>
                      <a:cubicBezTo>
                        <a:pt x="35" y="188"/>
                        <a:pt x="35" y="188"/>
                        <a:pt x="35" y="188"/>
                      </a:cubicBezTo>
                      <a:cubicBezTo>
                        <a:pt x="35" y="188"/>
                        <a:pt x="35" y="188"/>
                        <a:pt x="35" y="188"/>
                      </a:cubicBezTo>
                      <a:cubicBezTo>
                        <a:pt x="34" y="188"/>
                        <a:pt x="34" y="188"/>
                        <a:pt x="34" y="188"/>
                      </a:cubicBezTo>
                      <a:cubicBezTo>
                        <a:pt x="33" y="188"/>
                        <a:pt x="33" y="188"/>
                        <a:pt x="33" y="188"/>
                      </a:cubicBezTo>
                      <a:cubicBezTo>
                        <a:pt x="32" y="187"/>
                        <a:pt x="32" y="187"/>
                        <a:pt x="32" y="187"/>
                      </a:cubicBezTo>
                      <a:cubicBezTo>
                        <a:pt x="32" y="187"/>
                        <a:pt x="32" y="187"/>
                        <a:pt x="32" y="187"/>
                      </a:cubicBezTo>
                      <a:cubicBezTo>
                        <a:pt x="31" y="188"/>
                        <a:pt x="31" y="188"/>
                        <a:pt x="31" y="188"/>
                      </a:cubicBezTo>
                      <a:cubicBezTo>
                        <a:pt x="30" y="187"/>
                        <a:pt x="30" y="187"/>
                        <a:pt x="30" y="187"/>
                      </a:cubicBezTo>
                      <a:cubicBezTo>
                        <a:pt x="30" y="186"/>
                        <a:pt x="30" y="186"/>
                        <a:pt x="30" y="186"/>
                      </a:cubicBezTo>
                      <a:cubicBezTo>
                        <a:pt x="29" y="186"/>
                        <a:pt x="29" y="186"/>
                        <a:pt x="29" y="186"/>
                      </a:cubicBezTo>
                      <a:cubicBezTo>
                        <a:pt x="28" y="186"/>
                        <a:pt x="28" y="186"/>
                        <a:pt x="28" y="186"/>
                      </a:cubicBezTo>
                      <a:cubicBezTo>
                        <a:pt x="28" y="186"/>
                        <a:pt x="28" y="186"/>
                        <a:pt x="28" y="186"/>
                      </a:cubicBezTo>
                      <a:cubicBezTo>
                        <a:pt x="27" y="186"/>
                        <a:pt x="27" y="186"/>
                        <a:pt x="27" y="186"/>
                      </a:cubicBezTo>
                      <a:cubicBezTo>
                        <a:pt x="26" y="186"/>
                        <a:pt x="26" y="186"/>
                        <a:pt x="26" y="186"/>
                      </a:cubicBezTo>
                      <a:cubicBezTo>
                        <a:pt x="26" y="186"/>
                        <a:pt x="26" y="186"/>
                        <a:pt x="26" y="186"/>
                      </a:cubicBezTo>
                      <a:cubicBezTo>
                        <a:pt x="26" y="186"/>
                        <a:pt x="26" y="186"/>
                        <a:pt x="26" y="186"/>
                      </a:cubicBezTo>
                      <a:cubicBezTo>
                        <a:pt x="25" y="186"/>
                        <a:pt x="25" y="186"/>
                        <a:pt x="25" y="186"/>
                      </a:cubicBezTo>
                      <a:cubicBezTo>
                        <a:pt x="26" y="185"/>
                        <a:pt x="26" y="185"/>
                        <a:pt x="26" y="185"/>
                      </a:cubicBezTo>
                      <a:cubicBezTo>
                        <a:pt x="25" y="185"/>
                        <a:pt x="25" y="185"/>
                        <a:pt x="25" y="185"/>
                      </a:cubicBezTo>
                      <a:cubicBezTo>
                        <a:pt x="25" y="185"/>
                        <a:pt x="25" y="185"/>
                        <a:pt x="25" y="185"/>
                      </a:cubicBezTo>
                      <a:cubicBezTo>
                        <a:pt x="23" y="185"/>
                        <a:pt x="23" y="185"/>
                        <a:pt x="23" y="185"/>
                      </a:cubicBezTo>
                      <a:cubicBezTo>
                        <a:pt x="22" y="184"/>
                        <a:pt x="22" y="184"/>
                        <a:pt x="22" y="184"/>
                      </a:cubicBezTo>
                      <a:cubicBezTo>
                        <a:pt x="22" y="185"/>
                        <a:pt x="22" y="185"/>
                        <a:pt x="22" y="185"/>
                      </a:cubicBezTo>
                      <a:cubicBezTo>
                        <a:pt x="22" y="185"/>
                        <a:pt x="22" y="185"/>
                        <a:pt x="22" y="185"/>
                      </a:cubicBezTo>
                      <a:cubicBezTo>
                        <a:pt x="20" y="183"/>
                        <a:pt x="20" y="183"/>
                        <a:pt x="20" y="183"/>
                      </a:cubicBezTo>
                      <a:cubicBezTo>
                        <a:pt x="19" y="182"/>
                        <a:pt x="19" y="182"/>
                        <a:pt x="19" y="182"/>
                      </a:cubicBezTo>
                      <a:cubicBezTo>
                        <a:pt x="18" y="182"/>
                        <a:pt x="18" y="182"/>
                        <a:pt x="18" y="182"/>
                      </a:cubicBezTo>
                      <a:cubicBezTo>
                        <a:pt x="18" y="182"/>
                        <a:pt x="18" y="182"/>
                        <a:pt x="18" y="182"/>
                      </a:cubicBezTo>
                      <a:cubicBezTo>
                        <a:pt x="17" y="182"/>
                        <a:pt x="17" y="182"/>
                        <a:pt x="17" y="182"/>
                      </a:cubicBezTo>
                      <a:cubicBezTo>
                        <a:pt x="17" y="182"/>
                        <a:pt x="17" y="182"/>
                        <a:pt x="17" y="182"/>
                      </a:cubicBezTo>
                      <a:cubicBezTo>
                        <a:pt x="18" y="183"/>
                        <a:pt x="18" y="183"/>
                        <a:pt x="18" y="183"/>
                      </a:cubicBezTo>
                      <a:cubicBezTo>
                        <a:pt x="18" y="184"/>
                        <a:pt x="18" y="184"/>
                        <a:pt x="18" y="184"/>
                      </a:cubicBezTo>
                      <a:cubicBezTo>
                        <a:pt x="19" y="185"/>
                        <a:pt x="19" y="185"/>
                        <a:pt x="19" y="185"/>
                      </a:cubicBezTo>
                      <a:cubicBezTo>
                        <a:pt x="19" y="185"/>
                        <a:pt x="19" y="185"/>
                        <a:pt x="19" y="185"/>
                      </a:cubicBezTo>
                      <a:cubicBezTo>
                        <a:pt x="21" y="186"/>
                        <a:pt x="21" y="186"/>
                        <a:pt x="21" y="186"/>
                      </a:cubicBezTo>
                      <a:cubicBezTo>
                        <a:pt x="21" y="186"/>
                        <a:pt x="21" y="186"/>
                        <a:pt x="21" y="186"/>
                      </a:cubicBezTo>
                      <a:cubicBezTo>
                        <a:pt x="20" y="186"/>
                        <a:pt x="20" y="186"/>
                        <a:pt x="20" y="186"/>
                      </a:cubicBezTo>
                      <a:cubicBezTo>
                        <a:pt x="20" y="187"/>
                        <a:pt x="20" y="187"/>
                        <a:pt x="20" y="187"/>
                      </a:cubicBezTo>
                      <a:cubicBezTo>
                        <a:pt x="20" y="187"/>
                        <a:pt x="20" y="187"/>
                        <a:pt x="20" y="187"/>
                      </a:cubicBezTo>
                      <a:cubicBezTo>
                        <a:pt x="21" y="187"/>
                        <a:pt x="21" y="187"/>
                        <a:pt x="21" y="187"/>
                      </a:cubicBezTo>
                      <a:cubicBezTo>
                        <a:pt x="22" y="186"/>
                        <a:pt x="22" y="186"/>
                        <a:pt x="22" y="186"/>
                      </a:cubicBezTo>
                      <a:cubicBezTo>
                        <a:pt x="23" y="187"/>
                        <a:pt x="23" y="187"/>
                        <a:pt x="23" y="187"/>
                      </a:cubicBezTo>
                      <a:cubicBezTo>
                        <a:pt x="22" y="187"/>
                        <a:pt x="22" y="187"/>
                        <a:pt x="22" y="187"/>
                      </a:cubicBezTo>
                      <a:cubicBezTo>
                        <a:pt x="22" y="187"/>
                        <a:pt x="22" y="187"/>
                        <a:pt x="22" y="187"/>
                      </a:cubicBezTo>
                      <a:cubicBezTo>
                        <a:pt x="23" y="187"/>
                        <a:pt x="23" y="187"/>
                        <a:pt x="23" y="187"/>
                      </a:cubicBezTo>
                      <a:cubicBezTo>
                        <a:pt x="23" y="188"/>
                        <a:pt x="23" y="188"/>
                        <a:pt x="23" y="188"/>
                      </a:cubicBezTo>
                      <a:cubicBezTo>
                        <a:pt x="22" y="188"/>
                        <a:pt x="22" y="188"/>
                        <a:pt x="22" y="188"/>
                      </a:cubicBezTo>
                      <a:cubicBezTo>
                        <a:pt x="22" y="189"/>
                        <a:pt x="22" y="189"/>
                        <a:pt x="22" y="189"/>
                      </a:cubicBezTo>
                      <a:cubicBezTo>
                        <a:pt x="23" y="189"/>
                        <a:pt x="23" y="189"/>
                        <a:pt x="23" y="189"/>
                      </a:cubicBezTo>
                      <a:cubicBezTo>
                        <a:pt x="23" y="189"/>
                        <a:pt x="23" y="189"/>
                        <a:pt x="23" y="189"/>
                      </a:cubicBezTo>
                      <a:cubicBezTo>
                        <a:pt x="24" y="189"/>
                        <a:pt x="24" y="189"/>
                        <a:pt x="24" y="189"/>
                      </a:cubicBezTo>
                      <a:cubicBezTo>
                        <a:pt x="24" y="189"/>
                        <a:pt x="24" y="189"/>
                        <a:pt x="24" y="189"/>
                      </a:cubicBezTo>
                      <a:cubicBezTo>
                        <a:pt x="25" y="189"/>
                        <a:pt x="25" y="189"/>
                        <a:pt x="25" y="189"/>
                      </a:cubicBezTo>
                      <a:cubicBezTo>
                        <a:pt x="27" y="189"/>
                        <a:pt x="27" y="189"/>
                        <a:pt x="27" y="189"/>
                      </a:cubicBezTo>
                      <a:cubicBezTo>
                        <a:pt x="28" y="191"/>
                        <a:pt x="28" y="191"/>
                        <a:pt x="28" y="191"/>
                      </a:cubicBezTo>
                      <a:cubicBezTo>
                        <a:pt x="29" y="191"/>
                        <a:pt x="29" y="191"/>
                        <a:pt x="29" y="191"/>
                      </a:cubicBezTo>
                      <a:cubicBezTo>
                        <a:pt x="28" y="191"/>
                        <a:pt x="28" y="191"/>
                        <a:pt x="28" y="191"/>
                      </a:cubicBezTo>
                      <a:cubicBezTo>
                        <a:pt x="28" y="192"/>
                        <a:pt x="28" y="192"/>
                        <a:pt x="28" y="192"/>
                      </a:cubicBezTo>
                      <a:cubicBezTo>
                        <a:pt x="29" y="192"/>
                        <a:pt x="29" y="192"/>
                        <a:pt x="29" y="192"/>
                      </a:cubicBezTo>
                      <a:cubicBezTo>
                        <a:pt x="29" y="193"/>
                        <a:pt x="29" y="193"/>
                        <a:pt x="29" y="193"/>
                      </a:cubicBezTo>
                      <a:cubicBezTo>
                        <a:pt x="28" y="194"/>
                        <a:pt x="28" y="194"/>
                        <a:pt x="28" y="194"/>
                      </a:cubicBezTo>
                      <a:cubicBezTo>
                        <a:pt x="28" y="195"/>
                        <a:pt x="28" y="195"/>
                        <a:pt x="28" y="195"/>
                      </a:cubicBezTo>
                      <a:cubicBezTo>
                        <a:pt x="28" y="195"/>
                        <a:pt x="28" y="195"/>
                        <a:pt x="28" y="195"/>
                      </a:cubicBezTo>
                      <a:cubicBezTo>
                        <a:pt x="28" y="195"/>
                        <a:pt x="28" y="195"/>
                        <a:pt x="28" y="195"/>
                      </a:cubicBezTo>
                      <a:cubicBezTo>
                        <a:pt x="28" y="196"/>
                        <a:pt x="28" y="196"/>
                        <a:pt x="28" y="196"/>
                      </a:cubicBezTo>
                      <a:cubicBezTo>
                        <a:pt x="30" y="198"/>
                        <a:pt x="30" y="198"/>
                        <a:pt x="30" y="198"/>
                      </a:cubicBezTo>
                      <a:cubicBezTo>
                        <a:pt x="30" y="198"/>
                        <a:pt x="30" y="198"/>
                        <a:pt x="30" y="198"/>
                      </a:cubicBezTo>
                      <a:cubicBezTo>
                        <a:pt x="31" y="199"/>
                        <a:pt x="31" y="199"/>
                        <a:pt x="31" y="199"/>
                      </a:cubicBezTo>
                      <a:cubicBezTo>
                        <a:pt x="31" y="200"/>
                        <a:pt x="31" y="200"/>
                        <a:pt x="31" y="200"/>
                      </a:cubicBezTo>
                      <a:cubicBezTo>
                        <a:pt x="31" y="201"/>
                        <a:pt x="31" y="201"/>
                        <a:pt x="31" y="201"/>
                      </a:cubicBezTo>
                      <a:cubicBezTo>
                        <a:pt x="30" y="201"/>
                        <a:pt x="30" y="201"/>
                        <a:pt x="30" y="201"/>
                      </a:cubicBezTo>
                      <a:cubicBezTo>
                        <a:pt x="31" y="202"/>
                        <a:pt x="31" y="202"/>
                        <a:pt x="31" y="202"/>
                      </a:cubicBezTo>
                      <a:cubicBezTo>
                        <a:pt x="31" y="203"/>
                        <a:pt x="31" y="203"/>
                        <a:pt x="31" y="203"/>
                      </a:cubicBezTo>
                      <a:cubicBezTo>
                        <a:pt x="33" y="203"/>
                        <a:pt x="33" y="203"/>
                        <a:pt x="33" y="203"/>
                      </a:cubicBezTo>
                      <a:cubicBezTo>
                        <a:pt x="34" y="203"/>
                        <a:pt x="34" y="203"/>
                        <a:pt x="34" y="203"/>
                      </a:cubicBezTo>
                      <a:cubicBezTo>
                        <a:pt x="34" y="203"/>
                        <a:pt x="34" y="203"/>
                        <a:pt x="34" y="203"/>
                      </a:cubicBezTo>
                      <a:cubicBezTo>
                        <a:pt x="35" y="203"/>
                        <a:pt x="35" y="203"/>
                        <a:pt x="35" y="203"/>
                      </a:cubicBezTo>
                      <a:cubicBezTo>
                        <a:pt x="36" y="204"/>
                        <a:pt x="36" y="204"/>
                        <a:pt x="36" y="204"/>
                      </a:cubicBezTo>
                      <a:cubicBezTo>
                        <a:pt x="36" y="205"/>
                        <a:pt x="36" y="205"/>
                        <a:pt x="36" y="205"/>
                      </a:cubicBezTo>
                      <a:cubicBezTo>
                        <a:pt x="36" y="205"/>
                        <a:pt x="36" y="205"/>
                        <a:pt x="36" y="205"/>
                      </a:cubicBezTo>
                      <a:cubicBezTo>
                        <a:pt x="38" y="205"/>
                        <a:pt x="38" y="205"/>
                        <a:pt x="38" y="205"/>
                      </a:cubicBezTo>
                      <a:cubicBezTo>
                        <a:pt x="39" y="206"/>
                        <a:pt x="39" y="206"/>
                        <a:pt x="39" y="206"/>
                      </a:cubicBezTo>
                      <a:cubicBezTo>
                        <a:pt x="40" y="206"/>
                        <a:pt x="40" y="206"/>
                        <a:pt x="40" y="206"/>
                      </a:cubicBezTo>
                      <a:cubicBezTo>
                        <a:pt x="41" y="206"/>
                        <a:pt x="41" y="206"/>
                        <a:pt x="41" y="206"/>
                      </a:cubicBezTo>
                      <a:cubicBezTo>
                        <a:pt x="41" y="206"/>
                        <a:pt x="41" y="206"/>
                        <a:pt x="41" y="206"/>
                      </a:cubicBezTo>
                      <a:cubicBezTo>
                        <a:pt x="42" y="205"/>
                        <a:pt x="42" y="205"/>
                        <a:pt x="42" y="205"/>
                      </a:cubicBezTo>
                      <a:cubicBezTo>
                        <a:pt x="43" y="205"/>
                        <a:pt x="43" y="205"/>
                        <a:pt x="43" y="205"/>
                      </a:cubicBezTo>
                      <a:cubicBezTo>
                        <a:pt x="44" y="205"/>
                        <a:pt x="44" y="205"/>
                        <a:pt x="44" y="205"/>
                      </a:cubicBezTo>
                      <a:cubicBezTo>
                        <a:pt x="44" y="204"/>
                        <a:pt x="44" y="204"/>
                        <a:pt x="44" y="204"/>
                      </a:cubicBezTo>
                      <a:cubicBezTo>
                        <a:pt x="43" y="203"/>
                        <a:pt x="43" y="203"/>
                        <a:pt x="43" y="203"/>
                      </a:cubicBezTo>
                      <a:cubicBezTo>
                        <a:pt x="43" y="203"/>
                        <a:pt x="43" y="203"/>
                        <a:pt x="43" y="203"/>
                      </a:cubicBezTo>
                      <a:cubicBezTo>
                        <a:pt x="43" y="203"/>
                        <a:pt x="43" y="203"/>
                        <a:pt x="43" y="203"/>
                      </a:cubicBezTo>
                      <a:cubicBezTo>
                        <a:pt x="42" y="202"/>
                        <a:pt x="42" y="202"/>
                        <a:pt x="42" y="202"/>
                      </a:cubicBezTo>
                      <a:cubicBezTo>
                        <a:pt x="42" y="201"/>
                        <a:pt x="42" y="201"/>
                        <a:pt x="42" y="201"/>
                      </a:cubicBezTo>
                      <a:cubicBezTo>
                        <a:pt x="41" y="202"/>
                        <a:pt x="41" y="202"/>
                        <a:pt x="41" y="202"/>
                      </a:cubicBezTo>
                      <a:cubicBezTo>
                        <a:pt x="41" y="202"/>
                        <a:pt x="41" y="202"/>
                        <a:pt x="41" y="202"/>
                      </a:cubicBezTo>
                      <a:cubicBezTo>
                        <a:pt x="40" y="202"/>
                        <a:pt x="40" y="202"/>
                        <a:pt x="40" y="202"/>
                      </a:cubicBezTo>
                      <a:cubicBezTo>
                        <a:pt x="39" y="202"/>
                        <a:pt x="39" y="202"/>
                        <a:pt x="39" y="202"/>
                      </a:cubicBezTo>
                      <a:cubicBezTo>
                        <a:pt x="38" y="201"/>
                        <a:pt x="38" y="201"/>
                        <a:pt x="38" y="201"/>
                      </a:cubicBezTo>
                      <a:cubicBezTo>
                        <a:pt x="37" y="200"/>
                        <a:pt x="37" y="200"/>
                        <a:pt x="37" y="200"/>
                      </a:cubicBezTo>
                      <a:cubicBezTo>
                        <a:pt x="36" y="199"/>
                        <a:pt x="36" y="199"/>
                        <a:pt x="36" y="199"/>
                      </a:cubicBezTo>
                      <a:cubicBezTo>
                        <a:pt x="36" y="198"/>
                        <a:pt x="36" y="198"/>
                        <a:pt x="36" y="198"/>
                      </a:cubicBezTo>
                      <a:cubicBezTo>
                        <a:pt x="37" y="198"/>
                        <a:pt x="37" y="198"/>
                        <a:pt x="37" y="198"/>
                      </a:cubicBezTo>
                      <a:cubicBezTo>
                        <a:pt x="37" y="198"/>
                        <a:pt x="37" y="198"/>
                        <a:pt x="37" y="198"/>
                      </a:cubicBezTo>
                      <a:cubicBezTo>
                        <a:pt x="37" y="197"/>
                        <a:pt x="37" y="197"/>
                        <a:pt x="37" y="197"/>
                      </a:cubicBezTo>
                      <a:cubicBezTo>
                        <a:pt x="37" y="197"/>
                        <a:pt x="37" y="197"/>
                        <a:pt x="37" y="197"/>
                      </a:cubicBezTo>
                      <a:cubicBezTo>
                        <a:pt x="37" y="196"/>
                        <a:pt x="37" y="196"/>
                        <a:pt x="37" y="196"/>
                      </a:cubicBezTo>
                      <a:cubicBezTo>
                        <a:pt x="37" y="196"/>
                        <a:pt x="37" y="196"/>
                        <a:pt x="37" y="196"/>
                      </a:cubicBezTo>
                      <a:cubicBezTo>
                        <a:pt x="38" y="195"/>
                        <a:pt x="38" y="195"/>
                        <a:pt x="38" y="195"/>
                      </a:cubicBezTo>
                      <a:cubicBezTo>
                        <a:pt x="39" y="196"/>
                        <a:pt x="39" y="196"/>
                        <a:pt x="39" y="196"/>
                      </a:cubicBezTo>
                      <a:cubicBezTo>
                        <a:pt x="41" y="196"/>
                        <a:pt x="41" y="196"/>
                        <a:pt x="41" y="196"/>
                      </a:cubicBezTo>
                      <a:cubicBezTo>
                        <a:pt x="41" y="197"/>
                        <a:pt x="41" y="197"/>
                        <a:pt x="41" y="197"/>
                      </a:cubicBezTo>
                      <a:cubicBezTo>
                        <a:pt x="42" y="198"/>
                        <a:pt x="42" y="198"/>
                        <a:pt x="42" y="198"/>
                      </a:cubicBezTo>
                      <a:cubicBezTo>
                        <a:pt x="44" y="198"/>
                        <a:pt x="44" y="198"/>
                        <a:pt x="44" y="198"/>
                      </a:cubicBezTo>
                      <a:cubicBezTo>
                        <a:pt x="44" y="199"/>
                        <a:pt x="44" y="199"/>
                        <a:pt x="44" y="199"/>
                      </a:cubicBezTo>
                      <a:cubicBezTo>
                        <a:pt x="45" y="199"/>
                        <a:pt x="45" y="199"/>
                        <a:pt x="45" y="199"/>
                      </a:cubicBezTo>
                      <a:cubicBezTo>
                        <a:pt x="48" y="200"/>
                        <a:pt x="48" y="200"/>
                        <a:pt x="48" y="200"/>
                      </a:cubicBezTo>
                      <a:cubicBezTo>
                        <a:pt x="49" y="201"/>
                        <a:pt x="49" y="201"/>
                        <a:pt x="49" y="201"/>
                      </a:cubicBezTo>
                      <a:cubicBezTo>
                        <a:pt x="50" y="200"/>
                        <a:pt x="50" y="200"/>
                        <a:pt x="50" y="200"/>
                      </a:cubicBezTo>
                      <a:cubicBezTo>
                        <a:pt x="51" y="200"/>
                        <a:pt x="51" y="200"/>
                        <a:pt x="51" y="200"/>
                      </a:cubicBezTo>
                      <a:cubicBezTo>
                        <a:pt x="51" y="199"/>
                        <a:pt x="51" y="199"/>
                        <a:pt x="51" y="199"/>
                      </a:cubicBezTo>
                      <a:cubicBezTo>
                        <a:pt x="51" y="199"/>
                        <a:pt x="51" y="199"/>
                        <a:pt x="51" y="199"/>
                      </a:cubicBezTo>
                      <a:cubicBezTo>
                        <a:pt x="52" y="198"/>
                        <a:pt x="52" y="198"/>
                        <a:pt x="52" y="198"/>
                      </a:cubicBezTo>
                      <a:cubicBezTo>
                        <a:pt x="51" y="196"/>
                        <a:pt x="51" y="196"/>
                        <a:pt x="51" y="196"/>
                      </a:cubicBezTo>
                      <a:cubicBezTo>
                        <a:pt x="49" y="194"/>
                        <a:pt x="49" y="194"/>
                        <a:pt x="49" y="194"/>
                      </a:cubicBezTo>
                      <a:cubicBezTo>
                        <a:pt x="48" y="193"/>
                        <a:pt x="48" y="193"/>
                        <a:pt x="48" y="193"/>
                      </a:cubicBezTo>
                      <a:cubicBezTo>
                        <a:pt x="48" y="192"/>
                        <a:pt x="48" y="192"/>
                        <a:pt x="48" y="192"/>
                      </a:cubicBezTo>
                      <a:cubicBezTo>
                        <a:pt x="50" y="191"/>
                        <a:pt x="50" y="191"/>
                        <a:pt x="50" y="191"/>
                      </a:cubicBezTo>
                      <a:cubicBezTo>
                        <a:pt x="51" y="190"/>
                        <a:pt x="51" y="190"/>
                        <a:pt x="51" y="190"/>
                      </a:cubicBezTo>
                      <a:cubicBezTo>
                        <a:pt x="51" y="189"/>
                        <a:pt x="51" y="189"/>
                        <a:pt x="51" y="189"/>
                      </a:cubicBezTo>
                      <a:cubicBezTo>
                        <a:pt x="52" y="188"/>
                        <a:pt x="52" y="188"/>
                        <a:pt x="52" y="188"/>
                      </a:cubicBezTo>
                      <a:cubicBezTo>
                        <a:pt x="53" y="188"/>
                        <a:pt x="53" y="188"/>
                        <a:pt x="53" y="188"/>
                      </a:cubicBezTo>
                      <a:cubicBezTo>
                        <a:pt x="55" y="187"/>
                        <a:pt x="55" y="187"/>
                        <a:pt x="55" y="187"/>
                      </a:cubicBezTo>
                      <a:cubicBezTo>
                        <a:pt x="56" y="185"/>
                        <a:pt x="56" y="185"/>
                        <a:pt x="56" y="185"/>
                      </a:cubicBezTo>
                      <a:cubicBezTo>
                        <a:pt x="56" y="184"/>
                        <a:pt x="56" y="184"/>
                        <a:pt x="56" y="184"/>
                      </a:cubicBezTo>
                      <a:cubicBezTo>
                        <a:pt x="57" y="185"/>
                        <a:pt x="57" y="185"/>
                        <a:pt x="57" y="185"/>
                      </a:cubicBezTo>
                      <a:cubicBezTo>
                        <a:pt x="58" y="185"/>
                        <a:pt x="58" y="185"/>
                        <a:pt x="58" y="185"/>
                      </a:cubicBezTo>
                      <a:cubicBezTo>
                        <a:pt x="60" y="185"/>
                        <a:pt x="60" y="185"/>
                        <a:pt x="60" y="185"/>
                      </a:cubicBezTo>
                      <a:cubicBezTo>
                        <a:pt x="61" y="185"/>
                        <a:pt x="61" y="185"/>
                        <a:pt x="61" y="185"/>
                      </a:cubicBezTo>
                      <a:cubicBezTo>
                        <a:pt x="62" y="186"/>
                        <a:pt x="62" y="186"/>
                        <a:pt x="62" y="186"/>
                      </a:cubicBezTo>
                      <a:cubicBezTo>
                        <a:pt x="62" y="187"/>
                        <a:pt x="62" y="187"/>
                        <a:pt x="62" y="187"/>
                      </a:cubicBezTo>
                      <a:cubicBezTo>
                        <a:pt x="63" y="186"/>
                        <a:pt x="63" y="186"/>
                        <a:pt x="63" y="186"/>
                      </a:cubicBezTo>
                      <a:cubicBezTo>
                        <a:pt x="64" y="187"/>
                        <a:pt x="64" y="187"/>
                        <a:pt x="64" y="187"/>
                      </a:cubicBezTo>
                      <a:cubicBezTo>
                        <a:pt x="64" y="188"/>
                        <a:pt x="64" y="188"/>
                        <a:pt x="64" y="188"/>
                      </a:cubicBezTo>
                      <a:cubicBezTo>
                        <a:pt x="65" y="188"/>
                        <a:pt x="65" y="188"/>
                        <a:pt x="65" y="188"/>
                      </a:cubicBezTo>
                      <a:cubicBezTo>
                        <a:pt x="65" y="187"/>
                        <a:pt x="65" y="187"/>
                        <a:pt x="65" y="187"/>
                      </a:cubicBezTo>
                      <a:cubicBezTo>
                        <a:pt x="64" y="185"/>
                        <a:pt x="64" y="185"/>
                        <a:pt x="64" y="185"/>
                      </a:cubicBezTo>
                      <a:cubicBezTo>
                        <a:pt x="65" y="185"/>
                        <a:pt x="65" y="185"/>
                        <a:pt x="65" y="185"/>
                      </a:cubicBezTo>
                      <a:cubicBezTo>
                        <a:pt x="65" y="183"/>
                        <a:pt x="65" y="183"/>
                        <a:pt x="65" y="183"/>
                      </a:cubicBezTo>
                      <a:cubicBezTo>
                        <a:pt x="65" y="182"/>
                        <a:pt x="65" y="182"/>
                        <a:pt x="65" y="182"/>
                      </a:cubicBezTo>
                      <a:cubicBezTo>
                        <a:pt x="64" y="182"/>
                        <a:pt x="64" y="182"/>
                        <a:pt x="64" y="182"/>
                      </a:cubicBezTo>
                      <a:cubicBezTo>
                        <a:pt x="64" y="182"/>
                        <a:pt x="64" y="182"/>
                        <a:pt x="64" y="182"/>
                      </a:cubicBezTo>
                      <a:cubicBezTo>
                        <a:pt x="65" y="181"/>
                        <a:pt x="65" y="181"/>
                        <a:pt x="65" y="181"/>
                      </a:cubicBezTo>
                      <a:cubicBezTo>
                        <a:pt x="64" y="181"/>
                        <a:pt x="64" y="181"/>
                        <a:pt x="64" y="181"/>
                      </a:cubicBezTo>
                      <a:cubicBezTo>
                        <a:pt x="65" y="180"/>
                        <a:pt x="65" y="180"/>
                        <a:pt x="65" y="180"/>
                      </a:cubicBezTo>
                      <a:cubicBezTo>
                        <a:pt x="64" y="179"/>
                        <a:pt x="64" y="179"/>
                        <a:pt x="64" y="179"/>
                      </a:cubicBezTo>
                      <a:cubicBezTo>
                        <a:pt x="63" y="179"/>
                        <a:pt x="63" y="179"/>
                        <a:pt x="63" y="179"/>
                      </a:cubicBezTo>
                      <a:cubicBezTo>
                        <a:pt x="61" y="179"/>
                        <a:pt x="61" y="179"/>
                        <a:pt x="61" y="179"/>
                      </a:cubicBezTo>
                      <a:cubicBezTo>
                        <a:pt x="61" y="178"/>
                        <a:pt x="61" y="178"/>
                        <a:pt x="61" y="178"/>
                      </a:cubicBezTo>
                      <a:cubicBezTo>
                        <a:pt x="61" y="177"/>
                        <a:pt x="61" y="177"/>
                        <a:pt x="61" y="177"/>
                      </a:cubicBezTo>
                      <a:cubicBezTo>
                        <a:pt x="61" y="175"/>
                        <a:pt x="61" y="175"/>
                        <a:pt x="61" y="175"/>
                      </a:cubicBezTo>
                      <a:cubicBezTo>
                        <a:pt x="62" y="175"/>
                        <a:pt x="62" y="175"/>
                        <a:pt x="62" y="175"/>
                      </a:cubicBezTo>
                      <a:cubicBezTo>
                        <a:pt x="62" y="174"/>
                        <a:pt x="62" y="174"/>
                        <a:pt x="62" y="174"/>
                      </a:cubicBezTo>
                      <a:cubicBezTo>
                        <a:pt x="62" y="173"/>
                        <a:pt x="62" y="173"/>
                        <a:pt x="62" y="173"/>
                      </a:cubicBezTo>
                      <a:cubicBezTo>
                        <a:pt x="62" y="173"/>
                        <a:pt x="62" y="173"/>
                        <a:pt x="62" y="173"/>
                      </a:cubicBezTo>
                      <a:cubicBezTo>
                        <a:pt x="61" y="172"/>
                        <a:pt x="61" y="172"/>
                        <a:pt x="61" y="172"/>
                      </a:cubicBezTo>
                      <a:cubicBezTo>
                        <a:pt x="61" y="171"/>
                        <a:pt x="61" y="171"/>
                        <a:pt x="61" y="171"/>
                      </a:cubicBezTo>
                      <a:cubicBezTo>
                        <a:pt x="61" y="169"/>
                        <a:pt x="61" y="169"/>
                        <a:pt x="61" y="169"/>
                      </a:cubicBezTo>
                      <a:cubicBezTo>
                        <a:pt x="59" y="169"/>
                        <a:pt x="59" y="169"/>
                        <a:pt x="59" y="169"/>
                      </a:cubicBezTo>
                      <a:cubicBezTo>
                        <a:pt x="57" y="167"/>
                        <a:pt x="57" y="167"/>
                        <a:pt x="57" y="167"/>
                      </a:cubicBezTo>
                      <a:cubicBezTo>
                        <a:pt x="57" y="166"/>
                        <a:pt x="57" y="166"/>
                        <a:pt x="57" y="166"/>
                      </a:cubicBezTo>
                      <a:cubicBezTo>
                        <a:pt x="58" y="166"/>
                        <a:pt x="58" y="166"/>
                        <a:pt x="58" y="166"/>
                      </a:cubicBezTo>
                      <a:cubicBezTo>
                        <a:pt x="60" y="168"/>
                        <a:pt x="60" y="168"/>
                        <a:pt x="60" y="168"/>
                      </a:cubicBezTo>
                      <a:cubicBezTo>
                        <a:pt x="61" y="168"/>
                        <a:pt x="61" y="168"/>
                        <a:pt x="61" y="168"/>
                      </a:cubicBezTo>
                      <a:cubicBezTo>
                        <a:pt x="62" y="167"/>
                        <a:pt x="62" y="167"/>
                        <a:pt x="62" y="167"/>
                      </a:cubicBezTo>
                      <a:cubicBezTo>
                        <a:pt x="64" y="167"/>
                        <a:pt x="64" y="167"/>
                        <a:pt x="64" y="167"/>
                      </a:cubicBezTo>
                      <a:cubicBezTo>
                        <a:pt x="66" y="167"/>
                        <a:pt x="66" y="167"/>
                        <a:pt x="66" y="167"/>
                      </a:cubicBezTo>
                      <a:cubicBezTo>
                        <a:pt x="67" y="168"/>
                        <a:pt x="67" y="168"/>
                        <a:pt x="67" y="168"/>
                      </a:cubicBezTo>
                      <a:cubicBezTo>
                        <a:pt x="67" y="169"/>
                        <a:pt x="67" y="169"/>
                        <a:pt x="67" y="169"/>
                      </a:cubicBezTo>
                      <a:cubicBezTo>
                        <a:pt x="68" y="170"/>
                        <a:pt x="68" y="170"/>
                        <a:pt x="68" y="170"/>
                      </a:cubicBezTo>
                      <a:cubicBezTo>
                        <a:pt x="70" y="170"/>
                        <a:pt x="70" y="170"/>
                        <a:pt x="70" y="170"/>
                      </a:cubicBezTo>
                      <a:cubicBezTo>
                        <a:pt x="70" y="171"/>
                        <a:pt x="70" y="171"/>
                        <a:pt x="70" y="171"/>
                      </a:cubicBezTo>
                      <a:cubicBezTo>
                        <a:pt x="71" y="172"/>
                        <a:pt x="71" y="172"/>
                        <a:pt x="71" y="172"/>
                      </a:cubicBezTo>
                      <a:cubicBezTo>
                        <a:pt x="71" y="173"/>
                        <a:pt x="71" y="173"/>
                        <a:pt x="71" y="173"/>
                      </a:cubicBezTo>
                      <a:cubicBezTo>
                        <a:pt x="69" y="173"/>
                        <a:pt x="69" y="173"/>
                        <a:pt x="69" y="173"/>
                      </a:cubicBezTo>
                      <a:cubicBezTo>
                        <a:pt x="69" y="173"/>
                        <a:pt x="69" y="173"/>
                        <a:pt x="69" y="173"/>
                      </a:cubicBezTo>
                      <a:cubicBezTo>
                        <a:pt x="67" y="173"/>
                        <a:pt x="67" y="173"/>
                        <a:pt x="67" y="173"/>
                      </a:cubicBezTo>
                      <a:cubicBezTo>
                        <a:pt x="67" y="174"/>
                        <a:pt x="67" y="174"/>
                        <a:pt x="67" y="174"/>
                      </a:cubicBezTo>
                      <a:cubicBezTo>
                        <a:pt x="67" y="174"/>
                        <a:pt x="67" y="174"/>
                        <a:pt x="67" y="174"/>
                      </a:cubicBezTo>
                      <a:cubicBezTo>
                        <a:pt x="67" y="175"/>
                        <a:pt x="67" y="175"/>
                        <a:pt x="67" y="175"/>
                      </a:cubicBezTo>
                      <a:cubicBezTo>
                        <a:pt x="66" y="175"/>
                        <a:pt x="66" y="175"/>
                        <a:pt x="66" y="175"/>
                      </a:cubicBezTo>
                      <a:cubicBezTo>
                        <a:pt x="66" y="175"/>
                        <a:pt x="66" y="175"/>
                        <a:pt x="66" y="175"/>
                      </a:cubicBezTo>
                      <a:cubicBezTo>
                        <a:pt x="66" y="176"/>
                        <a:pt x="66" y="176"/>
                        <a:pt x="66" y="176"/>
                      </a:cubicBezTo>
                      <a:cubicBezTo>
                        <a:pt x="66" y="177"/>
                        <a:pt x="66" y="177"/>
                        <a:pt x="66" y="177"/>
                      </a:cubicBezTo>
                      <a:cubicBezTo>
                        <a:pt x="68" y="178"/>
                        <a:pt x="68" y="178"/>
                        <a:pt x="68" y="178"/>
                      </a:cubicBezTo>
                      <a:cubicBezTo>
                        <a:pt x="70" y="181"/>
                        <a:pt x="70" y="181"/>
                        <a:pt x="70" y="181"/>
                      </a:cubicBezTo>
                      <a:cubicBezTo>
                        <a:pt x="71" y="181"/>
                        <a:pt x="71" y="181"/>
                        <a:pt x="71" y="181"/>
                      </a:cubicBezTo>
                      <a:cubicBezTo>
                        <a:pt x="72" y="180"/>
                        <a:pt x="72" y="180"/>
                        <a:pt x="72" y="180"/>
                      </a:cubicBezTo>
                      <a:cubicBezTo>
                        <a:pt x="73" y="181"/>
                        <a:pt x="73" y="181"/>
                        <a:pt x="73" y="181"/>
                      </a:cubicBezTo>
                      <a:cubicBezTo>
                        <a:pt x="73" y="180"/>
                        <a:pt x="73" y="180"/>
                        <a:pt x="73" y="180"/>
                      </a:cubicBezTo>
                      <a:cubicBezTo>
                        <a:pt x="74" y="180"/>
                        <a:pt x="74" y="180"/>
                        <a:pt x="74" y="180"/>
                      </a:cubicBezTo>
                      <a:cubicBezTo>
                        <a:pt x="75" y="180"/>
                        <a:pt x="75" y="180"/>
                        <a:pt x="75" y="180"/>
                      </a:cubicBezTo>
                      <a:cubicBezTo>
                        <a:pt x="76" y="179"/>
                        <a:pt x="76" y="179"/>
                        <a:pt x="76" y="179"/>
                      </a:cubicBezTo>
                      <a:cubicBezTo>
                        <a:pt x="77" y="178"/>
                        <a:pt x="77" y="178"/>
                        <a:pt x="77" y="178"/>
                      </a:cubicBezTo>
                      <a:cubicBezTo>
                        <a:pt x="76" y="177"/>
                        <a:pt x="76" y="177"/>
                        <a:pt x="76" y="177"/>
                      </a:cubicBezTo>
                      <a:cubicBezTo>
                        <a:pt x="77" y="176"/>
                        <a:pt x="77" y="176"/>
                        <a:pt x="77" y="176"/>
                      </a:cubicBezTo>
                      <a:cubicBezTo>
                        <a:pt x="77" y="175"/>
                        <a:pt x="77" y="175"/>
                        <a:pt x="77" y="175"/>
                      </a:cubicBezTo>
                      <a:cubicBezTo>
                        <a:pt x="76" y="174"/>
                        <a:pt x="76" y="174"/>
                        <a:pt x="76" y="174"/>
                      </a:cubicBezTo>
                      <a:cubicBezTo>
                        <a:pt x="77" y="174"/>
                        <a:pt x="77" y="174"/>
                        <a:pt x="77" y="174"/>
                      </a:cubicBezTo>
                      <a:cubicBezTo>
                        <a:pt x="79" y="174"/>
                        <a:pt x="79" y="174"/>
                        <a:pt x="79" y="174"/>
                      </a:cubicBezTo>
                      <a:cubicBezTo>
                        <a:pt x="80" y="173"/>
                        <a:pt x="80" y="173"/>
                        <a:pt x="80" y="173"/>
                      </a:cubicBezTo>
                      <a:cubicBezTo>
                        <a:pt x="81" y="174"/>
                        <a:pt x="81" y="174"/>
                        <a:pt x="81" y="174"/>
                      </a:cubicBezTo>
                      <a:cubicBezTo>
                        <a:pt x="81" y="173"/>
                        <a:pt x="81" y="173"/>
                        <a:pt x="81" y="173"/>
                      </a:cubicBezTo>
                      <a:cubicBezTo>
                        <a:pt x="80" y="172"/>
                        <a:pt x="80" y="172"/>
                        <a:pt x="80" y="172"/>
                      </a:cubicBezTo>
                      <a:cubicBezTo>
                        <a:pt x="79" y="171"/>
                        <a:pt x="79" y="171"/>
                        <a:pt x="79" y="171"/>
                      </a:cubicBezTo>
                      <a:cubicBezTo>
                        <a:pt x="80" y="171"/>
                        <a:pt x="80" y="171"/>
                        <a:pt x="80" y="171"/>
                      </a:cubicBezTo>
                      <a:cubicBezTo>
                        <a:pt x="80" y="172"/>
                        <a:pt x="80" y="172"/>
                        <a:pt x="80" y="172"/>
                      </a:cubicBezTo>
                      <a:cubicBezTo>
                        <a:pt x="81" y="172"/>
                        <a:pt x="81" y="172"/>
                        <a:pt x="81" y="172"/>
                      </a:cubicBezTo>
                      <a:cubicBezTo>
                        <a:pt x="83" y="170"/>
                        <a:pt x="83" y="170"/>
                        <a:pt x="83" y="170"/>
                      </a:cubicBezTo>
                      <a:cubicBezTo>
                        <a:pt x="84" y="169"/>
                        <a:pt x="84" y="169"/>
                        <a:pt x="84" y="169"/>
                      </a:cubicBezTo>
                      <a:cubicBezTo>
                        <a:pt x="86" y="167"/>
                        <a:pt x="86" y="167"/>
                        <a:pt x="86" y="167"/>
                      </a:cubicBezTo>
                      <a:cubicBezTo>
                        <a:pt x="86" y="167"/>
                        <a:pt x="86" y="167"/>
                        <a:pt x="86" y="167"/>
                      </a:cubicBezTo>
                      <a:cubicBezTo>
                        <a:pt x="86" y="167"/>
                        <a:pt x="86" y="167"/>
                        <a:pt x="86" y="167"/>
                      </a:cubicBezTo>
                      <a:cubicBezTo>
                        <a:pt x="87" y="167"/>
                        <a:pt x="87" y="167"/>
                        <a:pt x="87" y="167"/>
                      </a:cubicBezTo>
                      <a:cubicBezTo>
                        <a:pt x="88" y="166"/>
                        <a:pt x="88" y="166"/>
                        <a:pt x="88" y="166"/>
                      </a:cubicBezTo>
                      <a:cubicBezTo>
                        <a:pt x="89" y="166"/>
                        <a:pt x="89" y="166"/>
                        <a:pt x="89" y="166"/>
                      </a:cubicBezTo>
                      <a:cubicBezTo>
                        <a:pt x="91" y="165"/>
                        <a:pt x="91" y="165"/>
                        <a:pt x="91" y="165"/>
                      </a:cubicBezTo>
                      <a:cubicBezTo>
                        <a:pt x="91" y="166"/>
                        <a:pt x="91" y="166"/>
                        <a:pt x="91" y="166"/>
                      </a:cubicBezTo>
                      <a:cubicBezTo>
                        <a:pt x="91" y="166"/>
                        <a:pt x="91" y="166"/>
                        <a:pt x="91" y="166"/>
                      </a:cubicBezTo>
                      <a:cubicBezTo>
                        <a:pt x="91" y="166"/>
                        <a:pt x="91" y="166"/>
                        <a:pt x="91" y="166"/>
                      </a:cubicBezTo>
                      <a:cubicBezTo>
                        <a:pt x="91" y="167"/>
                        <a:pt x="91" y="167"/>
                        <a:pt x="91" y="167"/>
                      </a:cubicBezTo>
                      <a:cubicBezTo>
                        <a:pt x="91" y="167"/>
                        <a:pt x="91" y="167"/>
                        <a:pt x="91" y="167"/>
                      </a:cubicBezTo>
                      <a:cubicBezTo>
                        <a:pt x="92" y="166"/>
                        <a:pt x="92" y="166"/>
                        <a:pt x="92" y="166"/>
                      </a:cubicBezTo>
                      <a:cubicBezTo>
                        <a:pt x="93" y="166"/>
                        <a:pt x="93" y="166"/>
                        <a:pt x="93" y="166"/>
                      </a:cubicBezTo>
                      <a:cubicBezTo>
                        <a:pt x="92" y="165"/>
                        <a:pt x="92" y="165"/>
                        <a:pt x="92" y="165"/>
                      </a:cubicBezTo>
                      <a:cubicBezTo>
                        <a:pt x="91" y="165"/>
                        <a:pt x="91" y="165"/>
                        <a:pt x="91" y="165"/>
                      </a:cubicBezTo>
                      <a:cubicBezTo>
                        <a:pt x="91" y="164"/>
                        <a:pt x="91" y="164"/>
                        <a:pt x="91" y="164"/>
                      </a:cubicBezTo>
                      <a:cubicBezTo>
                        <a:pt x="93" y="163"/>
                        <a:pt x="93" y="163"/>
                        <a:pt x="93" y="163"/>
                      </a:cubicBezTo>
                      <a:cubicBezTo>
                        <a:pt x="93" y="163"/>
                        <a:pt x="93" y="163"/>
                        <a:pt x="93" y="163"/>
                      </a:cubicBezTo>
                      <a:cubicBezTo>
                        <a:pt x="93" y="163"/>
                        <a:pt x="93" y="163"/>
                        <a:pt x="93" y="163"/>
                      </a:cubicBezTo>
                      <a:cubicBezTo>
                        <a:pt x="93" y="163"/>
                        <a:pt x="93" y="163"/>
                        <a:pt x="93" y="163"/>
                      </a:cubicBezTo>
                      <a:cubicBezTo>
                        <a:pt x="93" y="164"/>
                        <a:pt x="93" y="164"/>
                        <a:pt x="93" y="164"/>
                      </a:cubicBezTo>
                      <a:cubicBezTo>
                        <a:pt x="94" y="165"/>
                        <a:pt x="94" y="165"/>
                        <a:pt x="94" y="165"/>
                      </a:cubicBezTo>
                      <a:cubicBezTo>
                        <a:pt x="94" y="165"/>
                        <a:pt x="94" y="165"/>
                        <a:pt x="94" y="165"/>
                      </a:cubicBezTo>
                      <a:cubicBezTo>
                        <a:pt x="95" y="164"/>
                        <a:pt x="95" y="164"/>
                        <a:pt x="95" y="164"/>
                      </a:cubicBezTo>
                      <a:cubicBezTo>
                        <a:pt x="94" y="163"/>
                        <a:pt x="94" y="163"/>
                        <a:pt x="94" y="163"/>
                      </a:cubicBezTo>
                      <a:cubicBezTo>
                        <a:pt x="94" y="163"/>
                        <a:pt x="94" y="163"/>
                        <a:pt x="94" y="163"/>
                      </a:cubicBezTo>
                      <a:cubicBezTo>
                        <a:pt x="94" y="162"/>
                        <a:pt x="94" y="162"/>
                        <a:pt x="94" y="162"/>
                      </a:cubicBezTo>
                      <a:cubicBezTo>
                        <a:pt x="95" y="162"/>
                        <a:pt x="95" y="162"/>
                        <a:pt x="95" y="162"/>
                      </a:cubicBezTo>
                      <a:cubicBezTo>
                        <a:pt x="97" y="161"/>
                        <a:pt x="97" y="161"/>
                        <a:pt x="97" y="161"/>
                      </a:cubicBezTo>
                      <a:cubicBezTo>
                        <a:pt x="99" y="161"/>
                        <a:pt x="99" y="161"/>
                        <a:pt x="99" y="161"/>
                      </a:cubicBezTo>
                      <a:cubicBezTo>
                        <a:pt x="99" y="161"/>
                        <a:pt x="99" y="161"/>
                        <a:pt x="99" y="161"/>
                      </a:cubicBezTo>
                      <a:cubicBezTo>
                        <a:pt x="98" y="161"/>
                        <a:pt x="98" y="161"/>
                        <a:pt x="98" y="161"/>
                      </a:cubicBezTo>
                      <a:cubicBezTo>
                        <a:pt x="97" y="161"/>
                        <a:pt x="97" y="161"/>
                        <a:pt x="97" y="161"/>
                      </a:cubicBezTo>
                      <a:cubicBezTo>
                        <a:pt x="96" y="162"/>
                        <a:pt x="96" y="162"/>
                        <a:pt x="96" y="162"/>
                      </a:cubicBezTo>
                      <a:cubicBezTo>
                        <a:pt x="96" y="163"/>
                        <a:pt x="96" y="163"/>
                        <a:pt x="96" y="163"/>
                      </a:cubicBezTo>
                      <a:cubicBezTo>
                        <a:pt x="96" y="163"/>
                        <a:pt x="96" y="163"/>
                        <a:pt x="96" y="163"/>
                      </a:cubicBezTo>
                      <a:cubicBezTo>
                        <a:pt x="97" y="162"/>
                        <a:pt x="97" y="162"/>
                        <a:pt x="97" y="162"/>
                      </a:cubicBezTo>
                      <a:cubicBezTo>
                        <a:pt x="98" y="163"/>
                        <a:pt x="98" y="163"/>
                        <a:pt x="98" y="163"/>
                      </a:cubicBezTo>
                      <a:cubicBezTo>
                        <a:pt x="98" y="164"/>
                        <a:pt x="98" y="164"/>
                        <a:pt x="98" y="164"/>
                      </a:cubicBezTo>
                      <a:cubicBezTo>
                        <a:pt x="97" y="164"/>
                        <a:pt x="97" y="164"/>
                        <a:pt x="97" y="164"/>
                      </a:cubicBezTo>
                      <a:cubicBezTo>
                        <a:pt x="98" y="165"/>
                        <a:pt x="98" y="165"/>
                        <a:pt x="98" y="165"/>
                      </a:cubicBezTo>
                      <a:cubicBezTo>
                        <a:pt x="98" y="165"/>
                        <a:pt x="98" y="165"/>
                        <a:pt x="98" y="165"/>
                      </a:cubicBezTo>
                      <a:cubicBezTo>
                        <a:pt x="97" y="166"/>
                        <a:pt x="97" y="166"/>
                        <a:pt x="97" y="166"/>
                      </a:cubicBezTo>
                      <a:cubicBezTo>
                        <a:pt x="96" y="166"/>
                        <a:pt x="96" y="166"/>
                        <a:pt x="96" y="166"/>
                      </a:cubicBezTo>
                      <a:cubicBezTo>
                        <a:pt x="96" y="167"/>
                        <a:pt x="96" y="167"/>
                        <a:pt x="96" y="167"/>
                      </a:cubicBezTo>
                      <a:cubicBezTo>
                        <a:pt x="97" y="167"/>
                        <a:pt x="97" y="167"/>
                        <a:pt x="97" y="167"/>
                      </a:cubicBezTo>
                      <a:cubicBezTo>
                        <a:pt x="97" y="167"/>
                        <a:pt x="97" y="167"/>
                        <a:pt x="97" y="167"/>
                      </a:cubicBezTo>
                      <a:cubicBezTo>
                        <a:pt x="98" y="167"/>
                        <a:pt x="98" y="167"/>
                        <a:pt x="98" y="167"/>
                      </a:cubicBezTo>
                      <a:cubicBezTo>
                        <a:pt x="99" y="167"/>
                        <a:pt x="99" y="167"/>
                        <a:pt x="99" y="167"/>
                      </a:cubicBezTo>
                      <a:cubicBezTo>
                        <a:pt x="100" y="167"/>
                        <a:pt x="100" y="167"/>
                        <a:pt x="100" y="167"/>
                      </a:cubicBezTo>
                      <a:cubicBezTo>
                        <a:pt x="100" y="168"/>
                        <a:pt x="100" y="168"/>
                        <a:pt x="100" y="168"/>
                      </a:cubicBezTo>
                      <a:cubicBezTo>
                        <a:pt x="100" y="167"/>
                        <a:pt x="100" y="167"/>
                        <a:pt x="100" y="167"/>
                      </a:cubicBezTo>
                      <a:cubicBezTo>
                        <a:pt x="101" y="166"/>
                        <a:pt x="101" y="166"/>
                        <a:pt x="101" y="166"/>
                      </a:cubicBezTo>
                      <a:cubicBezTo>
                        <a:pt x="101" y="166"/>
                        <a:pt x="101" y="166"/>
                        <a:pt x="101" y="166"/>
                      </a:cubicBezTo>
                      <a:cubicBezTo>
                        <a:pt x="102" y="166"/>
                        <a:pt x="102" y="166"/>
                        <a:pt x="102" y="166"/>
                      </a:cubicBezTo>
                      <a:cubicBezTo>
                        <a:pt x="103" y="167"/>
                        <a:pt x="103" y="167"/>
                        <a:pt x="103" y="167"/>
                      </a:cubicBezTo>
                      <a:cubicBezTo>
                        <a:pt x="103" y="167"/>
                        <a:pt x="103" y="167"/>
                        <a:pt x="103" y="167"/>
                      </a:cubicBezTo>
                      <a:cubicBezTo>
                        <a:pt x="103" y="166"/>
                        <a:pt x="103" y="166"/>
                        <a:pt x="103" y="166"/>
                      </a:cubicBezTo>
                      <a:cubicBezTo>
                        <a:pt x="103" y="166"/>
                        <a:pt x="103" y="166"/>
                        <a:pt x="103" y="166"/>
                      </a:cubicBezTo>
                      <a:cubicBezTo>
                        <a:pt x="102" y="165"/>
                        <a:pt x="102" y="165"/>
                        <a:pt x="102" y="165"/>
                      </a:cubicBezTo>
                      <a:cubicBezTo>
                        <a:pt x="102" y="165"/>
                        <a:pt x="102" y="165"/>
                        <a:pt x="102" y="165"/>
                      </a:cubicBezTo>
                      <a:cubicBezTo>
                        <a:pt x="103" y="164"/>
                        <a:pt x="103" y="164"/>
                        <a:pt x="103" y="164"/>
                      </a:cubicBezTo>
                      <a:cubicBezTo>
                        <a:pt x="104" y="164"/>
                        <a:pt x="104" y="164"/>
                        <a:pt x="104" y="164"/>
                      </a:cubicBezTo>
                      <a:cubicBezTo>
                        <a:pt x="104" y="163"/>
                        <a:pt x="104" y="163"/>
                        <a:pt x="104" y="163"/>
                      </a:cubicBezTo>
                      <a:cubicBezTo>
                        <a:pt x="106" y="163"/>
                        <a:pt x="106" y="163"/>
                        <a:pt x="106" y="163"/>
                      </a:cubicBezTo>
                      <a:cubicBezTo>
                        <a:pt x="106" y="163"/>
                        <a:pt x="106" y="163"/>
                        <a:pt x="106" y="163"/>
                      </a:cubicBezTo>
                      <a:cubicBezTo>
                        <a:pt x="107" y="163"/>
                        <a:pt x="107" y="163"/>
                        <a:pt x="107" y="163"/>
                      </a:cubicBezTo>
                      <a:cubicBezTo>
                        <a:pt x="107" y="163"/>
                        <a:pt x="107" y="163"/>
                        <a:pt x="107" y="163"/>
                      </a:cubicBezTo>
                      <a:cubicBezTo>
                        <a:pt x="108" y="163"/>
                        <a:pt x="108" y="163"/>
                        <a:pt x="108" y="163"/>
                      </a:cubicBezTo>
                      <a:cubicBezTo>
                        <a:pt x="110" y="163"/>
                        <a:pt x="110" y="163"/>
                        <a:pt x="110" y="163"/>
                      </a:cubicBezTo>
                      <a:cubicBezTo>
                        <a:pt x="111" y="163"/>
                        <a:pt x="111" y="163"/>
                        <a:pt x="111" y="163"/>
                      </a:cubicBezTo>
                      <a:cubicBezTo>
                        <a:pt x="111" y="162"/>
                        <a:pt x="111" y="162"/>
                        <a:pt x="111" y="162"/>
                      </a:cubicBezTo>
                      <a:cubicBezTo>
                        <a:pt x="111" y="162"/>
                        <a:pt x="111" y="162"/>
                        <a:pt x="111" y="162"/>
                      </a:cubicBezTo>
                      <a:cubicBezTo>
                        <a:pt x="112" y="161"/>
                        <a:pt x="112" y="161"/>
                        <a:pt x="112" y="161"/>
                      </a:cubicBezTo>
                      <a:cubicBezTo>
                        <a:pt x="113" y="161"/>
                        <a:pt x="113" y="161"/>
                        <a:pt x="113" y="161"/>
                      </a:cubicBezTo>
                      <a:cubicBezTo>
                        <a:pt x="113" y="160"/>
                        <a:pt x="113" y="160"/>
                        <a:pt x="113" y="160"/>
                      </a:cubicBezTo>
                      <a:cubicBezTo>
                        <a:pt x="114" y="160"/>
                        <a:pt x="114" y="160"/>
                        <a:pt x="114" y="160"/>
                      </a:cubicBezTo>
                      <a:cubicBezTo>
                        <a:pt x="115" y="159"/>
                        <a:pt x="115" y="159"/>
                        <a:pt x="115" y="159"/>
                      </a:cubicBezTo>
                      <a:cubicBezTo>
                        <a:pt x="116" y="159"/>
                        <a:pt x="116" y="159"/>
                        <a:pt x="116" y="159"/>
                      </a:cubicBezTo>
                      <a:cubicBezTo>
                        <a:pt x="117" y="159"/>
                        <a:pt x="117" y="159"/>
                        <a:pt x="117" y="159"/>
                      </a:cubicBezTo>
                      <a:cubicBezTo>
                        <a:pt x="117" y="159"/>
                        <a:pt x="117" y="159"/>
                        <a:pt x="117" y="159"/>
                      </a:cubicBezTo>
                      <a:cubicBezTo>
                        <a:pt x="116" y="160"/>
                        <a:pt x="116" y="160"/>
                        <a:pt x="116" y="160"/>
                      </a:cubicBezTo>
                      <a:cubicBezTo>
                        <a:pt x="117" y="160"/>
                        <a:pt x="117" y="160"/>
                        <a:pt x="117" y="160"/>
                      </a:cubicBezTo>
                      <a:cubicBezTo>
                        <a:pt x="118" y="161"/>
                        <a:pt x="118" y="161"/>
                        <a:pt x="118" y="161"/>
                      </a:cubicBezTo>
                      <a:cubicBezTo>
                        <a:pt x="118" y="161"/>
                        <a:pt x="118" y="161"/>
                        <a:pt x="118" y="161"/>
                      </a:cubicBezTo>
                      <a:cubicBezTo>
                        <a:pt x="117" y="162"/>
                        <a:pt x="117" y="162"/>
                        <a:pt x="117" y="162"/>
                      </a:cubicBezTo>
                      <a:cubicBezTo>
                        <a:pt x="117" y="163"/>
                        <a:pt x="117" y="163"/>
                        <a:pt x="117" y="163"/>
                      </a:cubicBezTo>
                      <a:cubicBezTo>
                        <a:pt x="117" y="163"/>
                        <a:pt x="117" y="163"/>
                        <a:pt x="117" y="163"/>
                      </a:cubicBezTo>
                      <a:cubicBezTo>
                        <a:pt x="118" y="164"/>
                        <a:pt x="118" y="164"/>
                        <a:pt x="118" y="164"/>
                      </a:cubicBezTo>
                      <a:cubicBezTo>
                        <a:pt x="120" y="164"/>
                        <a:pt x="120" y="164"/>
                        <a:pt x="120" y="164"/>
                      </a:cubicBezTo>
                      <a:cubicBezTo>
                        <a:pt x="121" y="164"/>
                        <a:pt x="121" y="164"/>
                        <a:pt x="121" y="164"/>
                      </a:cubicBezTo>
                      <a:cubicBezTo>
                        <a:pt x="121" y="163"/>
                        <a:pt x="121" y="163"/>
                        <a:pt x="121" y="163"/>
                      </a:cubicBezTo>
                      <a:cubicBezTo>
                        <a:pt x="120" y="163"/>
                        <a:pt x="120" y="163"/>
                        <a:pt x="120" y="163"/>
                      </a:cubicBezTo>
                      <a:cubicBezTo>
                        <a:pt x="119" y="162"/>
                        <a:pt x="119" y="162"/>
                        <a:pt x="119" y="162"/>
                      </a:cubicBezTo>
                      <a:cubicBezTo>
                        <a:pt x="119" y="161"/>
                        <a:pt x="119" y="161"/>
                        <a:pt x="119" y="161"/>
                      </a:cubicBezTo>
                      <a:cubicBezTo>
                        <a:pt x="120" y="161"/>
                        <a:pt x="120" y="161"/>
                        <a:pt x="120" y="161"/>
                      </a:cubicBezTo>
                      <a:cubicBezTo>
                        <a:pt x="121" y="161"/>
                        <a:pt x="121" y="161"/>
                        <a:pt x="121" y="161"/>
                      </a:cubicBezTo>
                      <a:cubicBezTo>
                        <a:pt x="122" y="161"/>
                        <a:pt x="122" y="161"/>
                        <a:pt x="122" y="161"/>
                      </a:cubicBezTo>
                      <a:cubicBezTo>
                        <a:pt x="123" y="159"/>
                        <a:pt x="123" y="159"/>
                        <a:pt x="123" y="159"/>
                      </a:cubicBezTo>
                      <a:cubicBezTo>
                        <a:pt x="123" y="159"/>
                        <a:pt x="123" y="159"/>
                        <a:pt x="123" y="159"/>
                      </a:cubicBezTo>
                      <a:cubicBezTo>
                        <a:pt x="124" y="160"/>
                        <a:pt x="124" y="160"/>
                        <a:pt x="124" y="160"/>
                      </a:cubicBezTo>
                      <a:cubicBezTo>
                        <a:pt x="125" y="160"/>
                        <a:pt x="125" y="160"/>
                        <a:pt x="125" y="160"/>
                      </a:cubicBezTo>
                      <a:cubicBezTo>
                        <a:pt x="124" y="159"/>
                        <a:pt x="124" y="159"/>
                        <a:pt x="124" y="159"/>
                      </a:cubicBezTo>
                      <a:cubicBezTo>
                        <a:pt x="123" y="158"/>
                        <a:pt x="123" y="158"/>
                        <a:pt x="123" y="158"/>
                      </a:cubicBezTo>
                      <a:cubicBezTo>
                        <a:pt x="123" y="157"/>
                        <a:pt x="123" y="157"/>
                        <a:pt x="123" y="157"/>
                      </a:cubicBezTo>
                      <a:cubicBezTo>
                        <a:pt x="122" y="156"/>
                        <a:pt x="122" y="156"/>
                        <a:pt x="122" y="156"/>
                      </a:cubicBezTo>
                      <a:cubicBezTo>
                        <a:pt x="121" y="156"/>
                        <a:pt x="121" y="156"/>
                        <a:pt x="121" y="156"/>
                      </a:cubicBezTo>
                      <a:cubicBezTo>
                        <a:pt x="121" y="157"/>
                        <a:pt x="121" y="157"/>
                        <a:pt x="121" y="157"/>
                      </a:cubicBezTo>
                      <a:cubicBezTo>
                        <a:pt x="121" y="156"/>
                        <a:pt x="121" y="156"/>
                        <a:pt x="121" y="156"/>
                      </a:cubicBezTo>
                      <a:cubicBezTo>
                        <a:pt x="120" y="154"/>
                        <a:pt x="120" y="154"/>
                        <a:pt x="120" y="154"/>
                      </a:cubicBezTo>
                      <a:cubicBezTo>
                        <a:pt x="119" y="154"/>
                        <a:pt x="119" y="154"/>
                        <a:pt x="119" y="154"/>
                      </a:cubicBezTo>
                      <a:cubicBezTo>
                        <a:pt x="119" y="153"/>
                        <a:pt x="119" y="153"/>
                        <a:pt x="119" y="153"/>
                      </a:cubicBezTo>
                      <a:cubicBezTo>
                        <a:pt x="119" y="153"/>
                        <a:pt x="119" y="153"/>
                        <a:pt x="119" y="153"/>
                      </a:cubicBezTo>
                      <a:cubicBezTo>
                        <a:pt x="120" y="152"/>
                        <a:pt x="120" y="152"/>
                        <a:pt x="120" y="152"/>
                      </a:cubicBezTo>
                      <a:cubicBezTo>
                        <a:pt x="120" y="152"/>
                        <a:pt x="120" y="152"/>
                        <a:pt x="120" y="152"/>
                      </a:cubicBezTo>
                      <a:cubicBezTo>
                        <a:pt x="119" y="151"/>
                        <a:pt x="119" y="151"/>
                        <a:pt x="119" y="151"/>
                      </a:cubicBezTo>
                      <a:cubicBezTo>
                        <a:pt x="120" y="150"/>
                        <a:pt x="120" y="150"/>
                        <a:pt x="120" y="150"/>
                      </a:cubicBezTo>
                      <a:cubicBezTo>
                        <a:pt x="121" y="151"/>
                        <a:pt x="121" y="151"/>
                        <a:pt x="121" y="151"/>
                      </a:cubicBezTo>
                      <a:cubicBezTo>
                        <a:pt x="121" y="150"/>
                        <a:pt x="121" y="150"/>
                        <a:pt x="121" y="150"/>
                      </a:cubicBezTo>
                      <a:cubicBezTo>
                        <a:pt x="122" y="151"/>
                        <a:pt x="122" y="151"/>
                        <a:pt x="122" y="151"/>
                      </a:cubicBezTo>
                      <a:cubicBezTo>
                        <a:pt x="123" y="151"/>
                        <a:pt x="123" y="151"/>
                        <a:pt x="123" y="151"/>
                      </a:cubicBezTo>
                      <a:cubicBezTo>
                        <a:pt x="124" y="151"/>
                        <a:pt x="124" y="151"/>
                        <a:pt x="124" y="151"/>
                      </a:cubicBezTo>
                      <a:cubicBezTo>
                        <a:pt x="127" y="150"/>
                        <a:pt x="127" y="150"/>
                        <a:pt x="127" y="150"/>
                      </a:cubicBezTo>
                      <a:cubicBezTo>
                        <a:pt x="132" y="151"/>
                        <a:pt x="132" y="151"/>
                        <a:pt x="132" y="151"/>
                      </a:cubicBezTo>
                      <a:cubicBezTo>
                        <a:pt x="133" y="152"/>
                        <a:pt x="133" y="152"/>
                        <a:pt x="133" y="152"/>
                      </a:cubicBezTo>
                      <a:cubicBezTo>
                        <a:pt x="136" y="153"/>
                        <a:pt x="136" y="153"/>
                        <a:pt x="136" y="153"/>
                      </a:cubicBezTo>
                      <a:cubicBezTo>
                        <a:pt x="137" y="153"/>
                        <a:pt x="137" y="153"/>
                        <a:pt x="137" y="153"/>
                      </a:cubicBezTo>
                      <a:cubicBezTo>
                        <a:pt x="136" y="154"/>
                        <a:pt x="136" y="154"/>
                        <a:pt x="136" y="154"/>
                      </a:cubicBezTo>
                      <a:cubicBezTo>
                        <a:pt x="137" y="155"/>
                        <a:pt x="137" y="155"/>
                        <a:pt x="137" y="155"/>
                      </a:cubicBezTo>
                      <a:cubicBezTo>
                        <a:pt x="138" y="154"/>
                        <a:pt x="138" y="154"/>
                        <a:pt x="138" y="154"/>
                      </a:cubicBezTo>
                      <a:cubicBezTo>
                        <a:pt x="139" y="153"/>
                        <a:pt x="139" y="153"/>
                        <a:pt x="139" y="153"/>
                      </a:cubicBezTo>
                      <a:cubicBezTo>
                        <a:pt x="140" y="154"/>
                        <a:pt x="140" y="154"/>
                        <a:pt x="140" y="154"/>
                      </a:cubicBezTo>
                      <a:cubicBezTo>
                        <a:pt x="141" y="154"/>
                        <a:pt x="141" y="154"/>
                        <a:pt x="141" y="154"/>
                      </a:cubicBezTo>
                      <a:cubicBezTo>
                        <a:pt x="141" y="155"/>
                        <a:pt x="141" y="155"/>
                        <a:pt x="141" y="155"/>
                      </a:cubicBezTo>
                      <a:cubicBezTo>
                        <a:pt x="142" y="155"/>
                        <a:pt x="142" y="155"/>
                        <a:pt x="142" y="155"/>
                      </a:cubicBezTo>
                      <a:cubicBezTo>
                        <a:pt x="145" y="156"/>
                        <a:pt x="145" y="156"/>
                        <a:pt x="145" y="156"/>
                      </a:cubicBezTo>
                      <a:cubicBezTo>
                        <a:pt x="147" y="157"/>
                        <a:pt x="147" y="157"/>
                        <a:pt x="147" y="157"/>
                      </a:cubicBezTo>
                      <a:cubicBezTo>
                        <a:pt x="149" y="157"/>
                        <a:pt x="149" y="157"/>
                        <a:pt x="149" y="157"/>
                      </a:cubicBezTo>
                      <a:cubicBezTo>
                        <a:pt x="149" y="159"/>
                        <a:pt x="149" y="159"/>
                        <a:pt x="149" y="159"/>
                      </a:cubicBezTo>
                      <a:cubicBezTo>
                        <a:pt x="151" y="159"/>
                        <a:pt x="151" y="159"/>
                        <a:pt x="151" y="159"/>
                      </a:cubicBezTo>
                      <a:cubicBezTo>
                        <a:pt x="152" y="160"/>
                        <a:pt x="152" y="160"/>
                        <a:pt x="152" y="160"/>
                      </a:cubicBezTo>
                      <a:cubicBezTo>
                        <a:pt x="153" y="162"/>
                        <a:pt x="153" y="162"/>
                        <a:pt x="153" y="162"/>
                      </a:cubicBezTo>
                      <a:cubicBezTo>
                        <a:pt x="154" y="162"/>
                        <a:pt x="154" y="162"/>
                        <a:pt x="154" y="162"/>
                      </a:cubicBezTo>
                      <a:cubicBezTo>
                        <a:pt x="154" y="161"/>
                        <a:pt x="154" y="161"/>
                        <a:pt x="154" y="161"/>
                      </a:cubicBezTo>
                      <a:cubicBezTo>
                        <a:pt x="154" y="160"/>
                        <a:pt x="154" y="160"/>
                        <a:pt x="154" y="160"/>
                      </a:cubicBezTo>
                      <a:cubicBezTo>
                        <a:pt x="154" y="160"/>
                        <a:pt x="154" y="160"/>
                        <a:pt x="154" y="160"/>
                      </a:cubicBezTo>
                      <a:cubicBezTo>
                        <a:pt x="155" y="160"/>
                        <a:pt x="155" y="160"/>
                        <a:pt x="155" y="160"/>
                      </a:cubicBezTo>
                      <a:cubicBezTo>
                        <a:pt x="154" y="159"/>
                        <a:pt x="154" y="159"/>
                        <a:pt x="154" y="159"/>
                      </a:cubicBezTo>
                      <a:cubicBezTo>
                        <a:pt x="154" y="158"/>
                        <a:pt x="154" y="158"/>
                        <a:pt x="154" y="158"/>
                      </a:cubicBezTo>
                      <a:cubicBezTo>
                        <a:pt x="154" y="156"/>
                        <a:pt x="154" y="156"/>
                        <a:pt x="154" y="156"/>
                      </a:cubicBezTo>
                      <a:cubicBezTo>
                        <a:pt x="155" y="155"/>
                        <a:pt x="155" y="155"/>
                        <a:pt x="155" y="155"/>
                      </a:cubicBezTo>
                      <a:cubicBezTo>
                        <a:pt x="154" y="155"/>
                        <a:pt x="154" y="155"/>
                        <a:pt x="154" y="155"/>
                      </a:cubicBezTo>
                      <a:cubicBezTo>
                        <a:pt x="154" y="155"/>
                        <a:pt x="154" y="155"/>
                        <a:pt x="154" y="155"/>
                      </a:cubicBezTo>
                      <a:cubicBezTo>
                        <a:pt x="153" y="155"/>
                        <a:pt x="153" y="155"/>
                        <a:pt x="153" y="155"/>
                      </a:cubicBezTo>
                      <a:cubicBezTo>
                        <a:pt x="152" y="155"/>
                        <a:pt x="152" y="155"/>
                        <a:pt x="152" y="155"/>
                      </a:cubicBezTo>
                      <a:cubicBezTo>
                        <a:pt x="152" y="155"/>
                        <a:pt x="152" y="155"/>
                        <a:pt x="152" y="155"/>
                      </a:cubicBezTo>
                      <a:cubicBezTo>
                        <a:pt x="150" y="153"/>
                        <a:pt x="150" y="153"/>
                        <a:pt x="150" y="153"/>
                      </a:cubicBezTo>
                      <a:cubicBezTo>
                        <a:pt x="149" y="153"/>
                        <a:pt x="149" y="153"/>
                        <a:pt x="149" y="153"/>
                      </a:cubicBezTo>
                      <a:cubicBezTo>
                        <a:pt x="148" y="152"/>
                        <a:pt x="148" y="152"/>
                        <a:pt x="148" y="152"/>
                      </a:cubicBezTo>
                      <a:cubicBezTo>
                        <a:pt x="148" y="151"/>
                        <a:pt x="148" y="151"/>
                        <a:pt x="148" y="151"/>
                      </a:cubicBezTo>
                      <a:cubicBezTo>
                        <a:pt x="148" y="150"/>
                        <a:pt x="148" y="150"/>
                        <a:pt x="148" y="150"/>
                      </a:cubicBezTo>
                      <a:cubicBezTo>
                        <a:pt x="147" y="151"/>
                        <a:pt x="147" y="151"/>
                        <a:pt x="147" y="151"/>
                      </a:cubicBezTo>
                      <a:cubicBezTo>
                        <a:pt x="146" y="151"/>
                        <a:pt x="146" y="151"/>
                        <a:pt x="146" y="151"/>
                      </a:cubicBezTo>
                      <a:cubicBezTo>
                        <a:pt x="145" y="151"/>
                        <a:pt x="145" y="151"/>
                        <a:pt x="145" y="151"/>
                      </a:cubicBezTo>
                      <a:cubicBezTo>
                        <a:pt x="144" y="150"/>
                        <a:pt x="144" y="150"/>
                        <a:pt x="144" y="150"/>
                      </a:cubicBezTo>
                      <a:cubicBezTo>
                        <a:pt x="143" y="151"/>
                        <a:pt x="143" y="151"/>
                        <a:pt x="143" y="151"/>
                      </a:cubicBezTo>
                      <a:cubicBezTo>
                        <a:pt x="143" y="149"/>
                        <a:pt x="143" y="149"/>
                        <a:pt x="143" y="149"/>
                      </a:cubicBezTo>
                      <a:cubicBezTo>
                        <a:pt x="142" y="149"/>
                        <a:pt x="142" y="149"/>
                        <a:pt x="142" y="149"/>
                      </a:cubicBezTo>
                      <a:cubicBezTo>
                        <a:pt x="142" y="147"/>
                        <a:pt x="142" y="147"/>
                        <a:pt x="142" y="147"/>
                      </a:cubicBezTo>
                      <a:cubicBezTo>
                        <a:pt x="142" y="146"/>
                        <a:pt x="142" y="146"/>
                        <a:pt x="142" y="146"/>
                      </a:cubicBezTo>
                      <a:cubicBezTo>
                        <a:pt x="142" y="147"/>
                        <a:pt x="142" y="147"/>
                        <a:pt x="142" y="147"/>
                      </a:cubicBezTo>
                      <a:cubicBezTo>
                        <a:pt x="143" y="146"/>
                        <a:pt x="143" y="146"/>
                        <a:pt x="143" y="146"/>
                      </a:cubicBezTo>
                      <a:cubicBezTo>
                        <a:pt x="143" y="145"/>
                        <a:pt x="143" y="145"/>
                        <a:pt x="143" y="145"/>
                      </a:cubicBezTo>
                      <a:cubicBezTo>
                        <a:pt x="142" y="144"/>
                        <a:pt x="142" y="144"/>
                        <a:pt x="142" y="144"/>
                      </a:cubicBezTo>
                      <a:cubicBezTo>
                        <a:pt x="141" y="143"/>
                        <a:pt x="141" y="143"/>
                        <a:pt x="141" y="143"/>
                      </a:cubicBezTo>
                      <a:cubicBezTo>
                        <a:pt x="142" y="142"/>
                        <a:pt x="142" y="142"/>
                        <a:pt x="142" y="142"/>
                      </a:cubicBezTo>
                      <a:cubicBezTo>
                        <a:pt x="143" y="142"/>
                        <a:pt x="143" y="142"/>
                        <a:pt x="143" y="142"/>
                      </a:cubicBezTo>
                      <a:cubicBezTo>
                        <a:pt x="142" y="142"/>
                        <a:pt x="142" y="142"/>
                        <a:pt x="142" y="142"/>
                      </a:cubicBezTo>
                      <a:cubicBezTo>
                        <a:pt x="141" y="142"/>
                        <a:pt x="141" y="142"/>
                        <a:pt x="141" y="142"/>
                      </a:cubicBezTo>
                      <a:cubicBezTo>
                        <a:pt x="140" y="140"/>
                        <a:pt x="140" y="140"/>
                        <a:pt x="140" y="140"/>
                      </a:cubicBezTo>
                      <a:cubicBezTo>
                        <a:pt x="140" y="139"/>
                        <a:pt x="140" y="139"/>
                        <a:pt x="140" y="139"/>
                      </a:cubicBezTo>
                      <a:cubicBezTo>
                        <a:pt x="139" y="140"/>
                        <a:pt x="139" y="140"/>
                        <a:pt x="139" y="140"/>
                      </a:cubicBezTo>
                      <a:cubicBezTo>
                        <a:pt x="138" y="139"/>
                        <a:pt x="138" y="139"/>
                        <a:pt x="138" y="139"/>
                      </a:cubicBezTo>
                      <a:cubicBezTo>
                        <a:pt x="138" y="137"/>
                        <a:pt x="138" y="137"/>
                        <a:pt x="138" y="137"/>
                      </a:cubicBezTo>
                      <a:cubicBezTo>
                        <a:pt x="138" y="137"/>
                        <a:pt x="138" y="137"/>
                        <a:pt x="138" y="137"/>
                      </a:cubicBezTo>
                      <a:cubicBezTo>
                        <a:pt x="138" y="136"/>
                        <a:pt x="138" y="136"/>
                        <a:pt x="138" y="136"/>
                      </a:cubicBezTo>
                      <a:cubicBezTo>
                        <a:pt x="138" y="135"/>
                        <a:pt x="138" y="135"/>
                        <a:pt x="138" y="135"/>
                      </a:cubicBezTo>
                      <a:cubicBezTo>
                        <a:pt x="138" y="135"/>
                        <a:pt x="138" y="135"/>
                        <a:pt x="138" y="135"/>
                      </a:cubicBezTo>
                      <a:cubicBezTo>
                        <a:pt x="140" y="132"/>
                        <a:pt x="140" y="132"/>
                        <a:pt x="140" y="132"/>
                      </a:cubicBezTo>
                      <a:cubicBezTo>
                        <a:pt x="141" y="132"/>
                        <a:pt x="141" y="132"/>
                        <a:pt x="141" y="132"/>
                      </a:cubicBezTo>
                      <a:cubicBezTo>
                        <a:pt x="141" y="131"/>
                        <a:pt x="141" y="131"/>
                        <a:pt x="141" y="131"/>
                      </a:cubicBezTo>
                      <a:cubicBezTo>
                        <a:pt x="141" y="130"/>
                        <a:pt x="141" y="130"/>
                        <a:pt x="141" y="130"/>
                      </a:cubicBezTo>
                      <a:cubicBezTo>
                        <a:pt x="141" y="129"/>
                        <a:pt x="141" y="129"/>
                        <a:pt x="141" y="129"/>
                      </a:cubicBezTo>
                      <a:cubicBezTo>
                        <a:pt x="141" y="128"/>
                        <a:pt x="141" y="128"/>
                        <a:pt x="141" y="128"/>
                      </a:cubicBezTo>
                      <a:cubicBezTo>
                        <a:pt x="141" y="127"/>
                        <a:pt x="141" y="127"/>
                        <a:pt x="141" y="127"/>
                      </a:cubicBezTo>
                      <a:cubicBezTo>
                        <a:pt x="141" y="126"/>
                        <a:pt x="141" y="126"/>
                        <a:pt x="141" y="126"/>
                      </a:cubicBezTo>
                      <a:cubicBezTo>
                        <a:pt x="141" y="125"/>
                        <a:pt x="141" y="125"/>
                        <a:pt x="141" y="125"/>
                      </a:cubicBezTo>
                      <a:cubicBezTo>
                        <a:pt x="141" y="125"/>
                        <a:pt x="141" y="125"/>
                        <a:pt x="141" y="125"/>
                      </a:cubicBezTo>
                      <a:cubicBezTo>
                        <a:pt x="141" y="124"/>
                        <a:pt x="141" y="124"/>
                        <a:pt x="141" y="124"/>
                      </a:cubicBezTo>
                      <a:cubicBezTo>
                        <a:pt x="140" y="123"/>
                        <a:pt x="140" y="123"/>
                        <a:pt x="140" y="123"/>
                      </a:cubicBezTo>
                      <a:cubicBezTo>
                        <a:pt x="141" y="121"/>
                        <a:pt x="141" y="121"/>
                        <a:pt x="141" y="121"/>
                      </a:cubicBezTo>
                      <a:cubicBezTo>
                        <a:pt x="141" y="121"/>
                        <a:pt x="141" y="121"/>
                        <a:pt x="141" y="121"/>
                      </a:cubicBezTo>
                      <a:cubicBezTo>
                        <a:pt x="140" y="120"/>
                        <a:pt x="140" y="120"/>
                        <a:pt x="140" y="120"/>
                      </a:cubicBezTo>
                      <a:cubicBezTo>
                        <a:pt x="140" y="119"/>
                        <a:pt x="140" y="119"/>
                        <a:pt x="140" y="119"/>
                      </a:cubicBezTo>
                      <a:cubicBezTo>
                        <a:pt x="140" y="117"/>
                        <a:pt x="140" y="117"/>
                        <a:pt x="140" y="117"/>
                      </a:cubicBezTo>
                      <a:cubicBezTo>
                        <a:pt x="141" y="117"/>
                        <a:pt x="141" y="117"/>
                        <a:pt x="141" y="117"/>
                      </a:cubicBezTo>
                      <a:cubicBezTo>
                        <a:pt x="142" y="117"/>
                        <a:pt x="142" y="117"/>
                        <a:pt x="142" y="117"/>
                      </a:cubicBezTo>
                      <a:cubicBezTo>
                        <a:pt x="141" y="117"/>
                        <a:pt x="141" y="117"/>
                        <a:pt x="141" y="117"/>
                      </a:cubicBezTo>
                      <a:cubicBezTo>
                        <a:pt x="142" y="118"/>
                        <a:pt x="142" y="118"/>
                        <a:pt x="142" y="118"/>
                      </a:cubicBezTo>
                      <a:cubicBezTo>
                        <a:pt x="143" y="117"/>
                        <a:pt x="143" y="117"/>
                        <a:pt x="143" y="117"/>
                      </a:cubicBezTo>
                      <a:cubicBezTo>
                        <a:pt x="144" y="117"/>
                        <a:pt x="144" y="117"/>
                        <a:pt x="144" y="117"/>
                      </a:cubicBezTo>
                      <a:cubicBezTo>
                        <a:pt x="145" y="117"/>
                        <a:pt x="145" y="117"/>
                        <a:pt x="145" y="117"/>
                      </a:cubicBezTo>
                      <a:cubicBezTo>
                        <a:pt x="146" y="117"/>
                        <a:pt x="146" y="117"/>
                        <a:pt x="146" y="117"/>
                      </a:cubicBezTo>
                      <a:cubicBezTo>
                        <a:pt x="147" y="117"/>
                        <a:pt x="147" y="117"/>
                        <a:pt x="147" y="117"/>
                      </a:cubicBezTo>
                      <a:cubicBezTo>
                        <a:pt x="148" y="117"/>
                        <a:pt x="148" y="117"/>
                        <a:pt x="148" y="117"/>
                      </a:cubicBezTo>
                      <a:cubicBezTo>
                        <a:pt x="149" y="117"/>
                        <a:pt x="149" y="117"/>
                        <a:pt x="149" y="117"/>
                      </a:cubicBezTo>
                      <a:cubicBezTo>
                        <a:pt x="152" y="118"/>
                        <a:pt x="152" y="118"/>
                        <a:pt x="152" y="118"/>
                      </a:cubicBezTo>
                      <a:cubicBezTo>
                        <a:pt x="153" y="118"/>
                        <a:pt x="153" y="118"/>
                        <a:pt x="153" y="118"/>
                      </a:cubicBezTo>
                      <a:cubicBezTo>
                        <a:pt x="154" y="118"/>
                        <a:pt x="154" y="118"/>
                        <a:pt x="154" y="118"/>
                      </a:cubicBezTo>
                      <a:cubicBezTo>
                        <a:pt x="154" y="119"/>
                        <a:pt x="154" y="119"/>
                        <a:pt x="154" y="119"/>
                      </a:cubicBezTo>
                      <a:cubicBezTo>
                        <a:pt x="153" y="119"/>
                        <a:pt x="153" y="119"/>
                        <a:pt x="153" y="119"/>
                      </a:cubicBezTo>
                      <a:cubicBezTo>
                        <a:pt x="154" y="120"/>
                        <a:pt x="154" y="120"/>
                        <a:pt x="154" y="120"/>
                      </a:cubicBezTo>
                      <a:cubicBezTo>
                        <a:pt x="154" y="121"/>
                        <a:pt x="154" y="121"/>
                        <a:pt x="154" y="121"/>
                      </a:cubicBezTo>
                      <a:cubicBezTo>
                        <a:pt x="155" y="122"/>
                        <a:pt x="155" y="122"/>
                        <a:pt x="155" y="122"/>
                      </a:cubicBezTo>
                      <a:cubicBezTo>
                        <a:pt x="155" y="123"/>
                        <a:pt x="155" y="123"/>
                        <a:pt x="155" y="123"/>
                      </a:cubicBezTo>
                      <a:cubicBezTo>
                        <a:pt x="155" y="124"/>
                        <a:pt x="155" y="124"/>
                        <a:pt x="155" y="124"/>
                      </a:cubicBezTo>
                      <a:cubicBezTo>
                        <a:pt x="155" y="127"/>
                        <a:pt x="155" y="127"/>
                        <a:pt x="155" y="127"/>
                      </a:cubicBezTo>
                      <a:cubicBezTo>
                        <a:pt x="155" y="128"/>
                        <a:pt x="155" y="128"/>
                        <a:pt x="155" y="128"/>
                      </a:cubicBezTo>
                      <a:cubicBezTo>
                        <a:pt x="155" y="128"/>
                        <a:pt x="155" y="128"/>
                        <a:pt x="155" y="128"/>
                      </a:cubicBezTo>
                      <a:cubicBezTo>
                        <a:pt x="155" y="129"/>
                        <a:pt x="155" y="129"/>
                        <a:pt x="155" y="129"/>
                      </a:cubicBezTo>
                      <a:cubicBezTo>
                        <a:pt x="155" y="130"/>
                        <a:pt x="155" y="130"/>
                        <a:pt x="155" y="130"/>
                      </a:cubicBezTo>
                      <a:cubicBezTo>
                        <a:pt x="155" y="130"/>
                        <a:pt x="155" y="130"/>
                        <a:pt x="155" y="130"/>
                      </a:cubicBezTo>
                      <a:cubicBezTo>
                        <a:pt x="155" y="131"/>
                        <a:pt x="155" y="131"/>
                        <a:pt x="155" y="131"/>
                      </a:cubicBezTo>
                      <a:cubicBezTo>
                        <a:pt x="156" y="132"/>
                        <a:pt x="156" y="132"/>
                        <a:pt x="156" y="132"/>
                      </a:cubicBezTo>
                      <a:cubicBezTo>
                        <a:pt x="157" y="133"/>
                        <a:pt x="157" y="133"/>
                        <a:pt x="157" y="133"/>
                      </a:cubicBezTo>
                      <a:cubicBezTo>
                        <a:pt x="158" y="133"/>
                        <a:pt x="158" y="133"/>
                        <a:pt x="158" y="133"/>
                      </a:cubicBezTo>
                      <a:cubicBezTo>
                        <a:pt x="158" y="133"/>
                        <a:pt x="158" y="133"/>
                        <a:pt x="158" y="133"/>
                      </a:cubicBezTo>
                      <a:cubicBezTo>
                        <a:pt x="159" y="133"/>
                        <a:pt x="159" y="133"/>
                        <a:pt x="159" y="133"/>
                      </a:cubicBezTo>
                      <a:cubicBezTo>
                        <a:pt x="159" y="134"/>
                        <a:pt x="159" y="134"/>
                        <a:pt x="159" y="134"/>
                      </a:cubicBezTo>
                      <a:cubicBezTo>
                        <a:pt x="159" y="135"/>
                        <a:pt x="159" y="135"/>
                        <a:pt x="159" y="135"/>
                      </a:cubicBezTo>
                      <a:cubicBezTo>
                        <a:pt x="161" y="136"/>
                        <a:pt x="161" y="136"/>
                        <a:pt x="161" y="136"/>
                      </a:cubicBezTo>
                      <a:cubicBezTo>
                        <a:pt x="161" y="137"/>
                        <a:pt x="161" y="137"/>
                        <a:pt x="161" y="137"/>
                      </a:cubicBezTo>
                      <a:cubicBezTo>
                        <a:pt x="162" y="139"/>
                        <a:pt x="162" y="139"/>
                        <a:pt x="162" y="139"/>
                      </a:cubicBezTo>
                      <a:cubicBezTo>
                        <a:pt x="162" y="140"/>
                        <a:pt x="162" y="140"/>
                        <a:pt x="162" y="140"/>
                      </a:cubicBezTo>
                      <a:cubicBezTo>
                        <a:pt x="162" y="141"/>
                        <a:pt x="162" y="141"/>
                        <a:pt x="162" y="141"/>
                      </a:cubicBezTo>
                      <a:cubicBezTo>
                        <a:pt x="162" y="141"/>
                        <a:pt x="162" y="141"/>
                        <a:pt x="162" y="141"/>
                      </a:cubicBezTo>
                      <a:cubicBezTo>
                        <a:pt x="163" y="142"/>
                        <a:pt x="163" y="142"/>
                        <a:pt x="163" y="142"/>
                      </a:cubicBezTo>
                      <a:cubicBezTo>
                        <a:pt x="163" y="144"/>
                        <a:pt x="163" y="144"/>
                        <a:pt x="163" y="144"/>
                      </a:cubicBezTo>
                      <a:cubicBezTo>
                        <a:pt x="165" y="146"/>
                        <a:pt x="165" y="146"/>
                        <a:pt x="165" y="146"/>
                      </a:cubicBezTo>
                      <a:cubicBezTo>
                        <a:pt x="164" y="147"/>
                        <a:pt x="164" y="147"/>
                        <a:pt x="164" y="147"/>
                      </a:cubicBezTo>
                      <a:cubicBezTo>
                        <a:pt x="165" y="148"/>
                        <a:pt x="165" y="148"/>
                        <a:pt x="165" y="148"/>
                      </a:cubicBezTo>
                      <a:cubicBezTo>
                        <a:pt x="166" y="148"/>
                        <a:pt x="166" y="148"/>
                        <a:pt x="166" y="148"/>
                      </a:cubicBezTo>
                      <a:cubicBezTo>
                        <a:pt x="165" y="149"/>
                        <a:pt x="165" y="149"/>
                        <a:pt x="165" y="149"/>
                      </a:cubicBezTo>
                      <a:cubicBezTo>
                        <a:pt x="166" y="149"/>
                        <a:pt x="166" y="149"/>
                        <a:pt x="166" y="149"/>
                      </a:cubicBezTo>
                      <a:cubicBezTo>
                        <a:pt x="166" y="151"/>
                        <a:pt x="166" y="151"/>
                        <a:pt x="166" y="151"/>
                      </a:cubicBezTo>
                      <a:cubicBezTo>
                        <a:pt x="168" y="154"/>
                        <a:pt x="168" y="154"/>
                        <a:pt x="168" y="154"/>
                      </a:cubicBezTo>
                      <a:cubicBezTo>
                        <a:pt x="170" y="154"/>
                        <a:pt x="170" y="154"/>
                        <a:pt x="170" y="154"/>
                      </a:cubicBezTo>
                      <a:cubicBezTo>
                        <a:pt x="170" y="155"/>
                        <a:pt x="170" y="155"/>
                        <a:pt x="170" y="155"/>
                      </a:cubicBezTo>
                      <a:cubicBezTo>
                        <a:pt x="171" y="155"/>
                        <a:pt x="171" y="155"/>
                        <a:pt x="171" y="155"/>
                      </a:cubicBezTo>
                      <a:cubicBezTo>
                        <a:pt x="172" y="156"/>
                        <a:pt x="172" y="156"/>
                        <a:pt x="172" y="156"/>
                      </a:cubicBezTo>
                      <a:cubicBezTo>
                        <a:pt x="172" y="157"/>
                        <a:pt x="172" y="157"/>
                        <a:pt x="172" y="157"/>
                      </a:cubicBezTo>
                      <a:cubicBezTo>
                        <a:pt x="172" y="157"/>
                        <a:pt x="172" y="157"/>
                        <a:pt x="172" y="157"/>
                      </a:cubicBezTo>
                      <a:cubicBezTo>
                        <a:pt x="172" y="158"/>
                        <a:pt x="172" y="158"/>
                        <a:pt x="172" y="158"/>
                      </a:cubicBezTo>
                      <a:cubicBezTo>
                        <a:pt x="172" y="159"/>
                        <a:pt x="172" y="159"/>
                        <a:pt x="172" y="159"/>
                      </a:cubicBezTo>
                      <a:cubicBezTo>
                        <a:pt x="172" y="160"/>
                        <a:pt x="172" y="160"/>
                        <a:pt x="172" y="160"/>
                      </a:cubicBezTo>
                      <a:cubicBezTo>
                        <a:pt x="173" y="161"/>
                        <a:pt x="173" y="161"/>
                        <a:pt x="173" y="161"/>
                      </a:cubicBezTo>
                      <a:cubicBezTo>
                        <a:pt x="173" y="163"/>
                        <a:pt x="173" y="163"/>
                        <a:pt x="173" y="163"/>
                      </a:cubicBezTo>
                      <a:cubicBezTo>
                        <a:pt x="173" y="163"/>
                        <a:pt x="173" y="163"/>
                        <a:pt x="173" y="163"/>
                      </a:cubicBezTo>
                      <a:cubicBezTo>
                        <a:pt x="173" y="164"/>
                        <a:pt x="173" y="164"/>
                        <a:pt x="173" y="164"/>
                      </a:cubicBezTo>
                      <a:cubicBezTo>
                        <a:pt x="172" y="165"/>
                        <a:pt x="172" y="165"/>
                        <a:pt x="172" y="165"/>
                      </a:cubicBezTo>
                      <a:cubicBezTo>
                        <a:pt x="172" y="165"/>
                        <a:pt x="172" y="165"/>
                        <a:pt x="172" y="165"/>
                      </a:cubicBezTo>
                      <a:cubicBezTo>
                        <a:pt x="172" y="167"/>
                        <a:pt x="172" y="167"/>
                        <a:pt x="172" y="167"/>
                      </a:cubicBezTo>
                      <a:cubicBezTo>
                        <a:pt x="171" y="167"/>
                        <a:pt x="171" y="167"/>
                        <a:pt x="171" y="167"/>
                      </a:cubicBezTo>
                      <a:cubicBezTo>
                        <a:pt x="172" y="168"/>
                        <a:pt x="172" y="168"/>
                        <a:pt x="172" y="168"/>
                      </a:cubicBezTo>
                      <a:cubicBezTo>
                        <a:pt x="172" y="168"/>
                        <a:pt x="172" y="168"/>
                        <a:pt x="172" y="168"/>
                      </a:cubicBezTo>
                      <a:cubicBezTo>
                        <a:pt x="172" y="168"/>
                        <a:pt x="172" y="168"/>
                        <a:pt x="172" y="168"/>
                      </a:cubicBezTo>
                      <a:cubicBezTo>
                        <a:pt x="171" y="169"/>
                        <a:pt x="171" y="169"/>
                        <a:pt x="171" y="169"/>
                      </a:cubicBezTo>
                      <a:cubicBezTo>
                        <a:pt x="171" y="170"/>
                        <a:pt x="171" y="170"/>
                        <a:pt x="171" y="170"/>
                      </a:cubicBezTo>
                      <a:cubicBezTo>
                        <a:pt x="171" y="171"/>
                        <a:pt x="171" y="171"/>
                        <a:pt x="171" y="171"/>
                      </a:cubicBezTo>
                      <a:cubicBezTo>
                        <a:pt x="170" y="171"/>
                        <a:pt x="170" y="171"/>
                        <a:pt x="170" y="171"/>
                      </a:cubicBezTo>
                      <a:cubicBezTo>
                        <a:pt x="170" y="171"/>
                        <a:pt x="170" y="171"/>
                        <a:pt x="170" y="171"/>
                      </a:cubicBezTo>
                      <a:cubicBezTo>
                        <a:pt x="171" y="172"/>
                        <a:pt x="171" y="172"/>
                        <a:pt x="171" y="172"/>
                      </a:cubicBezTo>
                      <a:cubicBezTo>
                        <a:pt x="171" y="173"/>
                        <a:pt x="171" y="173"/>
                        <a:pt x="171" y="173"/>
                      </a:cubicBezTo>
                      <a:cubicBezTo>
                        <a:pt x="170" y="173"/>
                        <a:pt x="170" y="173"/>
                        <a:pt x="170" y="173"/>
                      </a:cubicBezTo>
                      <a:cubicBezTo>
                        <a:pt x="169" y="174"/>
                        <a:pt x="169" y="174"/>
                        <a:pt x="169" y="174"/>
                      </a:cubicBezTo>
                      <a:cubicBezTo>
                        <a:pt x="167" y="174"/>
                        <a:pt x="167" y="174"/>
                        <a:pt x="167" y="174"/>
                      </a:cubicBezTo>
                      <a:cubicBezTo>
                        <a:pt x="166" y="173"/>
                        <a:pt x="166" y="173"/>
                        <a:pt x="166" y="173"/>
                      </a:cubicBezTo>
                      <a:cubicBezTo>
                        <a:pt x="168" y="173"/>
                        <a:pt x="168" y="173"/>
                        <a:pt x="168" y="173"/>
                      </a:cubicBezTo>
                      <a:cubicBezTo>
                        <a:pt x="168" y="172"/>
                        <a:pt x="168" y="172"/>
                        <a:pt x="168" y="172"/>
                      </a:cubicBezTo>
                      <a:cubicBezTo>
                        <a:pt x="167" y="172"/>
                        <a:pt x="167" y="172"/>
                        <a:pt x="167" y="172"/>
                      </a:cubicBezTo>
                      <a:cubicBezTo>
                        <a:pt x="167" y="173"/>
                        <a:pt x="167" y="173"/>
                        <a:pt x="167" y="173"/>
                      </a:cubicBezTo>
                      <a:cubicBezTo>
                        <a:pt x="166" y="173"/>
                        <a:pt x="166" y="173"/>
                        <a:pt x="166" y="173"/>
                      </a:cubicBezTo>
                      <a:cubicBezTo>
                        <a:pt x="164" y="172"/>
                        <a:pt x="164" y="172"/>
                        <a:pt x="164" y="172"/>
                      </a:cubicBezTo>
                      <a:cubicBezTo>
                        <a:pt x="163" y="172"/>
                        <a:pt x="163" y="172"/>
                        <a:pt x="163" y="172"/>
                      </a:cubicBezTo>
                      <a:cubicBezTo>
                        <a:pt x="160" y="172"/>
                        <a:pt x="160" y="172"/>
                        <a:pt x="160" y="172"/>
                      </a:cubicBezTo>
                      <a:cubicBezTo>
                        <a:pt x="159" y="173"/>
                        <a:pt x="159" y="173"/>
                        <a:pt x="159" y="173"/>
                      </a:cubicBezTo>
                      <a:cubicBezTo>
                        <a:pt x="158" y="174"/>
                        <a:pt x="158" y="174"/>
                        <a:pt x="158" y="174"/>
                      </a:cubicBezTo>
                      <a:cubicBezTo>
                        <a:pt x="159" y="174"/>
                        <a:pt x="159" y="174"/>
                        <a:pt x="159" y="174"/>
                      </a:cubicBezTo>
                      <a:cubicBezTo>
                        <a:pt x="159" y="174"/>
                        <a:pt x="159" y="174"/>
                        <a:pt x="159" y="174"/>
                      </a:cubicBezTo>
                      <a:cubicBezTo>
                        <a:pt x="160" y="173"/>
                        <a:pt x="160" y="173"/>
                        <a:pt x="160" y="173"/>
                      </a:cubicBezTo>
                      <a:cubicBezTo>
                        <a:pt x="161" y="173"/>
                        <a:pt x="161" y="173"/>
                        <a:pt x="161" y="173"/>
                      </a:cubicBezTo>
                      <a:cubicBezTo>
                        <a:pt x="162" y="174"/>
                        <a:pt x="162" y="174"/>
                        <a:pt x="162" y="174"/>
                      </a:cubicBezTo>
                      <a:cubicBezTo>
                        <a:pt x="163" y="175"/>
                        <a:pt x="163" y="175"/>
                        <a:pt x="163" y="175"/>
                      </a:cubicBezTo>
                      <a:cubicBezTo>
                        <a:pt x="167" y="175"/>
                        <a:pt x="167" y="175"/>
                        <a:pt x="167" y="175"/>
                      </a:cubicBezTo>
                      <a:cubicBezTo>
                        <a:pt x="168" y="176"/>
                        <a:pt x="168" y="176"/>
                        <a:pt x="168" y="176"/>
                      </a:cubicBezTo>
                      <a:cubicBezTo>
                        <a:pt x="170" y="176"/>
                        <a:pt x="170" y="176"/>
                        <a:pt x="170" y="176"/>
                      </a:cubicBezTo>
                      <a:cubicBezTo>
                        <a:pt x="172" y="176"/>
                        <a:pt x="172" y="176"/>
                        <a:pt x="172" y="176"/>
                      </a:cubicBezTo>
                      <a:cubicBezTo>
                        <a:pt x="172" y="176"/>
                        <a:pt x="172" y="176"/>
                        <a:pt x="172" y="176"/>
                      </a:cubicBezTo>
                      <a:cubicBezTo>
                        <a:pt x="174" y="176"/>
                        <a:pt x="174" y="176"/>
                        <a:pt x="174" y="176"/>
                      </a:cubicBezTo>
                      <a:cubicBezTo>
                        <a:pt x="175" y="176"/>
                        <a:pt x="175" y="176"/>
                        <a:pt x="175" y="176"/>
                      </a:cubicBezTo>
                      <a:cubicBezTo>
                        <a:pt x="175" y="175"/>
                        <a:pt x="175" y="175"/>
                        <a:pt x="175" y="175"/>
                      </a:cubicBezTo>
                      <a:cubicBezTo>
                        <a:pt x="175" y="174"/>
                        <a:pt x="175" y="174"/>
                        <a:pt x="175" y="174"/>
                      </a:cubicBezTo>
                      <a:cubicBezTo>
                        <a:pt x="175" y="173"/>
                        <a:pt x="175" y="173"/>
                        <a:pt x="175" y="173"/>
                      </a:cubicBezTo>
                      <a:cubicBezTo>
                        <a:pt x="175" y="172"/>
                        <a:pt x="175" y="172"/>
                        <a:pt x="175" y="172"/>
                      </a:cubicBezTo>
                      <a:cubicBezTo>
                        <a:pt x="176" y="172"/>
                        <a:pt x="176" y="172"/>
                        <a:pt x="176" y="172"/>
                      </a:cubicBezTo>
                      <a:cubicBezTo>
                        <a:pt x="176" y="171"/>
                        <a:pt x="176" y="171"/>
                        <a:pt x="176" y="171"/>
                      </a:cubicBezTo>
                      <a:cubicBezTo>
                        <a:pt x="177" y="170"/>
                        <a:pt x="177" y="170"/>
                        <a:pt x="177" y="170"/>
                      </a:cubicBezTo>
                      <a:cubicBezTo>
                        <a:pt x="178" y="169"/>
                        <a:pt x="178" y="169"/>
                        <a:pt x="178" y="169"/>
                      </a:cubicBezTo>
                      <a:cubicBezTo>
                        <a:pt x="178" y="167"/>
                        <a:pt x="178" y="167"/>
                        <a:pt x="178" y="167"/>
                      </a:cubicBezTo>
                      <a:cubicBezTo>
                        <a:pt x="178" y="166"/>
                        <a:pt x="178" y="166"/>
                        <a:pt x="178" y="166"/>
                      </a:cubicBezTo>
                      <a:cubicBezTo>
                        <a:pt x="178" y="165"/>
                        <a:pt x="178" y="165"/>
                        <a:pt x="178" y="165"/>
                      </a:cubicBezTo>
                      <a:cubicBezTo>
                        <a:pt x="179" y="162"/>
                        <a:pt x="179" y="162"/>
                        <a:pt x="179" y="162"/>
                      </a:cubicBezTo>
                      <a:cubicBezTo>
                        <a:pt x="179" y="161"/>
                        <a:pt x="179" y="161"/>
                        <a:pt x="179" y="161"/>
                      </a:cubicBezTo>
                      <a:cubicBezTo>
                        <a:pt x="178" y="158"/>
                        <a:pt x="178" y="158"/>
                        <a:pt x="178" y="158"/>
                      </a:cubicBezTo>
                      <a:cubicBezTo>
                        <a:pt x="176" y="157"/>
                        <a:pt x="176" y="157"/>
                        <a:pt x="176" y="157"/>
                      </a:cubicBezTo>
                      <a:cubicBezTo>
                        <a:pt x="175" y="156"/>
                        <a:pt x="175" y="156"/>
                        <a:pt x="175" y="156"/>
                      </a:cubicBezTo>
                      <a:cubicBezTo>
                        <a:pt x="175" y="154"/>
                        <a:pt x="175" y="154"/>
                        <a:pt x="175" y="154"/>
                      </a:cubicBezTo>
                      <a:cubicBezTo>
                        <a:pt x="177" y="153"/>
                        <a:pt x="177" y="153"/>
                        <a:pt x="177" y="153"/>
                      </a:cubicBezTo>
                      <a:cubicBezTo>
                        <a:pt x="178" y="152"/>
                        <a:pt x="178" y="152"/>
                        <a:pt x="178" y="152"/>
                      </a:cubicBezTo>
                      <a:cubicBezTo>
                        <a:pt x="179" y="152"/>
                        <a:pt x="179" y="152"/>
                        <a:pt x="179" y="152"/>
                      </a:cubicBezTo>
                      <a:cubicBezTo>
                        <a:pt x="181" y="150"/>
                        <a:pt x="181" y="150"/>
                        <a:pt x="181" y="150"/>
                      </a:cubicBezTo>
                      <a:cubicBezTo>
                        <a:pt x="182" y="150"/>
                        <a:pt x="182" y="150"/>
                        <a:pt x="182" y="150"/>
                      </a:cubicBezTo>
                      <a:cubicBezTo>
                        <a:pt x="184" y="151"/>
                        <a:pt x="184" y="151"/>
                        <a:pt x="184" y="151"/>
                      </a:cubicBezTo>
                      <a:cubicBezTo>
                        <a:pt x="184" y="153"/>
                        <a:pt x="184" y="153"/>
                        <a:pt x="184" y="153"/>
                      </a:cubicBezTo>
                      <a:cubicBezTo>
                        <a:pt x="185" y="153"/>
                        <a:pt x="185" y="153"/>
                        <a:pt x="185" y="153"/>
                      </a:cubicBezTo>
                      <a:cubicBezTo>
                        <a:pt x="186" y="154"/>
                        <a:pt x="186" y="154"/>
                        <a:pt x="186" y="154"/>
                      </a:cubicBezTo>
                      <a:cubicBezTo>
                        <a:pt x="186" y="154"/>
                        <a:pt x="186" y="154"/>
                        <a:pt x="186" y="154"/>
                      </a:cubicBezTo>
                      <a:cubicBezTo>
                        <a:pt x="187" y="155"/>
                        <a:pt x="187" y="155"/>
                        <a:pt x="187" y="155"/>
                      </a:cubicBezTo>
                      <a:cubicBezTo>
                        <a:pt x="187" y="156"/>
                        <a:pt x="187" y="156"/>
                        <a:pt x="187" y="156"/>
                      </a:cubicBezTo>
                      <a:cubicBezTo>
                        <a:pt x="188" y="157"/>
                        <a:pt x="188" y="157"/>
                        <a:pt x="188" y="157"/>
                      </a:cubicBezTo>
                      <a:cubicBezTo>
                        <a:pt x="188" y="158"/>
                        <a:pt x="188" y="158"/>
                        <a:pt x="188" y="158"/>
                      </a:cubicBezTo>
                      <a:cubicBezTo>
                        <a:pt x="189" y="159"/>
                        <a:pt x="189" y="159"/>
                        <a:pt x="189" y="159"/>
                      </a:cubicBezTo>
                      <a:cubicBezTo>
                        <a:pt x="189" y="160"/>
                        <a:pt x="189" y="160"/>
                        <a:pt x="189" y="160"/>
                      </a:cubicBezTo>
                      <a:cubicBezTo>
                        <a:pt x="189" y="160"/>
                        <a:pt x="189" y="160"/>
                        <a:pt x="189" y="160"/>
                      </a:cubicBezTo>
                      <a:cubicBezTo>
                        <a:pt x="189" y="161"/>
                        <a:pt x="189" y="161"/>
                        <a:pt x="189" y="161"/>
                      </a:cubicBezTo>
                      <a:cubicBezTo>
                        <a:pt x="191" y="161"/>
                        <a:pt x="191" y="161"/>
                        <a:pt x="191" y="161"/>
                      </a:cubicBezTo>
                      <a:cubicBezTo>
                        <a:pt x="192" y="162"/>
                        <a:pt x="192" y="162"/>
                        <a:pt x="192" y="162"/>
                      </a:cubicBezTo>
                      <a:cubicBezTo>
                        <a:pt x="193" y="162"/>
                        <a:pt x="193" y="162"/>
                        <a:pt x="193" y="162"/>
                      </a:cubicBezTo>
                      <a:cubicBezTo>
                        <a:pt x="194" y="162"/>
                        <a:pt x="194" y="162"/>
                        <a:pt x="194" y="162"/>
                      </a:cubicBezTo>
                      <a:cubicBezTo>
                        <a:pt x="195" y="161"/>
                        <a:pt x="195" y="161"/>
                        <a:pt x="195" y="161"/>
                      </a:cubicBezTo>
                      <a:cubicBezTo>
                        <a:pt x="196" y="161"/>
                        <a:pt x="196" y="161"/>
                        <a:pt x="196" y="161"/>
                      </a:cubicBezTo>
                      <a:cubicBezTo>
                        <a:pt x="196" y="161"/>
                        <a:pt x="196" y="161"/>
                        <a:pt x="196" y="161"/>
                      </a:cubicBezTo>
                      <a:cubicBezTo>
                        <a:pt x="196" y="160"/>
                        <a:pt x="196" y="160"/>
                        <a:pt x="196" y="160"/>
                      </a:cubicBezTo>
                      <a:cubicBezTo>
                        <a:pt x="195" y="161"/>
                        <a:pt x="195" y="161"/>
                        <a:pt x="195" y="161"/>
                      </a:cubicBezTo>
                      <a:cubicBezTo>
                        <a:pt x="194" y="160"/>
                        <a:pt x="194" y="160"/>
                        <a:pt x="194" y="160"/>
                      </a:cubicBezTo>
                      <a:cubicBezTo>
                        <a:pt x="194" y="161"/>
                        <a:pt x="194" y="161"/>
                        <a:pt x="194" y="161"/>
                      </a:cubicBezTo>
                      <a:cubicBezTo>
                        <a:pt x="192" y="161"/>
                        <a:pt x="192" y="161"/>
                        <a:pt x="192" y="161"/>
                      </a:cubicBezTo>
                      <a:cubicBezTo>
                        <a:pt x="192" y="160"/>
                        <a:pt x="192" y="160"/>
                        <a:pt x="192" y="160"/>
                      </a:cubicBezTo>
                      <a:cubicBezTo>
                        <a:pt x="191" y="160"/>
                        <a:pt x="191" y="160"/>
                        <a:pt x="191" y="160"/>
                      </a:cubicBezTo>
                      <a:cubicBezTo>
                        <a:pt x="190" y="160"/>
                        <a:pt x="190" y="160"/>
                        <a:pt x="190" y="160"/>
                      </a:cubicBezTo>
                      <a:cubicBezTo>
                        <a:pt x="190" y="159"/>
                        <a:pt x="190" y="159"/>
                        <a:pt x="190" y="159"/>
                      </a:cubicBezTo>
                      <a:cubicBezTo>
                        <a:pt x="190" y="159"/>
                        <a:pt x="190" y="159"/>
                        <a:pt x="190" y="159"/>
                      </a:cubicBezTo>
                      <a:cubicBezTo>
                        <a:pt x="189" y="157"/>
                        <a:pt x="189" y="157"/>
                        <a:pt x="189" y="157"/>
                      </a:cubicBezTo>
                      <a:cubicBezTo>
                        <a:pt x="189" y="156"/>
                        <a:pt x="189" y="156"/>
                        <a:pt x="189" y="156"/>
                      </a:cubicBezTo>
                      <a:cubicBezTo>
                        <a:pt x="190" y="156"/>
                        <a:pt x="190" y="156"/>
                        <a:pt x="190" y="156"/>
                      </a:cubicBezTo>
                      <a:cubicBezTo>
                        <a:pt x="191" y="155"/>
                        <a:pt x="191" y="155"/>
                        <a:pt x="191" y="155"/>
                      </a:cubicBezTo>
                      <a:cubicBezTo>
                        <a:pt x="190" y="155"/>
                        <a:pt x="190" y="155"/>
                        <a:pt x="190" y="155"/>
                      </a:cubicBezTo>
                      <a:cubicBezTo>
                        <a:pt x="190" y="154"/>
                        <a:pt x="190" y="154"/>
                        <a:pt x="190" y="154"/>
                      </a:cubicBezTo>
                      <a:cubicBezTo>
                        <a:pt x="190" y="154"/>
                        <a:pt x="190" y="154"/>
                        <a:pt x="190" y="154"/>
                      </a:cubicBezTo>
                      <a:cubicBezTo>
                        <a:pt x="189" y="153"/>
                        <a:pt x="189" y="153"/>
                        <a:pt x="189" y="153"/>
                      </a:cubicBezTo>
                      <a:cubicBezTo>
                        <a:pt x="188" y="152"/>
                        <a:pt x="188" y="152"/>
                        <a:pt x="188" y="152"/>
                      </a:cubicBezTo>
                      <a:cubicBezTo>
                        <a:pt x="188" y="152"/>
                        <a:pt x="188" y="152"/>
                        <a:pt x="188" y="152"/>
                      </a:cubicBezTo>
                      <a:cubicBezTo>
                        <a:pt x="187" y="150"/>
                        <a:pt x="187" y="150"/>
                        <a:pt x="187" y="150"/>
                      </a:cubicBezTo>
                      <a:cubicBezTo>
                        <a:pt x="185" y="150"/>
                        <a:pt x="185" y="150"/>
                        <a:pt x="185" y="150"/>
                      </a:cubicBezTo>
                      <a:cubicBezTo>
                        <a:pt x="183" y="149"/>
                        <a:pt x="183" y="149"/>
                        <a:pt x="183" y="149"/>
                      </a:cubicBezTo>
                      <a:cubicBezTo>
                        <a:pt x="182" y="148"/>
                        <a:pt x="182" y="148"/>
                        <a:pt x="182" y="148"/>
                      </a:cubicBezTo>
                      <a:cubicBezTo>
                        <a:pt x="181" y="149"/>
                        <a:pt x="181" y="149"/>
                        <a:pt x="181" y="149"/>
                      </a:cubicBezTo>
                      <a:cubicBezTo>
                        <a:pt x="179" y="148"/>
                        <a:pt x="179" y="148"/>
                        <a:pt x="179" y="148"/>
                      </a:cubicBezTo>
                      <a:cubicBezTo>
                        <a:pt x="179" y="148"/>
                        <a:pt x="179" y="148"/>
                        <a:pt x="179" y="148"/>
                      </a:cubicBezTo>
                      <a:cubicBezTo>
                        <a:pt x="177" y="148"/>
                        <a:pt x="177" y="148"/>
                        <a:pt x="177" y="148"/>
                      </a:cubicBezTo>
                      <a:cubicBezTo>
                        <a:pt x="176" y="149"/>
                        <a:pt x="176" y="149"/>
                        <a:pt x="176" y="149"/>
                      </a:cubicBezTo>
                      <a:cubicBezTo>
                        <a:pt x="176" y="150"/>
                        <a:pt x="176" y="150"/>
                        <a:pt x="176" y="150"/>
                      </a:cubicBezTo>
                      <a:cubicBezTo>
                        <a:pt x="175" y="151"/>
                        <a:pt x="175" y="151"/>
                        <a:pt x="175" y="151"/>
                      </a:cubicBezTo>
                      <a:cubicBezTo>
                        <a:pt x="174" y="150"/>
                        <a:pt x="174" y="150"/>
                        <a:pt x="174" y="150"/>
                      </a:cubicBezTo>
                      <a:cubicBezTo>
                        <a:pt x="172" y="151"/>
                        <a:pt x="172" y="151"/>
                        <a:pt x="172" y="151"/>
                      </a:cubicBezTo>
                      <a:cubicBezTo>
                        <a:pt x="171" y="151"/>
                        <a:pt x="171" y="151"/>
                        <a:pt x="171" y="151"/>
                      </a:cubicBezTo>
                      <a:cubicBezTo>
                        <a:pt x="170" y="150"/>
                        <a:pt x="170" y="150"/>
                        <a:pt x="170" y="150"/>
                      </a:cubicBezTo>
                      <a:cubicBezTo>
                        <a:pt x="171" y="149"/>
                        <a:pt x="171" y="149"/>
                        <a:pt x="171" y="149"/>
                      </a:cubicBezTo>
                      <a:cubicBezTo>
                        <a:pt x="170" y="148"/>
                        <a:pt x="170" y="148"/>
                        <a:pt x="170" y="148"/>
                      </a:cubicBezTo>
                      <a:cubicBezTo>
                        <a:pt x="169" y="146"/>
                        <a:pt x="169" y="146"/>
                        <a:pt x="169" y="146"/>
                      </a:cubicBezTo>
                      <a:cubicBezTo>
                        <a:pt x="168" y="145"/>
                        <a:pt x="168" y="145"/>
                        <a:pt x="168" y="145"/>
                      </a:cubicBezTo>
                      <a:cubicBezTo>
                        <a:pt x="168" y="143"/>
                        <a:pt x="168" y="143"/>
                        <a:pt x="168" y="143"/>
                      </a:cubicBezTo>
                      <a:cubicBezTo>
                        <a:pt x="167" y="142"/>
                        <a:pt x="167" y="142"/>
                        <a:pt x="167" y="142"/>
                      </a:cubicBezTo>
                      <a:cubicBezTo>
                        <a:pt x="167" y="141"/>
                        <a:pt x="167" y="141"/>
                        <a:pt x="167" y="141"/>
                      </a:cubicBezTo>
                      <a:cubicBezTo>
                        <a:pt x="168" y="138"/>
                        <a:pt x="168" y="138"/>
                        <a:pt x="168" y="138"/>
                      </a:cubicBezTo>
                      <a:cubicBezTo>
                        <a:pt x="167" y="136"/>
                        <a:pt x="167" y="136"/>
                        <a:pt x="167" y="136"/>
                      </a:cubicBezTo>
                      <a:cubicBezTo>
                        <a:pt x="166" y="135"/>
                        <a:pt x="166" y="135"/>
                        <a:pt x="166" y="135"/>
                      </a:cubicBezTo>
                      <a:cubicBezTo>
                        <a:pt x="164" y="135"/>
                        <a:pt x="164" y="135"/>
                        <a:pt x="164" y="135"/>
                      </a:cubicBezTo>
                      <a:cubicBezTo>
                        <a:pt x="164" y="134"/>
                        <a:pt x="164" y="134"/>
                        <a:pt x="164" y="134"/>
                      </a:cubicBezTo>
                      <a:cubicBezTo>
                        <a:pt x="162" y="132"/>
                        <a:pt x="162" y="132"/>
                        <a:pt x="162" y="132"/>
                      </a:cubicBezTo>
                      <a:cubicBezTo>
                        <a:pt x="160" y="131"/>
                        <a:pt x="160" y="131"/>
                        <a:pt x="160" y="131"/>
                      </a:cubicBezTo>
                      <a:cubicBezTo>
                        <a:pt x="160" y="130"/>
                        <a:pt x="160" y="130"/>
                        <a:pt x="160" y="130"/>
                      </a:cubicBezTo>
                      <a:cubicBezTo>
                        <a:pt x="161" y="128"/>
                        <a:pt x="161" y="128"/>
                        <a:pt x="161" y="128"/>
                      </a:cubicBezTo>
                      <a:cubicBezTo>
                        <a:pt x="160" y="127"/>
                        <a:pt x="160" y="127"/>
                        <a:pt x="160" y="127"/>
                      </a:cubicBezTo>
                      <a:cubicBezTo>
                        <a:pt x="160" y="127"/>
                        <a:pt x="160" y="127"/>
                        <a:pt x="160" y="127"/>
                      </a:cubicBezTo>
                      <a:cubicBezTo>
                        <a:pt x="160" y="126"/>
                        <a:pt x="160" y="126"/>
                        <a:pt x="160" y="126"/>
                      </a:cubicBezTo>
                      <a:cubicBezTo>
                        <a:pt x="161" y="125"/>
                        <a:pt x="161" y="125"/>
                        <a:pt x="161" y="125"/>
                      </a:cubicBezTo>
                      <a:cubicBezTo>
                        <a:pt x="162" y="123"/>
                        <a:pt x="162" y="123"/>
                        <a:pt x="162" y="123"/>
                      </a:cubicBezTo>
                      <a:cubicBezTo>
                        <a:pt x="163" y="122"/>
                        <a:pt x="163" y="122"/>
                        <a:pt x="163" y="122"/>
                      </a:cubicBezTo>
                      <a:cubicBezTo>
                        <a:pt x="162" y="119"/>
                        <a:pt x="162" y="119"/>
                        <a:pt x="162" y="119"/>
                      </a:cubicBezTo>
                      <a:cubicBezTo>
                        <a:pt x="160" y="116"/>
                        <a:pt x="160" y="116"/>
                        <a:pt x="160" y="116"/>
                      </a:cubicBezTo>
                      <a:cubicBezTo>
                        <a:pt x="161" y="115"/>
                        <a:pt x="161" y="115"/>
                        <a:pt x="161" y="115"/>
                      </a:cubicBezTo>
                      <a:cubicBezTo>
                        <a:pt x="162" y="116"/>
                        <a:pt x="162" y="116"/>
                        <a:pt x="162" y="116"/>
                      </a:cubicBezTo>
                      <a:cubicBezTo>
                        <a:pt x="162" y="117"/>
                        <a:pt x="162" y="117"/>
                        <a:pt x="162" y="117"/>
                      </a:cubicBezTo>
                      <a:cubicBezTo>
                        <a:pt x="163" y="118"/>
                        <a:pt x="163" y="118"/>
                        <a:pt x="163" y="118"/>
                      </a:cubicBezTo>
                      <a:cubicBezTo>
                        <a:pt x="163" y="118"/>
                        <a:pt x="163" y="118"/>
                        <a:pt x="163" y="118"/>
                      </a:cubicBezTo>
                      <a:cubicBezTo>
                        <a:pt x="163" y="119"/>
                        <a:pt x="163" y="119"/>
                        <a:pt x="163" y="119"/>
                      </a:cubicBezTo>
                      <a:cubicBezTo>
                        <a:pt x="164" y="120"/>
                        <a:pt x="164" y="120"/>
                        <a:pt x="164" y="120"/>
                      </a:cubicBezTo>
                      <a:cubicBezTo>
                        <a:pt x="164" y="122"/>
                        <a:pt x="164" y="122"/>
                        <a:pt x="164" y="122"/>
                      </a:cubicBezTo>
                      <a:cubicBezTo>
                        <a:pt x="165" y="123"/>
                        <a:pt x="165" y="123"/>
                        <a:pt x="165" y="123"/>
                      </a:cubicBezTo>
                      <a:cubicBezTo>
                        <a:pt x="165" y="125"/>
                        <a:pt x="165" y="125"/>
                        <a:pt x="165" y="125"/>
                      </a:cubicBezTo>
                      <a:cubicBezTo>
                        <a:pt x="165" y="125"/>
                        <a:pt x="165" y="125"/>
                        <a:pt x="165" y="125"/>
                      </a:cubicBezTo>
                      <a:cubicBezTo>
                        <a:pt x="167" y="127"/>
                        <a:pt x="167" y="127"/>
                        <a:pt x="167" y="127"/>
                      </a:cubicBezTo>
                      <a:cubicBezTo>
                        <a:pt x="167" y="127"/>
                        <a:pt x="167" y="127"/>
                        <a:pt x="167" y="127"/>
                      </a:cubicBezTo>
                      <a:cubicBezTo>
                        <a:pt x="168" y="128"/>
                        <a:pt x="168" y="128"/>
                        <a:pt x="168" y="128"/>
                      </a:cubicBezTo>
                      <a:cubicBezTo>
                        <a:pt x="168" y="129"/>
                        <a:pt x="168" y="129"/>
                        <a:pt x="168" y="129"/>
                      </a:cubicBezTo>
                      <a:cubicBezTo>
                        <a:pt x="167" y="129"/>
                        <a:pt x="167" y="129"/>
                        <a:pt x="167" y="129"/>
                      </a:cubicBezTo>
                      <a:cubicBezTo>
                        <a:pt x="167" y="130"/>
                        <a:pt x="167" y="130"/>
                        <a:pt x="167" y="130"/>
                      </a:cubicBezTo>
                      <a:cubicBezTo>
                        <a:pt x="168" y="130"/>
                        <a:pt x="168" y="130"/>
                        <a:pt x="168" y="130"/>
                      </a:cubicBezTo>
                      <a:cubicBezTo>
                        <a:pt x="170" y="130"/>
                        <a:pt x="170" y="130"/>
                        <a:pt x="170" y="130"/>
                      </a:cubicBezTo>
                      <a:cubicBezTo>
                        <a:pt x="171" y="130"/>
                        <a:pt x="171" y="130"/>
                        <a:pt x="171" y="130"/>
                      </a:cubicBezTo>
                      <a:cubicBezTo>
                        <a:pt x="172" y="130"/>
                        <a:pt x="172" y="130"/>
                        <a:pt x="172" y="130"/>
                      </a:cubicBezTo>
                      <a:cubicBezTo>
                        <a:pt x="173" y="131"/>
                        <a:pt x="173" y="131"/>
                        <a:pt x="173" y="131"/>
                      </a:cubicBezTo>
                      <a:cubicBezTo>
                        <a:pt x="173" y="131"/>
                        <a:pt x="173" y="131"/>
                        <a:pt x="173" y="131"/>
                      </a:cubicBezTo>
                      <a:cubicBezTo>
                        <a:pt x="174" y="130"/>
                        <a:pt x="174" y="130"/>
                        <a:pt x="174" y="130"/>
                      </a:cubicBezTo>
                      <a:cubicBezTo>
                        <a:pt x="175" y="130"/>
                        <a:pt x="175" y="130"/>
                        <a:pt x="175" y="130"/>
                      </a:cubicBezTo>
                      <a:cubicBezTo>
                        <a:pt x="176" y="130"/>
                        <a:pt x="176" y="130"/>
                        <a:pt x="176" y="130"/>
                      </a:cubicBezTo>
                      <a:cubicBezTo>
                        <a:pt x="177" y="130"/>
                        <a:pt x="177" y="130"/>
                        <a:pt x="177" y="130"/>
                      </a:cubicBezTo>
                      <a:cubicBezTo>
                        <a:pt x="178" y="131"/>
                        <a:pt x="178" y="131"/>
                        <a:pt x="178" y="131"/>
                      </a:cubicBezTo>
                      <a:cubicBezTo>
                        <a:pt x="179" y="131"/>
                        <a:pt x="179" y="131"/>
                        <a:pt x="179" y="131"/>
                      </a:cubicBezTo>
                      <a:cubicBezTo>
                        <a:pt x="181" y="132"/>
                        <a:pt x="181" y="132"/>
                        <a:pt x="181" y="132"/>
                      </a:cubicBezTo>
                      <a:cubicBezTo>
                        <a:pt x="183" y="132"/>
                        <a:pt x="183" y="132"/>
                        <a:pt x="183" y="132"/>
                      </a:cubicBezTo>
                      <a:cubicBezTo>
                        <a:pt x="183" y="131"/>
                        <a:pt x="183" y="131"/>
                        <a:pt x="183" y="131"/>
                      </a:cubicBezTo>
                      <a:cubicBezTo>
                        <a:pt x="182" y="131"/>
                        <a:pt x="182" y="131"/>
                        <a:pt x="182" y="131"/>
                      </a:cubicBezTo>
                      <a:cubicBezTo>
                        <a:pt x="180" y="131"/>
                        <a:pt x="180" y="131"/>
                        <a:pt x="180" y="131"/>
                      </a:cubicBezTo>
                      <a:cubicBezTo>
                        <a:pt x="180" y="130"/>
                        <a:pt x="180" y="130"/>
                        <a:pt x="180" y="130"/>
                      </a:cubicBezTo>
                      <a:cubicBezTo>
                        <a:pt x="180" y="130"/>
                        <a:pt x="180" y="130"/>
                        <a:pt x="180" y="130"/>
                      </a:cubicBezTo>
                      <a:cubicBezTo>
                        <a:pt x="179" y="129"/>
                        <a:pt x="179" y="129"/>
                        <a:pt x="179" y="129"/>
                      </a:cubicBezTo>
                      <a:cubicBezTo>
                        <a:pt x="177" y="129"/>
                        <a:pt x="177" y="129"/>
                        <a:pt x="177" y="129"/>
                      </a:cubicBezTo>
                      <a:cubicBezTo>
                        <a:pt x="177" y="128"/>
                        <a:pt x="177" y="128"/>
                        <a:pt x="177" y="128"/>
                      </a:cubicBezTo>
                      <a:cubicBezTo>
                        <a:pt x="177" y="128"/>
                        <a:pt x="177" y="128"/>
                        <a:pt x="177" y="128"/>
                      </a:cubicBezTo>
                      <a:cubicBezTo>
                        <a:pt x="176" y="129"/>
                        <a:pt x="176" y="129"/>
                        <a:pt x="176" y="129"/>
                      </a:cubicBezTo>
                      <a:cubicBezTo>
                        <a:pt x="174" y="129"/>
                        <a:pt x="174" y="129"/>
                        <a:pt x="174" y="129"/>
                      </a:cubicBezTo>
                      <a:cubicBezTo>
                        <a:pt x="173" y="128"/>
                        <a:pt x="173" y="128"/>
                        <a:pt x="173" y="128"/>
                      </a:cubicBezTo>
                      <a:cubicBezTo>
                        <a:pt x="171" y="128"/>
                        <a:pt x="171" y="128"/>
                        <a:pt x="171" y="128"/>
                      </a:cubicBezTo>
                      <a:cubicBezTo>
                        <a:pt x="170" y="127"/>
                        <a:pt x="170" y="127"/>
                        <a:pt x="170" y="127"/>
                      </a:cubicBezTo>
                      <a:cubicBezTo>
                        <a:pt x="169" y="125"/>
                        <a:pt x="169" y="125"/>
                        <a:pt x="169" y="125"/>
                      </a:cubicBezTo>
                      <a:cubicBezTo>
                        <a:pt x="169" y="125"/>
                        <a:pt x="169" y="125"/>
                        <a:pt x="169" y="125"/>
                      </a:cubicBezTo>
                      <a:cubicBezTo>
                        <a:pt x="167" y="123"/>
                        <a:pt x="167" y="123"/>
                        <a:pt x="167" y="123"/>
                      </a:cubicBezTo>
                      <a:cubicBezTo>
                        <a:pt x="168" y="123"/>
                        <a:pt x="168" y="123"/>
                        <a:pt x="168" y="123"/>
                      </a:cubicBezTo>
                      <a:cubicBezTo>
                        <a:pt x="168" y="123"/>
                        <a:pt x="168" y="123"/>
                        <a:pt x="168" y="123"/>
                      </a:cubicBezTo>
                      <a:cubicBezTo>
                        <a:pt x="170" y="122"/>
                        <a:pt x="170" y="122"/>
                        <a:pt x="170" y="122"/>
                      </a:cubicBezTo>
                      <a:cubicBezTo>
                        <a:pt x="171" y="122"/>
                        <a:pt x="171" y="122"/>
                        <a:pt x="171" y="122"/>
                      </a:cubicBezTo>
                      <a:cubicBezTo>
                        <a:pt x="172" y="123"/>
                        <a:pt x="172" y="123"/>
                        <a:pt x="172" y="123"/>
                      </a:cubicBezTo>
                      <a:cubicBezTo>
                        <a:pt x="174" y="124"/>
                        <a:pt x="174" y="124"/>
                        <a:pt x="174" y="124"/>
                      </a:cubicBezTo>
                      <a:cubicBezTo>
                        <a:pt x="175" y="124"/>
                        <a:pt x="175" y="124"/>
                        <a:pt x="175" y="124"/>
                      </a:cubicBezTo>
                      <a:cubicBezTo>
                        <a:pt x="176" y="122"/>
                        <a:pt x="176" y="122"/>
                        <a:pt x="176" y="122"/>
                      </a:cubicBezTo>
                      <a:cubicBezTo>
                        <a:pt x="176" y="120"/>
                        <a:pt x="176" y="120"/>
                        <a:pt x="176" y="120"/>
                      </a:cubicBezTo>
                      <a:cubicBezTo>
                        <a:pt x="174" y="120"/>
                        <a:pt x="174" y="120"/>
                        <a:pt x="174" y="120"/>
                      </a:cubicBezTo>
                      <a:cubicBezTo>
                        <a:pt x="172" y="121"/>
                        <a:pt x="172" y="121"/>
                        <a:pt x="172" y="121"/>
                      </a:cubicBezTo>
                      <a:cubicBezTo>
                        <a:pt x="172" y="120"/>
                        <a:pt x="172" y="120"/>
                        <a:pt x="172" y="120"/>
                      </a:cubicBezTo>
                      <a:cubicBezTo>
                        <a:pt x="172" y="120"/>
                        <a:pt x="172" y="120"/>
                        <a:pt x="172" y="120"/>
                      </a:cubicBezTo>
                      <a:cubicBezTo>
                        <a:pt x="172" y="120"/>
                        <a:pt x="172" y="120"/>
                        <a:pt x="172" y="120"/>
                      </a:cubicBezTo>
                      <a:cubicBezTo>
                        <a:pt x="173" y="120"/>
                        <a:pt x="173" y="120"/>
                        <a:pt x="173" y="120"/>
                      </a:cubicBezTo>
                      <a:cubicBezTo>
                        <a:pt x="173" y="119"/>
                        <a:pt x="173" y="119"/>
                        <a:pt x="173" y="119"/>
                      </a:cubicBezTo>
                      <a:cubicBezTo>
                        <a:pt x="174" y="117"/>
                        <a:pt x="174" y="117"/>
                        <a:pt x="174" y="117"/>
                      </a:cubicBezTo>
                      <a:cubicBezTo>
                        <a:pt x="175" y="117"/>
                        <a:pt x="175" y="117"/>
                        <a:pt x="175" y="117"/>
                      </a:cubicBezTo>
                      <a:cubicBezTo>
                        <a:pt x="176" y="117"/>
                        <a:pt x="176" y="117"/>
                        <a:pt x="176" y="117"/>
                      </a:cubicBezTo>
                      <a:cubicBezTo>
                        <a:pt x="179" y="117"/>
                        <a:pt x="179" y="117"/>
                        <a:pt x="179" y="117"/>
                      </a:cubicBezTo>
                      <a:cubicBezTo>
                        <a:pt x="181" y="118"/>
                        <a:pt x="181" y="118"/>
                        <a:pt x="181" y="118"/>
                      </a:cubicBezTo>
                      <a:cubicBezTo>
                        <a:pt x="182" y="119"/>
                        <a:pt x="182" y="119"/>
                        <a:pt x="182" y="119"/>
                      </a:cubicBezTo>
                      <a:cubicBezTo>
                        <a:pt x="185" y="119"/>
                        <a:pt x="185" y="119"/>
                        <a:pt x="185" y="119"/>
                      </a:cubicBezTo>
                      <a:cubicBezTo>
                        <a:pt x="185" y="120"/>
                        <a:pt x="185" y="120"/>
                        <a:pt x="185" y="120"/>
                      </a:cubicBezTo>
                      <a:cubicBezTo>
                        <a:pt x="186" y="120"/>
                        <a:pt x="186" y="120"/>
                        <a:pt x="186" y="120"/>
                      </a:cubicBezTo>
                      <a:cubicBezTo>
                        <a:pt x="188" y="122"/>
                        <a:pt x="188" y="122"/>
                        <a:pt x="188" y="122"/>
                      </a:cubicBezTo>
                      <a:cubicBezTo>
                        <a:pt x="189" y="122"/>
                        <a:pt x="189" y="122"/>
                        <a:pt x="189" y="122"/>
                      </a:cubicBezTo>
                      <a:cubicBezTo>
                        <a:pt x="192" y="122"/>
                        <a:pt x="192" y="122"/>
                        <a:pt x="192" y="122"/>
                      </a:cubicBezTo>
                      <a:cubicBezTo>
                        <a:pt x="194" y="121"/>
                        <a:pt x="194" y="121"/>
                        <a:pt x="194" y="121"/>
                      </a:cubicBezTo>
                      <a:cubicBezTo>
                        <a:pt x="195" y="122"/>
                        <a:pt x="195" y="122"/>
                        <a:pt x="195" y="122"/>
                      </a:cubicBezTo>
                      <a:cubicBezTo>
                        <a:pt x="195" y="121"/>
                        <a:pt x="195" y="121"/>
                        <a:pt x="195" y="121"/>
                      </a:cubicBezTo>
                      <a:cubicBezTo>
                        <a:pt x="196" y="122"/>
                        <a:pt x="196" y="122"/>
                        <a:pt x="196" y="122"/>
                      </a:cubicBezTo>
                      <a:cubicBezTo>
                        <a:pt x="196" y="123"/>
                        <a:pt x="196" y="123"/>
                        <a:pt x="196" y="123"/>
                      </a:cubicBezTo>
                      <a:cubicBezTo>
                        <a:pt x="196" y="124"/>
                        <a:pt x="196" y="124"/>
                        <a:pt x="196" y="124"/>
                      </a:cubicBezTo>
                      <a:cubicBezTo>
                        <a:pt x="196" y="125"/>
                        <a:pt x="196" y="125"/>
                        <a:pt x="196" y="125"/>
                      </a:cubicBezTo>
                      <a:cubicBezTo>
                        <a:pt x="195" y="125"/>
                        <a:pt x="195" y="125"/>
                        <a:pt x="195" y="125"/>
                      </a:cubicBezTo>
                      <a:cubicBezTo>
                        <a:pt x="194" y="126"/>
                        <a:pt x="194" y="126"/>
                        <a:pt x="194" y="126"/>
                      </a:cubicBezTo>
                      <a:cubicBezTo>
                        <a:pt x="195" y="127"/>
                        <a:pt x="195" y="127"/>
                        <a:pt x="195" y="127"/>
                      </a:cubicBezTo>
                      <a:cubicBezTo>
                        <a:pt x="195" y="129"/>
                        <a:pt x="195" y="129"/>
                        <a:pt x="195" y="129"/>
                      </a:cubicBezTo>
                      <a:cubicBezTo>
                        <a:pt x="197" y="130"/>
                        <a:pt x="197" y="130"/>
                        <a:pt x="197" y="130"/>
                      </a:cubicBezTo>
                      <a:cubicBezTo>
                        <a:pt x="197" y="131"/>
                        <a:pt x="197" y="131"/>
                        <a:pt x="197" y="131"/>
                      </a:cubicBezTo>
                      <a:cubicBezTo>
                        <a:pt x="196" y="132"/>
                        <a:pt x="196" y="132"/>
                        <a:pt x="196" y="132"/>
                      </a:cubicBezTo>
                      <a:cubicBezTo>
                        <a:pt x="197" y="134"/>
                        <a:pt x="197" y="134"/>
                        <a:pt x="197" y="134"/>
                      </a:cubicBezTo>
                      <a:cubicBezTo>
                        <a:pt x="197" y="134"/>
                        <a:pt x="197" y="134"/>
                        <a:pt x="197" y="134"/>
                      </a:cubicBezTo>
                      <a:cubicBezTo>
                        <a:pt x="197" y="133"/>
                        <a:pt x="197" y="133"/>
                        <a:pt x="197" y="133"/>
                      </a:cubicBezTo>
                      <a:cubicBezTo>
                        <a:pt x="197" y="133"/>
                        <a:pt x="197" y="133"/>
                        <a:pt x="197" y="133"/>
                      </a:cubicBezTo>
                      <a:cubicBezTo>
                        <a:pt x="198" y="132"/>
                        <a:pt x="198" y="132"/>
                        <a:pt x="198" y="132"/>
                      </a:cubicBezTo>
                      <a:cubicBezTo>
                        <a:pt x="198" y="131"/>
                        <a:pt x="198" y="131"/>
                        <a:pt x="198" y="131"/>
                      </a:cubicBezTo>
                      <a:cubicBezTo>
                        <a:pt x="198" y="131"/>
                        <a:pt x="198" y="131"/>
                        <a:pt x="198" y="131"/>
                      </a:cubicBezTo>
                      <a:cubicBezTo>
                        <a:pt x="199" y="130"/>
                        <a:pt x="199" y="130"/>
                        <a:pt x="199" y="130"/>
                      </a:cubicBezTo>
                      <a:cubicBezTo>
                        <a:pt x="200" y="130"/>
                        <a:pt x="200" y="130"/>
                        <a:pt x="200" y="130"/>
                      </a:cubicBezTo>
                      <a:cubicBezTo>
                        <a:pt x="200" y="132"/>
                        <a:pt x="200" y="132"/>
                        <a:pt x="200" y="132"/>
                      </a:cubicBezTo>
                      <a:cubicBezTo>
                        <a:pt x="200" y="134"/>
                        <a:pt x="200" y="134"/>
                        <a:pt x="200" y="134"/>
                      </a:cubicBezTo>
                      <a:cubicBezTo>
                        <a:pt x="201" y="134"/>
                        <a:pt x="201" y="134"/>
                        <a:pt x="201" y="134"/>
                      </a:cubicBezTo>
                      <a:cubicBezTo>
                        <a:pt x="200" y="135"/>
                        <a:pt x="200" y="135"/>
                        <a:pt x="200" y="135"/>
                      </a:cubicBezTo>
                      <a:cubicBezTo>
                        <a:pt x="200" y="136"/>
                        <a:pt x="200" y="136"/>
                        <a:pt x="200" y="136"/>
                      </a:cubicBezTo>
                      <a:cubicBezTo>
                        <a:pt x="200" y="136"/>
                        <a:pt x="200" y="136"/>
                        <a:pt x="200" y="136"/>
                      </a:cubicBezTo>
                      <a:cubicBezTo>
                        <a:pt x="201" y="137"/>
                        <a:pt x="201" y="137"/>
                        <a:pt x="201" y="137"/>
                      </a:cubicBezTo>
                      <a:cubicBezTo>
                        <a:pt x="203" y="137"/>
                        <a:pt x="203" y="137"/>
                        <a:pt x="203" y="137"/>
                      </a:cubicBezTo>
                      <a:cubicBezTo>
                        <a:pt x="204" y="137"/>
                        <a:pt x="204" y="137"/>
                        <a:pt x="204" y="137"/>
                      </a:cubicBezTo>
                      <a:cubicBezTo>
                        <a:pt x="205" y="138"/>
                        <a:pt x="205" y="138"/>
                        <a:pt x="205" y="138"/>
                      </a:cubicBezTo>
                      <a:cubicBezTo>
                        <a:pt x="205" y="139"/>
                        <a:pt x="205" y="139"/>
                        <a:pt x="205" y="139"/>
                      </a:cubicBezTo>
                      <a:cubicBezTo>
                        <a:pt x="206" y="140"/>
                        <a:pt x="206" y="140"/>
                        <a:pt x="206" y="140"/>
                      </a:cubicBezTo>
                      <a:cubicBezTo>
                        <a:pt x="208" y="140"/>
                        <a:pt x="208" y="140"/>
                        <a:pt x="208" y="140"/>
                      </a:cubicBezTo>
                      <a:cubicBezTo>
                        <a:pt x="210" y="142"/>
                        <a:pt x="210" y="142"/>
                        <a:pt x="210" y="142"/>
                      </a:cubicBezTo>
                      <a:cubicBezTo>
                        <a:pt x="210" y="141"/>
                        <a:pt x="210" y="141"/>
                        <a:pt x="210" y="141"/>
                      </a:cubicBezTo>
                      <a:cubicBezTo>
                        <a:pt x="210" y="140"/>
                        <a:pt x="210" y="140"/>
                        <a:pt x="210" y="140"/>
                      </a:cubicBezTo>
                      <a:cubicBezTo>
                        <a:pt x="211" y="139"/>
                        <a:pt x="211" y="139"/>
                        <a:pt x="211" y="139"/>
                      </a:cubicBezTo>
                      <a:cubicBezTo>
                        <a:pt x="212" y="139"/>
                        <a:pt x="212" y="139"/>
                        <a:pt x="212" y="139"/>
                      </a:cubicBezTo>
                      <a:cubicBezTo>
                        <a:pt x="214" y="140"/>
                        <a:pt x="214" y="140"/>
                        <a:pt x="214" y="140"/>
                      </a:cubicBezTo>
                      <a:cubicBezTo>
                        <a:pt x="216" y="140"/>
                        <a:pt x="216" y="140"/>
                        <a:pt x="216" y="140"/>
                      </a:cubicBezTo>
                      <a:cubicBezTo>
                        <a:pt x="217" y="141"/>
                        <a:pt x="217" y="141"/>
                        <a:pt x="217" y="141"/>
                      </a:cubicBezTo>
                      <a:cubicBezTo>
                        <a:pt x="217" y="143"/>
                        <a:pt x="217" y="143"/>
                        <a:pt x="217" y="143"/>
                      </a:cubicBezTo>
                      <a:cubicBezTo>
                        <a:pt x="217" y="141"/>
                        <a:pt x="217" y="141"/>
                        <a:pt x="217" y="141"/>
                      </a:cubicBezTo>
                      <a:cubicBezTo>
                        <a:pt x="216" y="140"/>
                        <a:pt x="216" y="140"/>
                        <a:pt x="216" y="140"/>
                      </a:cubicBezTo>
                      <a:cubicBezTo>
                        <a:pt x="215" y="140"/>
                        <a:pt x="215" y="140"/>
                        <a:pt x="215" y="140"/>
                      </a:cubicBezTo>
                      <a:cubicBezTo>
                        <a:pt x="214" y="139"/>
                        <a:pt x="214" y="139"/>
                        <a:pt x="214" y="139"/>
                      </a:cubicBezTo>
                      <a:cubicBezTo>
                        <a:pt x="212" y="138"/>
                        <a:pt x="212" y="138"/>
                        <a:pt x="212" y="138"/>
                      </a:cubicBezTo>
                      <a:cubicBezTo>
                        <a:pt x="211" y="138"/>
                        <a:pt x="211" y="138"/>
                        <a:pt x="211" y="138"/>
                      </a:cubicBezTo>
                      <a:cubicBezTo>
                        <a:pt x="209" y="139"/>
                        <a:pt x="209" y="139"/>
                        <a:pt x="209" y="139"/>
                      </a:cubicBezTo>
                      <a:cubicBezTo>
                        <a:pt x="208" y="139"/>
                        <a:pt x="208" y="139"/>
                        <a:pt x="208" y="139"/>
                      </a:cubicBezTo>
                      <a:cubicBezTo>
                        <a:pt x="208" y="139"/>
                        <a:pt x="208" y="139"/>
                        <a:pt x="208" y="139"/>
                      </a:cubicBezTo>
                      <a:cubicBezTo>
                        <a:pt x="207" y="139"/>
                        <a:pt x="207" y="139"/>
                        <a:pt x="207" y="139"/>
                      </a:cubicBezTo>
                      <a:cubicBezTo>
                        <a:pt x="205" y="137"/>
                        <a:pt x="205" y="137"/>
                        <a:pt x="205" y="137"/>
                      </a:cubicBezTo>
                      <a:cubicBezTo>
                        <a:pt x="204" y="136"/>
                        <a:pt x="204" y="136"/>
                        <a:pt x="204" y="136"/>
                      </a:cubicBezTo>
                      <a:cubicBezTo>
                        <a:pt x="202" y="136"/>
                        <a:pt x="202" y="136"/>
                        <a:pt x="202" y="136"/>
                      </a:cubicBezTo>
                      <a:cubicBezTo>
                        <a:pt x="201" y="135"/>
                        <a:pt x="201" y="135"/>
                        <a:pt x="201" y="135"/>
                      </a:cubicBezTo>
                      <a:cubicBezTo>
                        <a:pt x="202" y="135"/>
                        <a:pt x="202" y="135"/>
                        <a:pt x="202" y="135"/>
                      </a:cubicBezTo>
                      <a:cubicBezTo>
                        <a:pt x="203" y="135"/>
                        <a:pt x="203" y="135"/>
                        <a:pt x="203" y="135"/>
                      </a:cubicBezTo>
                      <a:cubicBezTo>
                        <a:pt x="204" y="133"/>
                        <a:pt x="204" y="133"/>
                        <a:pt x="204" y="133"/>
                      </a:cubicBezTo>
                      <a:cubicBezTo>
                        <a:pt x="203" y="132"/>
                        <a:pt x="203" y="132"/>
                        <a:pt x="203" y="132"/>
                      </a:cubicBezTo>
                      <a:cubicBezTo>
                        <a:pt x="202" y="131"/>
                        <a:pt x="202" y="131"/>
                        <a:pt x="202" y="131"/>
                      </a:cubicBezTo>
                      <a:cubicBezTo>
                        <a:pt x="202" y="129"/>
                        <a:pt x="202" y="129"/>
                        <a:pt x="202" y="129"/>
                      </a:cubicBezTo>
                      <a:cubicBezTo>
                        <a:pt x="200" y="127"/>
                        <a:pt x="200" y="127"/>
                        <a:pt x="200" y="127"/>
                      </a:cubicBezTo>
                      <a:cubicBezTo>
                        <a:pt x="199" y="127"/>
                        <a:pt x="199" y="127"/>
                        <a:pt x="199" y="127"/>
                      </a:cubicBezTo>
                      <a:cubicBezTo>
                        <a:pt x="198" y="126"/>
                        <a:pt x="198" y="126"/>
                        <a:pt x="198" y="126"/>
                      </a:cubicBezTo>
                      <a:cubicBezTo>
                        <a:pt x="198" y="125"/>
                        <a:pt x="198" y="125"/>
                        <a:pt x="198" y="125"/>
                      </a:cubicBezTo>
                      <a:cubicBezTo>
                        <a:pt x="198" y="124"/>
                        <a:pt x="198" y="124"/>
                        <a:pt x="198" y="124"/>
                      </a:cubicBezTo>
                      <a:cubicBezTo>
                        <a:pt x="198" y="122"/>
                        <a:pt x="198" y="122"/>
                        <a:pt x="198" y="122"/>
                      </a:cubicBezTo>
                      <a:cubicBezTo>
                        <a:pt x="197" y="121"/>
                        <a:pt x="197" y="121"/>
                        <a:pt x="197" y="121"/>
                      </a:cubicBezTo>
                      <a:cubicBezTo>
                        <a:pt x="196" y="121"/>
                        <a:pt x="196" y="121"/>
                        <a:pt x="196" y="121"/>
                      </a:cubicBezTo>
                      <a:cubicBezTo>
                        <a:pt x="194" y="120"/>
                        <a:pt x="194" y="120"/>
                        <a:pt x="194" y="120"/>
                      </a:cubicBezTo>
                      <a:cubicBezTo>
                        <a:pt x="192" y="119"/>
                        <a:pt x="192" y="119"/>
                        <a:pt x="192" y="119"/>
                      </a:cubicBezTo>
                      <a:cubicBezTo>
                        <a:pt x="191" y="118"/>
                        <a:pt x="191" y="118"/>
                        <a:pt x="191" y="118"/>
                      </a:cubicBezTo>
                      <a:cubicBezTo>
                        <a:pt x="190" y="118"/>
                        <a:pt x="190" y="118"/>
                        <a:pt x="190" y="118"/>
                      </a:cubicBezTo>
                      <a:cubicBezTo>
                        <a:pt x="190" y="116"/>
                        <a:pt x="190" y="116"/>
                        <a:pt x="190" y="116"/>
                      </a:cubicBezTo>
                      <a:cubicBezTo>
                        <a:pt x="189" y="116"/>
                        <a:pt x="189" y="116"/>
                        <a:pt x="189" y="116"/>
                      </a:cubicBezTo>
                      <a:cubicBezTo>
                        <a:pt x="189" y="115"/>
                        <a:pt x="189" y="115"/>
                        <a:pt x="189" y="115"/>
                      </a:cubicBezTo>
                      <a:cubicBezTo>
                        <a:pt x="188" y="116"/>
                        <a:pt x="188" y="116"/>
                        <a:pt x="188" y="116"/>
                      </a:cubicBezTo>
                      <a:cubicBezTo>
                        <a:pt x="185" y="116"/>
                        <a:pt x="185" y="116"/>
                        <a:pt x="185" y="116"/>
                      </a:cubicBezTo>
                      <a:cubicBezTo>
                        <a:pt x="184" y="116"/>
                        <a:pt x="184" y="116"/>
                        <a:pt x="184" y="116"/>
                      </a:cubicBezTo>
                      <a:cubicBezTo>
                        <a:pt x="182" y="115"/>
                        <a:pt x="182" y="115"/>
                        <a:pt x="182" y="115"/>
                      </a:cubicBezTo>
                      <a:cubicBezTo>
                        <a:pt x="182" y="114"/>
                        <a:pt x="182" y="114"/>
                        <a:pt x="182" y="114"/>
                      </a:cubicBezTo>
                      <a:cubicBezTo>
                        <a:pt x="182" y="114"/>
                        <a:pt x="182" y="114"/>
                        <a:pt x="182" y="114"/>
                      </a:cubicBezTo>
                      <a:cubicBezTo>
                        <a:pt x="181" y="113"/>
                        <a:pt x="181" y="113"/>
                        <a:pt x="181" y="113"/>
                      </a:cubicBezTo>
                      <a:cubicBezTo>
                        <a:pt x="182" y="111"/>
                        <a:pt x="182" y="111"/>
                        <a:pt x="182" y="111"/>
                      </a:cubicBezTo>
                      <a:cubicBezTo>
                        <a:pt x="180" y="110"/>
                        <a:pt x="180" y="110"/>
                        <a:pt x="180" y="110"/>
                      </a:cubicBezTo>
                      <a:cubicBezTo>
                        <a:pt x="179" y="109"/>
                        <a:pt x="179" y="109"/>
                        <a:pt x="179" y="109"/>
                      </a:cubicBezTo>
                      <a:cubicBezTo>
                        <a:pt x="179" y="108"/>
                        <a:pt x="179" y="108"/>
                        <a:pt x="179" y="108"/>
                      </a:cubicBezTo>
                      <a:cubicBezTo>
                        <a:pt x="179" y="107"/>
                        <a:pt x="179" y="107"/>
                        <a:pt x="179" y="107"/>
                      </a:cubicBezTo>
                      <a:cubicBezTo>
                        <a:pt x="178" y="107"/>
                        <a:pt x="178" y="107"/>
                        <a:pt x="178" y="107"/>
                      </a:cubicBezTo>
                      <a:cubicBezTo>
                        <a:pt x="177" y="107"/>
                        <a:pt x="177" y="107"/>
                        <a:pt x="177" y="107"/>
                      </a:cubicBezTo>
                      <a:cubicBezTo>
                        <a:pt x="178" y="106"/>
                        <a:pt x="178" y="106"/>
                        <a:pt x="178" y="106"/>
                      </a:cubicBezTo>
                      <a:cubicBezTo>
                        <a:pt x="178" y="105"/>
                        <a:pt x="178" y="105"/>
                        <a:pt x="178" y="105"/>
                      </a:cubicBezTo>
                      <a:cubicBezTo>
                        <a:pt x="177" y="104"/>
                        <a:pt x="177" y="104"/>
                        <a:pt x="177" y="104"/>
                      </a:cubicBezTo>
                      <a:cubicBezTo>
                        <a:pt x="177" y="104"/>
                        <a:pt x="177" y="104"/>
                        <a:pt x="177" y="104"/>
                      </a:cubicBezTo>
                      <a:cubicBezTo>
                        <a:pt x="179" y="104"/>
                        <a:pt x="179" y="104"/>
                        <a:pt x="179" y="104"/>
                      </a:cubicBezTo>
                      <a:cubicBezTo>
                        <a:pt x="180" y="103"/>
                        <a:pt x="180" y="103"/>
                        <a:pt x="180" y="103"/>
                      </a:cubicBezTo>
                      <a:cubicBezTo>
                        <a:pt x="181" y="103"/>
                        <a:pt x="181" y="103"/>
                        <a:pt x="181" y="103"/>
                      </a:cubicBezTo>
                      <a:cubicBezTo>
                        <a:pt x="184" y="102"/>
                        <a:pt x="184" y="102"/>
                        <a:pt x="184" y="102"/>
                      </a:cubicBezTo>
                      <a:cubicBezTo>
                        <a:pt x="187" y="101"/>
                        <a:pt x="187" y="101"/>
                        <a:pt x="187" y="101"/>
                      </a:cubicBezTo>
                      <a:cubicBezTo>
                        <a:pt x="189" y="100"/>
                        <a:pt x="189" y="100"/>
                        <a:pt x="189" y="100"/>
                      </a:cubicBezTo>
                      <a:cubicBezTo>
                        <a:pt x="190" y="100"/>
                        <a:pt x="190" y="100"/>
                        <a:pt x="190" y="100"/>
                      </a:cubicBezTo>
                      <a:cubicBezTo>
                        <a:pt x="191" y="100"/>
                        <a:pt x="191" y="100"/>
                        <a:pt x="191" y="100"/>
                      </a:cubicBezTo>
                      <a:cubicBezTo>
                        <a:pt x="192" y="99"/>
                        <a:pt x="192" y="99"/>
                        <a:pt x="192" y="99"/>
                      </a:cubicBezTo>
                      <a:cubicBezTo>
                        <a:pt x="192" y="98"/>
                        <a:pt x="192" y="98"/>
                        <a:pt x="192" y="98"/>
                      </a:cubicBezTo>
                      <a:cubicBezTo>
                        <a:pt x="194" y="98"/>
                        <a:pt x="194" y="98"/>
                        <a:pt x="194" y="98"/>
                      </a:cubicBezTo>
                      <a:cubicBezTo>
                        <a:pt x="197" y="97"/>
                        <a:pt x="197" y="97"/>
                        <a:pt x="197" y="97"/>
                      </a:cubicBezTo>
                      <a:cubicBezTo>
                        <a:pt x="198" y="97"/>
                        <a:pt x="198" y="97"/>
                        <a:pt x="198" y="97"/>
                      </a:cubicBezTo>
                      <a:cubicBezTo>
                        <a:pt x="197" y="98"/>
                        <a:pt x="197" y="98"/>
                        <a:pt x="197" y="98"/>
                      </a:cubicBezTo>
                      <a:cubicBezTo>
                        <a:pt x="197" y="98"/>
                        <a:pt x="197" y="98"/>
                        <a:pt x="197" y="98"/>
                      </a:cubicBezTo>
                      <a:cubicBezTo>
                        <a:pt x="197" y="99"/>
                        <a:pt x="197" y="99"/>
                        <a:pt x="197" y="99"/>
                      </a:cubicBezTo>
                      <a:cubicBezTo>
                        <a:pt x="196" y="101"/>
                        <a:pt x="196" y="101"/>
                        <a:pt x="196" y="101"/>
                      </a:cubicBezTo>
                      <a:cubicBezTo>
                        <a:pt x="196" y="102"/>
                        <a:pt x="196" y="102"/>
                        <a:pt x="196" y="102"/>
                      </a:cubicBezTo>
                      <a:cubicBezTo>
                        <a:pt x="198" y="103"/>
                        <a:pt x="198" y="103"/>
                        <a:pt x="198" y="103"/>
                      </a:cubicBezTo>
                      <a:cubicBezTo>
                        <a:pt x="200" y="103"/>
                        <a:pt x="200" y="103"/>
                        <a:pt x="200" y="103"/>
                      </a:cubicBezTo>
                      <a:cubicBezTo>
                        <a:pt x="198" y="103"/>
                        <a:pt x="198" y="103"/>
                        <a:pt x="198" y="103"/>
                      </a:cubicBezTo>
                      <a:cubicBezTo>
                        <a:pt x="197" y="101"/>
                        <a:pt x="197" y="101"/>
                        <a:pt x="197" y="101"/>
                      </a:cubicBezTo>
                      <a:cubicBezTo>
                        <a:pt x="197" y="101"/>
                        <a:pt x="197" y="101"/>
                        <a:pt x="197" y="101"/>
                      </a:cubicBezTo>
                      <a:cubicBezTo>
                        <a:pt x="198" y="100"/>
                        <a:pt x="198" y="100"/>
                        <a:pt x="198" y="100"/>
                      </a:cubicBezTo>
                      <a:cubicBezTo>
                        <a:pt x="199" y="99"/>
                        <a:pt x="199" y="99"/>
                        <a:pt x="199" y="99"/>
                      </a:cubicBezTo>
                      <a:cubicBezTo>
                        <a:pt x="200" y="97"/>
                        <a:pt x="200" y="97"/>
                        <a:pt x="200" y="97"/>
                      </a:cubicBezTo>
                      <a:cubicBezTo>
                        <a:pt x="199" y="96"/>
                        <a:pt x="199" y="96"/>
                        <a:pt x="199" y="96"/>
                      </a:cubicBezTo>
                      <a:cubicBezTo>
                        <a:pt x="198" y="96"/>
                        <a:pt x="198" y="96"/>
                        <a:pt x="198" y="96"/>
                      </a:cubicBezTo>
                      <a:cubicBezTo>
                        <a:pt x="197" y="95"/>
                        <a:pt x="197" y="95"/>
                        <a:pt x="197" y="95"/>
                      </a:cubicBezTo>
                      <a:cubicBezTo>
                        <a:pt x="197" y="94"/>
                        <a:pt x="197" y="94"/>
                        <a:pt x="197" y="94"/>
                      </a:cubicBezTo>
                      <a:cubicBezTo>
                        <a:pt x="196" y="94"/>
                        <a:pt x="196" y="94"/>
                        <a:pt x="196" y="94"/>
                      </a:cubicBezTo>
                      <a:cubicBezTo>
                        <a:pt x="195" y="95"/>
                        <a:pt x="195" y="95"/>
                        <a:pt x="195" y="95"/>
                      </a:cubicBezTo>
                      <a:cubicBezTo>
                        <a:pt x="195" y="94"/>
                        <a:pt x="195" y="94"/>
                        <a:pt x="195" y="94"/>
                      </a:cubicBezTo>
                      <a:cubicBezTo>
                        <a:pt x="194" y="93"/>
                        <a:pt x="194" y="93"/>
                        <a:pt x="194" y="93"/>
                      </a:cubicBezTo>
                      <a:cubicBezTo>
                        <a:pt x="193" y="93"/>
                        <a:pt x="193" y="93"/>
                        <a:pt x="193" y="93"/>
                      </a:cubicBezTo>
                      <a:cubicBezTo>
                        <a:pt x="192" y="93"/>
                        <a:pt x="192" y="93"/>
                        <a:pt x="192" y="93"/>
                      </a:cubicBezTo>
                      <a:cubicBezTo>
                        <a:pt x="191" y="92"/>
                        <a:pt x="191" y="92"/>
                        <a:pt x="191" y="92"/>
                      </a:cubicBezTo>
                      <a:cubicBezTo>
                        <a:pt x="191" y="92"/>
                        <a:pt x="191" y="92"/>
                        <a:pt x="191" y="92"/>
                      </a:cubicBezTo>
                      <a:cubicBezTo>
                        <a:pt x="191" y="91"/>
                        <a:pt x="191" y="91"/>
                        <a:pt x="191" y="91"/>
                      </a:cubicBezTo>
                      <a:cubicBezTo>
                        <a:pt x="192" y="91"/>
                        <a:pt x="192" y="91"/>
                        <a:pt x="192" y="91"/>
                      </a:cubicBezTo>
                      <a:cubicBezTo>
                        <a:pt x="193" y="92"/>
                        <a:pt x="193" y="92"/>
                        <a:pt x="193" y="92"/>
                      </a:cubicBezTo>
                      <a:cubicBezTo>
                        <a:pt x="194" y="92"/>
                        <a:pt x="194" y="92"/>
                        <a:pt x="194" y="92"/>
                      </a:cubicBezTo>
                      <a:cubicBezTo>
                        <a:pt x="195" y="91"/>
                        <a:pt x="195" y="91"/>
                        <a:pt x="195" y="91"/>
                      </a:cubicBezTo>
                      <a:cubicBezTo>
                        <a:pt x="195" y="91"/>
                        <a:pt x="195" y="91"/>
                        <a:pt x="195" y="91"/>
                      </a:cubicBezTo>
                      <a:cubicBezTo>
                        <a:pt x="194" y="91"/>
                        <a:pt x="194" y="91"/>
                        <a:pt x="194" y="91"/>
                      </a:cubicBezTo>
                      <a:cubicBezTo>
                        <a:pt x="193" y="91"/>
                        <a:pt x="193" y="91"/>
                        <a:pt x="193" y="91"/>
                      </a:cubicBezTo>
                      <a:cubicBezTo>
                        <a:pt x="192" y="90"/>
                        <a:pt x="192" y="90"/>
                        <a:pt x="192" y="90"/>
                      </a:cubicBezTo>
                      <a:cubicBezTo>
                        <a:pt x="192" y="90"/>
                        <a:pt x="192" y="90"/>
                        <a:pt x="192" y="90"/>
                      </a:cubicBezTo>
                      <a:cubicBezTo>
                        <a:pt x="191" y="89"/>
                        <a:pt x="191" y="89"/>
                        <a:pt x="191" y="89"/>
                      </a:cubicBezTo>
                      <a:cubicBezTo>
                        <a:pt x="189" y="89"/>
                        <a:pt x="189" y="89"/>
                        <a:pt x="189" y="89"/>
                      </a:cubicBezTo>
                      <a:cubicBezTo>
                        <a:pt x="189" y="89"/>
                        <a:pt x="189" y="89"/>
                        <a:pt x="189" y="89"/>
                      </a:cubicBezTo>
                      <a:cubicBezTo>
                        <a:pt x="188" y="89"/>
                        <a:pt x="188" y="89"/>
                        <a:pt x="188" y="89"/>
                      </a:cubicBezTo>
                      <a:cubicBezTo>
                        <a:pt x="188" y="88"/>
                        <a:pt x="188" y="88"/>
                        <a:pt x="188" y="88"/>
                      </a:cubicBezTo>
                      <a:cubicBezTo>
                        <a:pt x="188" y="87"/>
                        <a:pt x="188" y="87"/>
                        <a:pt x="188" y="87"/>
                      </a:cubicBezTo>
                      <a:cubicBezTo>
                        <a:pt x="188" y="87"/>
                        <a:pt x="188" y="87"/>
                        <a:pt x="188" y="87"/>
                      </a:cubicBezTo>
                      <a:cubicBezTo>
                        <a:pt x="188" y="86"/>
                        <a:pt x="188" y="86"/>
                        <a:pt x="188" y="86"/>
                      </a:cubicBezTo>
                      <a:cubicBezTo>
                        <a:pt x="189" y="87"/>
                        <a:pt x="189" y="87"/>
                        <a:pt x="189" y="87"/>
                      </a:cubicBezTo>
                      <a:cubicBezTo>
                        <a:pt x="190" y="88"/>
                        <a:pt x="190" y="88"/>
                        <a:pt x="190" y="88"/>
                      </a:cubicBezTo>
                      <a:cubicBezTo>
                        <a:pt x="191" y="88"/>
                        <a:pt x="191" y="88"/>
                        <a:pt x="191" y="88"/>
                      </a:cubicBezTo>
                      <a:cubicBezTo>
                        <a:pt x="192" y="89"/>
                        <a:pt x="192" y="89"/>
                        <a:pt x="192" y="89"/>
                      </a:cubicBezTo>
                      <a:cubicBezTo>
                        <a:pt x="192" y="88"/>
                        <a:pt x="192" y="88"/>
                        <a:pt x="192" y="88"/>
                      </a:cubicBezTo>
                      <a:cubicBezTo>
                        <a:pt x="192" y="87"/>
                        <a:pt x="192" y="87"/>
                        <a:pt x="192" y="87"/>
                      </a:cubicBezTo>
                      <a:cubicBezTo>
                        <a:pt x="192" y="87"/>
                        <a:pt x="192" y="87"/>
                        <a:pt x="192" y="87"/>
                      </a:cubicBezTo>
                      <a:cubicBezTo>
                        <a:pt x="193" y="85"/>
                        <a:pt x="193" y="85"/>
                        <a:pt x="193" y="85"/>
                      </a:cubicBezTo>
                      <a:cubicBezTo>
                        <a:pt x="192" y="85"/>
                        <a:pt x="192" y="85"/>
                        <a:pt x="192" y="85"/>
                      </a:cubicBezTo>
                      <a:cubicBezTo>
                        <a:pt x="192" y="84"/>
                        <a:pt x="192" y="84"/>
                        <a:pt x="192" y="84"/>
                      </a:cubicBezTo>
                      <a:cubicBezTo>
                        <a:pt x="193" y="84"/>
                        <a:pt x="193" y="84"/>
                        <a:pt x="193" y="84"/>
                      </a:cubicBezTo>
                      <a:cubicBezTo>
                        <a:pt x="194" y="84"/>
                        <a:pt x="194" y="84"/>
                        <a:pt x="194" y="84"/>
                      </a:cubicBezTo>
                      <a:cubicBezTo>
                        <a:pt x="191" y="83"/>
                        <a:pt x="191" y="83"/>
                        <a:pt x="191" y="83"/>
                      </a:cubicBezTo>
                      <a:cubicBezTo>
                        <a:pt x="191" y="84"/>
                        <a:pt x="191" y="84"/>
                        <a:pt x="191" y="84"/>
                      </a:cubicBezTo>
                      <a:cubicBezTo>
                        <a:pt x="190" y="84"/>
                        <a:pt x="190" y="84"/>
                        <a:pt x="190" y="84"/>
                      </a:cubicBezTo>
                      <a:cubicBezTo>
                        <a:pt x="190" y="83"/>
                        <a:pt x="190" y="83"/>
                        <a:pt x="190" y="83"/>
                      </a:cubicBezTo>
                      <a:cubicBezTo>
                        <a:pt x="191" y="82"/>
                        <a:pt x="191" y="82"/>
                        <a:pt x="191" y="82"/>
                      </a:cubicBezTo>
                      <a:cubicBezTo>
                        <a:pt x="193" y="82"/>
                        <a:pt x="193" y="82"/>
                        <a:pt x="193" y="82"/>
                      </a:cubicBezTo>
                      <a:cubicBezTo>
                        <a:pt x="194" y="82"/>
                        <a:pt x="194" y="82"/>
                        <a:pt x="194" y="82"/>
                      </a:cubicBezTo>
                      <a:cubicBezTo>
                        <a:pt x="194" y="81"/>
                        <a:pt x="194" y="81"/>
                        <a:pt x="194" y="81"/>
                      </a:cubicBezTo>
                      <a:cubicBezTo>
                        <a:pt x="195" y="80"/>
                        <a:pt x="195" y="80"/>
                        <a:pt x="195" y="80"/>
                      </a:cubicBezTo>
                      <a:cubicBezTo>
                        <a:pt x="195" y="79"/>
                        <a:pt x="195" y="79"/>
                        <a:pt x="195" y="79"/>
                      </a:cubicBezTo>
                      <a:cubicBezTo>
                        <a:pt x="195" y="79"/>
                        <a:pt x="195" y="79"/>
                        <a:pt x="195" y="79"/>
                      </a:cubicBezTo>
                      <a:cubicBezTo>
                        <a:pt x="195" y="79"/>
                        <a:pt x="195" y="79"/>
                        <a:pt x="195" y="79"/>
                      </a:cubicBezTo>
                      <a:cubicBezTo>
                        <a:pt x="196" y="77"/>
                        <a:pt x="196" y="77"/>
                        <a:pt x="196" y="77"/>
                      </a:cubicBezTo>
                      <a:cubicBezTo>
                        <a:pt x="196" y="77"/>
                        <a:pt x="196" y="77"/>
                        <a:pt x="196" y="77"/>
                      </a:cubicBezTo>
                      <a:cubicBezTo>
                        <a:pt x="197" y="78"/>
                        <a:pt x="197" y="78"/>
                        <a:pt x="197" y="78"/>
                      </a:cubicBezTo>
                      <a:cubicBezTo>
                        <a:pt x="197" y="78"/>
                        <a:pt x="197" y="78"/>
                        <a:pt x="197" y="78"/>
                      </a:cubicBezTo>
                      <a:cubicBezTo>
                        <a:pt x="197" y="77"/>
                        <a:pt x="197" y="77"/>
                        <a:pt x="197" y="77"/>
                      </a:cubicBezTo>
                      <a:cubicBezTo>
                        <a:pt x="198" y="77"/>
                        <a:pt x="198" y="77"/>
                        <a:pt x="198" y="77"/>
                      </a:cubicBezTo>
                      <a:cubicBezTo>
                        <a:pt x="197" y="76"/>
                        <a:pt x="197" y="76"/>
                        <a:pt x="197" y="76"/>
                      </a:cubicBezTo>
                      <a:cubicBezTo>
                        <a:pt x="198" y="76"/>
                        <a:pt x="198" y="76"/>
                        <a:pt x="198" y="76"/>
                      </a:cubicBezTo>
                      <a:cubicBezTo>
                        <a:pt x="199" y="75"/>
                        <a:pt x="199" y="75"/>
                        <a:pt x="199" y="75"/>
                      </a:cubicBezTo>
                      <a:cubicBezTo>
                        <a:pt x="199" y="75"/>
                        <a:pt x="199" y="75"/>
                        <a:pt x="199" y="75"/>
                      </a:cubicBezTo>
                      <a:cubicBezTo>
                        <a:pt x="200" y="74"/>
                        <a:pt x="200" y="74"/>
                        <a:pt x="200" y="74"/>
                      </a:cubicBezTo>
                      <a:cubicBezTo>
                        <a:pt x="200" y="74"/>
                        <a:pt x="200" y="74"/>
                        <a:pt x="200" y="74"/>
                      </a:cubicBezTo>
                      <a:cubicBezTo>
                        <a:pt x="201" y="75"/>
                        <a:pt x="201" y="75"/>
                        <a:pt x="201" y="75"/>
                      </a:cubicBezTo>
                      <a:cubicBezTo>
                        <a:pt x="203" y="74"/>
                        <a:pt x="203" y="74"/>
                        <a:pt x="203" y="74"/>
                      </a:cubicBezTo>
                      <a:cubicBezTo>
                        <a:pt x="202" y="74"/>
                        <a:pt x="202" y="74"/>
                        <a:pt x="202" y="74"/>
                      </a:cubicBezTo>
                      <a:cubicBezTo>
                        <a:pt x="202" y="73"/>
                        <a:pt x="202" y="73"/>
                        <a:pt x="202" y="73"/>
                      </a:cubicBezTo>
                      <a:cubicBezTo>
                        <a:pt x="204" y="73"/>
                        <a:pt x="204" y="73"/>
                        <a:pt x="204" y="73"/>
                      </a:cubicBezTo>
                      <a:cubicBezTo>
                        <a:pt x="206" y="72"/>
                        <a:pt x="206" y="72"/>
                        <a:pt x="206" y="72"/>
                      </a:cubicBezTo>
                      <a:cubicBezTo>
                        <a:pt x="206" y="71"/>
                        <a:pt x="206" y="71"/>
                        <a:pt x="206" y="71"/>
                      </a:cubicBezTo>
                      <a:cubicBezTo>
                        <a:pt x="209" y="70"/>
                        <a:pt x="209" y="70"/>
                        <a:pt x="209" y="70"/>
                      </a:cubicBezTo>
                      <a:cubicBezTo>
                        <a:pt x="209" y="69"/>
                        <a:pt x="209" y="69"/>
                        <a:pt x="209" y="69"/>
                      </a:cubicBezTo>
                      <a:cubicBezTo>
                        <a:pt x="208" y="69"/>
                        <a:pt x="208" y="69"/>
                        <a:pt x="208" y="69"/>
                      </a:cubicBezTo>
                      <a:cubicBezTo>
                        <a:pt x="207" y="70"/>
                        <a:pt x="207" y="70"/>
                        <a:pt x="207" y="70"/>
                      </a:cubicBezTo>
                      <a:cubicBezTo>
                        <a:pt x="206" y="70"/>
                        <a:pt x="206" y="70"/>
                        <a:pt x="206" y="70"/>
                      </a:cubicBezTo>
                      <a:cubicBezTo>
                        <a:pt x="205" y="71"/>
                        <a:pt x="205" y="71"/>
                        <a:pt x="205" y="71"/>
                      </a:cubicBezTo>
                      <a:cubicBezTo>
                        <a:pt x="205" y="70"/>
                        <a:pt x="205" y="70"/>
                        <a:pt x="205" y="70"/>
                      </a:cubicBezTo>
                      <a:cubicBezTo>
                        <a:pt x="205" y="68"/>
                        <a:pt x="205" y="68"/>
                        <a:pt x="205" y="68"/>
                      </a:cubicBezTo>
                      <a:cubicBezTo>
                        <a:pt x="205" y="68"/>
                        <a:pt x="205" y="68"/>
                        <a:pt x="205" y="68"/>
                      </a:cubicBezTo>
                      <a:cubicBezTo>
                        <a:pt x="206" y="67"/>
                        <a:pt x="206" y="67"/>
                        <a:pt x="206" y="67"/>
                      </a:cubicBezTo>
                      <a:cubicBezTo>
                        <a:pt x="206" y="67"/>
                        <a:pt x="206" y="67"/>
                        <a:pt x="206" y="67"/>
                      </a:cubicBezTo>
                      <a:cubicBezTo>
                        <a:pt x="206" y="68"/>
                        <a:pt x="206" y="68"/>
                        <a:pt x="206" y="68"/>
                      </a:cubicBezTo>
                      <a:cubicBezTo>
                        <a:pt x="206" y="68"/>
                        <a:pt x="206" y="68"/>
                        <a:pt x="206" y="68"/>
                      </a:cubicBezTo>
                      <a:cubicBezTo>
                        <a:pt x="207" y="67"/>
                        <a:pt x="207" y="67"/>
                        <a:pt x="207" y="67"/>
                      </a:cubicBezTo>
                      <a:cubicBezTo>
                        <a:pt x="206" y="66"/>
                        <a:pt x="206" y="66"/>
                        <a:pt x="206" y="66"/>
                      </a:cubicBezTo>
                      <a:cubicBezTo>
                        <a:pt x="207" y="66"/>
                        <a:pt x="207" y="66"/>
                        <a:pt x="207" y="66"/>
                      </a:cubicBezTo>
                      <a:cubicBezTo>
                        <a:pt x="208" y="67"/>
                        <a:pt x="208" y="67"/>
                        <a:pt x="208" y="67"/>
                      </a:cubicBezTo>
                      <a:cubicBezTo>
                        <a:pt x="209" y="67"/>
                        <a:pt x="209" y="67"/>
                        <a:pt x="209" y="67"/>
                      </a:cubicBezTo>
                      <a:cubicBezTo>
                        <a:pt x="210" y="66"/>
                        <a:pt x="210" y="66"/>
                        <a:pt x="210" y="66"/>
                      </a:cubicBezTo>
                      <a:cubicBezTo>
                        <a:pt x="211" y="66"/>
                        <a:pt x="211" y="66"/>
                        <a:pt x="211" y="66"/>
                      </a:cubicBezTo>
                      <a:cubicBezTo>
                        <a:pt x="214" y="65"/>
                        <a:pt x="214" y="65"/>
                        <a:pt x="214" y="65"/>
                      </a:cubicBezTo>
                      <a:cubicBezTo>
                        <a:pt x="215" y="65"/>
                        <a:pt x="215" y="65"/>
                        <a:pt x="215" y="65"/>
                      </a:cubicBezTo>
                      <a:cubicBezTo>
                        <a:pt x="215" y="66"/>
                        <a:pt x="215" y="66"/>
                        <a:pt x="215" y="66"/>
                      </a:cubicBezTo>
                      <a:cubicBezTo>
                        <a:pt x="214" y="68"/>
                        <a:pt x="214" y="68"/>
                        <a:pt x="214" y="68"/>
                      </a:cubicBezTo>
                      <a:cubicBezTo>
                        <a:pt x="214" y="69"/>
                        <a:pt x="214" y="69"/>
                        <a:pt x="214" y="69"/>
                      </a:cubicBezTo>
                      <a:cubicBezTo>
                        <a:pt x="215" y="69"/>
                        <a:pt x="215" y="69"/>
                        <a:pt x="215" y="69"/>
                      </a:cubicBezTo>
                      <a:cubicBezTo>
                        <a:pt x="216" y="68"/>
                        <a:pt x="216" y="68"/>
                        <a:pt x="216" y="68"/>
                      </a:cubicBezTo>
                      <a:cubicBezTo>
                        <a:pt x="216" y="67"/>
                        <a:pt x="216" y="67"/>
                        <a:pt x="216" y="67"/>
                      </a:cubicBezTo>
                      <a:cubicBezTo>
                        <a:pt x="216" y="66"/>
                        <a:pt x="216" y="66"/>
                        <a:pt x="216" y="66"/>
                      </a:cubicBezTo>
                      <a:cubicBezTo>
                        <a:pt x="216" y="66"/>
                        <a:pt x="216" y="66"/>
                        <a:pt x="216" y="66"/>
                      </a:cubicBezTo>
                      <a:cubicBezTo>
                        <a:pt x="217" y="66"/>
                        <a:pt x="217" y="66"/>
                        <a:pt x="217" y="66"/>
                      </a:cubicBezTo>
                      <a:cubicBezTo>
                        <a:pt x="217" y="68"/>
                        <a:pt x="217" y="68"/>
                        <a:pt x="217" y="68"/>
                      </a:cubicBezTo>
                      <a:cubicBezTo>
                        <a:pt x="218" y="68"/>
                        <a:pt x="218" y="68"/>
                        <a:pt x="218" y="68"/>
                      </a:cubicBezTo>
                      <a:cubicBezTo>
                        <a:pt x="219" y="67"/>
                        <a:pt x="219" y="67"/>
                        <a:pt x="219" y="67"/>
                      </a:cubicBezTo>
                      <a:cubicBezTo>
                        <a:pt x="218" y="66"/>
                        <a:pt x="218" y="66"/>
                        <a:pt x="218" y="66"/>
                      </a:cubicBezTo>
                      <a:cubicBezTo>
                        <a:pt x="219" y="65"/>
                        <a:pt x="219" y="65"/>
                        <a:pt x="219" y="65"/>
                      </a:cubicBezTo>
                      <a:cubicBezTo>
                        <a:pt x="219" y="66"/>
                        <a:pt x="219" y="66"/>
                        <a:pt x="219" y="66"/>
                      </a:cubicBezTo>
                      <a:cubicBezTo>
                        <a:pt x="219" y="66"/>
                        <a:pt x="219" y="66"/>
                        <a:pt x="219" y="66"/>
                      </a:cubicBezTo>
                      <a:cubicBezTo>
                        <a:pt x="221" y="66"/>
                        <a:pt x="221" y="66"/>
                        <a:pt x="221" y="66"/>
                      </a:cubicBezTo>
                      <a:cubicBezTo>
                        <a:pt x="221" y="65"/>
                        <a:pt x="221" y="65"/>
                        <a:pt x="221" y="65"/>
                      </a:cubicBezTo>
                      <a:cubicBezTo>
                        <a:pt x="220" y="64"/>
                        <a:pt x="220" y="64"/>
                        <a:pt x="220" y="64"/>
                      </a:cubicBezTo>
                      <a:cubicBezTo>
                        <a:pt x="221" y="64"/>
                        <a:pt x="221" y="64"/>
                        <a:pt x="221" y="64"/>
                      </a:cubicBezTo>
                      <a:cubicBezTo>
                        <a:pt x="222" y="64"/>
                        <a:pt x="222" y="64"/>
                        <a:pt x="222" y="64"/>
                      </a:cubicBezTo>
                      <a:cubicBezTo>
                        <a:pt x="221" y="63"/>
                        <a:pt x="221" y="63"/>
                        <a:pt x="221" y="63"/>
                      </a:cubicBezTo>
                      <a:cubicBezTo>
                        <a:pt x="222" y="63"/>
                        <a:pt x="222" y="63"/>
                        <a:pt x="222" y="63"/>
                      </a:cubicBezTo>
                      <a:cubicBezTo>
                        <a:pt x="223" y="62"/>
                        <a:pt x="223" y="62"/>
                        <a:pt x="223" y="62"/>
                      </a:cubicBezTo>
                      <a:cubicBezTo>
                        <a:pt x="224" y="62"/>
                        <a:pt x="224" y="62"/>
                        <a:pt x="224" y="62"/>
                      </a:cubicBezTo>
                      <a:cubicBezTo>
                        <a:pt x="225" y="62"/>
                        <a:pt x="225" y="62"/>
                        <a:pt x="225" y="62"/>
                      </a:cubicBezTo>
                      <a:cubicBezTo>
                        <a:pt x="225" y="63"/>
                        <a:pt x="225" y="63"/>
                        <a:pt x="225" y="63"/>
                      </a:cubicBezTo>
                      <a:cubicBezTo>
                        <a:pt x="225" y="63"/>
                        <a:pt x="225" y="63"/>
                        <a:pt x="225" y="63"/>
                      </a:cubicBezTo>
                      <a:cubicBezTo>
                        <a:pt x="227" y="63"/>
                        <a:pt x="227" y="63"/>
                        <a:pt x="227" y="63"/>
                      </a:cubicBezTo>
                      <a:cubicBezTo>
                        <a:pt x="227" y="64"/>
                        <a:pt x="227" y="64"/>
                        <a:pt x="227" y="64"/>
                      </a:cubicBezTo>
                      <a:cubicBezTo>
                        <a:pt x="227" y="65"/>
                        <a:pt x="227" y="65"/>
                        <a:pt x="227" y="65"/>
                      </a:cubicBezTo>
                      <a:cubicBezTo>
                        <a:pt x="226" y="67"/>
                        <a:pt x="226" y="67"/>
                        <a:pt x="226" y="67"/>
                      </a:cubicBezTo>
                      <a:cubicBezTo>
                        <a:pt x="228" y="66"/>
                        <a:pt x="228" y="66"/>
                        <a:pt x="228" y="66"/>
                      </a:cubicBezTo>
                      <a:cubicBezTo>
                        <a:pt x="229" y="64"/>
                        <a:pt x="229" y="64"/>
                        <a:pt x="229" y="64"/>
                      </a:cubicBezTo>
                      <a:cubicBezTo>
                        <a:pt x="228" y="63"/>
                        <a:pt x="228" y="63"/>
                        <a:pt x="228" y="63"/>
                      </a:cubicBezTo>
                      <a:cubicBezTo>
                        <a:pt x="226" y="62"/>
                        <a:pt x="226" y="62"/>
                        <a:pt x="226" y="62"/>
                      </a:cubicBezTo>
                      <a:cubicBezTo>
                        <a:pt x="225" y="61"/>
                        <a:pt x="225" y="61"/>
                        <a:pt x="225" y="61"/>
                      </a:cubicBezTo>
                      <a:cubicBezTo>
                        <a:pt x="224" y="61"/>
                        <a:pt x="224" y="61"/>
                        <a:pt x="224" y="61"/>
                      </a:cubicBezTo>
                      <a:cubicBezTo>
                        <a:pt x="224" y="61"/>
                        <a:pt x="224" y="61"/>
                        <a:pt x="224" y="61"/>
                      </a:cubicBezTo>
                      <a:cubicBezTo>
                        <a:pt x="223" y="61"/>
                        <a:pt x="223" y="61"/>
                        <a:pt x="223" y="61"/>
                      </a:cubicBezTo>
                      <a:cubicBezTo>
                        <a:pt x="222" y="61"/>
                        <a:pt x="222" y="61"/>
                        <a:pt x="222" y="61"/>
                      </a:cubicBezTo>
                      <a:cubicBezTo>
                        <a:pt x="222" y="60"/>
                        <a:pt x="222" y="60"/>
                        <a:pt x="222" y="60"/>
                      </a:cubicBezTo>
                      <a:cubicBezTo>
                        <a:pt x="221" y="60"/>
                        <a:pt x="221" y="60"/>
                        <a:pt x="221" y="60"/>
                      </a:cubicBezTo>
                      <a:cubicBezTo>
                        <a:pt x="222" y="59"/>
                        <a:pt x="222" y="59"/>
                        <a:pt x="222" y="59"/>
                      </a:cubicBezTo>
                      <a:cubicBezTo>
                        <a:pt x="224" y="59"/>
                        <a:pt x="224" y="59"/>
                        <a:pt x="224" y="59"/>
                      </a:cubicBezTo>
                      <a:cubicBezTo>
                        <a:pt x="225" y="59"/>
                        <a:pt x="225" y="59"/>
                        <a:pt x="225" y="59"/>
                      </a:cubicBezTo>
                      <a:cubicBezTo>
                        <a:pt x="225" y="59"/>
                        <a:pt x="225" y="59"/>
                        <a:pt x="225" y="59"/>
                      </a:cubicBezTo>
                      <a:cubicBezTo>
                        <a:pt x="226" y="59"/>
                        <a:pt x="226" y="59"/>
                        <a:pt x="226" y="59"/>
                      </a:cubicBezTo>
                      <a:cubicBezTo>
                        <a:pt x="227" y="58"/>
                        <a:pt x="227" y="58"/>
                        <a:pt x="227" y="58"/>
                      </a:cubicBezTo>
                      <a:cubicBezTo>
                        <a:pt x="228" y="59"/>
                        <a:pt x="228" y="59"/>
                        <a:pt x="228" y="59"/>
                      </a:cubicBezTo>
                      <a:cubicBezTo>
                        <a:pt x="230" y="58"/>
                        <a:pt x="230" y="58"/>
                        <a:pt x="230" y="58"/>
                      </a:cubicBezTo>
                      <a:cubicBezTo>
                        <a:pt x="231" y="59"/>
                        <a:pt x="231" y="59"/>
                        <a:pt x="231" y="59"/>
                      </a:cubicBezTo>
                      <a:cubicBezTo>
                        <a:pt x="232" y="58"/>
                        <a:pt x="232" y="58"/>
                        <a:pt x="232" y="58"/>
                      </a:cubicBezTo>
                      <a:cubicBezTo>
                        <a:pt x="233" y="59"/>
                        <a:pt x="233" y="59"/>
                        <a:pt x="233" y="59"/>
                      </a:cubicBezTo>
                      <a:cubicBezTo>
                        <a:pt x="234" y="58"/>
                        <a:pt x="234" y="58"/>
                        <a:pt x="234" y="58"/>
                      </a:cubicBezTo>
                      <a:cubicBezTo>
                        <a:pt x="233" y="58"/>
                        <a:pt x="233" y="58"/>
                        <a:pt x="233" y="58"/>
                      </a:cubicBezTo>
                      <a:cubicBezTo>
                        <a:pt x="232" y="57"/>
                        <a:pt x="232" y="57"/>
                        <a:pt x="232" y="57"/>
                      </a:cubicBezTo>
                      <a:cubicBezTo>
                        <a:pt x="230" y="57"/>
                        <a:pt x="230" y="57"/>
                        <a:pt x="230" y="57"/>
                      </a:cubicBezTo>
                      <a:cubicBezTo>
                        <a:pt x="229" y="57"/>
                        <a:pt x="229" y="57"/>
                        <a:pt x="229" y="57"/>
                      </a:cubicBezTo>
                      <a:cubicBezTo>
                        <a:pt x="227" y="57"/>
                        <a:pt x="227" y="57"/>
                        <a:pt x="227" y="57"/>
                      </a:cubicBezTo>
                      <a:cubicBezTo>
                        <a:pt x="227" y="57"/>
                        <a:pt x="227" y="57"/>
                        <a:pt x="227" y="57"/>
                      </a:cubicBezTo>
                      <a:cubicBezTo>
                        <a:pt x="227" y="55"/>
                        <a:pt x="227" y="55"/>
                        <a:pt x="227" y="55"/>
                      </a:cubicBezTo>
                      <a:cubicBezTo>
                        <a:pt x="228" y="55"/>
                        <a:pt x="228" y="55"/>
                        <a:pt x="228" y="55"/>
                      </a:cubicBezTo>
                      <a:cubicBezTo>
                        <a:pt x="227" y="54"/>
                        <a:pt x="227" y="54"/>
                        <a:pt x="227" y="54"/>
                      </a:cubicBezTo>
                      <a:cubicBezTo>
                        <a:pt x="226" y="53"/>
                        <a:pt x="226" y="53"/>
                        <a:pt x="226" y="53"/>
                      </a:cubicBezTo>
                      <a:cubicBezTo>
                        <a:pt x="225" y="53"/>
                        <a:pt x="225" y="53"/>
                        <a:pt x="225" y="53"/>
                      </a:cubicBezTo>
                      <a:cubicBezTo>
                        <a:pt x="224" y="52"/>
                        <a:pt x="224" y="52"/>
                        <a:pt x="224" y="52"/>
                      </a:cubicBezTo>
                      <a:cubicBezTo>
                        <a:pt x="224" y="51"/>
                        <a:pt x="224" y="51"/>
                        <a:pt x="224" y="51"/>
                      </a:cubicBezTo>
                      <a:cubicBezTo>
                        <a:pt x="225" y="51"/>
                        <a:pt x="225" y="51"/>
                        <a:pt x="225" y="51"/>
                      </a:cubicBezTo>
                      <a:cubicBezTo>
                        <a:pt x="225" y="50"/>
                        <a:pt x="225" y="50"/>
                        <a:pt x="225" y="50"/>
                      </a:cubicBezTo>
                      <a:cubicBezTo>
                        <a:pt x="224" y="49"/>
                        <a:pt x="224" y="49"/>
                        <a:pt x="224" y="49"/>
                      </a:cubicBezTo>
                      <a:cubicBezTo>
                        <a:pt x="224" y="45"/>
                        <a:pt x="224" y="45"/>
                        <a:pt x="224" y="45"/>
                      </a:cubicBezTo>
                      <a:cubicBezTo>
                        <a:pt x="225" y="44"/>
                        <a:pt x="225" y="44"/>
                        <a:pt x="225" y="44"/>
                      </a:cubicBezTo>
                      <a:cubicBezTo>
                        <a:pt x="224" y="43"/>
                        <a:pt x="224" y="43"/>
                        <a:pt x="224" y="43"/>
                      </a:cubicBezTo>
                      <a:cubicBezTo>
                        <a:pt x="225" y="42"/>
                        <a:pt x="225" y="42"/>
                        <a:pt x="225" y="42"/>
                      </a:cubicBezTo>
                      <a:cubicBezTo>
                        <a:pt x="226" y="41"/>
                        <a:pt x="226" y="41"/>
                        <a:pt x="226" y="41"/>
                      </a:cubicBezTo>
                      <a:cubicBezTo>
                        <a:pt x="225" y="40"/>
                        <a:pt x="225" y="40"/>
                        <a:pt x="225" y="40"/>
                      </a:cubicBezTo>
                      <a:cubicBezTo>
                        <a:pt x="226" y="40"/>
                        <a:pt x="226" y="40"/>
                        <a:pt x="226" y="40"/>
                      </a:cubicBezTo>
                      <a:cubicBezTo>
                        <a:pt x="226" y="39"/>
                        <a:pt x="226" y="39"/>
                        <a:pt x="226" y="39"/>
                      </a:cubicBezTo>
                      <a:cubicBezTo>
                        <a:pt x="227" y="38"/>
                        <a:pt x="227" y="38"/>
                        <a:pt x="227" y="38"/>
                      </a:cubicBezTo>
                      <a:cubicBezTo>
                        <a:pt x="228" y="38"/>
                        <a:pt x="228" y="38"/>
                        <a:pt x="228" y="38"/>
                      </a:cubicBezTo>
                      <a:cubicBezTo>
                        <a:pt x="229" y="39"/>
                        <a:pt x="229" y="39"/>
                        <a:pt x="229" y="39"/>
                      </a:cubicBezTo>
                      <a:cubicBezTo>
                        <a:pt x="230" y="38"/>
                        <a:pt x="230" y="38"/>
                        <a:pt x="230" y="38"/>
                      </a:cubicBezTo>
                      <a:cubicBezTo>
                        <a:pt x="231" y="38"/>
                        <a:pt x="231" y="38"/>
                        <a:pt x="231" y="38"/>
                      </a:cubicBezTo>
                      <a:cubicBezTo>
                        <a:pt x="231" y="40"/>
                        <a:pt x="231" y="40"/>
                        <a:pt x="231" y="40"/>
                      </a:cubicBezTo>
                      <a:cubicBezTo>
                        <a:pt x="233" y="40"/>
                        <a:pt x="233" y="40"/>
                        <a:pt x="233" y="40"/>
                      </a:cubicBezTo>
                      <a:cubicBezTo>
                        <a:pt x="234" y="39"/>
                        <a:pt x="234" y="39"/>
                        <a:pt x="234" y="39"/>
                      </a:cubicBezTo>
                      <a:cubicBezTo>
                        <a:pt x="234" y="39"/>
                        <a:pt x="234" y="39"/>
                        <a:pt x="234" y="39"/>
                      </a:cubicBezTo>
                      <a:cubicBezTo>
                        <a:pt x="235" y="40"/>
                        <a:pt x="235" y="40"/>
                        <a:pt x="235" y="40"/>
                      </a:cubicBezTo>
                      <a:cubicBezTo>
                        <a:pt x="235" y="41"/>
                        <a:pt x="235" y="41"/>
                        <a:pt x="235" y="41"/>
                      </a:cubicBezTo>
                      <a:cubicBezTo>
                        <a:pt x="236" y="41"/>
                        <a:pt x="236" y="41"/>
                        <a:pt x="236" y="41"/>
                      </a:cubicBezTo>
                      <a:cubicBezTo>
                        <a:pt x="236" y="41"/>
                        <a:pt x="236" y="41"/>
                        <a:pt x="236" y="41"/>
                      </a:cubicBezTo>
                      <a:cubicBezTo>
                        <a:pt x="236" y="42"/>
                        <a:pt x="236" y="42"/>
                        <a:pt x="236" y="42"/>
                      </a:cubicBezTo>
                      <a:cubicBezTo>
                        <a:pt x="235" y="42"/>
                        <a:pt x="235" y="42"/>
                        <a:pt x="235" y="42"/>
                      </a:cubicBezTo>
                      <a:cubicBezTo>
                        <a:pt x="235" y="43"/>
                        <a:pt x="235" y="43"/>
                        <a:pt x="235" y="43"/>
                      </a:cubicBezTo>
                      <a:cubicBezTo>
                        <a:pt x="235" y="44"/>
                        <a:pt x="235" y="44"/>
                        <a:pt x="235" y="44"/>
                      </a:cubicBezTo>
                      <a:cubicBezTo>
                        <a:pt x="234" y="45"/>
                        <a:pt x="234" y="45"/>
                        <a:pt x="234" y="45"/>
                      </a:cubicBezTo>
                      <a:cubicBezTo>
                        <a:pt x="233" y="45"/>
                        <a:pt x="233" y="45"/>
                        <a:pt x="233" y="45"/>
                      </a:cubicBezTo>
                      <a:cubicBezTo>
                        <a:pt x="232" y="47"/>
                        <a:pt x="232" y="47"/>
                        <a:pt x="232" y="47"/>
                      </a:cubicBezTo>
                      <a:cubicBezTo>
                        <a:pt x="233" y="47"/>
                        <a:pt x="233" y="47"/>
                        <a:pt x="233" y="47"/>
                      </a:cubicBezTo>
                      <a:cubicBezTo>
                        <a:pt x="235" y="46"/>
                        <a:pt x="235" y="46"/>
                        <a:pt x="235" y="46"/>
                      </a:cubicBezTo>
                      <a:cubicBezTo>
                        <a:pt x="237" y="44"/>
                        <a:pt x="237" y="44"/>
                        <a:pt x="237" y="44"/>
                      </a:cubicBezTo>
                      <a:cubicBezTo>
                        <a:pt x="238" y="44"/>
                        <a:pt x="238" y="44"/>
                        <a:pt x="238" y="44"/>
                      </a:cubicBezTo>
                      <a:cubicBezTo>
                        <a:pt x="238" y="45"/>
                        <a:pt x="238" y="45"/>
                        <a:pt x="238" y="45"/>
                      </a:cubicBezTo>
                      <a:cubicBezTo>
                        <a:pt x="237" y="45"/>
                        <a:pt x="237" y="45"/>
                        <a:pt x="237" y="45"/>
                      </a:cubicBezTo>
                      <a:cubicBezTo>
                        <a:pt x="237" y="46"/>
                        <a:pt x="237" y="46"/>
                        <a:pt x="237" y="46"/>
                      </a:cubicBezTo>
                      <a:cubicBezTo>
                        <a:pt x="238" y="46"/>
                        <a:pt x="238" y="46"/>
                        <a:pt x="238" y="46"/>
                      </a:cubicBezTo>
                      <a:cubicBezTo>
                        <a:pt x="239" y="45"/>
                        <a:pt x="239" y="45"/>
                        <a:pt x="239" y="45"/>
                      </a:cubicBezTo>
                      <a:cubicBezTo>
                        <a:pt x="240" y="44"/>
                        <a:pt x="240" y="44"/>
                        <a:pt x="240" y="44"/>
                      </a:cubicBezTo>
                      <a:cubicBezTo>
                        <a:pt x="240" y="45"/>
                        <a:pt x="240" y="45"/>
                        <a:pt x="240" y="45"/>
                      </a:cubicBezTo>
                      <a:cubicBezTo>
                        <a:pt x="241" y="45"/>
                        <a:pt x="241" y="45"/>
                        <a:pt x="241" y="45"/>
                      </a:cubicBezTo>
                      <a:cubicBezTo>
                        <a:pt x="242" y="44"/>
                        <a:pt x="242" y="44"/>
                        <a:pt x="242" y="44"/>
                      </a:cubicBezTo>
                      <a:cubicBezTo>
                        <a:pt x="242" y="44"/>
                        <a:pt x="242" y="44"/>
                        <a:pt x="242" y="44"/>
                      </a:cubicBezTo>
                      <a:cubicBezTo>
                        <a:pt x="243" y="44"/>
                        <a:pt x="243" y="44"/>
                        <a:pt x="243" y="44"/>
                      </a:cubicBezTo>
                      <a:cubicBezTo>
                        <a:pt x="244" y="44"/>
                        <a:pt x="244" y="44"/>
                        <a:pt x="244" y="44"/>
                      </a:cubicBezTo>
                      <a:cubicBezTo>
                        <a:pt x="245" y="45"/>
                        <a:pt x="245" y="45"/>
                        <a:pt x="245" y="45"/>
                      </a:cubicBezTo>
                      <a:cubicBezTo>
                        <a:pt x="245" y="46"/>
                        <a:pt x="245" y="46"/>
                        <a:pt x="245" y="46"/>
                      </a:cubicBezTo>
                      <a:cubicBezTo>
                        <a:pt x="245" y="47"/>
                        <a:pt x="245" y="47"/>
                        <a:pt x="245" y="47"/>
                      </a:cubicBezTo>
                      <a:cubicBezTo>
                        <a:pt x="245" y="48"/>
                        <a:pt x="245" y="48"/>
                        <a:pt x="245" y="48"/>
                      </a:cubicBezTo>
                      <a:cubicBezTo>
                        <a:pt x="245" y="48"/>
                        <a:pt x="245" y="48"/>
                        <a:pt x="245" y="48"/>
                      </a:cubicBezTo>
                      <a:cubicBezTo>
                        <a:pt x="244" y="50"/>
                        <a:pt x="244" y="50"/>
                        <a:pt x="244" y="50"/>
                      </a:cubicBezTo>
                      <a:cubicBezTo>
                        <a:pt x="246" y="51"/>
                        <a:pt x="246" y="51"/>
                        <a:pt x="246" y="51"/>
                      </a:cubicBezTo>
                      <a:cubicBezTo>
                        <a:pt x="245" y="52"/>
                        <a:pt x="245" y="52"/>
                        <a:pt x="245" y="52"/>
                      </a:cubicBezTo>
                      <a:cubicBezTo>
                        <a:pt x="245" y="53"/>
                        <a:pt x="245" y="53"/>
                        <a:pt x="245" y="53"/>
                      </a:cubicBezTo>
                      <a:cubicBezTo>
                        <a:pt x="244" y="53"/>
                        <a:pt x="244" y="53"/>
                        <a:pt x="244" y="53"/>
                      </a:cubicBezTo>
                      <a:cubicBezTo>
                        <a:pt x="245" y="53"/>
                        <a:pt x="245" y="53"/>
                        <a:pt x="245" y="53"/>
                      </a:cubicBezTo>
                      <a:cubicBezTo>
                        <a:pt x="246" y="53"/>
                        <a:pt x="246" y="53"/>
                        <a:pt x="246" y="53"/>
                      </a:cubicBezTo>
                      <a:cubicBezTo>
                        <a:pt x="248" y="52"/>
                        <a:pt x="248" y="52"/>
                        <a:pt x="248" y="52"/>
                      </a:cubicBezTo>
                      <a:cubicBezTo>
                        <a:pt x="249" y="52"/>
                        <a:pt x="249" y="52"/>
                        <a:pt x="249" y="52"/>
                      </a:cubicBezTo>
                      <a:cubicBezTo>
                        <a:pt x="250" y="51"/>
                        <a:pt x="250" y="51"/>
                        <a:pt x="250" y="51"/>
                      </a:cubicBezTo>
                      <a:cubicBezTo>
                        <a:pt x="249" y="49"/>
                        <a:pt x="249" y="49"/>
                        <a:pt x="249" y="49"/>
                      </a:cubicBezTo>
                      <a:cubicBezTo>
                        <a:pt x="249" y="48"/>
                        <a:pt x="249" y="48"/>
                        <a:pt x="249" y="48"/>
                      </a:cubicBezTo>
                      <a:cubicBezTo>
                        <a:pt x="248" y="48"/>
                        <a:pt x="248" y="48"/>
                        <a:pt x="248" y="48"/>
                      </a:cubicBezTo>
                      <a:cubicBezTo>
                        <a:pt x="248" y="48"/>
                        <a:pt x="248" y="48"/>
                        <a:pt x="248" y="48"/>
                      </a:cubicBezTo>
                      <a:cubicBezTo>
                        <a:pt x="248" y="47"/>
                        <a:pt x="248" y="47"/>
                        <a:pt x="248" y="47"/>
                      </a:cubicBezTo>
                      <a:cubicBezTo>
                        <a:pt x="248" y="47"/>
                        <a:pt x="248" y="47"/>
                        <a:pt x="248" y="47"/>
                      </a:cubicBezTo>
                      <a:cubicBezTo>
                        <a:pt x="249" y="47"/>
                        <a:pt x="249" y="47"/>
                        <a:pt x="249" y="47"/>
                      </a:cubicBezTo>
                      <a:cubicBezTo>
                        <a:pt x="249" y="47"/>
                        <a:pt x="249" y="47"/>
                        <a:pt x="249" y="47"/>
                      </a:cubicBezTo>
                      <a:cubicBezTo>
                        <a:pt x="250" y="47"/>
                        <a:pt x="250" y="47"/>
                        <a:pt x="250" y="47"/>
                      </a:cubicBezTo>
                      <a:cubicBezTo>
                        <a:pt x="252" y="46"/>
                        <a:pt x="252" y="46"/>
                        <a:pt x="252" y="46"/>
                      </a:cubicBezTo>
                      <a:cubicBezTo>
                        <a:pt x="253" y="45"/>
                        <a:pt x="253" y="45"/>
                        <a:pt x="253" y="45"/>
                      </a:cubicBezTo>
                      <a:cubicBezTo>
                        <a:pt x="253" y="45"/>
                        <a:pt x="253" y="45"/>
                        <a:pt x="253" y="45"/>
                      </a:cubicBezTo>
                      <a:cubicBezTo>
                        <a:pt x="255" y="45"/>
                        <a:pt x="255" y="45"/>
                        <a:pt x="255" y="45"/>
                      </a:cubicBezTo>
                      <a:cubicBezTo>
                        <a:pt x="255" y="44"/>
                        <a:pt x="255" y="44"/>
                        <a:pt x="255" y="44"/>
                      </a:cubicBezTo>
                      <a:cubicBezTo>
                        <a:pt x="256" y="44"/>
                        <a:pt x="256" y="44"/>
                        <a:pt x="256" y="44"/>
                      </a:cubicBezTo>
                      <a:cubicBezTo>
                        <a:pt x="256" y="44"/>
                        <a:pt x="256" y="44"/>
                        <a:pt x="256" y="44"/>
                      </a:cubicBezTo>
                      <a:cubicBezTo>
                        <a:pt x="257" y="43"/>
                        <a:pt x="257" y="43"/>
                        <a:pt x="257" y="43"/>
                      </a:cubicBezTo>
                      <a:cubicBezTo>
                        <a:pt x="258" y="43"/>
                        <a:pt x="258" y="43"/>
                        <a:pt x="258" y="43"/>
                      </a:cubicBezTo>
                      <a:cubicBezTo>
                        <a:pt x="258" y="43"/>
                        <a:pt x="258" y="43"/>
                        <a:pt x="258" y="43"/>
                      </a:cubicBezTo>
                      <a:cubicBezTo>
                        <a:pt x="259" y="43"/>
                        <a:pt x="259" y="43"/>
                        <a:pt x="259" y="43"/>
                      </a:cubicBezTo>
                      <a:cubicBezTo>
                        <a:pt x="259" y="44"/>
                        <a:pt x="259" y="44"/>
                        <a:pt x="259" y="44"/>
                      </a:cubicBezTo>
                      <a:cubicBezTo>
                        <a:pt x="259" y="44"/>
                        <a:pt x="259" y="44"/>
                        <a:pt x="259" y="44"/>
                      </a:cubicBezTo>
                      <a:cubicBezTo>
                        <a:pt x="259" y="45"/>
                        <a:pt x="259" y="45"/>
                        <a:pt x="259" y="45"/>
                      </a:cubicBezTo>
                      <a:cubicBezTo>
                        <a:pt x="261" y="45"/>
                        <a:pt x="261" y="45"/>
                        <a:pt x="261" y="45"/>
                      </a:cubicBezTo>
                      <a:cubicBezTo>
                        <a:pt x="262" y="45"/>
                        <a:pt x="262" y="45"/>
                        <a:pt x="262" y="45"/>
                      </a:cubicBezTo>
                      <a:cubicBezTo>
                        <a:pt x="263" y="45"/>
                        <a:pt x="263" y="45"/>
                        <a:pt x="263" y="45"/>
                      </a:cubicBezTo>
                      <a:cubicBezTo>
                        <a:pt x="266" y="47"/>
                        <a:pt x="266" y="47"/>
                        <a:pt x="266" y="47"/>
                      </a:cubicBezTo>
                      <a:cubicBezTo>
                        <a:pt x="267" y="47"/>
                        <a:pt x="267" y="47"/>
                        <a:pt x="267" y="47"/>
                      </a:cubicBezTo>
                      <a:cubicBezTo>
                        <a:pt x="268" y="48"/>
                        <a:pt x="268" y="48"/>
                        <a:pt x="268" y="48"/>
                      </a:cubicBezTo>
                      <a:cubicBezTo>
                        <a:pt x="268" y="49"/>
                        <a:pt x="268" y="49"/>
                        <a:pt x="268" y="49"/>
                      </a:cubicBezTo>
                      <a:cubicBezTo>
                        <a:pt x="269" y="51"/>
                        <a:pt x="269" y="51"/>
                        <a:pt x="269" y="51"/>
                      </a:cubicBezTo>
                      <a:cubicBezTo>
                        <a:pt x="270" y="50"/>
                        <a:pt x="270" y="50"/>
                        <a:pt x="270" y="50"/>
                      </a:cubicBezTo>
                      <a:cubicBezTo>
                        <a:pt x="270" y="50"/>
                        <a:pt x="270" y="50"/>
                        <a:pt x="270" y="50"/>
                      </a:cubicBezTo>
                      <a:cubicBezTo>
                        <a:pt x="270" y="49"/>
                        <a:pt x="270" y="49"/>
                        <a:pt x="270" y="49"/>
                      </a:cubicBezTo>
                      <a:cubicBezTo>
                        <a:pt x="270" y="49"/>
                        <a:pt x="270" y="49"/>
                        <a:pt x="270" y="49"/>
                      </a:cubicBezTo>
                      <a:cubicBezTo>
                        <a:pt x="270" y="49"/>
                        <a:pt x="270" y="49"/>
                        <a:pt x="270" y="49"/>
                      </a:cubicBezTo>
                      <a:cubicBezTo>
                        <a:pt x="269" y="49"/>
                        <a:pt x="269" y="49"/>
                        <a:pt x="269" y="49"/>
                      </a:cubicBezTo>
                      <a:cubicBezTo>
                        <a:pt x="269" y="48"/>
                        <a:pt x="269" y="48"/>
                        <a:pt x="269" y="48"/>
                      </a:cubicBezTo>
                      <a:cubicBezTo>
                        <a:pt x="270" y="47"/>
                        <a:pt x="270" y="47"/>
                        <a:pt x="270" y="47"/>
                      </a:cubicBezTo>
                      <a:cubicBezTo>
                        <a:pt x="270" y="47"/>
                        <a:pt x="270" y="47"/>
                        <a:pt x="270" y="47"/>
                      </a:cubicBezTo>
                      <a:cubicBezTo>
                        <a:pt x="271" y="48"/>
                        <a:pt x="271" y="48"/>
                        <a:pt x="271" y="48"/>
                      </a:cubicBezTo>
                      <a:cubicBezTo>
                        <a:pt x="272" y="49"/>
                        <a:pt x="272" y="49"/>
                        <a:pt x="272" y="49"/>
                      </a:cubicBezTo>
                      <a:cubicBezTo>
                        <a:pt x="272" y="49"/>
                        <a:pt x="272" y="49"/>
                        <a:pt x="272" y="49"/>
                      </a:cubicBezTo>
                      <a:cubicBezTo>
                        <a:pt x="273" y="50"/>
                        <a:pt x="273" y="50"/>
                        <a:pt x="273" y="50"/>
                      </a:cubicBezTo>
                      <a:cubicBezTo>
                        <a:pt x="273" y="51"/>
                        <a:pt x="273" y="51"/>
                        <a:pt x="273" y="51"/>
                      </a:cubicBezTo>
                      <a:cubicBezTo>
                        <a:pt x="274" y="52"/>
                        <a:pt x="274" y="52"/>
                        <a:pt x="274" y="52"/>
                      </a:cubicBezTo>
                      <a:cubicBezTo>
                        <a:pt x="274" y="51"/>
                        <a:pt x="274" y="51"/>
                        <a:pt x="274" y="51"/>
                      </a:cubicBezTo>
                      <a:cubicBezTo>
                        <a:pt x="275" y="51"/>
                        <a:pt x="275" y="51"/>
                        <a:pt x="275" y="51"/>
                      </a:cubicBezTo>
                      <a:cubicBezTo>
                        <a:pt x="275" y="52"/>
                        <a:pt x="275" y="52"/>
                        <a:pt x="275" y="52"/>
                      </a:cubicBezTo>
                      <a:cubicBezTo>
                        <a:pt x="276" y="52"/>
                        <a:pt x="276" y="52"/>
                        <a:pt x="276" y="52"/>
                      </a:cubicBezTo>
                      <a:cubicBezTo>
                        <a:pt x="276" y="53"/>
                        <a:pt x="276" y="53"/>
                        <a:pt x="276" y="53"/>
                      </a:cubicBezTo>
                      <a:cubicBezTo>
                        <a:pt x="277" y="54"/>
                        <a:pt x="277" y="54"/>
                        <a:pt x="277" y="54"/>
                      </a:cubicBezTo>
                      <a:cubicBezTo>
                        <a:pt x="277" y="55"/>
                        <a:pt x="277" y="55"/>
                        <a:pt x="277" y="55"/>
                      </a:cubicBezTo>
                      <a:cubicBezTo>
                        <a:pt x="276" y="55"/>
                        <a:pt x="276" y="55"/>
                        <a:pt x="276" y="55"/>
                      </a:cubicBezTo>
                      <a:cubicBezTo>
                        <a:pt x="276" y="54"/>
                        <a:pt x="276" y="54"/>
                        <a:pt x="276" y="54"/>
                      </a:cubicBezTo>
                      <a:cubicBezTo>
                        <a:pt x="276" y="54"/>
                        <a:pt x="276" y="54"/>
                        <a:pt x="276" y="54"/>
                      </a:cubicBezTo>
                      <a:cubicBezTo>
                        <a:pt x="275" y="54"/>
                        <a:pt x="275" y="54"/>
                        <a:pt x="275" y="54"/>
                      </a:cubicBezTo>
                      <a:cubicBezTo>
                        <a:pt x="275" y="54"/>
                        <a:pt x="275" y="54"/>
                        <a:pt x="275" y="54"/>
                      </a:cubicBezTo>
                      <a:cubicBezTo>
                        <a:pt x="274" y="54"/>
                        <a:pt x="274" y="54"/>
                        <a:pt x="274" y="54"/>
                      </a:cubicBezTo>
                      <a:cubicBezTo>
                        <a:pt x="273" y="53"/>
                        <a:pt x="273" y="53"/>
                        <a:pt x="273" y="53"/>
                      </a:cubicBezTo>
                      <a:cubicBezTo>
                        <a:pt x="271" y="53"/>
                        <a:pt x="271" y="53"/>
                        <a:pt x="271" y="53"/>
                      </a:cubicBezTo>
                      <a:cubicBezTo>
                        <a:pt x="271" y="53"/>
                        <a:pt x="271" y="53"/>
                        <a:pt x="271" y="53"/>
                      </a:cubicBezTo>
                      <a:cubicBezTo>
                        <a:pt x="272" y="54"/>
                        <a:pt x="272" y="54"/>
                        <a:pt x="272" y="54"/>
                      </a:cubicBezTo>
                      <a:cubicBezTo>
                        <a:pt x="273" y="54"/>
                        <a:pt x="273" y="54"/>
                        <a:pt x="273" y="54"/>
                      </a:cubicBezTo>
                      <a:cubicBezTo>
                        <a:pt x="273" y="55"/>
                        <a:pt x="273" y="55"/>
                        <a:pt x="273" y="55"/>
                      </a:cubicBezTo>
                      <a:cubicBezTo>
                        <a:pt x="273" y="55"/>
                        <a:pt x="273" y="55"/>
                        <a:pt x="273" y="55"/>
                      </a:cubicBezTo>
                      <a:cubicBezTo>
                        <a:pt x="274" y="56"/>
                        <a:pt x="274" y="56"/>
                        <a:pt x="274" y="56"/>
                      </a:cubicBezTo>
                      <a:cubicBezTo>
                        <a:pt x="274" y="56"/>
                        <a:pt x="274" y="56"/>
                        <a:pt x="274" y="56"/>
                      </a:cubicBezTo>
                      <a:cubicBezTo>
                        <a:pt x="275" y="56"/>
                        <a:pt x="275" y="56"/>
                        <a:pt x="275" y="56"/>
                      </a:cubicBezTo>
                      <a:cubicBezTo>
                        <a:pt x="275" y="55"/>
                        <a:pt x="275" y="55"/>
                        <a:pt x="275" y="55"/>
                      </a:cubicBezTo>
                      <a:cubicBezTo>
                        <a:pt x="276" y="55"/>
                        <a:pt x="276" y="55"/>
                        <a:pt x="276" y="55"/>
                      </a:cubicBezTo>
                      <a:cubicBezTo>
                        <a:pt x="276" y="56"/>
                        <a:pt x="276" y="56"/>
                        <a:pt x="276" y="56"/>
                      </a:cubicBezTo>
                      <a:cubicBezTo>
                        <a:pt x="277" y="56"/>
                        <a:pt x="277" y="56"/>
                        <a:pt x="277" y="56"/>
                      </a:cubicBezTo>
                      <a:cubicBezTo>
                        <a:pt x="277" y="56"/>
                        <a:pt x="277" y="56"/>
                        <a:pt x="277" y="56"/>
                      </a:cubicBezTo>
                      <a:cubicBezTo>
                        <a:pt x="278" y="56"/>
                        <a:pt x="278" y="56"/>
                        <a:pt x="278" y="56"/>
                      </a:cubicBezTo>
                      <a:cubicBezTo>
                        <a:pt x="278" y="56"/>
                        <a:pt x="278" y="56"/>
                        <a:pt x="278" y="56"/>
                      </a:cubicBezTo>
                      <a:cubicBezTo>
                        <a:pt x="278" y="57"/>
                        <a:pt x="278" y="57"/>
                        <a:pt x="278" y="57"/>
                      </a:cubicBezTo>
                      <a:cubicBezTo>
                        <a:pt x="278" y="58"/>
                        <a:pt x="278" y="58"/>
                        <a:pt x="278" y="58"/>
                      </a:cubicBezTo>
                      <a:cubicBezTo>
                        <a:pt x="279" y="60"/>
                        <a:pt x="279" y="60"/>
                        <a:pt x="279" y="60"/>
                      </a:cubicBezTo>
                      <a:cubicBezTo>
                        <a:pt x="279" y="61"/>
                        <a:pt x="279" y="61"/>
                        <a:pt x="279" y="61"/>
                      </a:cubicBezTo>
                      <a:cubicBezTo>
                        <a:pt x="278" y="63"/>
                        <a:pt x="278" y="63"/>
                        <a:pt x="278" y="63"/>
                      </a:cubicBezTo>
                      <a:cubicBezTo>
                        <a:pt x="278" y="63"/>
                        <a:pt x="278" y="63"/>
                        <a:pt x="278" y="63"/>
                      </a:cubicBezTo>
                      <a:cubicBezTo>
                        <a:pt x="277" y="64"/>
                        <a:pt x="277" y="64"/>
                        <a:pt x="277" y="64"/>
                      </a:cubicBezTo>
                      <a:cubicBezTo>
                        <a:pt x="278" y="64"/>
                        <a:pt x="278" y="64"/>
                        <a:pt x="278" y="64"/>
                      </a:cubicBezTo>
                      <a:cubicBezTo>
                        <a:pt x="277" y="65"/>
                        <a:pt x="277" y="65"/>
                        <a:pt x="277" y="65"/>
                      </a:cubicBezTo>
                      <a:cubicBezTo>
                        <a:pt x="277" y="66"/>
                        <a:pt x="277" y="66"/>
                        <a:pt x="277" y="66"/>
                      </a:cubicBezTo>
                      <a:cubicBezTo>
                        <a:pt x="277" y="66"/>
                        <a:pt x="277" y="66"/>
                        <a:pt x="277" y="66"/>
                      </a:cubicBezTo>
                      <a:cubicBezTo>
                        <a:pt x="278" y="67"/>
                        <a:pt x="278" y="67"/>
                        <a:pt x="278" y="67"/>
                      </a:cubicBezTo>
                      <a:cubicBezTo>
                        <a:pt x="276" y="68"/>
                        <a:pt x="276" y="68"/>
                        <a:pt x="276" y="68"/>
                      </a:cubicBezTo>
                      <a:cubicBezTo>
                        <a:pt x="276" y="69"/>
                        <a:pt x="276" y="69"/>
                        <a:pt x="276" y="69"/>
                      </a:cubicBezTo>
                      <a:cubicBezTo>
                        <a:pt x="276" y="69"/>
                        <a:pt x="276" y="69"/>
                        <a:pt x="276" y="69"/>
                      </a:cubicBezTo>
                      <a:cubicBezTo>
                        <a:pt x="275" y="70"/>
                        <a:pt x="275" y="70"/>
                        <a:pt x="275" y="70"/>
                      </a:cubicBezTo>
                      <a:cubicBezTo>
                        <a:pt x="275" y="71"/>
                        <a:pt x="275" y="71"/>
                        <a:pt x="275" y="71"/>
                      </a:cubicBezTo>
                      <a:cubicBezTo>
                        <a:pt x="275" y="71"/>
                        <a:pt x="275" y="71"/>
                        <a:pt x="275" y="71"/>
                      </a:cubicBezTo>
                      <a:cubicBezTo>
                        <a:pt x="275" y="72"/>
                        <a:pt x="275" y="72"/>
                        <a:pt x="275" y="72"/>
                      </a:cubicBezTo>
                      <a:cubicBezTo>
                        <a:pt x="274" y="73"/>
                        <a:pt x="274" y="73"/>
                        <a:pt x="274" y="73"/>
                      </a:cubicBezTo>
                      <a:cubicBezTo>
                        <a:pt x="273" y="74"/>
                        <a:pt x="273" y="74"/>
                        <a:pt x="273" y="74"/>
                      </a:cubicBezTo>
                      <a:cubicBezTo>
                        <a:pt x="272" y="74"/>
                        <a:pt x="272" y="74"/>
                        <a:pt x="272" y="74"/>
                      </a:cubicBezTo>
                      <a:cubicBezTo>
                        <a:pt x="273" y="74"/>
                        <a:pt x="273" y="74"/>
                        <a:pt x="273" y="74"/>
                      </a:cubicBezTo>
                      <a:cubicBezTo>
                        <a:pt x="274" y="74"/>
                        <a:pt x="274" y="74"/>
                        <a:pt x="274" y="74"/>
                      </a:cubicBezTo>
                      <a:cubicBezTo>
                        <a:pt x="274" y="73"/>
                        <a:pt x="274" y="73"/>
                        <a:pt x="274" y="73"/>
                      </a:cubicBezTo>
                      <a:cubicBezTo>
                        <a:pt x="274" y="73"/>
                        <a:pt x="274" y="73"/>
                        <a:pt x="274" y="73"/>
                      </a:cubicBezTo>
                      <a:cubicBezTo>
                        <a:pt x="275" y="74"/>
                        <a:pt x="275" y="74"/>
                        <a:pt x="275" y="74"/>
                      </a:cubicBezTo>
                      <a:cubicBezTo>
                        <a:pt x="274" y="76"/>
                        <a:pt x="274" y="76"/>
                        <a:pt x="274" y="76"/>
                      </a:cubicBezTo>
                      <a:cubicBezTo>
                        <a:pt x="273" y="77"/>
                        <a:pt x="273" y="77"/>
                        <a:pt x="273" y="77"/>
                      </a:cubicBezTo>
                      <a:cubicBezTo>
                        <a:pt x="273" y="79"/>
                        <a:pt x="273" y="79"/>
                        <a:pt x="273" y="79"/>
                      </a:cubicBezTo>
                      <a:cubicBezTo>
                        <a:pt x="273" y="80"/>
                        <a:pt x="273" y="80"/>
                        <a:pt x="273" y="80"/>
                      </a:cubicBezTo>
                      <a:cubicBezTo>
                        <a:pt x="274" y="81"/>
                        <a:pt x="274" y="81"/>
                        <a:pt x="274" y="81"/>
                      </a:cubicBezTo>
                      <a:cubicBezTo>
                        <a:pt x="273" y="82"/>
                        <a:pt x="273" y="82"/>
                        <a:pt x="273" y="82"/>
                      </a:cubicBezTo>
                      <a:cubicBezTo>
                        <a:pt x="271" y="83"/>
                        <a:pt x="271" y="83"/>
                        <a:pt x="271" y="83"/>
                      </a:cubicBezTo>
                      <a:cubicBezTo>
                        <a:pt x="271" y="83"/>
                        <a:pt x="271" y="83"/>
                        <a:pt x="271" y="83"/>
                      </a:cubicBezTo>
                      <a:cubicBezTo>
                        <a:pt x="270" y="83"/>
                        <a:pt x="270" y="83"/>
                        <a:pt x="270" y="83"/>
                      </a:cubicBezTo>
                      <a:cubicBezTo>
                        <a:pt x="270" y="83"/>
                        <a:pt x="270" y="83"/>
                        <a:pt x="270" y="83"/>
                      </a:cubicBezTo>
                      <a:cubicBezTo>
                        <a:pt x="270" y="84"/>
                        <a:pt x="270" y="84"/>
                        <a:pt x="270" y="84"/>
                      </a:cubicBezTo>
                      <a:cubicBezTo>
                        <a:pt x="271" y="86"/>
                        <a:pt x="271" y="86"/>
                        <a:pt x="271" y="86"/>
                      </a:cubicBezTo>
                      <a:cubicBezTo>
                        <a:pt x="271" y="86"/>
                        <a:pt x="271" y="86"/>
                        <a:pt x="271" y="86"/>
                      </a:cubicBezTo>
                      <a:cubicBezTo>
                        <a:pt x="270" y="87"/>
                        <a:pt x="270" y="87"/>
                        <a:pt x="270" y="87"/>
                      </a:cubicBezTo>
                      <a:cubicBezTo>
                        <a:pt x="269" y="88"/>
                        <a:pt x="269" y="88"/>
                        <a:pt x="269" y="88"/>
                      </a:cubicBezTo>
                      <a:cubicBezTo>
                        <a:pt x="270" y="89"/>
                        <a:pt x="270" y="89"/>
                        <a:pt x="270" y="89"/>
                      </a:cubicBezTo>
                      <a:cubicBezTo>
                        <a:pt x="270" y="90"/>
                        <a:pt x="270" y="90"/>
                        <a:pt x="270" y="90"/>
                      </a:cubicBezTo>
                      <a:cubicBezTo>
                        <a:pt x="269" y="91"/>
                        <a:pt x="269" y="91"/>
                        <a:pt x="269" y="91"/>
                      </a:cubicBezTo>
                      <a:cubicBezTo>
                        <a:pt x="269" y="91"/>
                        <a:pt x="269" y="91"/>
                        <a:pt x="269" y="91"/>
                      </a:cubicBezTo>
                      <a:cubicBezTo>
                        <a:pt x="270" y="92"/>
                        <a:pt x="270" y="92"/>
                        <a:pt x="270" y="92"/>
                      </a:cubicBezTo>
                      <a:cubicBezTo>
                        <a:pt x="269" y="94"/>
                        <a:pt x="269" y="94"/>
                        <a:pt x="269" y="94"/>
                      </a:cubicBezTo>
                      <a:cubicBezTo>
                        <a:pt x="269" y="95"/>
                        <a:pt x="269" y="95"/>
                        <a:pt x="269" y="95"/>
                      </a:cubicBezTo>
                      <a:cubicBezTo>
                        <a:pt x="268" y="95"/>
                        <a:pt x="268" y="95"/>
                        <a:pt x="268" y="95"/>
                      </a:cubicBezTo>
                      <a:cubicBezTo>
                        <a:pt x="269" y="95"/>
                        <a:pt x="269" y="95"/>
                        <a:pt x="269" y="95"/>
                      </a:cubicBezTo>
                      <a:cubicBezTo>
                        <a:pt x="270" y="95"/>
                        <a:pt x="270" y="95"/>
                        <a:pt x="270" y="95"/>
                      </a:cubicBezTo>
                      <a:cubicBezTo>
                        <a:pt x="270" y="94"/>
                        <a:pt x="270" y="94"/>
                        <a:pt x="270" y="94"/>
                      </a:cubicBezTo>
                      <a:cubicBezTo>
                        <a:pt x="271" y="93"/>
                        <a:pt x="271" y="93"/>
                        <a:pt x="271" y="93"/>
                      </a:cubicBezTo>
                      <a:cubicBezTo>
                        <a:pt x="271" y="93"/>
                        <a:pt x="271" y="93"/>
                        <a:pt x="271" y="93"/>
                      </a:cubicBezTo>
                      <a:cubicBezTo>
                        <a:pt x="271" y="92"/>
                        <a:pt x="271" y="92"/>
                        <a:pt x="271" y="92"/>
                      </a:cubicBezTo>
                      <a:cubicBezTo>
                        <a:pt x="272" y="92"/>
                        <a:pt x="272" y="92"/>
                        <a:pt x="272" y="92"/>
                      </a:cubicBezTo>
                      <a:cubicBezTo>
                        <a:pt x="273" y="92"/>
                        <a:pt x="273" y="92"/>
                        <a:pt x="273" y="92"/>
                      </a:cubicBezTo>
                      <a:cubicBezTo>
                        <a:pt x="272" y="92"/>
                        <a:pt x="272" y="92"/>
                        <a:pt x="272" y="92"/>
                      </a:cubicBezTo>
                      <a:cubicBezTo>
                        <a:pt x="271" y="90"/>
                        <a:pt x="271" y="90"/>
                        <a:pt x="271" y="90"/>
                      </a:cubicBezTo>
                      <a:cubicBezTo>
                        <a:pt x="270" y="89"/>
                        <a:pt x="270" y="89"/>
                        <a:pt x="270" y="89"/>
                      </a:cubicBezTo>
                      <a:cubicBezTo>
                        <a:pt x="271" y="88"/>
                        <a:pt x="271" y="88"/>
                        <a:pt x="271" y="88"/>
                      </a:cubicBezTo>
                      <a:cubicBezTo>
                        <a:pt x="272" y="88"/>
                        <a:pt x="272" y="88"/>
                        <a:pt x="272" y="88"/>
                      </a:cubicBezTo>
                      <a:cubicBezTo>
                        <a:pt x="274" y="88"/>
                        <a:pt x="274" y="88"/>
                        <a:pt x="274" y="88"/>
                      </a:cubicBezTo>
                      <a:cubicBezTo>
                        <a:pt x="275" y="87"/>
                        <a:pt x="275" y="87"/>
                        <a:pt x="275" y="87"/>
                      </a:cubicBezTo>
                      <a:cubicBezTo>
                        <a:pt x="276" y="87"/>
                        <a:pt x="276" y="87"/>
                        <a:pt x="276" y="87"/>
                      </a:cubicBezTo>
                      <a:cubicBezTo>
                        <a:pt x="277" y="86"/>
                        <a:pt x="277" y="86"/>
                        <a:pt x="277" y="86"/>
                      </a:cubicBezTo>
                      <a:cubicBezTo>
                        <a:pt x="276" y="86"/>
                        <a:pt x="276" y="86"/>
                        <a:pt x="276" y="86"/>
                      </a:cubicBezTo>
                      <a:cubicBezTo>
                        <a:pt x="278" y="85"/>
                        <a:pt x="278" y="85"/>
                        <a:pt x="278" y="85"/>
                      </a:cubicBezTo>
                      <a:cubicBezTo>
                        <a:pt x="278" y="84"/>
                        <a:pt x="278" y="84"/>
                        <a:pt x="278" y="84"/>
                      </a:cubicBezTo>
                      <a:cubicBezTo>
                        <a:pt x="278" y="83"/>
                        <a:pt x="278" y="83"/>
                        <a:pt x="278" y="83"/>
                      </a:cubicBezTo>
                      <a:cubicBezTo>
                        <a:pt x="278" y="82"/>
                        <a:pt x="278" y="82"/>
                        <a:pt x="278" y="82"/>
                      </a:cubicBezTo>
                      <a:cubicBezTo>
                        <a:pt x="279" y="83"/>
                        <a:pt x="279" y="83"/>
                        <a:pt x="279" y="83"/>
                      </a:cubicBezTo>
                      <a:cubicBezTo>
                        <a:pt x="280" y="83"/>
                        <a:pt x="280" y="83"/>
                        <a:pt x="280" y="83"/>
                      </a:cubicBezTo>
                      <a:cubicBezTo>
                        <a:pt x="281" y="82"/>
                        <a:pt x="281" y="82"/>
                        <a:pt x="281" y="82"/>
                      </a:cubicBezTo>
                      <a:cubicBezTo>
                        <a:pt x="280" y="81"/>
                        <a:pt x="280" y="81"/>
                        <a:pt x="280" y="81"/>
                      </a:cubicBezTo>
                      <a:cubicBezTo>
                        <a:pt x="282" y="80"/>
                        <a:pt x="282" y="80"/>
                        <a:pt x="282" y="80"/>
                      </a:cubicBezTo>
                      <a:cubicBezTo>
                        <a:pt x="282" y="79"/>
                        <a:pt x="282" y="79"/>
                        <a:pt x="282" y="79"/>
                      </a:cubicBezTo>
                      <a:cubicBezTo>
                        <a:pt x="282" y="78"/>
                        <a:pt x="282" y="78"/>
                        <a:pt x="282" y="78"/>
                      </a:cubicBezTo>
                      <a:cubicBezTo>
                        <a:pt x="280" y="79"/>
                        <a:pt x="280" y="79"/>
                        <a:pt x="280" y="79"/>
                      </a:cubicBezTo>
                      <a:cubicBezTo>
                        <a:pt x="280" y="80"/>
                        <a:pt x="280" y="80"/>
                        <a:pt x="280" y="80"/>
                      </a:cubicBezTo>
                      <a:cubicBezTo>
                        <a:pt x="278" y="81"/>
                        <a:pt x="278" y="81"/>
                        <a:pt x="278" y="81"/>
                      </a:cubicBezTo>
                      <a:cubicBezTo>
                        <a:pt x="277" y="80"/>
                        <a:pt x="277" y="80"/>
                        <a:pt x="277" y="80"/>
                      </a:cubicBezTo>
                      <a:cubicBezTo>
                        <a:pt x="276" y="79"/>
                        <a:pt x="276" y="79"/>
                        <a:pt x="276" y="79"/>
                      </a:cubicBezTo>
                      <a:cubicBezTo>
                        <a:pt x="277" y="78"/>
                        <a:pt x="277" y="78"/>
                        <a:pt x="277" y="78"/>
                      </a:cubicBezTo>
                      <a:cubicBezTo>
                        <a:pt x="277" y="77"/>
                        <a:pt x="277" y="77"/>
                        <a:pt x="277" y="77"/>
                      </a:cubicBezTo>
                      <a:cubicBezTo>
                        <a:pt x="278" y="76"/>
                        <a:pt x="278" y="76"/>
                        <a:pt x="278" y="76"/>
                      </a:cubicBezTo>
                      <a:cubicBezTo>
                        <a:pt x="279" y="76"/>
                        <a:pt x="279" y="76"/>
                        <a:pt x="279" y="76"/>
                      </a:cubicBezTo>
                      <a:cubicBezTo>
                        <a:pt x="281" y="77"/>
                        <a:pt x="281" y="77"/>
                        <a:pt x="281" y="77"/>
                      </a:cubicBezTo>
                      <a:cubicBezTo>
                        <a:pt x="282" y="76"/>
                        <a:pt x="282" y="76"/>
                        <a:pt x="282" y="76"/>
                      </a:cubicBezTo>
                      <a:cubicBezTo>
                        <a:pt x="282" y="75"/>
                        <a:pt x="282" y="75"/>
                        <a:pt x="282" y="75"/>
                      </a:cubicBezTo>
                      <a:cubicBezTo>
                        <a:pt x="283" y="75"/>
                        <a:pt x="283" y="75"/>
                        <a:pt x="283" y="75"/>
                      </a:cubicBezTo>
                      <a:cubicBezTo>
                        <a:pt x="283" y="75"/>
                        <a:pt x="283" y="75"/>
                        <a:pt x="283" y="75"/>
                      </a:cubicBezTo>
                      <a:cubicBezTo>
                        <a:pt x="282" y="76"/>
                        <a:pt x="282" y="76"/>
                        <a:pt x="282" y="76"/>
                      </a:cubicBezTo>
                      <a:cubicBezTo>
                        <a:pt x="283" y="77"/>
                        <a:pt x="283" y="77"/>
                        <a:pt x="283" y="77"/>
                      </a:cubicBezTo>
                      <a:cubicBezTo>
                        <a:pt x="285" y="79"/>
                        <a:pt x="285" y="79"/>
                        <a:pt x="285" y="79"/>
                      </a:cubicBezTo>
                      <a:cubicBezTo>
                        <a:pt x="286" y="79"/>
                        <a:pt x="286" y="79"/>
                        <a:pt x="286" y="79"/>
                      </a:cubicBezTo>
                      <a:cubicBezTo>
                        <a:pt x="287" y="78"/>
                        <a:pt x="287" y="78"/>
                        <a:pt x="287" y="78"/>
                      </a:cubicBezTo>
                      <a:cubicBezTo>
                        <a:pt x="289" y="78"/>
                        <a:pt x="289" y="78"/>
                        <a:pt x="289" y="78"/>
                      </a:cubicBezTo>
                      <a:cubicBezTo>
                        <a:pt x="290" y="77"/>
                        <a:pt x="290" y="77"/>
                        <a:pt x="290" y="77"/>
                      </a:cubicBezTo>
                      <a:cubicBezTo>
                        <a:pt x="289" y="76"/>
                        <a:pt x="289" y="76"/>
                        <a:pt x="289" y="76"/>
                      </a:cubicBezTo>
                      <a:cubicBezTo>
                        <a:pt x="288" y="75"/>
                        <a:pt x="288" y="75"/>
                        <a:pt x="288" y="75"/>
                      </a:cubicBezTo>
                      <a:cubicBezTo>
                        <a:pt x="288" y="74"/>
                        <a:pt x="288" y="74"/>
                        <a:pt x="288" y="74"/>
                      </a:cubicBezTo>
                      <a:cubicBezTo>
                        <a:pt x="288" y="74"/>
                        <a:pt x="288" y="74"/>
                        <a:pt x="288" y="74"/>
                      </a:cubicBezTo>
                      <a:cubicBezTo>
                        <a:pt x="290" y="76"/>
                        <a:pt x="290" y="76"/>
                        <a:pt x="290" y="76"/>
                      </a:cubicBezTo>
                      <a:cubicBezTo>
                        <a:pt x="291" y="76"/>
                        <a:pt x="291" y="76"/>
                        <a:pt x="291" y="76"/>
                      </a:cubicBezTo>
                      <a:cubicBezTo>
                        <a:pt x="292" y="77"/>
                        <a:pt x="292" y="77"/>
                        <a:pt x="292" y="77"/>
                      </a:cubicBezTo>
                      <a:cubicBezTo>
                        <a:pt x="292" y="78"/>
                        <a:pt x="292" y="78"/>
                        <a:pt x="292" y="78"/>
                      </a:cubicBezTo>
                      <a:cubicBezTo>
                        <a:pt x="292" y="78"/>
                        <a:pt x="292" y="78"/>
                        <a:pt x="292" y="78"/>
                      </a:cubicBezTo>
                      <a:cubicBezTo>
                        <a:pt x="293" y="79"/>
                        <a:pt x="293" y="79"/>
                        <a:pt x="293" y="79"/>
                      </a:cubicBezTo>
                      <a:cubicBezTo>
                        <a:pt x="293" y="81"/>
                        <a:pt x="293" y="81"/>
                        <a:pt x="293" y="81"/>
                      </a:cubicBezTo>
                      <a:cubicBezTo>
                        <a:pt x="294" y="81"/>
                        <a:pt x="294" y="81"/>
                        <a:pt x="294" y="81"/>
                      </a:cubicBezTo>
                      <a:cubicBezTo>
                        <a:pt x="294" y="81"/>
                        <a:pt x="294" y="81"/>
                        <a:pt x="294" y="81"/>
                      </a:cubicBezTo>
                      <a:cubicBezTo>
                        <a:pt x="295" y="80"/>
                        <a:pt x="295" y="80"/>
                        <a:pt x="295" y="80"/>
                      </a:cubicBezTo>
                      <a:cubicBezTo>
                        <a:pt x="295" y="80"/>
                        <a:pt x="295" y="80"/>
                        <a:pt x="295" y="80"/>
                      </a:cubicBezTo>
                      <a:cubicBezTo>
                        <a:pt x="296" y="79"/>
                        <a:pt x="296" y="79"/>
                        <a:pt x="296" y="79"/>
                      </a:cubicBezTo>
                      <a:cubicBezTo>
                        <a:pt x="295" y="79"/>
                        <a:pt x="295" y="79"/>
                        <a:pt x="295" y="79"/>
                      </a:cubicBezTo>
                      <a:cubicBezTo>
                        <a:pt x="294" y="79"/>
                        <a:pt x="294" y="79"/>
                        <a:pt x="294" y="79"/>
                      </a:cubicBezTo>
                      <a:cubicBezTo>
                        <a:pt x="294" y="79"/>
                        <a:pt x="294" y="79"/>
                        <a:pt x="294" y="79"/>
                      </a:cubicBezTo>
                      <a:cubicBezTo>
                        <a:pt x="293" y="78"/>
                        <a:pt x="293" y="78"/>
                        <a:pt x="293" y="78"/>
                      </a:cubicBezTo>
                      <a:cubicBezTo>
                        <a:pt x="294" y="77"/>
                        <a:pt x="294" y="77"/>
                        <a:pt x="294" y="77"/>
                      </a:cubicBezTo>
                      <a:cubicBezTo>
                        <a:pt x="295" y="76"/>
                        <a:pt x="295" y="76"/>
                        <a:pt x="295" y="76"/>
                      </a:cubicBezTo>
                      <a:cubicBezTo>
                        <a:pt x="296" y="76"/>
                        <a:pt x="296" y="76"/>
                        <a:pt x="296" y="76"/>
                      </a:cubicBezTo>
                      <a:cubicBezTo>
                        <a:pt x="296" y="76"/>
                        <a:pt x="296" y="76"/>
                        <a:pt x="296" y="76"/>
                      </a:cubicBezTo>
                      <a:cubicBezTo>
                        <a:pt x="297" y="75"/>
                        <a:pt x="297" y="75"/>
                        <a:pt x="297" y="75"/>
                      </a:cubicBezTo>
                      <a:cubicBezTo>
                        <a:pt x="299" y="75"/>
                        <a:pt x="299" y="75"/>
                        <a:pt x="299" y="75"/>
                      </a:cubicBezTo>
                      <a:cubicBezTo>
                        <a:pt x="302" y="74"/>
                        <a:pt x="302" y="74"/>
                        <a:pt x="302" y="74"/>
                      </a:cubicBezTo>
                      <a:cubicBezTo>
                        <a:pt x="306" y="74"/>
                        <a:pt x="306" y="74"/>
                        <a:pt x="306" y="74"/>
                      </a:cubicBezTo>
                      <a:cubicBezTo>
                        <a:pt x="309" y="73"/>
                        <a:pt x="309" y="73"/>
                        <a:pt x="309" y="73"/>
                      </a:cubicBezTo>
                      <a:cubicBezTo>
                        <a:pt x="310" y="73"/>
                        <a:pt x="310" y="73"/>
                        <a:pt x="310" y="73"/>
                      </a:cubicBezTo>
                      <a:cubicBezTo>
                        <a:pt x="311" y="73"/>
                        <a:pt x="311" y="73"/>
                        <a:pt x="311" y="73"/>
                      </a:cubicBezTo>
                      <a:cubicBezTo>
                        <a:pt x="311" y="74"/>
                        <a:pt x="311" y="74"/>
                        <a:pt x="311" y="74"/>
                      </a:cubicBezTo>
                      <a:cubicBezTo>
                        <a:pt x="311" y="74"/>
                        <a:pt x="311" y="74"/>
                        <a:pt x="311" y="74"/>
                      </a:cubicBezTo>
                      <a:cubicBezTo>
                        <a:pt x="310" y="75"/>
                        <a:pt x="310" y="75"/>
                        <a:pt x="310" y="75"/>
                      </a:cubicBezTo>
                      <a:cubicBezTo>
                        <a:pt x="311" y="77"/>
                        <a:pt x="311" y="77"/>
                        <a:pt x="311" y="77"/>
                      </a:cubicBezTo>
                      <a:cubicBezTo>
                        <a:pt x="312" y="77"/>
                        <a:pt x="312" y="77"/>
                        <a:pt x="312" y="77"/>
                      </a:cubicBezTo>
                      <a:cubicBezTo>
                        <a:pt x="316" y="78"/>
                        <a:pt x="316" y="78"/>
                        <a:pt x="316" y="78"/>
                      </a:cubicBezTo>
                      <a:cubicBezTo>
                        <a:pt x="317" y="78"/>
                        <a:pt x="317" y="78"/>
                        <a:pt x="317" y="78"/>
                      </a:cubicBezTo>
                      <a:cubicBezTo>
                        <a:pt x="318" y="78"/>
                        <a:pt x="318" y="78"/>
                        <a:pt x="318" y="78"/>
                      </a:cubicBezTo>
                      <a:cubicBezTo>
                        <a:pt x="319" y="78"/>
                        <a:pt x="319" y="78"/>
                        <a:pt x="319" y="78"/>
                      </a:cubicBezTo>
                      <a:cubicBezTo>
                        <a:pt x="320" y="78"/>
                        <a:pt x="320" y="78"/>
                        <a:pt x="320" y="78"/>
                      </a:cubicBezTo>
                      <a:cubicBezTo>
                        <a:pt x="323" y="78"/>
                        <a:pt x="323" y="78"/>
                        <a:pt x="323" y="78"/>
                      </a:cubicBezTo>
                      <a:cubicBezTo>
                        <a:pt x="325" y="77"/>
                        <a:pt x="325" y="77"/>
                        <a:pt x="325" y="77"/>
                      </a:cubicBezTo>
                      <a:cubicBezTo>
                        <a:pt x="326" y="77"/>
                        <a:pt x="326" y="77"/>
                        <a:pt x="326" y="77"/>
                      </a:cubicBezTo>
                      <a:cubicBezTo>
                        <a:pt x="327" y="77"/>
                        <a:pt x="327" y="77"/>
                        <a:pt x="327" y="77"/>
                      </a:cubicBezTo>
                      <a:cubicBezTo>
                        <a:pt x="328" y="76"/>
                        <a:pt x="328" y="76"/>
                        <a:pt x="328" y="76"/>
                      </a:cubicBezTo>
                      <a:cubicBezTo>
                        <a:pt x="327" y="75"/>
                        <a:pt x="327" y="75"/>
                        <a:pt x="327" y="75"/>
                      </a:cubicBezTo>
                      <a:cubicBezTo>
                        <a:pt x="328" y="75"/>
                        <a:pt x="328" y="75"/>
                        <a:pt x="328" y="75"/>
                      </a:cubicBezTo>
                      <a:cubicBezTo>
                        <a:pt x="329" y="75"/>
                        <a:pt x="329" y="75"/>
                        <a:pt x="329" y="75"/>
                      </a:cubicBezTo>
                      <a:cubicBezTo>
                        <a:pt x="330" y="75"/>
                        <a:pt x="330" y="75"/>
                        <a:pt x="330" y="75"/>
                      </a:cubicBezTo>
                      <a:cubicBezTo>
                        <a:pt x="331" y="76"/>
                        <a:pt x="331" y="76"/>
                        <a:pt x="331" y="76"/>
                      </a:cubicBezTo>
                      <a:cubicBezTo>
                        <a:pt x="331" y="76"/>
                        <a:pt x="331" y="76"/>
                        <a:pt x="331" y="76"/>
                      </a:cubicBezTo>
                      <a:cubicBezTo>
                        <a:pt x="332" y="75"/>
                        <a:pt x="332" y="75"/>
                        <a:pt x="332" y="75"/>
                      </a:cubicBezTo>
                      <a:cubicBezTo>
                        <a:pt x="331" y="74"/>
                        <a:pt x="331" y="74"/>
                        <a:pt x="331" y="74"/>
                      </a:cubicBezTo>
                      <a:cubicBezTo>
                        <a:pt x="331" y="74"/>
                        <a:pt x="331" y="74"/>
                        <a:pt x="331" y="74"/>
                      </a:cubicBezTo>
                      <a:cubicBezTo>
                        <a:pt x="331" y="73"/>
                        <a:pt x="331" y="73"/>
                        <a:pt x="331" y="73"/>
                      </a:cubicBezTo>
                      <a:cubicBezTo>
                        <a:pt x="330" y="72"/>
                        <a:pt x="330" y="72"/>
                        <a:pt x="330" y="72"/>
                      </a:cubicBezTo>
                      <a:cubicBezTo>
                        <a:pt x="329" y="72"/>
                        <a:pt x="329" y="72"/>
                        <a:pt x="329" y="72"/>
                      </a:cubicBezTo>
                      <a:cubicBezTo>
                        <a:pt x="329" y="71"/>
                        <a:pt x="329" y="71"/>
                        <a:pt x="329" y="71"/>
                      </a:cubicBezTo>
                      <a:cubicBezTo>
                        <a:pt x="328" y="71"/>
                        <a:pt x="328" y="71"/>
                        <a:pt x="328" y="71"/>
                      </a:cubicBezTo>
                      <a:cubicBezTo>
                        <a:pt x="328" y="70"/>
                        <a:pt x="328" y="70"/>
                        <a:pt x="328" y="70"/>
                      </a:cubicBezTo>
                      <a:cubicBezTo>
                        <a:pt x="328" y="69"/>
                        <a:pt x="328" y="69"/>
                        <a:pt x="328" y="69"/>
                      </a:cubicBezTo>
                      <a:cubicBezTo>
                        <a:pt x="327" y="68"/>
                        <a:pt x="327" y="68"/>
                        <a:pt x="327" y="68"/>
                      </a:cubicBezTo>
                      <a:cubicBezTo>
                        <a:pt x="328" y="67"/>
                        <a:pt x="328" y="67"/>
                        <a:pt x="328" y="67"/>
                      </a:cubicBezTo>
                      <a:cubicBezTo>
                        <a:pt x="328" y="68"/>
                        <a:pt x="328" y="68"/>
                        <a:pt x="328" y="68"/>
                      </a:cubicBezTo>
                      <a:cubicBezTo>
                        <a:pt x="329" y="68"/>
                        <a:pt x="329" y="68"/>
                        <a:pt x="329" y="68"/>
                      </a:cubicBezTo>
                      <a:cubicBezTo>
                        <a:pt x="330" y="67"/>
                        <a:pt x="330" y="67"/>
                        <a:pt x="330" y="67"/>
                      </a:cubicBezTo>
                      <a:cubicBezTo>
                        <a:pt x="329" y="67"/>
                        <a:pt x="329" y="67"/>
                        <a:pt x="329" y="67"/>
                      </a:cubicBezTo>
                      <a:cubicBezTo>
                        <a:pt x="329" y="66"/>
                        <a:pt x="329" y="66"/>
                        <a:pt x="329" y="66"/>
                      </a:cubicBezTo>
                      <a:cubicBezTo>
                        <a:pt x="330" y="66"/>
                        <a:pt x="330" y="66"/>
                        <a:pt x="330" y="66"/>
                      </a:cubicBezTo>
                      <a:cubicBezTo>
                        <a:pt x="331" y="67"/>
                        <a:pt x="331" y="67"/>
                        <a:pt x="331" y="67"/>
                      </a:cubicBezTo>
                      <a:cubicBezTo>
                        <a:pt x="332" y="66"/>
                        <a:pt x="332" y="66"/>
                        <a:pt x="332" y="66"/>
                      </a:cubicBezTo>
                      <a:cubicBezTo>
                        <a:pt x="332" y="66"/>
                        <a:pt x="332" y="66"/>
                        <a:pt x="332" y="66"/>
                      </a:cubicBezTo>
                      <a:cubicBezTo>
                        <a:pt x="332" y="66"/>
                        <a:pt x="332" y="66"/>
                        <a:pt x="332" y="66"/>
                      </a:cubicBezTo>
                      <a:cubicBezTo>
                        <a:pt x="333" y="66"/>
                        <a:pt x="333" y="66"/>
                        <a:pt x="333" y="66"/>
                      </a:cubicBezTo>
                      <a:cubicBezTo>
                        <a:pt x="334" y="66"/>
                        <a:pt x="334" y="66"/>
                        <a:pt x="334" y="66"/>
                      </a:cubicBezTo>
                      <a:cubicBezTo>
                        <a:pt x="334" y="65"/>
                        <a:pt x="334" y="65"/>
                        <a:pt x="334" y="65"/>
                      </a:cubicBezTo>
                      <a:cubicBezTo>
                        <a:pt x="335" y="66"/>
                        <a:pt x="335" y="66"/>
                        <a:pt x="335" y="66"/>
                      </a:cubicBezTo>
                      <a:cubicBezTo>
                        <a:pt x="336" y="67"/>
                        <a:pt x="336" y="67"/>
                        <a:pt x="336" y="67"/>
                      </a:cubicBezTo>
                      <a:cubicBezTo>
                        <a:pt x="337" y="67"/>
                        <a:pt x="337" y="67"/>
                        <a:pt x="337" y="67"/>
                      </a:cubicBezTo>
                      <a:cubicBezTo>
                        <a:pt x="337" y="67"/>
                        <a:pt x="337" y="67"/>
                        <a:pt x="337" y="67"/>
                      </a:cubicBezTo>
                      <a:cubicBezTo>
                        <a:pt x="337" y="66"/>
                        <a:pt x="337" y="66"/>
                        <a:pt x="337" y="66"/>
                      </a:cubicBezTo>
                      <a:cubicBezTo>
                        <a:pt x="338" y="66"/>
                        <a:pt x="338" y="66"/>
                        <a:pt x="338" y="66"/>
                      </a:cubicBezTo>
                      <a:cubicBezTo>
                        <a:pt x="339" y="67"/>
                        <a:pt x="339" y="67"/>
                        <a:pt x="339" y="67"/>
                      </a:cubicBezTo>
                      <a:cubicBezTo>
                        <a:pt x="338" y="68"/>
                        <a:pt x="338" y="68"/>
                        <a:pt x="338" y="68"/>
                      </a:cubicBezTo>
                      <a:cubicBezTo>
                        <a:pt x="338" y="68"/>
                        <a:pt x="338" y="68"/>
                        <a:pt x="338" y="68"/>
                      </a:cubicBezTo>
                      <a:cubicBezTo>
                        <a:pt x="338" y="68"/>
                        <a:pt x="338" y="68"/>
                        <a:pt x="338" y="68"/>
                      </a:cubicBezTo>
                      <a:cubicBezTo>
                        <a:pt x="339" y="68"/>
                        <a:pt x="339" y="68"/>
                        <a:pt x="339" y="68"/>
                      </a:cubicBezTo>
                      <a:cubicBezTo>
                        <a:pt x="339" y="68"/>
                        <a:pt x="339" y="68"/>
                        <a:pt x="339" y="68"/>
                      </a:cubicBezTo>
                      <a:cubicBezTo>
                        <a:pt x="339" y="68"/>
                        <a:pt x="339" y="68"/>
                        <a:pt x="339" y="68"/>
                      </a:cubicBezTo>
                      <a:cubicBezTo>
                        <a:pt x="340" y="68"/>
                        <a:pt x="340" y="68"/>
                        <a:pt x="340" y="68"/>
                      </a:cubicBezTo>
                      <a:cubicBezTo>
                        <a:pt x="340" y="68"/>
                        <a:pt x="340" y="68"/>
                        <a:pt x="340" y="68"/>
                      </a:cubicBezTo>
                      <a:cubicBezTo>
                        <a:pt x="340" y="67"/>
                        <a:pt x="340" y="67"/>
                        <a:pt x="340" y="67"/>
                      </a:cubicBezTo>
                      <a:cubicBezTo>
                        <a:pt x="340" y="66"/>
                        <a:pt x="340" y="66"/>
                        <a:pt x="340" y="66"/>
                      </a:cubicBezTo>
                      <a:cubicBezTo>
                        <a:pt x="340" y="66"/>
                        <a:pt x="340" y="66"/>
                        <a:pt x="340" y="66"/>
                      </a:cubicBezTo>
                      <a:cubicBezTo>
                        <a:pt x="341" y="66"/>
                        <a:pt x="341" y="66"/>
                        <a:pt x="341" y="66"/>
                      </a:cubicBezTo>
                      <a:cubicBezTo>
                        <a:pt x="342" y="66"/>
                        <a:pt x="342" y="66"/>
                        <a:pt x="342" y="66"/>
                      </a:cubicBezTo>
                      <a:cubicBezTo>
                        <a:pt x="343" y="66"/>
                        <a:pt x="343" y="66"/>
                        <a:pt x="343" y="66"/>
                      </a:cubicBezTo>
                      <a:cubicBezTo>
                        <a:pt x="343" y="66"/>
                        <a:pt x="343" y="66"/>
                        <a:pt x="343" y="66"/>
                      </a:cubicBezTo>
                      <a:cubicBezTo>
                        <a:pt x="344" y="66"/>
                        <a:pt x="344" y="66"/>
                        <a:pt x="344" y="66"/>
                      </a:cubicBezTo>
                      <a:cubicBezTo>
                        <a:pt x="344" y="66"/>
                        <a:pt x="344" y="66"/>
                        <a:pt x="344" y="66"/>
                      </a:cubicBezTo>
                      <a:cubicBezTo>
                        <a:pt x="345" y="68"/>
                        <a:pt x="345" y="68"/>
                        <a:pt x="345" y="68"/>
                      </a:cubicBezTo>
                      <a:cubicBezTo>
                        <a:pt x="345" y="67"/>
                        <a:pt x="345" y="67"/>
                        <a:pt x="345" y="67"/>
                      </a:cubicBezTo>
                      <a:cubicBezTo>
                        <a:pt x="345" y="67"/>
                        <a:pt x="345" y="67"/>
                        <a:pt x="345" y="67"/>
                      </a:cubicBezTo>
                      <a:cubicBezTo>
                        <a:pt x="346" y="66"/>
                        <a:pt x="346" y="66"/>
                        <a:pt x="346" y="66"/>
                      </a:cubicBezTo>
                      <a:cubicBezTo>
                        <a:pt x="347" y="67"/>
                        <a:pt x="347" y="67"/>
                        <a:pt x="347" y="67"/>
                      </a:cubicBezTo>
                      <a:cubicBezTo>
                        <a:pt x="347" y="67"/>
                        <a:pt x="347" y="67"/>
                        <a:pt x="347" y="67"/>
                      </a:cubicBezTo>
                      <a:cubicBezTo>
                        <a:pt x="348" y="67"/>
                        <a:pt x="348" y="67"/>
                        <a:pt x="348" y="67"/>
                      </a:cubicBezTo>
                      <a:cubicBezTo>
                        <a:pt x="349" y="68"/>
                        <a:pt x="349" y="68"/>
                        <a:pt x="349" y="68"/>
                      </a:cubicBezTo>
                      <a:cubicBezTo>
                        <a:pt x="349" y="69"/>
                        <a:pt x="349" y="69"/>
                        <a:pt x="349" y="69"/>
                      </a:cubicBezTo>
                      <a:cubicBezTo>
                        <a:pt x="350" y="68"/>
                        <a:pt x="350" y="68"/>
                        <a:pt x="350" y="68"/>
                      </a:cubicBezTo>
                      <a:cubicBezTo>
                        <a:pt x="350" y="68"/>
                        <a:pt x="350" y="68"/>
                        <a:pt x="350" y="68"/>
                      </a:cubicBezTo>
                      <a:cubicBezTo>
                        <a:pt x="351" y="68"/>
                        <a:pt x="351" y="68"/>
                        <a:pt x="351" y="68"/>
                      </a:cubicBezTo>
                      <a:cubicBezTo>
                        <a:pt x="350" y="69"/>
                        <a:pt x="350" y="69"/>
                        <a:pt x="350" y="69"/>
                      </a:cubicBezTo>
                      <a:cubicBezTo>
                        <a:pt x="351" y="70"/>
                        <a:pt x="351" y="70"/>
                        <a:pt x="351" y="70"/>
                      </a:cubicBezTo>
                      <a:cubicBezTo>
                        <a:pt x="351" y="70"/>
                        <a:pt x="351" y="70"/>
                        <a:pt x="351" y="70"/>
                      </a:cubicBezTo>
                      <a:cubicBezTo>
                        <a:pt x="352" y="70"/>
                        <a:pt x="352" y="70"/>
                        <a:pt x="352" y="70"/>
                      </a:cubicBezTo>
                      <a:cubicBezTo>
                        <a:pt x="353" y="71"/>
                        <a:pt x="353" y="71"/>
                        <a:pt x="353" y="71"/>
                      </a:cubicBezTo>
                      <a:cubicBezTo>
                        <a:pt x="353" y="71"/>
                        <a:pt x="353" y="71"/>
                        <a:pt x="353" y="71"/>
                      </a:cubicBezTo>
                      <a:cubicBezTo>
                        <a:pt x="353" y="71"/>
                        <a:pt x="353" y="71"/>
                        <a:pt x="353" y="71"/>
                      </a:cubicBezTo>
                      <a:cubicBezTo>
                        <a:pt x="354" y="71"/>
                        <a:pt x="354" y="71"/>
                        <a:pt x="354" y="71"/>
                      </a:cubicBezTo>
                      <a:cubicBezTo>
                        <a:pt x="353" y="72"/>
                        <a:pt x="353" y="72"/>
                        <a:pt x="353" y="72"/>
                      </a:cubicBezTo>
                      <a:cubicBezTo>
                        <a:pt x="353" y="73"/>
                        <a:pt x="353" y="73"/>
                        <a:pt x="353" y="73"/>
                      </a:cubicBezTo>
                      <a:cubicBezTo>
                        <a:pt x="354" y="72"/>
                        <a:pt x="354" y="72"/>
                        <a:pt x="354" y="72"/>
                      </a:cubicBezTo>
                      <a:cubicBezTo>
                        <a:pt x="355" y="72"/>
                        <a:pt x="355" y="72"/>
                        <a:pt x="355" y="72"/>
                      </a:cubicBezTo>
                      <a:cubicBezTo>
                        <a:pt x="355" y="73"/>
                        <a:pt x="355" y="73"/>
                        <a:pt x="355" y="73"/>
                      </a:cubicBezTo>
                      <a:cubicBezTo>
                        <a:pt x="353" y="74"/>
                        <a:pt x="353" y="74"/>
                        <a:pt x="353" y="74"/>
                      </a:cubicBezTo>
                      <a:cubicBezTo>
                        <a:pt x="354" y="75"/>
                        <a:pt x="354" y="75"/>
                        <a:pt x="354" y="75"/>
                      </a:cubicBezTo>
                      <a:cubicBezTo>
                        <a:pt x="355" y="76"/>
                        <a:pt x="355" y="76"/>
                        <a:pt x="355" y="76"/>
                      </a:cubicBezTo>
                      <a:cubicBezTo>
                        <a:pt x="355" y="75"/>
                        <a:pt x="355" y="75"/>
                        <a:pt x="355" y="75"/>
                      </a:cubicBezTo>
                      <a:cubicBezTo>
                        <a:pt x="356" y="75"/>
                        <a:pt x="356" y="75"/>
                        <a:pt x="356" y="75"/>
                      </a:cubicBezTo>
                      <a:cubicBezTo>
                        <a:pt x="357" y="75"/>
                        <a:pt x="357" y="75"/>
                        <a:pt x="357" y="75"/>
                      </a:cubicBezTo>
                      <a:cubicBezTo>
                        <a:pt x="357" y="76"/>
                        <a:pt x="357" y="76"/>
                        <a:pt x="357" y="76"/>
                      </a:cubicBezTo>
                      <a:cubicBezTo>
                        <a:pt x="358" y="75"/>
                        <a:pt x="358" y="75"/>
                        <a:pt x="358" y="75"/>
                      </a:cubicBezTo>
                      <a:cubicBezTo>
                        <a:pt x="359" y="76"/>
                        <a:pt x="359" y="76"/>
                        <a:pt x="359" y="76"/>
                      </a:cubicBezTo>
                      <a:cubicBezTo>
                        <a:pt x="358" y="78"/>
                        <a:pt x="358" y="78"/>
                        <a:pt x="358" y="78"/>
                      </a:cubicBezTo>
                      <a:cubicBezTo>
                        <a:pt x="359" y="78"/>
                        <a:pt x="359" y="78"/>
                        <a:pt x="359" y="78"/>
                      </a:cubicBezTo>
                      <a:cubicBezTo>
                        <a:pt x="359" y="78"/>
                        <a:pt x="359" y="78"/>
                        <a:pt x="359" y="78"/>
                      </a:cubicBezTo>
                      <a:cubicBezTo>
                        <a:pt x="360" y="78"/>
                        <a:pt x="360" y="78"/>
                        <a:pt x="360" y="78"/>
                      </a:cubicBezTo>
                      <a:cubicBezTo>
                        <a:pt x="360" y="79"/>
                        <a:pt x="360" y="79"/>
                        <a:pt x="360" y="79"/>
                      </a:cubicBezTo>
                      <a:cubicBezTo>
                        <a:pt x="359" y="80"/>
                        <a:pt x="359" y="80"/>
                        <a:pt x="359" y="80"/>
                      </a:cubicBezTo>
                      <a:cubicBezTo>
                        <a:pt x="358" y="80"/>
                        <a:pt x="358" y="80"/>
                        <a:pt x="358" y="80"/>
                      </a:cubicBezTo>
                      <a:cubicBezTo>
                        <a:pt x="358" y="80"/>
                        <a:pt x="358" y="80"/>
                        <a:pt x="358" y="80"/>
                      </a:cubicBezTo>
                      <a:cubicBezTo>
                        <a:pt x="356" y="79"/>
                        <a:pt x="356" y="79"/>
                        <a:pt x="356" y="79"/>
                      </a:cubicBezTo>
                      <a:cubicBezTo>
                        <a:pt x="354" y="79"/>
                        <a:pt x="354" y="79"/>
                        <a:pt x="354" y="79"/>
                      </a:cubicBezTo>
                      <a:cubicBezTo>
                        <a:pt x="354" y="80"/>
                        <a:pt x="354" y="80"/>
                        <a:pt x="354" y="80"/>
                      </a:cubicBezTo>
                      <a:cubicBezTo>
                        <a:pt x="355" y="81"/>
                        <a:pt x="355" y="81"/>
                        <a:pt x="355" y="81"/>
                      </a:cubicBezTo>
                      <a:cubicBezTo>
                        <a:pt x="357" y="81"/>
                        <a:pt x="357" y="81"/>
                        <a:pt x="357" y="81"/>
                      </a:cubicBezTo>
                      <a:cubicBezTo>
                        <a:pt x="357" y="82"/>
                        <a:pt x="357" y="82"/>
                        <a:pt x="357" y="82"/>
                      </a:cubicBezTo>
                      <a:cubicBezTo>
                        <a:pt x="359" y="83"/>
                        <a:pt x="359" y="83"/>
                        <a:pt x="359" y="83"/>
                      </a:cubicBezTo>
                      <a:cubicBezTo>
                        <a:pt x="361" y="83"/>
                        <a:pt x="361" y="83"/>
                        <a:pt x="361" y="83"/>
                      </a:cubicBezTo>
                      <a:cubicBezTo>
                        <a:pt x="362" y="82"/>
                        <a:pt x="362" y="82"/>
                        <a:pt x="362" y="82"/>
                      </a:cubicBezTo>
                      <a:cubicBezTo>
                        <a:pt x="362" y="82"/>
                        <a:pt x="362" y="82"/>
                        <a:pt x="362" y="82"/>
                      </a:cubicBezTo>
                      <a:cubicBezTo>
                        <a:pt x="361" y="81"/>
                        <a:pt x="361" y="81"/>
                        <a:pt x="361" y="81"/>
                      </a:cubicBezTo>
                      <a:cubicBezTo>
                        <a:pt x="361" y="80"/>
                        <a:pt x="361" y="80"/>
                        <a:pt x="361" y="80"/>
                      </a:cubicBezTo>
                      <a:cubicBezTo>
                        <a:pt x="361" y="80"/>
                        <a:pt x="361" y="80"/>
                        <a:pt x="361" y="80"/>
                      </a:cubicBezTo>
                      <a:cubicBezTo>
                        <a:pt x="362" y="81"/>
                        <a:pt x="362" y="81"/>
                        <a:pt x="362" y="81"/>
                      </a:cubicBezTo>
                      <a:cubicBezTo>
                        <a:pt x="363" y="82"/>
                        <a:pt x="363" y="82"/>
                        <a:pt x="363" y="82"/>
                      </a:cubicBezTo>
                      <a:cubicBezTo>
                        <a:pt x="364" y="82"/>
                        <a:pt x="364" y="82"/>
                        <a:pt x="364" y="82"/>
                      </a:cubicBezTo>
                      <a:cubicBezTo>
                        <a:pt x="363" y="82"/>
                        <a:pt x="363" y="82"/>
                        <a:pt x="363" y="82"/>
                      </a:cubicBezTo>
                      <a:cubicBezTo>
                        <a:pt x="361" y="84"/>
                        <a:pt x="361" y="84"/>
                        <a:pt x="361" y="84"/>
                      </a:cubicBezTo>
                      <a:cubicBezTo>
                        <a:pt x="361" y="84"/>
                        <a:pt x="361" y="84"/>
                        <a:pt x="361" y="84"/>
                      </a:cubicBezTo>
                      <a:cubicBezTo>
                        <a:pt x="362" y="84"/>
                        <a:pt x="362" y="84"/>
                        <a:pt x="362" y="84"/>
                      </a:cubicBezTo>
                      <a:cubicBezTo>
                        <a:pt x="363" y="84"/>
                        <a:pt x="363" y="84"/>
                        <a:pt x="363" y="84"/>
                      </a:cubicBezTo>
                      <a:cubicBezTo>
                        <a:pt x="363" y="84"/>
                        <a:pt x="363" y="84"/>
                        <a:pt x="363" y="84"/>
                      </a:cubicBezTo>
                      <a:cubicBezTo>
                        <a:pt x="367" y="86"/>
                        <a:pt x="367" y="86"/>
                        <a:pt x="367" y="86"/>
                      </a:cubicBezTo>
                      <a:cubicBezTo>
                        <a:pt x="367" y="87"/>
                        <a:pt x="367" y="87"/>
                        <a:pt x="367" y="87"/>
                      </a:cubicBezTo>
                      <a:cubicBezTo>
                        <a:pt x="368" y="88"/>
                        <a:pt x="368" y="88"/>
                        <a:pt x="368" y="88"/>
                      </a:cubicBezTo>
                      <a:cubicBezTo>
                        <a:pt x="371" y="88"/>
                        <a:pt x="371" y="88"/>
                        <a:pt x="371" y="88"/>
                      </a:cubicBezTo>
                      <a:cubicBezTo>
                        <a:pt x="372" y="90"/>
                        <a:pt x="372" y="90"/>
                        <a:pt x="372" y="90"/>
                      </a:cubicBezTo>
                      <a:cubicBezTo>
                        <a:pt x="373" y="90"/>
                        <a:pt x="373" y="90"/>
                        <a:pt x="373" y="90"/>
                      </a:cubicBezTo>
                      <a:cubicBezTo>
                        <a:pt x="374" y="89"/>
                        <a:pt x="374" y="89"/>
                        <a:pt x="374" y="89"/>
                      </a:cubicBezTo>
                      <a:cubicBezTo>
                        <a:pt x="373" y="89"/>
                        <a:pt x="373" y="89"/>
                        <a:pt x="373" y="89"/>
                      </a:cubicBezTo>
                      <a:cubicBezTo>
                        <a:pt x="374" y="88"/>
                        <a:pt x="374" y="88"/>
                        <a:pt x="374" y="88"/>
                      </a:cubicBezTo>
                      <a:cubicBezTo>
                        <a:pt x="375" y="89"/>
                        <a:pt x="375" y="89"/>
                        <a:pt x="375" y="89"/>
                      </a:cubicBezTo>
                      <a:cubicBezTo>
                        <a:pt x="375" y="90"/>
                        <a:pt x="375" y="90"/>
                        <a:pt x="375" y="90"/>
                      </a:cubicBezTo>
                      <a:cubicBezTo>
                        <a:pt x="376" y="91"/>
                        <a:pt x="376" y="91"/>
                        <a:pt x="376" y="91"/>
                      </a:cubicBezTo>
                      <a:cubicBezTo>
                        <a:pt x="376" y="91"/>
                        <a:pt x="376" y="91"/>
                        <a:pt x="376" y="91"/>
                      </a:cubicBezTo>
                      <a:cubicBezTo>
                        <a:pt x="376" y="90"/>
                        <a:pt x="376" y="90"/>
                        <a:pt x="376" y="90"/>
                      </a:cubicBezTo>
                      <a:cubicBezTo>
                        <a:pt x="375" y="85"/>
                        <a:pt x="375" y="85"/>
                        <a:pt x="375" y="85"/>
                      </a:cubicBezTo>
                      <a:cubicBezTo>
                        <a:pt x="374" y="83"/>
                        <a:pt x="374" y="83"/>
                        <a:pt x="374" y="83"/>
                      </a:cubicBezTo>
                      <a:cubicBezTo>
                        <a:pt x="373" y="80"/>
                        <a:pt x="373" y="80"/>
                        <a:pt x="373" y="80"/>
                      </a:cubicBezTo>
                      <a:cubicBezTo>
                        <a:pt x="373" y="78"/>
                        <a:pt x="373" y="78"/>
                        <a:pt x="373" y="78"/>
                      </a:cubicBezTo>
                      <a:cubicBezTo>
                        <a:pt x="372" y="77"/>
                        <a:pt x="372" y="77"/>
                        <a:pt x="372" y="77"/>
                      </a:cubicBezTo>
                      <a:cubicBezTo>
                        <a:pt x="372" y="76"/>
                        <a:pt x="372" y="76"/>
                        <a:pt x="372" y="76"/>
                      </a:cubicBezTo>
                      <a:cubicBezTo>
                        <a:pt x="373" y="76"/>
                        <a:pt x="373" y="76"/>
                        <a:pt x="373" y="76"/>
                      </a:cubicBezTo>
                      <a:cubicBezTo>
                        <a:pt x="373" y="77"/>
                        <a:pt x="373" y="77"/>
                        <a:pt x="373" y="77"/>
                      </a:cubicBezTo>
                      <a:cubicBezTo>
                        <a:pt x="374" y="78"/>
                        <a:pt x="374" y="78"/>
                        <a:pt x="374" y="78"/>
                      </a:cubicBezTo>
                      <a:cubicBezTo>
                        <a:pt x="376" y="79"/>
                        <a:pt x="376" y="79"/>
                        <a:pt x="376" y="79"/>
                      </a:cubicBezTo>
                      <a:cubicBezTo>
                        <a:pt x="377" y="80"/>
                        <a:pt x="377" y="80"/>
                        <a:pt x="377" y="80"/>
                      </a:cubicBezTo>
                      <a:cubicBezTo>
                        <a:pt x="378" y="80"/>
                        <a:pt x="378" y="80"/>
                        <a:pt x="378" y="80"/>
                      </a:cubicBezTo>
                      <a:cubicBezTo>
                        <a:pt x="382" y="80"/>
                        <a:pt x="382" y="80"/>
                        <a:pt x="382" y="80"/>
                      </a:cubicBezTo>
                      <a:cubicBezTo>
                        <a:pt x="383" y="80"/>
                        <a:pt x="383" y="80"/>
                        <a:pt x="383" y="80"/>
                      </a:cubicBezTo>
                      <a:cubicBezTo>
                        <a:pt x="384" y="80"/>
                        <a:pt x="384" y="80"/>
                        <a:pt x="384" y="80"/>
                      </a:cubicBezTo>
                      <a:cubicBezTo>
                        <a:pt x="385" y="80"/>
                        <a:pt x="385" y="80"/>
                        <a:pt x="385" y="80"/>
                      </a:cubicBezTo>
                      <a:cubicBezTo>
                        <a:pt x="385" y="80"/>
                        <a:pt x="385" y="80"/>
                        <a:pt x="385" y="80"/>
                      </a:cubicBezTo>
                      <a:cubicBezTo>
                        <a:pt x="384" y="79"/>
                        <a:pt x="384" y="79"/>
                        <a:pt x="384" y="79"/>
                      </a:cubicBezTo>
                      <a:cubicBezTo>
                        <a:pt x="384" y="78"/>
                        <a:pt x="384" y="78"/>
                        <a:pt x="384" y="78"/>
                      </a:cubicBezTo>
                      <a:cubicBezTo>
                        <a:pt x="384" y="78"/>
                        <a:pt x="384" y="78"/>
                        <a:pt x="384" y="78"/>
                      </a:cubicBezTo>
                      <a:cubicBezTo>
                        <a:pt x="384" y="77"/>
                        <a:pt x="384" y="77"/>
                        <a:pt x="384" y="77"/>
                      </a:cubicBezTo>
                      <a:cubicBezTo>
                        <a:pt x="384" y="77"/>
                        <a:pt x="384" y="77"/>
                        <a:pt x="384" y="77"/>
                      </a:cubicBezTo>
                      <a:cubicBezTo>
                        <a:pt x="387" y="75"/>
                        <a:pt x="387" y="75"/>
                        <a:pt x="387" y="75"/>
                      </a:cubicBezTo>
                      <a:cubicBezTo>
                        <a:pt x="388" y="76"/>
                        <a:pt x="388" y="76"/>
                        <a:pt x="388" y="76"/>
                      </a:cubicBezTo>
                      <a:cubicBezTo>
                        <a:pt x="389" y="75"/>
                        <a:pt x="389" y="75"/>
                        <a:pt x="389" y="75"/>
                      </a:cubicBezTo>
                      <a:cubicBezTo>
                        <a:pt x="390" y="76"/>
                        <a:pt x="390" y="76"/>
                        <a:pt x="390" y="76"/>
                      </a:cubicBezTo>
                      <a:cubicBezTo>
                        <a:pt x="391" y="76"/>
                        <a:pt x="391" y="76"/>
                        <a:pt x="391" y="76"/>
                      </a:cubicBezTo>
                      <a:cubicBezTo>
                        <a:pt x="392" y="77"/>
                        <a:pt x="392" y="77"/>
                        <a:pt x="392" y="77"/>
                      </a:cubicBezTo>
                      <a:cubicBezTo>
                        <a:pt x="393" y="77"/>
                        <a:pt x="393" y="77"/>
                        <a:pt x="393" y="77"/>
                      </a:cubicBezTo>
                      <a:cubicBezTo>
                        <a:pt x="394" y="78"/>
                        <a:pt x="394" y="78"/>
                        <a:pt x="394" y="78"/>
                      </a:cubicBezTo>
                      <a:cubicBezTo>
                        <a:pt x="396" y="78"/>
                        <a:pt x="396" y="78"/>
                        <a:pt x="396" y="78"/>
                      </a:cubicBezTo>
                      <a:cubicBezTo>
                        <a:pt x="396" y="79"/>
                        <a:pt x="396" y="79"/>
                        <a:pt x="396" y="79"/>
                      </a:cubicBezTo>
                      <a:cubicBezTo>
                        <a:pt x="398" y="79"/>
                        <a:pt x="398" y="79"/>
                        <a:pt x="398" y="79"/>
                      </a:cubicBezTo>
                      <a:cubicBezTo>
                        <a:pt x="397" y="78"/>
                        <a:pt x="397" y="78"/>
                        <a:pt x="397" y="78"/>
                      </a:cubicBezTo>
                      <a:cubicBezTo>
                        <a:pt x="397" y="78"/>
                        <a:pt x="397" y="78"/>
                        <a:pt x="397" y="78"/>
                      </a:cubicBezTo>
                      <a:cubicBezTo>
                        <a:pt x="398" y="78"/>
                        <a:pt x="398" y="78"/>
                        <a:pt x="398" y="78"/>
                      </a:cubicBezTo>
                      <a:cubicBezTo>
                        <a:pt x="399" y="78"/>
                        <a:pt x="399" y="78"/>
                        <a:pt x="399" y="78"/>
                      </a:cubicBezTo>
                      <a:cubicBezTo>
                        <a:pt x="398" y="77"/>
                        <a:pt x="398" y="77"/>
                        <a:pt x="398" y="77"/>
                      </a:cubicBezTo>
                      <a:cubicBezTo>
                        <a:pt x="399" y="77"/>
                        <a:pt x="399" y="77"/>
                        <a:pt x="399" y="77"/>
                      </a:cubicBezTo>
                      <a:cubicBezTo>
                        <a:pt x="398" y="76"/>
                        <a:pt x="398" y="76"/>
                        <a:pt x="398" y="76"/>
                      </a:cubicBezTo>
                      <a:cubicBezTo>
                        <a:pt x="397" y="76"/>
                        <a:pt x="397" y="76"/>
                        <a:pt x="397" y="76"/>
                      </a:cubicBezTo>
                      <a:cubicBezTo>
                        <a:pt x="395" y="76"/>
                        <a:pt x="395" y="76"/>
                        <a:pt x="395" y="76"/>
                      </a:cubicBezTo>
                      <a:cubicBezTo>
                        <a:pt x="395" y="75"/>
                        <a:pt x="395" y="75"/>
                        <a:pt x="395" y="75"/>
                      </a:cubicBezTo>
                      <a:cubicBezTo>
                        <a:pt x="395" y="74"/>
                        <a:pt x="395" y="74"/>
                        <a:pt x="395" y="74"/>
                      </a:cubicBezTo>
                      <a:cubicBezTo>
                        <a:pt x="395" y="73"/>
                        <a:pt x="395" y="73"/>
                        <a:pt x="395" y="73"/>
                      </a:cubicBezTo>
                      <a:cubicBezTo>
                        <a:pt x="396" y="74"/>
                        <a:pt x="396" y="74"/>
                        <a:pt x="396" y="74"/>
                      </a:cubicBezTo>
                      <a:cubicBezTo>
                        <a:pt x="397" y="73"/>
                        <a:pt x="397" y="73"/>
                        <a:pt x="397" y="73"/>
                      </a:cubicBezTo>
                      <a:cubicBezTo>
                        <a:pt x="396" y="73"/>
                        <a:pt x="396" y="73"/>
                        <a:pt x="396" y="73"/>
                      </a:cubicBezTo>
                      <a:cubicBezTo>
                        <a:pt x="397" y="72"/>
                        <a:pt x="397" y="72"/>
                        <a:pt x="397" y="72"/>
                      </a:cubicBezTo>
                      <a:cubicBezTo>
                        <a:pt x="399" y="73"/>
                        <a:pt x="399" y="73"/>
                        <a:pt x="399" y="73"/>
                      </a:cubicBezTo>
                      <a:cubicBezTo>
                        <a:pt x="399" y="74"/>
                        <a:pt x="399" y="74"/>
                        <a:pt x="399" y="74"/>
                      </a:cubicBezTo>
                      <a:cubicBezTo>
                        <a:pt x="400" y="74"/>
                        <a:pt x="400" y="74"/>
                        <a:pt x="400" y="74"/>
                      </a:cubicBezTo>
                      <a:cubicBezTo>
                        <a:pt x="400" y="75"/>
                        <a:pt x="400" y="75"/>
                        <a:pt x="400" y="75"/>
                      </a:cubicBezTo>
                      <a:cubicBezTo>
                        <a:pt x="401" y="74"/>
                        <a:pt x="401" y="74"/>
                        <a:pt x="401" y="74"/>
                      </a:cubicBezTo>
                      <a:cubicBezTo>
                        <a:pt x="400" y="73"/>
                        <a:pt x="400" y="73"/>
                        <a:pt x="400" y="73"/>
                      </a:cubicBezTo>
                      <a:cubicBezTo>
                        <a:pt x="401" y="73"/>
                        <a:pt x="401" y="73"/>
                        <a:pt x="401" y="73"/>
                      </a:cubicBezTo>
                      <a:cubicBezTo>
                        <a:pt x="402" y="73"/>
                        <a:pt x="402" y="73"/>
                        <a:pt x="402" y="73"/>
                      </a:cubicBezTo>
                      <a:cubicBezTo>
                        <a:pt x="402" y="73"/>
                        <a:pt x="402" y="73"/>
                        <a:pt x="402" y="73"/>
                      </a:cubicBezTo>
                      <a:cubicBezTo>
                        <a:pt x="401" y="71"/>
                        <a:pt x="401" y="71"/>
                        <a:pt x="401" y="71"/>
                      </a:cubicBezTo>
                      <a:cubicBezTo>
                        <a:pt x="400" y="71"/>
                        <a:pt x="400" y="71"/>
                        <a:pt x="400" y="71"/>
                      </a:cubicBezTo>
                      <a:cubicBezTo>
                        <a:pt x="399" y="70"/>
                        <a:pt x="399" y="70"/>
                        <a:pt x="399" y="70"/>
                      </a:cubicBezTo>
                      <a:cubicBezTo>
                        <a:pt x="399" y="69"/>
                        <a:pt x="399" y="69"/>
                        <a:pt x="399" y="69"/>
                      </a:cubicBezTo>
                      <a:cubicBezTo>
                        <a:pt x="398" y="68"/>
                        <a:pt x="398" y="68"/>
                        <a:pt x="398" y="68"/>
                      </a:cubicBezTo>
                      <a:cubicBezTo>
                        <a:pt x="397" y="69"/>
                        <a:pt x="397" y="69"/>
                        <a:pt x="397" y="69"/>
                      </a:cubicBezTo>
                      <a:cubicBezTo>
                        <a:pt x="396" y="68"/>
                        <a:pt x="396" y="68"/>
                        <a:pt x="396" y="68"/>
                      </a:cubicBezTo>
                      <a:cubicBezTo>
                        <a:pt x="398" y="68"/>
                        <a:pt x="398" y="68"/>
                        <a:pt x="398" y="68"/>
                      </a:cubicBezTo>
                      <a:cubicBezTo>
                        <a:pt x="397" y="67"/>
                        <a:pt x="397" y="67"/>
                        <a:pt x="397" y="67"/>
                      </a:cubicBezTo>
                      <a:cubicBezTo>
                        <a:pt x="397" y="67"/>
                        <a:pt x="397" y="67"/>
                        <a:pt x="397" y="67"/>
                      </a:cubicBezTo>
                      <a:cubicBezTo>
                        <a:pt x="397" y="66"/>
                        <a:pt x="397" y="66"/>
                        <a:pt x="397" y="66"/>
                      </a:cubicBezTo>
                      <a:cubicBezTo>
                        <a:pt x="398" y="66"/>
                        <a:pt x="398" y="66"/>
                        <a:pt x="398" y="66"/>
                      </a:cubicBezTo>
                      <a:cubicBezTo>
                        <a:pt x="398" y="64"/>
                        <a:pt x="398" y="64"/>
                        <a:pt x="398" y="64"/>
                      </a:cubicBezTo>
                      <a:cubicBezTo>
                        <a:pt x="397" y="65"/>
                        <a:pt x="397" y="65"/>
                        <a:pt x="397" y="65"/>
                      </a:cubicBezTo>
                      <a:cubicBezTo>
                        <a:pt x="396" y="66"/>
                        <a:pt x="396" y="66"/>
                        <a:pt x="396" y="66"/>
                      </a:cubicBezTo>
                      <a:cubicBezTo>
                        <a:pt x="396" y="67"/>
                        <a:pt x="396" y="67"/>
                        <a:pt x="396" y="67"/>
                      </a:cubicBezTo>
                      <a:cubicBezTo>
                        <a:pt x="394" y="66"/>
                        <a:pt x="394" y="66"/>
                        <a:pt x="394" y="66"/>
                      </a:cubicBezTo>
                      <a:cubicBezTo>
                        <a:pt x="393" y="64"/>
                        <a:pt x="393" y="64"/>
                        <a:pt x="393" y="64"/>
                      </a:cubicBezTo>
                      <a:cubicBezTo>
                        <a:pt x="393" y="64"/>
                        <a:pt x="393" y="64"/>
                        <a:pt x="393" y="64"/>
                      </a:cubicBezTo>
                      <a:cubicBezTo>
                        <a:pt x="394" y="62"/>
                        <a:pt x="394" y="62"/>
                        <a:pt x="394" y="62"/>
                      </a:cubicBezTo>
                      <a:cubicBezTo>
                        <a:pt x="395" y="62"/>
                        <a:pt x="395" y="62"/>
                        <a:pt x="395" y="62"/>
                      </a:cubicBezTo>
                      <a:cubicBezTo>
                        <a:pt x="396" y="62"/>
                        <a:pt x="396" y="62"/>
                        <a:pt x="396" y="62"/>
                      </a:cubicBezTo>
                      <a:cubicBezTo>
                        <a:pt x="398" y="61"/>
                        <a:pt x="398" y="61"/>
                        <a:pt x="398" y="61"/>
                      </a:cubicBezTo>
                      <a:cubicBezTo>
                        <a:pt x="398" y="60"/>
                        <a:pt x="398" y="60"/>
                        <a:pt x="398" y="60"/>
                      </a:cubicBezTo>
                      <a:cubicBezTo>
                        <a:pt x="397" y="59"/>
                        <a:pt x="397" y="59"/>
                        <a:pt x="397" y="59"/>
                      </a:cubicBezTo>
                      <a:cubicBezTo>
                        <a:pt x="396" y="59"/>
                        <a:pt x="396" y="59"/>
                        <a:pt x="396" y="59"/>
                      </a:cubicBezTo>
                      <a:cubicBezTo>
                        <a:pt x="395" y="59"/>
                        <a:pt x="395" y="59"/>
                        <a:pt x="395" y="59"/>
                      </a:cubicBezTo>
                      <a:cubicBezTo>
                        <a:pt x="394" y="59"/>
                        <a:pt x="394" y="59"/>
                        <a:pt x="394" y="59"/>
                      </a:cubicBezTo>
                      <a:cubicBezTo>
                        <a:pt x="393" y="58"/>
                        <a:pt x="393" y="58"/>
                        <a:pt x="393" y="58"/>
                      </a:cubicBezTo>
                      <a:cubicBezTo>
                        <a:pt x="394" y="57"/>
                        <a:pt x="394" y="57"/>
                        <a:pt x="394" y="57"/>
                      </a:cubicBezTo>
                      <a:cubicBezTo>
                        <a:pt x="396" y="57"/>
                        <a:pt x="396" y="57"/>
                        <a:pt x="396" y="57"/>
                      </a:cubicBezTo>
                      <a:cubicBezTo>
                        <a:pt x="398" y="58"/>
                        <a:pt x="398" y="58"/>
                        <a:pt x="398" y="58"/>
                      </a:cubicBezTo>
                      <a:cubicBezTo>
                        <a:pt x="400" y="57"/>
                        <a:pt x="400" y="57"/>
                        <a:pt x="400" y="57"/>
                      </a:cubicBezTo>
                      <a:cubicBezTo>
                        <a:pt x="403" y="57"/>
                        <a:pt x="403" y="57"/>
                        <a:pt x="403" y="57"/>
                      </a:cubicBezTo>
                      <a:cubicBezTo>
                        <a:pt x="409" y="57"/>
                        <a:pt x="409" y="57"/>
                        <a:pt x="409" y="57"/>
                      </a:cubicBezTo>
                      <a:cubicBezTo>
                        <a:pt x="410" y="56"/>
                        <a:pt x="410" y="56"/>
                        <a:pt x="410" y="56"/>
                      </a:cubicBezTo>
                      <a:cubicBezTo>
                        <a:pt x="414" y="56"/>
                        <a:pt x="414" y="56"/>
                        <a:pt x="414" y="56"/>
                      </a:cubicBezTo>
                      <a:cubicBezTo>
                        <a:pt x="415" y="57"/>
                        <a:pt x="415" y="57"/>
                        <a:pt x="415" y="57"/>
                      </a:cubicBezTo>
                      <a:cubicBezTo>
                        <a:pt x="417" y="56"/>
                        <a:pt x="417" y="56"/>
                        <a:pt x="417" y="56"/>
                      </a:cubicBezTo>
                      <a:cubicBezTo>
                        <a:pt x="419" y="56"/>
                        <a:pt x="419" y="56"/>
                        <a:pt x="419" y="56"/>
                      </a:cubicBezTo>
                      <a:cubicBezTo>
                        <a:pt x="418" y="57"/>
                        <a:pt x="418" y="57"/>
                        <a:pt x="418" y="57"/>
                      </a:cubicBezTo>
                      <a:cubicBezTo>
                        <a:pt x="415" y="58"/>
                        <a:pt x="415" y="58"/>
                        <a:pt x="415" y="58"/>
                      </a:cubicBezTo>
                      <a:cubicBezTo>
                        <a:pt x="414" y="57"/>
                        <a:pt x="414" y="57"/>
                        <a:pt x="414" y="57"/>
                      </a:cubicBezTo>
                      <a:cubicBezTo>
                        <a:pt x="413" y="58"/>
                        <a:pt x="413" y="58"/>
                        <a:pt x="413" y="58"/>
                      </a:cubicBezTo>
                      <a:cubicBezTo>
                        <a:pt x="412" y="57"/>
                        <a:pt x="412" y="57"/>
                        <a:pt x="412" y="57"/>
                      </a:cubicBezTo>
                      <a:cubicBezTo>
                        <a:pt x="412" y="59"/>
                        <a:pt x="412" y="59"/>
                        <a:pt x="412" y="59"/>
                      </a:cubicBezTo>
                      <a:cubicBezTo>
                        <a:pt x="413" y="60"/>
                        <a:pt x="413" y="60"/>
                        <a:pt x="413" y="60"/>
                      </a:cubicBezTo>
                      <a:cubicBezTo>
                        <a:pt x="412" y="60"/>
                        <a:pt x="412" y="60"/>
                        <a:pt x="412" y="60"/>
                      </a:cubicBezTo>
                      <a:cubicBezTo>
                        <a:pt x="412" y="61"/>
                        <a:pt x="412" y="61"/>
                        <a:pt x="412" y="61"/>
                      </a:cubicBezTo>
                      <a:cubicBezTo>
                        <a:pt x="412" y="62"/>
                        <a:pt x="412" y="62"/>
                        <a:pt x="412" y="62"/>
                      </a:cubicBezTo>
                      <a:cubicBezTo>
                        <a:pt x="414" y="61"/>
                        <a:pt x="414" y="61"/>
                        <a:pt x="414" y="61"/>
                      </a:cubicBezTo>
                      <a:cubicBezTo>
                        <a:pt x="414" y="60"/>
                        <a:pt x="414" y="60"/>
                        <a:pt x="414" y="60"/>
                      </a:cubicBezTo>
                      <a:cubicBezTo>
                        <a:pt x="416" y="58"/>
                        <a:pt x="416" y="58"/>
                        <a:pt x="416" y="58"/>
                      </a:cubicBezTo>
                      <a:cubicBezTo>
                        <a:pt x="420" y="57"/>
                        <a:pt x="420" y="57"/>
                        <a:pt x="420" y="57"/>
                      </a:cubicBezTo>
                      <a:cubicBezTo>
                        <a:pt x="420" y="59"/>
                        <a:pt x="420" y="59"/>
                        <a:pt x="420" y="59"/>
                      </a:cubicBezTo>
                      <a:cubicBezTo>
                        <a:pt x="420" y="61"/>
                        <a:pt x="420" y="61"/>
                        <a:pt x="420" y="61"/>
                      </a:cubicBezTo>
                      <a:cubicBezTo>
                        <a:pt x="420" y="61"/>
                        <a:pt x="420" y="61"/>
                        <a:pt x="420" y="61"/>
                      </a:cubicBezTo>
                      <a:cubicBezTo>
                        <a:pt x="419" y="60"/>
                        <a:pt x="419" y="60"/>
                        <a:pt x="419" y="60"/>
                      </a:cubicBezTo>
                      <a:cubicBezTo>
                        <a:pt x="418" y="59"/>
                        <a:pt x="418" y="59"/>
                        <a:pt x="418" y="59"/>
                      </a:cubicBezTo>
                      <a:cubicBezTo>
                        <a:pt x="418" y="58"/>
                        <a:pt x="418" y="58"/>
                        <a:pt x="418" y="58"/>
                      </a:cubicBezTo>
                      <a:cubicBezTo>
                        <a:pt x="417" y="59"/>
                        <a:pt x="417" y="59"/>
                        <a:pt x="417" y="59"/>
                      </a:cubicBezTo>
                      <a:cubicBezTo>
                        <a:pt x="417" y="59"/>
                        <a:pt x="417" y="59"/>
                        <a:pt x="417" y="59"/>
                      </a:cubicBezTo>
                      <a:cubicBezTo>
                        <a:pt x="417" y="60"/>
                        <a:pt x="417" y="60"/>
                        <a:pt x="417" y="60"/>
                      </a:cubicBezTo>
                      <a:cubicBezTo>
                        <a:pt x="418" y="61"/>
                        <a:pt x="418" y="61"/>
                        <a:pt x="418" y="61"/>
                      </a:cubicBezTo>
                      <a:cubicBezTo>
                        <a:pt x="419" y="62"/>
                        <a:pt x="419" y="62"/>
                        <a:pt x="419" y="62"/>
                      </a:cubicBezTo>
                      <a:cubicBezTo>
                        <a:pt x="418" y="64"/>
                        <a:pt x="418" y="64"/>
                        <a:pt x="418" y="64"/>
                      </a:cubicBezTo>
                      <a:cubicBezTo>
                        <a:pt x="417" y="64"/>
                        <a:pt x="417" y="64"/>
                        <a:pt x="417" y="64"/>
                      </a:cubicBezTo>
                      <a:cubicBezTo>
                        <a:pt x="417" y="64"/>
                        <a:pt x="417" y="64"/>
                        <a:pt x="417" y="64"/>
                      </a:cubicBezTo>
                      <a:cubicBezTo>
                        <a:pt x="418" y="65"/>
                        <a:pt x="418" y="65"/>
                        <a:pt x="418" y="65"/>
                      </a:cubicBezTo>
                      <a:cubicBezTo>
                        <a:pt x="418" y="65"/>
                        <a:pt x="418" y="65"/>
                        <a:pt x="418" y="65"/>
                      </a:cubicBezTo>
                      <a:cubicBezTo>
                        <a:pt x="418" y="66"/>
                        <a:pt x="418" y="66"/>
                        <a:pt x="418" y="66"/>
                      </a:cubicBezTo>
                      <a:cubicBezTo>
                        <a:pt x="419" y="66"/>
                        <a:pt x="419" y="66"/>
                        <a:pt x="419" y="66"/>
                      </a:cubicBezTo>
                      <a:cubicBezTo>
                        <a:pt x="420" y="65"/>
                        <a:pt x="420" y="65"/>
                        <a:pt x="420" y="65"/>
                      </a:cubicBezTo>
                      <a:cubicBezTo>
                        <a:pt x="420" y="64"/>
                        <a:pt x="420" y="64"/>
                        <a:pt x="420" y="64"/>
                      </a:cubicBezTo>
                      <a:cubicBezTo>
                        <a:pt x="421" y="62"/>
                        <a:pt x="421" y="62"/>
                        <a:pt x="421" y="62"/>
                      </a:cubicBezTo>
                      <a:cubicBezTo>
                        <a:pt x="421" y="62"/>
                        <a:pt x="421" y="62"/>
                        <a:pt x="421" y="62"/>
                      </a:cubicBezTo>
                      <a:cubicBezTo>
                        <a:pt x="421" y="60"/>
                        <a:pt x="421" y="60"/>
                        <a:pt x="421" y="60"/>
                      </a:cubicBezTo>
                      <a:cubicBezTo>
                        <a:pt x="421" y="56"/>
                        <a:pt x="421" y="56"/>
                        <a:pt x="421" y="56"/>
                      </a:cubicBezTo>
                      <a:cubicBezTo>
                        <a:pt x="422" y="55"/>
                        <a:pt x="422" y="55"/>
                        <a:pt x="422" y="55"/>
                      </a:cubicBezTo>
                      <a:cubicBezTo>
                        <a:pt x="425" y="54"/>
                        <a:pt x="425" y="54"/>
                        <a:pt x="425" y="54"/>
                      </a:cubicBezTo>
                      <a:cubicBezTo>
                        <a:pt x="428" y="54"/>
                        <a:pt x="428" y="54"/>
                        <a:pt x="428" y="54"/>
                      </a:cubicBezTo>
                      <a:cubicBezTo>
                        <a:pt x="430" y="54"/>
                        <a:pt x="430" y="54"/>
                        <a:pt x="430" y="54"/>
                      </a:cubicBezTo>
                      <a:cubicBezTo>
                        <a:pt x="433" y="55"/>
                        <a:pt x="433" y="55"/>
                        <a:pt x="433" y="55"/>
                      </a:cubicBezTo>
                      <a:cubicBezTo>
                        <a:pt x="435" y="57"/>
                        <a:pt x="435" y="57"/>
                        <a:pt x="435" y="57"/>
                      </a:cubicBezTo>
                      <a:cubicBezTo>
                        <a:pt x="435" y="58"/>
                        <a:pt x="435" y="58"/>
                        <a:pt x="435" y="58"/>
                      </a:cubicBezTo>
                      <a:cubicBezTo>
                        <a:pt x="434" y="58"/>
                        <a:pt x="434" y="58"/>
                        <a:pt x="434" y="58"/>
                      </a:cubicBezTo>
                      <a:cubicBezTo>
                        <a:pt x="432" y="57"/>
                        <a:pt x="432" y="57"/>
                        <a:pt x="432" y="57"/>
                      </a:cubicBezTo>
                      <a:cubicBezTo>
                        <a:pt x="432" y="57"/>
                        <a:pt x="432" y="57"/>
                        <a:pt x="432" y="57"/>
                      </a:cubicBezTo>
                      <a:cubicBezTo>
                        <a:pt x="432" y="58"/>
                        <a:pt x="432" y="58"/>
                        <a:pt x="432" y="58"/>
                      </a:cubicBezTo>
                      <a:cubicBezTo>
                        <a:pt x="432" y="59"/>
                        <a:pt x="432" y="59"/>
                        <a:pt x="432" y="59"/>
                      </a:cubicBezTo>
                      <a:cubicBezTo>
                        <a:pt x="432" y="60"/>
                        <a:pt x="432" y="60"/>
                        <a:pt x="432" y="60"/>
                      </a:cubicBezTo>
                      <a:cubicBezTo>
                        <a:pt x="432" y="61"/>
                        <a:pt x="432" y="61"/>
                        <a:pt x="432" y="61"/>
                      </a:cubicBezTo>
                      <a:cubicBezTo>
                        <a:pt x="432" y="61"/>
                        <a:pt x="432" y="61"/>
                        <a:pt x="432" y="61"/>
                      </a:cubicBezTo>
                      <a:cubicBezTo>
                        <a:pt x="433" y="60"/>
                        <a:pt x="433" y="60"/>
                        <a:pt x="433" y="60"/>
                      </a:cubicBezTo>
                      <a:cubicBezTo>
                        <a:pt x="435" y="60"/>
                        <a:pt x="435" y="60"/>
                        <a:pt x="435" y="60"/>
                      </a:cubicBezTo>
                      <a:cubicBezTo>
                        <a:pt x="436" y="59"/>
                        <a:pt x="436" y="59"/>
                        <a:pt x="436" y="59"/>
                      </a:cubicBezTo>
                      <a:cubicBezTo>
                        <a:pt x="436" y="61"/>
                        <a:pt x="436" y="61"/>
                        <a:pt x="436" y="61"/>
                      </a:cubicBezTo>
                      <a:cubicBezTo>
                        <a:pt x="437" y="62"/>
                        <a:pt x="437" y="62"/>
                        <a:pt x="437" y="62"/>
                      </a:cubicBezTo>
                      <a:cubicBezTo>
                        <a:pt x="437" y="63"/>
                        <a:pt x="437" y="63"/>
                        <a:pt x="437" y="63"/>
                      </a:cubicBezTo>
                      <a:cubicBezTo>
                        <a:pt x="438" y="63"/>
                        <a:pt x="438" y="63"/>
                        <a:pt x="438" y="63"/>
                      </a:cubicBezTo>
                      <a:cubicBezTo>
                        <a:pt x="438" y="62"/>
                        <a:pt x="438" y="62"/>
                        <a:pt x="438" y="62"/>
                      </a:cubicBezTo>
                      <a:cubicBezTo>
                        <a:pt x="438" y="62"/>
                        <a:pt x="438" y="62"/>
                        <a:pt x="438" y="62"/>
                      </a:cubicBezTo>
                      <a:cubicBezTo>
                        <a:pt x="439" y="61"/>
                        <a:pt x="439" y="61"/>
                        <a:pt x="439" y="61"/>
                      </a:cubicBezTo>
                      <a:cubicBezTo>
                        <a:pt x="440" y="61"/>
                        <a:pt x="440" y="61"/>
                        <a:pt x="440" y="61"/>
                      </a:cubicBezTo>
                      <a:cubicBezTo>
                        <a:pt x="441" y="62"/>
                        <a:pt x="441" y="62"/>
                        <a:pt x="441" y="62"/>
                      </a:cubicBezTo>
                      <a:cubicBezTo>
                        <a:pt x="440" y="63"/>
                        <a:pt x="440" y="63"/>
                        <a:pt x="440" y="63"/>
                      </a:cubicBezTo>
                      <a:cubicBezTo>
                        <a:pt x="440" y="64"/>
                        <a:pt x="440" y="64"/>
                        <a:pt x="440" y="64"/>
                      </a:cubicBezTo>
                      <a:cubicBezTo>
                        <a:pt x="440" y="64"/>
                        <a:pt x="440" y="64"/>
                        <a:pt x="440" y="64"/>
                      </a:cubicBezTo>
                      <a:cubicBezTo>
                        <a:pt x="441" y="64"/>
                        <a:pt x="441" y="64"/>
                        <a:pt x="441" y="64"/>
                      </a:cubicBezTo>
                      <a:cubicBezTo>
                        <a:pt x="442" y="63"/>
                        <a:pt x="442" y="63"/>
                        <a:pt x="442" y="63"/>
                      </a:cubicBezTo>
                      <a:cubicBezTo>
                        <a:pt x="442" y="63"/>
                        <a:pt x="442" y="63"/>
                        <a:pt x="442" y="63"/>
                      </a:cubicBezTo>
                      <a:cubicBezTo>
                        <a:pt x="442" y="64"/>
                        <a:pt x="442" y="64"/>
                        <a:pt x="442" y="64"/>
                      </a:cubicBezTo>
                      <a:cubicBezTo>
                        <a:pt x="442" y="63"/>
                        <a:pt x="442" y="63"/>
                        <a:pt x="442" y="63"/>
                      </a:cubicBezTo>
                      <a:cubicBezTo>
                        <a:pt x="443" y="61"/>
                        <a:pt x="443" y="61"/>
                        <a:pt x="443" y="61"/>
                      </a:cubicBezTo>
                      <a:cubicBezTo>
                        <a:pt x="444" y="60"/>
                        <a:pt x="444" y="60"/>
                        <a:pt x="444" y="60"/>
                      </a:cubicBezTo>
                      <a:cubicBezTo>
                        <a:pt x="444" y="61"/>
                        <a:pt x="444" y="61"/>
                        <a:pt x="444" y="61"/>
                      </a:cubicBezTo>
                      <a:cubicBezTo>
                        <a:pt x="447" y="62"/>
                        <a:pt x="447" y="62"/>
                        <a:pt x="447" y="62"/>
                      </a:cubicBezTo>
                      <a:cubicBezTo>
                        <a:pt x="449" y="63"/>
                        <a:pt x="449" y="63"/>
                        <a:pt x="449" y="63"/>
                      </a:cubicBezTo>
                      <a:cubicBezTo>
                        <a:pt x="450" y="64"/>
                        <a:pt x="450" y="64"/>
                        <a:pt x="450" y="64"/>
                      </a:cubicBezTo>
                      <a:cubicBezTo>
                        <a:pt x="450" y="65"/>
                        <a:pt x="450" y="65"/>
                        <a:pt x="450" y="65"/>
                      </a:cubicBezTo>
                      <a:cubicBezTo>
                        <a:pt x="449" y="66"/>
                        <a:pt x="449" y="66"/>
                        <a:pt x="449" y="66"/>
                      </a:cubicBezTo>
                      <a:cubicBezTo>
                        <a:pt x="448" y="67"/>
                        <a:pt x="448" y="67"/>
                        <a:pt x="448" y="67"/>
                      </a:cubicBezTo>
                      <a:cubicBezTo>
                        <a:pt x="449" y="66"/>
                        <a:pt x="449" y="66"/>
                        <a:pt x="449" y="66"/>
                      </a:cubicBezTo>
                      <a:cubicBezTo>
                        <a:pt x="451" y="66"/>
                        <a:pt x="451" y="66"/>
                        <a:pt x="451" y="66"/>
                      </a:cubicBezTo>
                      <a:cubicBezTo>
                        <a:pt x="452" y="66"/>
                        <a:pt x="452" y="66"/>
                        <a:pt x="452" y="66"/>
                      </a:cubicBezTo>
                      <a:cubicBezTo>
                        <a:pt x="454" y="66"/>
                        <a:pt x="454" y="66"/>
                        <a:pt x="454" y="66"/>
                      </a:cubicBezTo>
                      <a:cubicBezTo>
                        <a:pt x="455" y="65"/>
                        <a:pt x="455" y="65"/>
                        <a:pt x="455" y="65"/>
                      </a:cubicBezTo>
                      <a:cubicBezTo>
                        <a:pt x="456" y="64"/>
                        <a:pt x="456" y="64"/>
                        <a:pt x="456" y="64"/>
                      </a:cubicBezTo>
                      <a:cubicBezTo>
                        <a:pt x="458" y="63"/>
                        <a:pt x="458" y="63"/>
                        <a:pt x="458" y="63"/>
                      </a:cubicBezTo>
                      <a:cubicBezTo>
                        <a:pt x="459" y="63"/>
                        <a:pt x="459" y="63"/>
                        <a:pt x="459" y="63"/>
                      </a:cubicBezTo>
                      <a:cubicBezTo>
                        <a:pt x="461" y="61"/>
                        <a:pt x="461" y="61"/>
                        <a:pt x="461" y="61"/>
                      </a:cubicBezTo>
                      <a:cubicBezTo>
                        <a:pt x="462" y="61"/>
                        <a:pt x="462" y="61"/>
                        <a:pt x="462" y="61"/>
                      </a:cubicBezTo>
                      <a:cubicBezTo>
                        <a:pt x="466" y="59"/>
                        <a:pt x="466" y="59"/>
                        <a:pt x="466" y="59"/>
                      </a:cubicBezTo>
                      <a:cubicBezTo>
                        <a:pt x="467" y="59"/>
                        <a:pt x="467" y="59"/>
                        <a:pt x="467" y="59"/>
                      </a:cubicBezTo>
                      <a:cubicBezTo>
                        <a:pt x="468" y="59"/>
                        <a:pt x="468" y="59"/>
                        <a:pt x="468" y="59"/>
                      </a:cubicBezTo>
                      <a:cubicBezTo>
                        <a:pt x="468" y="59"/>
                        <a:pt x="468" y="59"/>
                        <a:pt x="468" y="59"/>
                      </a:cubicBezTo>
                      <a:cubicBezTo>
                        <a:pt x="470" y="57"/>
                        <a:pt x="470" y="57"/>
                        <a:pt x="470" y="57"/>
                      </a:cubicBezTo>
                      <a:cubicBezTo>
                        <a:pt x="472" y="57"/>
                        <a:pt x="472" y="57"/>
                        <a:pt x="472" y="57"/>
                      </a:cubicBezTo>
                      <a:cubicBezTo>
                        <a:pt x="474" y="57"/>
                        <a:pt x="474" y="57"/>
                        <a:pt x="474" y="57"/>
                      </a:cubicBezTo>
                      <a:cubicBezTo>
                        <a:pt x="479" y="59"/>
                        <a:pt x="479" y="59"/>
                        <a:pt x="479" y="59"/>
                      </a:cubicBezTo>
                      <a:cubicBezTo>
                        <a:pt x="481" y="61"/>
                        <a:pt x="481" y="61"/>
                        <a:pt x="481" y="61"/>
                      </a:cubicBezTo>
                      <a:cubicBezTo>
                        <a:pt x="483" y="61"/>
                        <a:pt x="483" y="61"/>
                        <a:pt x="483" y="61"/>
                      </a:cubicBezTo>
                      <a:cubicBezTo>
                        <a:pt x="484" y="63"/>
                        <a:pt x="484" y="63"/>
                        <a:pt x="484" y="63"/>
                      </a:cubicBezTo>
                      <a:cubicBezTo>
                        <a:pt x="485" y="65"/>
                        <a:pt x="485" y="65"/>
                        <a:pt x="485" y="65"/>
                      </a:cubicBezTo>
                      <a:cubicBezTo>
                        <a:pt x="485" y="66"/>
                        <a:pt x="485" y="66"/>
                        <a:pt x="485" y="66"/>
                      </a:cubicBezTo>
                      <a:cubicBezTo>
                        <a:pt x="486" y="66"/>
                        <a:pt x="486" y="66"/>
                        <a:pt x="486" y="66"/>
                      </a:cubicBezTo>
                      <a:cubicBezTo>
                        <a:pt x="486" y="67"/>
                        <a:pt x="486" y="67"/>
                        <a:pt x="486" y="67"/>
                      </a:cubicBezTo>
                      <a:cubicBezTo>
                        <a:pt x="487" y="69"/>
                        <a:pt x="487" y="69"/>
                        <a:pt x="487" y="69"/>
                      </a:cubicBezTo>
                      <a:cubicBezTo>
                        <a:pt x="487" y="70"/>
                        <a:pt x="487" y="70"/>
                        <a:pt x="487" y="70"/>
                      </a:cubicBezTo>
                      <a:cubicBezTo>
                        <a:pt x="486" y="71"/>
                        <a:pt x="486" y="71"/>
                        <a:pt x="486" y="71"/>
                      </a:cubicBezTo>
                      <a:cubicBezTo>
                        <a:pt x="487" y="70"/>
                        <a:pt x="487" y="70"/>
                        <a:pt x="487" y="70"/>
                      </a:cubicBezTo>
                      <a:cubicBezTo>
                        <a:pt x="488" y="69"/>
                        <a:pt x="488" y="69"/>
                        <a:pt x="488" y="69"/>
                      </a:cubicBezTo>
                      <a:cubicBezTo>
                        <a:pt x="490" y="69"/>
                        <a:pt x="490" y="69"/>
                        <a:pt x="490" y="69"/>
                      </a:cubicBezTo>
                      <a:cubicBezTo>
                        <a:pt x="490" y="70"/>
                        <a:pt x="490" y="70"/>
                        <a:pt x="490" y="70"/>
                      </a:cubicBezTo>
                      <a:cubicBezTo>
                        <a:pt x="490" y="69"/>
                        <a:pt x="490" y="69"/>
                        <a:pt x="490" y="69"/>
                      </a:cubicBezTo>
                      <a:cubicBezTo>
                        <a:pt x="492" y="69"/>
                        <a:pt x="492" y="69"/>
                        <a:pt x="492" y="69"/>
                      </a:cubicBezTo>
                      <a:cubicBezTo>
                        <a:pt x="493" y="70"/>
                        <a:pt x="493" y="70"/>
                        <a:pt x="493" y="70"/>
                      </a:cubicBezTo>
                      <a:cubicBezTo>
                        <a:pt x="493" y="71"/>
                        <a:pt x="493" y="71"/>
                        <a:pt x="493" y="71"/>
                      </a:cubicBezTo>
                      <a:cubicBezTo>
                        <a:pt x="493" y="70"/>
                        <a:pt x="493" y="70"/>
                        <a:pt x="493" y="70"/>
                      </a:cubicBezTo>
                      <a:cubicBezTo>
                        <a:pt x="493" y="68"/>
                        <a:pt x="493" y="68"/>
                        <a:pt x="493" y="68"/>
                      </a:cubicBezTo>
                      <a:cubicBezTo>
                        <a:pt x="494" y="68"/>
                        <a:pt x="494" y="68"/>
                        <a:pt x="494" y="68"/>
                      </a:cubicBezTo>
                      <a:cubicBezTo>
                        <a:pt x="495" y="70"/>
                        <a:pt x="495" y="70"/>
                        <a:pt x="495" y="70"/>
                      </a:cubicBezTo>
                      <a:cubicBezTo>
                        <a:pt x="496" y="71"/>
                        <a:pt x="496" y="71"/>
                        <a:pt x="496" y="71"/>
                      </a:cubicBezTo>
                      <a:cubicBezTo>
                        <a:pt x="496" y="72"/>
                        <a:pt x="496" y="72"/>
                        <a:pt x="496" y="72"/>
                      </a:cubicBezTo>
                      <a:cubicBezTo>
                        <a:pt x="497" y="72"/>
                        <a:pt x="497" y="72"/>
                        <a:pt x="497" y="72"/>
                      </a:cubicBezTo>
                      <a:cubicBezTo>
                        <a:pt x="499" y="74"/>
                        <a:pt x="499" y="74"/>
                        <a:pt x="499" y="74"/>
                      </a:cubicBezTo>
                      <a:cubicBezTo>
                        <a:pt x="499" y="74"/>
                        <a:pt x="499" y="74"/>
                        <a:pt x="499" y="74"/>
                      </a:cubicBezTo>
                      <a:cubicBezTo>
                        <a:pt x="498" y="72"/>
                        <a:pt x="498" y="72"/>
                        <a:pt x="498" y="72"/>
                      </a:cubicBezTo>
                      <a:cubicBezTo>
                        <a:pt x="497" y="72"/>
                        <a:pt x="497" y="72"/>
                        <a:pt x="497" y="72"/>
                      </a:cubicBezTo>
                      <a:cubicBezTo>
                        <a:pt x="497" y="71"/>
                        <a:pt x="497" y="71"/>
                        <a:pt x="497" y="71"/>
                      </a:cubicBezTo>
                      <a:cubicBezTo>
                        <a:pt x="498" y="72"/>
                        <a:pt x="498" y="72"/>
                        <a:pt x="498" y="72"/>
                      </a:cubicBezTo>
                      <a:cubicBezTo>
                        <a:pt x="499" y="71"/>
                        <a:pt x="499" y="71"/>
                        <a:pt x="499" y="71"/>
                      </a:cubicBezTo>
                      <a:cubicBezTo>
                        <a:pt x="500" y="72"/>
                        <a:pt x="500" y="72"/>
                        <a:pt x="500" y="72"/>
                      </a:cubicBezTo>
                      <a:cubicBezTo>
                        <a:pt x="501" y="74"/>
                        <a:pt x="501" y="74"/>
                        <a:pt x="501" y="74"/>
                      </a:cubicBezTo>
                      <a:cubicBezTo>
                        <a:pt x="501" y="73"/>
                        <a:pt x="501" y="73"/>
                        <a:pt x="501" y="73"/>
                      </a:cubicBezTo>
                      <a:cubicBezTo>
                        <a:pt x="499" y="70"/>
                        <a:pt x="499" y="70"/>
                        <a:pt x="499" y="70"/>
                      </a:cubicBezTo>
                      <a:cubicBezTo>
                        <a:pt x="499" y="68"/>
                        <a:pt x="499" y="68"/>
                        <a:pt x="499" y="68"/>
                      </a:cubicBezTo>
                      <a:cubicBezTo>
                        <a:pt x="499" y="67"/>
                        <a:pt x="499" y="67"/>
                        <a:pt x="499" y="67"/>
                      </a:cubicBezTo>
                      <a:cubicBezTo>
                        <a:pt x="500" y="66"/>
                        <a:pt x="500" y="66"/>
                        <a:pt x="500" y="66"/>
                      </a:cubicBezTo>
                      <a:cubicBezTo>
                        <a:pt x="502" y="65"/>
                        <a:pt x="502" y="65"/>
                        <a:pt x="502" y="65"/>
                      </a:cubicBezTo>
                      <a:cubicBezTo>
                        <a:pt x="503" y="65"/>
                        <a:pt x="503" y="65"/>
                        <a:pt x="503" y="65"/>
                      </a:cubicBezTo>
                      <a:cubicBezTo>
                        <a:pt x="505" y="64"/>
                        <a:pt x="505" y="64"/>
                        <a:pt x="505" y="64"/>
                      </a:cubicBezTo>
                      <a:cubicBezTo>
                        <a:pt x="505" y="63"/>
                        <a:pt x="505" y="63"/>
                        <a:pt x="505" y="63"/>
                      </a:cubicBezTo>
                      <a:cubicBezTo>
                        <a:pt x="505" y="63"/>
                        <a:pt x="505" y="63"/>
                        <a:pt x="505" y="63"/>
                      </a:cubicBezTo>
                      <a:cubicBezTo>
                        <a:pt x="506" y="63"/>
                        <a:pt x="506" y="63"/>
                        <a:pt x="506" y="63"/>
                      </a:cubicBezTo>
                      <a:cubicBezTo>
                        <a:pt x="507" y="64"/>
                        <a:pt x="507" y="64"/>
                        <a:pt x="507" y="64"/>
                      </a:cubicBezTo>
                      <a:cubicBezTo>
                        <a:pt x="507" y="64"/>
                        <a:pt x="507" y="64"/>
                        <a:pt x="507" y="64"/>
                      </a:cubicBezTo>
                      <a:cubicBezTo>
                        <a:pt x="509" y="64"/>
                        <a:pt x="509" y="64"/>
                        <a:pt x="509" y="64"/>
                      </a:cubicBezTo>
                      <a:cubicBezTo>
                        <a:pt x="510" y="63"/>
                        <a:pt x="510" y="63"/>
                        <a:pt x="510" y="63"/>
                      </a:cubicBezTo>
                      <a:cubicBezTo>
                        <a:pt x="511" y="63"/>
                        <a:pt x="511" y="63"/>
                        <a:pt x="511" y="63"/>
                      </a:cubicBezTo>
                      <a:cubicBezTo>
                        <a:pt x="512" y="63"/>
                        <a:pt x="512" y="63"/>
                        <a:pt x="512" y="63"/>
                      </a:cubicBezTo>
                      <a:cubicBezTo>
                        <a:pt x="514" y="63"/>
                        <a:pt x="514" y="63"/>
                        <a:pt x="514" y="63"/>
                      </a:cubicBezTo>
                      <a:cubicBezTo>
                        <a:pt x="515" y="62"/>
                        <a:pt x="515" y="62"/>
                        <a:pt x="515" y="62"/>
                      </a:cubicBezTo>
                      <a:cubicBezTo>
                        <a:pt x="516" y="62"/>
                        <a:pt x="516" y="62"/>
                        <a:pt x="516" y="62"/>
                      </a:cubicBezTo>
                      <a:cubicBezTo>
                        <a:pt x="516" y="63"/>
                        <a:pt x="516" y="63"/>
                        <a:pt x="516" y="63"/>
                      </a:cubicBezTo>
                      <a:cubicBezTo>
                        <a:pt x="517" y="63"/>
                        <a:pt x="517" y="63"/>
                        <a:pt x="517" y="63"/>
                      </a:cubicBezTo>
                      <a:cubicBezTo>
                        <a:pt x="517" y="62"/>
                        <a:pt x="517" y="62"/>
                        <a:pt x="517" y="62"/>
                      </a:cubicBezTo>
                      <a:cubicBezTo>
                        <a:pt x="518" y="61"/>
                        <a:pt x="518" y="61"/>
                        <a:pt x="518" y="61"/>
                      </a:cubicBezTo>
                      <a:cubicBezTo>
                        <a:pt x="518" y="60"/>
                        <a:pt x="518" y="60"/>
                        <a:pt x="518" y="60"/>
                      </a:cubicBezTo>
                      <a:cubicBezTo>
                        <a:pt x="518" y="59"/>
                        <a:pt x="518" y="59"/>
                        <a:pt x="518" y="59"/>
                      </a:cubicBezTo>
                      <a:cubicBezTo>
                        <a:pt x="518" y="58"/>
                        <a:pt x="518" y="58"/>
                        <a:pt x="518" y="58"/>
                      </a:cubicBezTo>
                      <a:cubicBezTo>
                        <a:pt x="519" y="58"/>
                        <a:pt x="519" y="58"/>
                        <a:pt x="519" y="58"/>
                      </a:cubicBezTo>
                      <a:cubicBezTo>
                        <a:pt x="520" y="58"/>
                        <a:pt x="520" y="58"/>
                        <a:pt x="520" y="58"/>
                      </a:cubicBezTo>
                      <a:cubicBezTo>
                        <a:pt x="521" y="59"/>
                        <a:pt x="521" y="59"/>
                        <a:pt x="521" y="59"/>
                      </a:cubicBezTo>
                      <a:cubicBezTo>
                        <a:pt x="521" y="60"/>
                        <a:pt x="521" y="60"/>
                        <a:pt x="521" y="60"/>
                      </a:cubicBezTo>
                      <a:cubicBezTo>
                        <a:pt x="522" y="60"/>
                        <a:pt x="522" y="60"/>
                        <a:pt x="522" y="60"/>
                      </a:cubicBezTo>
                      <a:cubicBezTo>
                        <a:pt x="523" y="60"/>
                        <a:pt x="523" y="60"/>
                        <a:pt x="523" y="60"/>
                      </a:cubicBezTo>
                      <a:cubicBezTo>
                        <a:pt x="523" y="62"/>
                        <a:pt x="523" y="62"/>
                        <a:pt x="523" y="62"/>
                      </a:cubicBezTo>
                      <a:cubicBezTo>
                        <a:pt x="524" y="63"/>
                        <a:pt x="524" y="63"/>
                        <a:pt x="524" y="63"/>
                      </a:cubicBezTo>
                      <a:cubicBezTo>
                        <a:pt x="525" y="63"/>
                        <a:pt x="525" y="63"/>
                        <a:pt x="525" y="63"/>
                      </a:cubicBezTo>
                      <a:cubicBezTo>
                        <a:pt x="526" y="63"/>
                        <a:pt x="526" y="63"/>
                        <a:pt x="526" y="63"/>
                      </a:cubicBezTo>
                      <a:cubicBezTo>
                        <a:pt x="529" y="64"/>
                        <a:pt x="529" y="64"/>
                        <a:pt x="529" y="64"/>
                      </a:cubicBezTo>
                      <a:cubicBezTo>
                        <a:pt x="529" y="63"/>
                        <a:pt x="529" y="63"/>
                        <a:pt x="529" y="63"/>
                      </a:cubicBezTo>
                      <a:cubicBezTo>
                        <a:pt x="530" y="63"/>
                        <a:pt x="530" y="63"/>
                        <a:pt x="530" y="63"/>
                      </a:cubicBezTo>
                      <a:cubicBezTo>
                        <a:pt x="531" y="65"/>
                        <a:pt x="531" y="65"/>
                        <a:pt x="531" y="65"/>
                      </a:cubicBezTo>
                      <a:cubicBezTo>
                        <a:pt x="531" y="66"/>
                        <a:pt x="531" y="66"/>
                        <a:pt x="531" y="66"/>
                      </a:cubicBezTo>
                      <a:cubicBezTo>
                        <a:pt x="532" y="67"/>
                        <a:pt x="532" y="67"/>
                        <a:pt x="532" y="67"/>
                      </a:cubicBezTo>
                      <a:cubicBezTo>
                        <a:pt x="533" y="67"/>
                        <a:pt x="533" y="67"/>
                        <a:pt x="533" y="67"/>
                      </a:cubicBezTo>
                      <a:cubicBezTo>
                        <a:pt x="534" y="67"/>
                        <a:pt x="534" y="67"/>
                        <a:pt x="534" y="67"/>
                      </a:cubicBezTo>
                      <a:cubicBezTo>
                        <a:pt x="535" y="66"/>
                        <a:pt x="535" y="66"/>
                        <a:pt x="535" y="66"/>
                      </a:cubicBezTo>
                      <a:cubicBezTo>
                        <a:pt x="535" y="66"/>
                        <a:pt x="535" y="66"/>
                        <a:pt x="535" y="66"/>
                      </a:cubicBezTo>
                      <a:cubicBezTo>
                        <a:pt x="536" y="65"/>
                        <a:pt x="536" y="65"/>
                        <a:pt x="536" y="65"/>
                      </a:cubicBezTo>
                      <a:cubicBezTo>
                        <a:pt x="537" y="65"/>
                        <a:pt x="537" y="65"/>
                        <a:pt x="537" y="65"/>
                      </a:cubicBezTo>
                      <a:cubicBezTo>
                        <a:pt x="537" y="65"/>
                        <a:pt x="537" y="65"/>
                        <a:pt x="537" y="65"/>
                      </a:cubicBezTo>
                      <a:cubicBezTo>
                        <a:pt x="537" y="64"/>
                        <a:pt x="537" y="64"/>
                        <a:pt x="537" y="64"/>
                      </a:cubicBezTo>
                      <a:cubicBezTo>
                        <a:pt x="537" y="64"/>
                        <a:pt x="537" y="64"/>
                        <a:pt x="537" y="64"/>
                      </a:cubicBezTo>
                      <a:cubicBezTo>
                        <a:pt x="537" y="63"/>
                        <a:pt x="537" y="63"/>
                        <a:pt x="537" y="63"/>
                      </a:cubicBezTo>
                      <a:cubicBezTo>
                        <a:pt x="537" y="63"/>
                        <a:pt x="537" y="63"/>
                        <a:pt x="537" y="63"/>
                      </a:cubicBezTo>
                      <a:cubicBezTo>
                        <a:pt x="536" y="62"/>
                        <a:pt x="536" y="62"/>
                        <a:pt x="536" y="62"/>
                      </a:cubicBezTo>
                      <a:cubicBezTo>
                        <a:pt x="535" y="61"/>
                        <a:pt x="535" y="61"/>
                        <a:pt x="535" y="61"/>
                      </a:cubicBezTo>
                      <a:cubicBezTo>
                        <a:pt x="534" y="60"/>
                        <a:pt x="534" y="60"/>
                        <a:pt x="534" y="60"/>
                      </a:cubicBezTo>
                      <a:cubicBezTo>
                        <a:pt x="533" y="58"/>
                        <a:pt x="533" y="58"/>
                        <a:pt x="533" y="58"/>
                      </a:cubicBezTo>
                      <a:cubicBezTo>
                        <a:pt x="532" y="58"/>
                        <a:pt x="532" y="58"/>
                        <a:pt x="532" y="58"/>
                      </a:cubicBezTo>
                      <a:cubicBezTo>
                        <a:pt x="531" y="57"/>
                        <a:pt x="531" y="57"/>
                        <a:pt x="531" y="57"/>
                      </a:cubicBezTo>
                      <a:cubicBezTo>
                        <a:pt x="530" y="57"/>
                        <a:pt x="530" y="57"/>
                        <a:pt x="530" y="57"/>
                      </a:cubicBezTo>
                      <a:cubicBezTo>
                        <a:pt x="529" y="57"/>
                        <a:pt x="529" y="57"/>
                        <a:pt x="529" y="57"/>
                      </a:cubicBezTo>
                      <a:cubicBezTo>
                        <a:pt x="528" y="57"/>
                        <a:pt x="528" y="57"/>
                        <a:pt x="528" y="57"/>
                      </a:cubicBezTo>
                      <a:cubicBezTo>
                        <a:pt x="528" y="56"/>
                        <a:pt x="528" y="56"/>
                        <a:pt x="528" y="56"/>
                      </a:cubicBezTo>
                      <a:cubicBezTo>
                        <a:pt x="529" y="56"/>
                        <a:pt x="529" y="56"/>
                        <a:pt x="529" y="56"/>
                      </a:cubicBezTo>
                      <a:cubicBezTo>
                        <a:pt x="528" y="54"/>
                        <a:pt x="528" y="54"/>
                        <a:pt x="528" y="54"/>
                      </a:cubicBezTo>
                      <a:cubicBezTo>
                        <a:pt x="528" y="54"/>
                        <a:pt x="528" y="54"/>
                        <a:pt x="528" y="54"/>
                      </a:cubicBezTo>
                      <a:cubicBezTo>
                        <a:pt x="527" y="53"/>
                        <a:pt x="527" y="53"/>
                        <a:pt x="527" y="53"/>
                      </a:cubicBezTo>
                      <a:cubicBezTo>
                        <a:pt x="527" y="52"/>
                        <a:pt x="527" y="52"/>
                        <a:pt x="527" y="52"/>
                      </a:cubicBezTo>
                      <a:cubicBezTo>
                        <a:pt x="525" y="51"/>
                        <a:pt x="525" y="51"/>
                        <a:pt x="525" y="51"/>
                      </a:cubicBezTo>
                      <a:cubicBezTo>
                        <a:pt x="525" y="51"/>
                        <a:pt x="525" y="51"/>
                        <a:pt x="525" y="51"/>
                      </a:cubicBezTo>
                      <a:cubicBezTo>
                        <a:pt x="528" y="50"/>
                        <a:pt x="528" y="50"/>
                        <a:pt x="528" y="50"/>
                      </a:cubicBezTo>
                      <a:cubicBezTo>
                        <a:pt x="528" y="51"/>
                        <a:pt x="528" y="51"/>
                        <a:pt x="528" y="51"/>
                      </a:cubicBezTo>
                      <a:cubicBezTo>
                        <a:pt x="531" y="50"/>
                        <a:pt x="531" y="50"/>
                        <a:pt x="531" y="50"/>
                      </a:cubicBezTo>
                      <a:cubicBezTo>
                        <a:pt x="533" y="50"/>
                        <a:pt x="533" y="50"/>
                        <a:pt x="533" y="50"/>
                      </a:cubicBezTo>
                      <a:cubicBezTo>
                        <a:pt x="533" y="50"/>
                        <a:pt x="533" y="50"/>
                        <a:pt x="533" y="50"/>
                      </a:cubicBezTo>
                      <a:cubicBezTo>
                        <a:pt x="534" y="49"/>
                        <a:pt x="534" y="49"/>
                        <a:pt x="534" y="49"/>
                      </a:cubicBezTo>
                      <a:cubicBezTo>
                        <a:pt x="535" y="50"/>
                        <a:pt x="535" y="50"/>
                        <a:pt x="535" y="50"/>
                      </a:cubicBezTo>
                      <a:cubicBezTo>
                        <a:pt x="536" y="50"/>
                        <a:pt x="536" y="50"/>
                        <a:pt x="536" y="50"/>
                      </a:cubicBezTo>
                      <a:cubicBezTo>
                        <a:pt x="537" y="50"/>
                        <a:pt x="537" y="50"/>
                        <a:pt x="537" y="50"/>
                      </a:cubicBezTo>
                      <a:cubicBezTo>
                        <a:pt x="537" y="49"/>
                        <a:pt x="537" y="49"/>
                        <a:pt x="537" y="49"/>
                      </a:cubicBezTo>
                      <a:cubicBezTo>
                        <a:pt x="538" y="49"/>
                        <a:pt x="538" y="49"/>
                        <a:pt x="538" y="49"/>
                      </a:cubicBezTo>
                      <a:cubicBezTo>
                        <a:pt x="539" y="50"/>
                        <a:pt x="539" y="50"/>
                        <a:pt x="539" y="50"/>
                      </a:cubicBezTo>
                      <a:cubicBezTo>
                        <a:pt x="539" y="50"/>
                        <a:pt x="539" y="50"/>
                        <a:pt x="539" y="50"/>
                      </a:cubicBezTo>
                      <a:cubicBezTo>
                        <a:pt x="539" y="49"/>
                        <a:pt x="539" y="49"/>
                        <a:pt x="539" y="49"/>
                      </a:cubicBezTo>
                      <a:cubicBezTo>
                        <a:pt x="540" y="49"/>
                        <a:pt x="540" y="49"/>
                        <a:pt x="540" y="49"/>
                      </a:cubicBezTo>
                      <a:cubicBezTo>
                        <a:pt x="540" y="48"/>
                        <a:pt x="540" y="48"/>
                        <a:pt x="540" y="48"/>
                      </a:cubicBezTo>
                      <a:cubicBezTo>
                        <a:pt x="544" y="47"/>
                        <a:pt x="544" y="47"/>
                        <a:pt x="544" y="47"/>
                      </a:cubicBezTo>
                      <a:cubicBezTo>
                        <a:pt x="545" y="48"/>
                        <a:pt x="545" y="48"/>
                        <a:pt x="545" y="48"/>
                      </a:cubicBezTo>
                      <a:cubicBezTo>
                        <a:pt x="545" y="47"/>
                        <a:pt x="545" y="47"/>
                        <a:pt x="545" y="47"/>
                      </a:cubicBezTo>
                      <a:cubicBezTo>
                        <a:pt x="546" y="47"/>
                        <a:pt x="546" y="47"/>
                        <a:pt x="546" y="47"/>
                      </a:cubicBezTo>
                      <a:cubicBezTo>
                        <a:pt x="546" y="47"/>
                        <a:pt x="546" y="47"/>
                        <a:pt x="546" y="47"/>
                      </a:cubicBezTo>
                      <a:cubicBezTo>
                        <a:pt x="547" y="47"/>
                        <a:pt x="547" y="47"/>
                        <a:pt x="547" y="47"/>
                      </a:cubicBezTo>
                      <a:cubicBezTo>
                        <a:pt x="548" y="46"/>
                        <a:pt x="548" y="46"/>
                        <a:pt x="548" y="46"/>
                      </a:cubicBezTo>
                      <a:cubicBezTo>
                        <a:pt x="549" y="47"/>
                        <a:pt x="549" y="47"/>
                        <a:pt x="549" y="47"/>
                      </a:cubicBezTo>
                      <a:cubicBezTo>
                        <a:pt x="550" y="47"/>
                        <a:pt x="550" y="47"/>
                        <a:pt x="550" y="47"/>
                      </a:cubicBezTo>
                      <a:cubicBezTo>
                        <a:pt x="551" y="47"/>
                        <a:pt x="551" y="47"/>
                        <a:pt x="551" y="47"/>
                      </a:cubicBezTo>
                      <a:cubicBezTo>
                        <a:pt x="552" y="47"/>
                        <a:pt x="552" y="47"/>
                        <a:pt x="552" y="47"/>
                      </a:cubicBezTo>
                      <a:cubicBezTo>
                        <a:pt x="553" y="48"/>
                        <a:pt x="553" y="48"/>
                        <a:pt x="553" y="48"/>
                      </a:cubicBezTo>
                      <a:cubicBezTo>
                        <a:pt x="553" y="47"/>
                        <a:pt x="553" y="47"/>
                        <a:pt x="553" y="47"/>
                      </a:cubicBezTo>
                      <a:cubicBezTo>
                        <a:pt x="555" y="47"/>
                        <a:pt x="555" y="47"/>
                        <a:pt x="555" y="47"/>
                      </a:cubicBezTo>
                      <a:cubicBezTo>
                        <a:pt x="558" y="48"/>
                        <a:pt x="558" y="48"/>
                        <a:pt x="558" y="48"/>
                      </a:cubicBezTo>
                      <a:cubicBezTo>
                        <a:pt x="559" y="48"/>
                        <a:pt x="559" y="48"/>
                        <a:pt x="559" y="48"/>
                      </a:cubicBezTo>
                      <a:cubicBezTo>
                        <a:pt x="559" y="48"/>
                        <a:pt x="559" y="48"/>
                        <a:pt x="559" y="48"/>
                      </a:cubicBezTo>
                      <a:cubicBezTo>
                        <a:pt x="559" y="48"/>
                        <a:pt x="559" y="48"/>
                        <a:pt x="559" y="48"/>
                      </a:cubicBezTo>
                      <a:cubicBezTo>
                        <a:pt x="560" y="47"/>
                        <a:pt x="560" y="47"/>
                        <a:pt x="560" y="47"/>
                      </a:cubicBezTo>
                      <a:cubicBezTo>
                        <a:pt x="561" y="48"/>
                        <a:pt x="561" y="48"/>
                        <a:pt x="561" y="48"/>
                      </a:cubicBezTo>
                      <a:cubicBezTo>
                        <a:pt x="560" y="48"/>
                        <a:pt x="560" y="48"/>
                        <a:pt x="560" y="48"/>
                      </a:cubicBezTo>
                      <a:cubicBezTo>
                        <a:pt x="561" y="49"/>
                        <a:pt x="561" y="49"/>
                        <a:pt x="561" y="49"/>
                      </a:cubicBezTo>
                      <a:cubicBezTo>
                        <a:pt x="562" y="48"/>
                        <a:pt x="562" y="48"/>
                        <a:pt x="562" y="48"/>
                      </a:cubicBezTo>
                      <a:cubicBezTo>
                        <a:pt x="565" y="49"/>
                        <a:pt x="565" y="49"/>
                        <a:pt x="565" y="49"/>
                      </a:cubicBezTo>
                      <a:cubicBezTo>
                        <a:pt x="568" y="50"/>
                        <a:pt x="568" y="50"/>
                        <a:pt x="568" y="50"/>
                      </a:cubicBezTo>
                      <a:cubicBezTo>
                        <a:pt x="568" y="51"/>
                        <a:pt x="568" y="51"/>
                        <a:pt x="568" y="51"/>
                      </a:cubicBezTo>
                      <a:cubicBezTo>
                        <a:pt x="567" y="50"/>
                        <a:pt x="567" y="50"/>
                        <a:pt x="567" y="50"/>
                      </a:cubicBezTo>
                      <a:cubicBezTo>
                        <a:pt x="566" y="50"/>
                        <a:pt x="566" y="50"/>
                        <a:pt x="566" y="50"/>
                      </a:cubicBezTo>
                      <a:cubicBezTo>
                        <a:pt x="565" y="50"/>
                        <a:pt x="565" y="50"/>
                        <a:pt x="565" y="50"/>
                      </a:cubicBezTo>
                      <a:cubicBezTo>
                        <a:pt x="568" y="51"/>
                        <a:pt x="568" y="51"/>
                        <a:pt x="568" y="51"/>
                      </a:cubicBezTo>
                      <a:cubicBezTo>
                        <a:pt x="570" y="51"/>
                        <a:pt x="570" y="51"/>
                        <a:pt x="570" y="51"/>
                      </a:cubicBezTo>
                      <a:cubicBezTo>
                        <a:pt x="570" y="50"/>
                        <a:pt x="570" y="50"/>
                        <a:pt x="570" y="50"/>
                      </a:cubicBezTo>
                      <a:cubicBezTo>
                        <a:pt x="571" y="50"/>
                        <a:pt x="571" y="50"/>
                        <a:pt x="571" y="50"/>
                      </a:cubicBezTo>
                      <a:cubicBezTo>
                        <a:pt x="573" y="50"/>
                        <a:pt x="573" y="50"/>
                        <a:pt x="573" y="50"/>
                      </a:cubicBezTo>
                      <a:cubicBezTo>
                        <a:pt x="572" y="50"/>
                        <a:pt x="572" y="50"/>
                        <a:pt x="572" y="50"/>
                      </a:cubicBezTo>
                      <a:cubicBezTo>
                        <a:pt x="573" y="49"/>
                        <a:pt x="573" y="49"/>
                        <a:pt x="573" y="49"/>
                      </a:cubicBezTo>
                      <a:cubicBezTo>
                        <a:pt x="574" y="50"/>
                        <a:pt x="574" y="50"/>
                        <a:pt x="574" y="50"/>
                      </a:cubicBezTo>
                      <a:cubicBezTo>
                        <a:pt x="575" y="50"/>
                        <a:pt x="575" y="50"/>
                        <a:pt x="575" y="50"/>
                      </a:cubicBezTo>
                      <a:cubicBezTo>
                        <a:pt x="575" y="51"/>
                        <a:pt x="575" y="51"/>
                        <a:pt x="575" y="51"/>
                      </a:cubicBezTo>
                      <a:cubicBezTo>
                        <a:pt x="575" y="50"/>
                        <a:pt x="575" y="50"/>
                        <a:pt x="575" y="50"/>
                      </a:cubicBezTo>
                      <a:cubicBezTo>
                        <a:pt x="575" y="50"/>
                        <a:pt x="575" y="50"/>
                        <a:pt x="575" y="50"/>
                      </a:cubicBezTo>
                      <a:cubicBezTo>
                        <a:pt x="577" y="50"/>
                        <a:pt x="577" y="50"/>
                        <a:pt x="577" y="50"/>
                      </a:cubicBezTo>
                      <a:cubicBezTo>
                        <a:pt x="577" y="51"/>
                        <a:pt x="577" y="51"/>
                        <a:pt x="577" y="51"/>
                      </a:cubicBezTo>
                      <a:cubicBezTo>
                        <a:pt x="578" y="51"/>
                        <a:pt x="578" y="51"/>
                        <a:pt x="578" y="51"/>
                      </a:cubicBezTo>
                      <a:cubicBezTo>
                        <a:pt x="580" y="51"/>
                        <a:pt x="580" y="51"/>
                        <a:pt x="580" y="51"/>
                      </a:cubicBezTo>
                      <a:cubicBezTo>
                        <a:pt x="584" y="52"/>
                        <a:pt x="584" y="52"/>
                        <a:pt x="584" y="52"/>
                      </a:cubicBezTo>
                      <a:cubicBezTo>
                        <a:pt x="583" y="51"/>
                        <a:pt x="583" y="51"/>
                        <a:pt x="583" y="51"/>
                      </a:cubicBezTo>
                      <a:cubicBezTo>
                        <a:pt x="585" y="51"/>
                        <a:pt x="585" y="51"/>
                        <a:pt x="585" y="51"/>
                      </a:cubicBezTo>
                      <a:cubicBezTo>
                        <a:pt x="585" y="52"/>
                        <a:pt x="585" y="52"/>
                        <a:pt x="585" y="52"/>
                      </a:cubicBezTo>
                      <a:cubicBezTo>
                        <a:pt x="586" y="52"/>
                        <a:pt x="586" y="52"/>
                        <a:pt x="586" y="52"/>
                      </a:cubicBezTo>
                      <a:cubicBezTo>
                        <a:pt x="586" y="51"/>
                        <a:pt x="586" y="51"/>
                        <a:pt x="586" y="51"/>
                      </a:cubicBezTo>
                      <a:cubicBezTo>
                        <a:pt x="586" y="51"/>
                        <a:pt x="586" y="51"/>
                        <a:pt x="586" y="51"/>
                      </a:cubicBezTo>
                      <a:cubicBezTo>
                        <a:pt x="588" y="51"/>
                        <a:pt x="588" y="51"/>
                        <a:pt x="588" y="51"/>
                      </a:cubicBezTo>
                      <a:cubicBezTo>
                        <a:pt x="587" y="52"/>
                        <a:pt x="587" y="52"/>
                        <a:pt x="587" y="52"/>
                      </a:cubicBezTo>
                      <a:cubicBezTo>
                        <a:pt x="588" y="52"/>
                        <a:pt x="588" y="52"/>
                        <a:pt x="588" y="52"/>
                      </a:cubicBezTo>
                      <a:cubicBezTo>
                        <a:pt x="589" y="52"/>
                        <a:pt x="589" y="52"/>
                        <a:pt x="589" y="52"/>
                      </a:cubicBezTo>
                      <a:cubicBezTo>
                        <a:pt x="589" y="52"/>
                        <a:pt x="589" y="52"/>
                        <a:pt x="589" y="52"/>
                      </a:cubicBezTo>
                      <a:cubicBezTo>
                        <a:pt x="589" y="51"/>
                        <a:pt x="589" y="51"/>
                        <a:pt x="589" y="51"/>
                      </a:cubicBezTo>
                      <a:cubicBezTo>
                        <a:pt x="590" y="51"/>
                        <a:pt x="590" y="51"/>
                        <a:pt x="590" y="51"/>
                      </a:cubicBezTo>
                      <a:cubicBezTo>
                        <a:pt x="591" y="52"/>
                        <a:pt x="591" y="52"/>
                        <a:pt x="591" y="52"/>
                      </a:cubicBezTo>
                      <a:cubicBezTo>
                        <a:pt x="591" y="52"/>
                        <a:pt x="591" y="52"/>
                        <a:pt x="591" y="52"/>
                      </a:cubicBezTo>
                      <a:cubicBezTo>
                        <a:pt x="591" y="53"/>
                        <a:pt x="591" y="53"/>
                        <a:pt x="591" y="53"/>
                      </a:cubicBezTo>
                      <a:cubicBezTo>
                        <a:pt x="593" y="54"/>
                        <a:pt x="593" y="54"/>
                        <a:pt x="593" y="54"/>
                      </a:cubicBezTo>
                      <a:cubicBezTo>
                        <a:pt x="594" y="53"/>
                        <a:pt x="594" y="53"/>
                        <a:pt x="594" y="53"/>
                      </a:cubicBezTo>
                      <a:cubicBezTo>
                        <a:pt x="593" y="53"/>
                        <a:pt x="593" y="53"/>
                        <a:pt x="593" y="53"/>
                      </a:cubicBezTo>
                      <a:cubicBezTo>
                        <a:pt x="592" y="52"/>
                        <a:pt x="592" y="52"/>
                        <a:pt x="592" y="52"/>
                      </a:cubicBezTo>
                      <a:cubicBezTo>
                        <a:pt x="592" y="52"/>
                        <a:pt x="592" y="52"/>
                        <a:pt x="592" y="52"/>
                      </a:cubicBezTo>
                      <a:cubicBezTo>
                        <a:pt x="593" y="52"/>
                        <a:pt x="593" y="52"/>
                        <a:pt x="593" y="52"/>
                      </a:cubicBezTo>
                      <a:cubicBezTo>
                        <a:pt x="594" y="52"/>
                        <a:pt x="594" y="52"/>
                        <a:pt x="594" y="52"/>
                      </a:cubicBezTo>
                      <a:cubicBezTo>
                        <a:pt x="596" y="53"/>
                        <a:pt x="596" y="53"/>
                        <a:pt x="596" y="53"/>
                      </a:cubicBezTo>
                      <a:cubicBezTo>
                        <a:pt x="596" y="54"/>
                        <a:pt x="596" y="54"/>
                        <a:pt x="596" y="54"/>
                      </a:cubicBezTo>
                      <a:cubicBezTo>
                        <a:pt x="596" y="54"/>
                        <a:pt x="596" y="54"/>
                        <a:pt x="596" y="54"/>
                      </a:cubicBezTo>
                      <a:cubicBezTo>
                        <a:pt x="597" y="53"/>
                        <a:pt x="597" y="53"/>
                        <a:pt x="597" y="53"/>
                      </a:cubicBezTo>
                      <a:cubicBezTo>
                        <a:pt x="596" y="53"/>
                        <a:pt x="596" y="53"/>
                        <a:pt x="596" y="53"/>
                      </a:cubicBezTo>
                      <a:cubicBezTo>
                        <a:pt x="597" y="53"/>
                        <a:pt x="597" y="53"/>
                        <a:pt x="597" y="53"/>
                      </a:cubicBezTo>
                      <a:cubicBezTo>
                        <a:pt x="598" y="53"/>
                        <a:pt x="598" y="53"/>
                        <a:pt x="598" y="53"/>
                      </a:cubicBezTo>
                      <a:cubicBezTo>
                        <a:pt x="598" y="54"/>
                        <a:pt x="598" y="54"/>
                        <a:pt x="598" y="54"/>
                      </a:cubicBezTo>
                      <a:cubicBezTo>
                        <a:pt x="599" y="55"/>
                        <a:pt x="599" y="55"/>
                        <a:pt x="599" y="55"/>
                      </a:cubicBezTo>
                      <a:cubicBezTo>
                        <a:pt x="600" y="57"/>
                        <a:pt x="600" y="57"/>
                        <a:pt x="600" y="57"/>
                      </a:cubicBezTo>
                      <a:cubicBezTo>
                        <a:pt x="602" y="58"/>
                        <a:pt x="602" y="58"/>
                        <a:pt x="602" y="58"/>
                      </a:cubicBezTo>
                      <a:cubicBezTo>
                        <a:pt x="602" y="59"/>
                        <a:pt x="602" y="59"/>
                        <a:pt x="602" y="59"/>
                      </a:cubicBezTo>
                      <a:cubicBezTo>
                        <a:pt x="603" y="59"/>
                        <a:pt x="603" y="59"/>
                        <a:pt x="603" y="59"/>
                      </a:cubicBezTo>
                      <a:cubicBezTo>
                        <a:pt x="604" y="60"/>
                        <a:pt x="604" y="60"/>
                        <a:pt x="604" y="60"/>
                      </a:cubicBezTo>
                      <a:cubicBezTo>
                        <a:pt x="603" y="61"/>
                        <a:pt x="603" y="61"/>
                        <a:pt x="603" y="61"/>
                      </a:cubicBezTo>
                      <a:cubicBezTo>
                        <a:pt x="603" y="62"/>
                        <a:pt x="603" y="62"/>
                        <a:pt x="603" y="62"/>
                      </a:cubicBezTo>
                      <a:cubicBezTo>
                        <a:pt x="604" y="62"/>
                        <a:pt x="604" y="62"/>
                        <a:pt x="604" y="62"/>
                      </a:cubicBezTo>
                      <a:cubicBezTo>
                        <a:pt x="605" y="61"/>
                        <a:pt x="605" y="61"/>
                        <a:pt x="605" y="61"/>
                      </a:cubicBezTo>
                      <a:cubicBezTo>
                        <a:pt x="606" y="61"/>
                        <a:pt x="606" y="61"/>
                        <a:pt x="606" y="61"/>
                      </a:cubicBezTo>
                      <a:cubicBezTo>
                        <a:pt x="607" y="63"/>
                        <a:pt x="607" y="63"/>
                        <a:pt x="607" y="63"/>
                      </a:cubicBezTo>
                      <a:cubicBezTo>
                        <a:pt x="608" y="63"/>
                        <a:pt x="608" y="63"/>
                        <a:pt x="608" y="63"/>
                      </a:cubicBezTo>
                      <a:cubicBezTo>
                        <a:pt x="608" y="62"/>
                        <a:pt x="608" y="62"/>
                        <a:pt x="608" y="62"/>
                      </a:cubicBezTo>
                      <a:cubicBezTo>
                        <a:pt x="608" y="62"/>
                        <a:pt x="608" y="62"/>
                        <a:pt x="608" y="62"/>
                      </a:cubicBezTo>
                      <a:cubicBezTo>
                        <a:pt x="607" y="61"/>
                        <a:pt x="607" y="61"/>
                        <a:pt x="607" y="61"/>
                      </a:cubicBezTo>
                      <a:cubicBezTo>
                        <a:pt x="608" y="61"/>
                        <a:pt x="608" y="61"/>
                        <a:pt x="608" y="61"/>
                      </a:cubicBezTo>
                      <a:cubicBezTo>
                        <a:pt x="609" y="61"/>
                        <a:pt x="609" y="61"/>
                        <a:pt x="609" y="61"/>
                      </a:cubicBezTo>
                      <a:cubicBezTo>
                        <a:pt x="609" y="62"/>
                        <a:pt x="609" y="62"/>
                        <a:pt x="609" y="62"/>
                      </a:cubicBezTo>
                      <a:cubicBezTo>
                        <a:pt x="610" y="63"/>
                        <a:pt x="610" y="63"/>
                        <a:pt x="610" y="63"/>
                      </a:cubicBezTo>
                      <a:cubicBezTo>
                        <a:pt x="610" y="62"/>
                        <a:pt x="610" y="62"/>
                        <a:pt x="610" y="62"/>
                      </a:cubicBezTo>
                      <a:cubicBezTo>
                        <a:pt x="609" y="61"/>
                        <a:pt x="609" y="61"/>
                        <a:pt x="609" y="61"/>
                      </a:cubicBezTo>
                      <a:cubicBezTo>
                        <a:pt x="609" y="60"/>
                        <a:pt x="609" y="60"/>
                        <a:pt x="609" y="60"/>
                      </a:cubicBezTo>
                      <a:cubicBezTo>
                        <a:pt x="609" y="60"/>
                        <a:pt x="609" y="60"/>
                        <a:pt x="609" y="60"/>
                      </a:cubicBezTo>
                      <a:cubicBezTo>
                        <a:pt x="607" y="60"/>
                        <a:pt x="607" y="60"/>
                        <a:pt x="607" y="60"/>
                      </a:cubicBezTo>
                      <a:cubicBezTo>
                        <a:pt x="606" y="60"/>
                        <a:pt x="606" y="60"/>
                        <a:pt x="606" y="60"/>
                      </a:cubicBezTo>
                      <a:cubicBezTo>
                        <a:pt x="606" y="60"/>
                        <a:pt x="606" y="60"/>
                        <a:pt x="606" y="60"/>
                      </a:cubicBezTo>
                      <a:cubicBezTo>
                        <a:pt x="606" y="59"/>
                        <a:pt x="606" y="59"/>
                        <a:pt x="606" y="59"/>
                      </a:cubicBezTo>
                      <a:cubicBezTo>
                        <a:pt x="606" y="58"/>
                        <a:pt x="606" y="58"/>
                        <a:pt x="606" y="58"/>
                      </a:cubicBezTo>
                      <a:cubicBezTo>
                        <a:pt x="604" y="57"/>
                        <a:pt x="604" y="57"/>
                        <a:pt x="604" y="57"/>
                      </a:cubicBezTo>
                      <a:cubicBezTo>
                        <a:pt x="604" y="56"/>
                        <a:pt x="604" y="56"/>
                        <a:pt x="604" y="56"/>
                      </a:cubicBezTo>
                      <a:cubicBezTo>
                        <a:pt x="603" y="55"/>
                        <a:pt x="603" y="55"/>
                        <a:pt x="603" y="55"/>
                      </a:cubicBezTo>
                      <a:cubicBezTo>
                        <a:pt x="603" y="55"/>
                        <a:pt x="603" y="55"/>
                        <a:pt x="603" y="55"/>
                      </a:cubicBezTo>
                      <a:cubicBezTo>
                        <a:pt x="601" y="56"/>
                        <a:pt x="601" y="56"/>
                        <a:pt x="601" y="56"/>
                      </a:cubicBezTo>
                      <a:cubicBezTo>
                        <a:pt x="601" y="56"/>
                        <a:pt x="601" y="56"/>
                        <a:pt x="601" y="56"/>
                      </a:cubicBezTo>
                      <a:cubicBezTo>
                        <a:pt x="602" y="55"/>
                        <a:pt x="602" y="55"/>
                        <a:pt x="602" y="55"/>
                      </a:cubicBezTo>
                      <a:cubicBezTo>
                        <a:pt x="603" y="54"/>
                        <a:pt x="603" y="54"/>
                        <a:pt x="603" y="54"/>
                      </a:cubicBezTo>
                      <a:cubicBezTo>
                        <a:pt x="604" y="52"/>
                        <a:pt x="604" y="52"/>
                        <a:pt x="604" y="52"/>
                      </a:cubicBezTo>
                      <a:cubicBezTo>
                        <a:pt x="605" y="52"/>
                        <a:pt x="605" y="52"/>
                        <a:pt x="605" y="52"/>
                      </a:cubicBezTo>
                      <a:cubicBezTo>
                        <a:pt x="605" y="52"/>
                        <a:pt x="605" y="52"/>
                        <a:pt x="605" y="52"/>
                      </a:cubicBezTo>
                      <a:cubicBezTo>
                        <a:pt x="605" y="54"/>
                        <a:pt x="605" y="54"/>
                        <a:pt x="605" y="54"/>
                      </a:cubicBezTo>
                      <a:cubicBezTo>
                        <a:pt x="606" y="54"/>
                        <a:pt x="606" y="54"/>
                        <a:pt x="606" y="54"/>
                      </a:cubicBezTo>
                      <a:cubicBezTo>
                        <a:pt x="607" y="54"/>
                        <a:pt x="607" y="54"/>
                        <a:pt x="607" y="54"/>
                      </a:cubicBezTo>
                      <a:cubicBezTo>
                        <a:pt x="606" y="53"/>
                        <a:pt x="606" y="53"/>
                        <a:pt x="606" y="53"/>
                      </a:cubicBezTo>
                      <a:cubicBezTo>
                        <a:pt x="605" y="53"/>
                        <a:pt x="605" y="53"/>
                        <a:pt x="605" y="53"/>
                      </a:cubicBezTo>
                      <a:cubicBezTo>
                        <a:pt x="606" y="52"/>
                        <a:pt x="606" y="52"/>
                        <a:pt x="606" y="52"/>
                      </a:cubicBezTo>
                      <a:cubicBezTo>
                        <a:pt x="607" y="52"/>
                        <a:pt x="607" y="52"/>
                        <a:pt x="607" y="52"/>
                      </a:cubicBezTo>
                      <a:cubicBezTo>
                        <a:pt x="607" y="51"/>
                        <a:pt x="607" y="51"/>
                        <a:pt x="607" y="51"/>
                      </a:cubicBezTo>
                      <a:cubicBezTo>
                        <a:pt x="606" y="51"/>
                        <a:pt x="606" y="51"/>
                        <a:pt x="606" y="51"/>
                      </a:cubicBezTo>
                      <a:cubicBezTo>
                        <a:pt x="607" y="51"/>
                        <a:pt x="607" y="51"/>
                        <a:pt x="607" y="51"/>
                      </a:cubicBezTo>
                      <a:cubicBezTo>
                        <a:pt x="607" y="51"/>
                        <a:pt x="607" y="51"/>
                        <a:pt x="607" y="51"/>
                      </a:cubicBezTo>
                      <a:cubicBezTo>
                        <a:pt x="608" y="50"/>
                        <a:pt x="608" y="50"/>
                        <a:pt x="608" y="50"/>
                      </a:cubicBezTo>
                      <a:cubicBezTo>
                        <a:pt x="609" y="49"/>
                        <a:pt x="609" y="49"/>
                        <a:pt x="609" y="49"/>
                      </a:cubicBezTo>
                      <a:cubicBezTo>
                        <a:pt x="610" y="49"/>
                        <a:pt x="610" y="49"/>
                        <a:pt x="610" y="49"/>
                      </a:cubicBezTo>
                      <a:cubicBezTo>
                        <a:pt x="610" y="50"/>
                        <a:pt x="610" y="50"/>
                        <a:pt x="610" y="50"/>
                      </a:cubicBezTo>
                      <a:cubicBezTo>
                        <a:pt x="610" y="50"/>
                        <a:pt x="610" y="50"/>
                        <a:pt x="610" y="50"/>
                      </a:cubicBezTo>
                      <a:cubicBezTo>
                        <a:pt x="611" y="50"/>
                        <a:pt x="611" y="50"/>
                        <a:pt x="611" y="50"/>
                      </a:cubicBezTo>
                      <a:cubicBezTo>
                        <a:pt x="611" y="50"/>
                        <a:pt x="611" y="50"/>
                        <a:pt x="611" y="50"/>
                      </a:cubicBezTo>
                      <a:cubicBezTo>
                        <a:pt x="612" y="51"/>
                        <a:pt x="612" y="51"/>
                        <a:pt x="612" y="51"/>
                      </a:cubicBezTo>
                      <a:cubicBezTo>
                        <a:pt x="614" y="51"/>
                        <a:pt x="614" y="51"/>
                        <a:pt x="614" y="51"/>
                      </a:cubicBezTo>
                      <a:cubicBezTo>
                        <a:pt x="614" y="51"/>
                        <a:pt x="614" y="51"/>
                        <a:pt x="614" y="51"/>
                      </a:cubicBezTo>
                      <a:cubicBezTo>
                        <a:pt x="617" y="51"/>
                        <a:pt x="617" y="51"/>
                        <a:pt x="617" y="51"/>
                      </a:cubicBezTo>
                      <a:cubicBezTo>
                        <a:pt x="617" y="52"/>
                        <a:pt x="617" y="52"/>
                        <a:pt x="617" y="52"/>
                      </a:cubicBezTo>
                      <a:cubicBezTo>
                        <a:pt x="617" y="53"/>
                        <a:pt x="617" y="53"/>
                        <a:pt x="617" y="53"/>
                      </a:cubicBezTo>
                      <a:cubicBezTo>
                        <a:pt x="618" y="52"/>
                        <a:pt x="618" y="52"/>
                        <a:pt x="618" y="52"/>
                      </a:cubicBezTo>
                      <a:cubicBezTo>
                        <a:pt x="618" y="52"/>
                        <a:pt x="618" y="52"/>
                        <a:pt x="618" y="52"/>
                      </a:cubicBezTo>
                      <a:cubicBezTo>
                        <a:pt x="619" y="52"/>
                        <a:pt x="619" y="52"/>
                        <a:pt x="619" y="52"/>
                      </a:cubicBezTo>
                      <a:cubicBezTo>
                        <a:pt x="619" y="53"/>
                        <a:pt x="619" y="53"/>
                        <a:pt x="619" y="53"/>
                      </a:cubicBezTo>
                      <a:cubicBezTo>
                        <a:pt x="620" y="52"/>
                        <a:pt x="620" y="52"/>
                        <a:pt x="620" y="52"/>
                      </a:cubicBezTo>
                      <a:cubicBezTo>
                        <a:pt x="621" y="52"/>
                        <a:pt x="621" y="52"/>
                        <a:pt x="621" y="52"/>
                      </a:cubicBezTo>
                      <a:cubicBezTo>
                        <a:pt x="621" y="52"/>
                        <a:pt x="621" y="52"/>
                        <a:pt x="621" y="52"/>
                      </a:cubicBezTo>
                      <a:cubicBezTo>
                        <a:pt x="621" y="52"/>
                        <a:pt x="621" y="52"/>
                        <a:pt x="621" y="52"/>
                      </a:cubicBezTo>
                      <a:cubicBezTo>
                        <a:pt x="621" y="53"/>
                        <a:pt x="621" y="53"/>
                        <a:pt x="621" y="53"/>
                      </a:cubicBezTo>
                      <a:cubicBezTo>
                        <a:pt x="621" y="54"/>
                        <a:pt x="621" y="54"/>
                        <a:pt x="621" y="54"/>
                      </a:cubicBezTo>
                      <a:cubicBezTo>
                        <a:pt x="621" y="56"/>
                        <a:pt x="621" y="56"/>
                        <a:pt x="621" y="56"/>
                      </a:cubicBezTo>
                      <a:cubicBezTo>
                        <a:pt x="621" y="57"/>
                        <a:pt x="621" y="57"/>
                        <a:pt x="621" y="57"/>
                      </a:cubicBezTo>
                      <a:cubicBezTo>
                        <a:pt x="621" y="58"/>
                        <a:pt x="621" y="58"/>
                        <a:pt x="621" y="58"/>
                      </a:cubicBezTo>
                      <a:cubicBezTo>
                        <a:pt x="622" y="57"/>
                        <a:pt x="622" y="57"/>
                        <a:pt x="622" y="57"/>
                      </a:cubicBezTo>
                      <a:cubicBezTo>
                        <a:pt x="623" y="58"/>
                        <a:pt x="623" y="58"/>
                        <a:pt x="623" y="58"/>
                      </a:cubicBezTo>
                      <a:cubicBezTo>
                        <a:pt x="624" y="59"/>
                        <a:pt x="624" y="59"/>
                        <a:pt x="624" y="59"/>
                      </a:cubicBezTo>
                      <a:cubicBezTo>
                        <a:pt x="624" y="60"/>
                        <a:pt x="624" y="60"/>
                        <a:pt x="624" y="60"/>
                      </a:cubicBezTo>
                      <a:cubicBezTo>
                        <a:pt x="624" y="60"/>
                        <a:pt x="624" y="60"/>
                        <a:pt x="624" y="60"/>
                      </a:cubicBezTo>
                      <a:cubicBezTo>
                        <a:pt x="622" y="60"/>
                        <a:pt x="622" y="60"/>
                        <a:pt x="622" y="60"/>
                      </a:cubicBezTo>
                      <a:cubicBezTo>
                        <a:pt x="621" y="60"/>
                        <a:pt x="621" y="60"/>
                        <a:pt x="621" y="60"/>
                      </a:cubicBezTo>
                      <a:cubicBezTo>
                        <a:pt x="623" y="61"/>
                        <a:pt x="623" y="61"/>
                        <a:pt x="623" y="61"/>
                      </a:cubicBezTo>
                      <a:cubicBezTo>
                        <a:pt x="623" y="62"/>
                        <a:pt x="623" y="62"/>
                        <a:pt x="623" y="62"/>
                      </a:cubicBezTo>
                      <a:cubicBezTo>
                        <a:pt x="623" y="62"/>
                        <a:pt x="623" y="62"/>
                        <a:pt x="623" y="62"/>
                      </a:cubicBezTo>
                      <a:cubicBezTo>
                        <a:pt x="622" y="62"/>
                        <a:pt x="622" y="62"/>
                        <a:pt x="622" y="62"/>
                      </a:cubicBezTo>
                      <a:cubicBezTo>
                        <a:pt x="621" y="64"/>
                        <a:pt x="621" y="64"/>
                        <a:pt x="621" y="64"/>
                      </a:cubicBezTo>
                      <a:cubicBezTo>
                        <a:pt x="621" y="63"/>
                        <a:pt x="621" y="63"/>
                        <a:pt x="621" y="63"/>
                      </a:cubicBezTo>
                      <a:cubicBezTo>
                        <a:pt x="620" y="64"/>
                        <a:pt x="620" y="64"/>
                        <a:pt x="620" y="64"/>
                      </a:cubicBezTo>
                      <a:cubicBezTo>
                        <a:pt x="618" y="64"/>
                        <a:pt x="618" y="64"/>
                        <a:pt x="618" y="64"/>
                      </a:cubicBezTo>
                      <a:cubicBezTo>
                        <a:pt x="617" y="65"/>
                        <a:pt x="617" y="65"/>
                        <a:pt x="617" y="65"/>
                      </a:cubicBezTo>
                      <a:cubicBezTo>
                        <a:pt x="619" y="65"/>
                        <a:pt x="619" y="65"/>
                        <a:pt x="619" y="65"/>
                      </a:cubicBezTo>
                      <a:cubicBezTo>
                        <a:pt x="619" y="65"/>
                        <a:pt x="619" y="65"/>
                        <a:pt x="619" y="65"/>
                      </a:cubicBezTo>
                      <a:cubicBezTo>
                        <a:pt x="620" y="66"/>
                        <a:pt x="620" y="66"/>
                        <a:pt x="620" y="66"/>
                      </a:cubicBezTo>
                      <a:cubicBezTo>
                        <a:pt x="621" y="65"/>
                        <a:pt x="621" y="65"/>
                        <a:pt x="621" y="65"/>
                      </a:cubicBezTo>
                      <a:cubicBezTo>
                        <a:pt x="621" y="65"/>
                        <a:pt x="621" y="65"/>
                        <a:pt x="621" y="65"/>
                      </a:cubicBezTo>
                      <a:cubicBezTo>
                        <a:pt x="621" y="66"/>
                        <a:pt x="621" y="66"/>
                        <a:pt x="621" y="66"/>
                      </a:cubicBezTo>
                      <a:cubicBezTo>
                        <a:pt x="622" y="67"/>
                        <a:pt x="622" y="67"/>
                        <a:pt x="622" y="67"/>
                      </a:cubicBezTo>
                      <a:cubicBezTo>
                        <a:pt x="621" y="68"/>
                        <a:pt x="621" y="68"/>
                        <a:pt x="621" y="68"/>
                      </a:cubicBezTo>
                      <a:cubicBezTo>
                        <a:pt x="621" y="69"/>
                        <a:pt x="621" y="69"/>
                        <a:pt x="621" y="69"/>
                      </a:cubicBezTo>
                      <a:cubicBezTo>
                        <a:pt x="622" y="68"/>
                        <a:pt x="622" y="68"/>
                        <a:pt x="622" y="68"/>
                      </a:cubicBezTo>
                      <a:cubicBezTo>
                        <a:pt x="623" y="68"/>
                        <a:pt x="623" y="68"/>
                        <a:pt x="623" y="68"/>
                      </a:cubicBezTo>
                      <a:cubicBezTo>
                        <a:pt x="625" y="69"/>
                        <a:pt x="625" y="69"/>
                        <a:pt x="625" y="69"/>
                      </a:cubicBezTo>
                      <a:cubicBezTo>
                        <a:pt x="624" y="69"/>
                        <a:pt x="624" y="69"/>
                        <a:pt x="624" y="69"/>
                      </a:cubicBezTo>
                      <a:cubicBezTo>
                        <a:pt x="625" y="70"/>
                        <a:pt x="625" y="70"/>
                        <a:pt x="625" y="70"/>
                      </a:cubicBezTo>
                      <a:cubicBezTo>
                        <a:pt x="624" y="71"/>
                        <a:pt x="624" y="71"/>
                        <a:pt x="624" y="71"/>
                      </a:cubicBezTo>
                      <a:cubicBezTo>
                        <a:pt x="625" y="71"/>
                        <a:pt x="625" y="71"/>
                        <a:pt x="625" y="71"/>
                      </a:cubicBezTo>
                      <a:cubicBezTo>
                        <a:pt x="625" y="73"/>
                        <a:pt x="625" y="73"/>
                        <a:pt x="625" y="73"/>
                      </a:cubicBezTo>
                      <a:cubicBezTo>
                        <a:pt x="624" y="73"/>
                        <a:pt x="624" y="73"/>
                        <a:pt x="624" y="73"/>
                      </a:cubicBezTo>
                      <a:cubicBezTo>
                        <a:pt x="624" y="74"/>
                        <a:pt x="624" y="74"/>
                        <a:pt x="624" y="74"/>
                      </a:cubicBezTo>
                      <a:cubicBezTo>
                        <a:pt x="624" y="74"/>
                        <a:pt x="624" y="74"/>
                        <a:pt x="624" y="74"/>
                      </a:cubicBezTo>
                      <a:cubicBezTo>
                        <a:pt x="624" y="74"/>
                        <a:pt x="624" y="74"/>
                        <a:pt x="624" y="74"/>
                      </a:cubicBezTo>
                      <a:cubicBezTo>
                        <a:pt x="625" y="73"/>
                        <a:pt x="625" y="73"/>
                        <a:pt x="625" y="73"/>
                      </a:cubicBezTo>
                      <a:cubicBezTo>
                        <a:pt x="626" y="74"/>
                        <a:pt x="626" y="74"/>
                        <a:pt x="626" y="74"/>
                      </a:cubicBezTo>
                      <a:cubicBezTo>
                        <a:pt x="625" y="75"/>
                        <a:pt x="625" y="75"/>
                        <a:pt x="625" y="75"/>
                      </a:cubicBezTo>
                      <a:cubicBezTo>
                        <a:pt x="627" y="75"/>
                        <a:pt x="627" y="75"/>
                        <a:pt x="627" y="75"/>
                      </a:cubicBezTo>
                      <a:cubicBezTo>
                        <a:pt x="627" y="76"/>
                        <a:pt x="627" y="76"/>
                        <a:pt x="627" y="76"/>
                      </a:cubicBezTo>
                      <a:cubicBezTo>
                        <a:pt x="627" y="75"/>
                        <a:pt x="627" y="75"/>
                        <a:pt x="627" y="75"/>
                      </a:cubicBezTo>
                      <a:cubicBezTo>
                        <a:pt x="628" y="74"/>
                        <a:pt x="628" y="74"/>
                        <a:pt x="628" y="74"/>
                      </a:cubicBezTo>
                      <a:cubicBezTo>
                        <a:pt x="628" y="75"/>
                        <a:pt x="628" y="75"/>
                        <a:pt x="628" y="75"/>
                      </a:cubicBezTo>
                      <a:cubicBezTo>
                        <a:pt x="629" y="75"/>
                        <a:pt x="629" y="75"/>
                        <a:pt x="629" y="75"/>
                      </a:cubicBezTo>
                      <a:cubicBezTo>
                        <a:pt x="629" y="76"/>
                        <a:pt x="629" y="76"/>
                        <a:pt x="629" y="76"/>
                      </a:cubicBezTo>
                      <a:cubicBezTo>
                        <a:pt x="628" y="76"/>
                        <a:pt x="628" y="76"/>
                        <a:pt x="628" y="76"/>
                      </a:cubicBezTo>
                      <a:cubicBezTo>
                        <a:pt x="628" y="76"/>
                        <a:pt x="628" y="76"/>
                        <a:pt x="628" y="76"/>
                      </a:cubicBezTo>
                      <a:cubicBezTo>
                        <a:pt x="627" y="76"/>
                        <a:pt x="627" y="76"/>
                        <a:pt x="627" y="76"/>
                      </a:cubicBezTo>
                      <a:cubicBezTo>
                        <a:pt x="628" y="77"/>
                        <a:pt x="628" y="77"/>
                        <a:pt x="628" y="77"/>
                      </a:cubicBezTo>
                      <a:cubicBezTo>
                        <a:pt x="629" y="77"/>
                        <a:pt x="629" y="77"/>
                        <a:pt x="629" y="77"/>
                      </a:cubicBezTo>
                      <a:cubicBezTo>
                        <a:pt x="630" y="78"/>
                        <a:pt x="630" y="78"/>
                        <a:pt x="630" y="78"/>
                      </a:cubicBezTo>
                      <a:cubicBezTo>
                        <a:pt x="630" y="79"/>
                        <a:pt x="630" y="79"/>
                        <a:pt x="630" y="79"/>
                      </a:cubicBezTo>
                      <a:cubicBezTo>
                        <a:pt x="628" y="79"/>
                        <a:pt x="628" y="79"/>
                        <a:pt x="628" y="79"/>
                      </a:cubicBezTo>
                      <a:cubicBezTo>
                        <a:pt x="627" y="78"/>
                        <a:pt x="627" y="78"/>
                        <a:pt x="627" y="78"/>
                      </a:cubicBezTo>
                      <a:cubicBezTo>
                        <a:pt x="627" y="78"/>
                        <a:pt x="627" y="78"/>
                        <a:pt x="627" y="78"/>
                      </a:cubicBezTo>
                      <a:cubicBezTo>
                        <a:pt x="627" y="79"/>
                        <a:pt x="627" y="79"/>
                        <a:pt x="627" y="79"/>
                      </a:cubicBezTo>
                      <a:cubicBezTo>
                        <a:pt x="627" y="80"/>
                        <a:pt x="627" y="80"/>
                        <a:pt x="627" y="80"/>
                      </a:cubicBezTo>
                      <a:cubicBezTo>
                        <a:pt x="626" y="80"/>
                        <a:pt x="626" y="80"/>
                        <a:pt x="626" y="80"/>
                      </a:cubicBezTo>
                      <a:cubicBezTo>
                        <a:pt x="626" y="79"/>
                        <a:pt x="626" y="79"/>
                        <a:pt x="626" y="79"/>
                      </a:cubicBezTo>
                      <a:cubicBezTo>
                        <a:pt x="625" y="80"/>
                        <a:pt x="625" y="80"/>
                        <a:pt x="625" y="80"/>
                      </a:cubicBezTo>
                      <a:cubicBezTo>
                        <a:pt x="624" y="79"/>
                        <a:pt x="624" y="79"/>
                        <a:pt x="624" y="79"/>
                      </a:cubicBezTo>
                      <a:cubicBezTo>
                        <a:pt x="622" y="79"/>
                        <a:pt x="622" y="79"/>
                        <a:pt x="622" y="79"/>
                      </a:cubicBezTo>
                      <a:cubicBezTo>
                        <a:pt x="621" y="79"/>
                        <a:pt x="621" y="79"/>
                        <a:pt x="621" y="79"/>
                      </a:cubicBezTo>
                      <a:cubicBezTo>
                        <a:pt x="621" y="79"/>
                        <a:pt x="621" y="79"/>
                        <a:pt x="621" y="79"/>
                      </a:cubicBezTo>
                      <a:cubicBezTo>
                        <a:pt x="621" y="79"/>
                        <a:pt x="621" y="79"/>
                        <a:pt x="621" y="79"/>
                      </a:cubicBezTo>
                      <a:cubicBezTo>
                        <a:pt x="620" y="78"/>
                        <a:pt x="620" y="78"/>
                        <a:pt x="620" y="78"/>
                      </a:cubicBezTo>
                      <a:cubicBezTo>
                        <a:pt x="620" y="78"/>
                        <a:pt x="620" y="78"/>
                        <a:pt x="620" y="78"/>
                      </a:cubicBezTo>
                      <a:cubicBezTo>
                        <a:pt x="620" y="79"/>
                        <a:pt x="620" y="79"/>
                        <a:pt x="620" y="79"/>
                      </a:cubicBezTo>
                      <a:cubicBezTo>
                        <a:pt x="619" y="79"/>
                        <a:pt x="619" y="79"/>
                        <a:pt x="619" y="79"/>
                      </a:cubicBezTo>
                      <a:cubicBezTo>
                        <a:pt x="619" y="79"/>
                        <a:pt x="619" y="79"/>
                        <a:pt x="619" y="79"/>
                      </a:cubicBezTo>
                      <a:cubicBezTo>
                        <a:pt x="620" y="80"/>
                        <a:pt x="620" y="80"/>
                        <a:pt x="620" y="80"/>
                      </a:cubicBezTo>
                      <a:cubicBezTo>
                        <a:pt x="619" y="81"/>
                        <a:pt x="619" y="81"/>
                        <a:pt x="619" y="81"/>
                      </a:cubicBezTo>
                      <a:cubicBezTo>
                        <a:pt x="619" y="81"/>
                        <a:pt x="619" y="81"/>
                        <a:pt x="619" y="81"/>
                      </a:cubicBezTo>
                      <a:cubicBezTo>
                        <a:pt x="619" y="81"/>
                        <a:pt x="619" y="81"/>
                        <a:pt x="619" y="81"/>
                      </a:cubicBezTo>
                      <a:cubicBezTo>
                        <a:pt x="618" y="80"/>
                        <a:pt x="618" y="80"/>
                        <a:pt x="618" y="80"/>
                      </a:cubicBezTo>
                      <a:cubicBezTo>
                        <a:pt x="616" y="81"/>
                        <a:pt x="616" y="81"/>
                        <a:pt x="616" y="81"/>
                      </a:cubicBezTo>
                      <a:cubicBezTo>
                        <a:pt x="616" y="80"/>
                        <a:pt x="616" y="80"/>
                        <a:pt x="616" y="80"/>
                      </a:cubicBezTo>
                      <a:cubicBezTo>
                        <a:pt x="616" y="80"/>
                        <a:pt x="616" y="80"/>
                        <a:pt x="616" y="80"/>
                      </a:cubicBezTo>
                      <a:cubicBezTo>
                        <a:pt x="615" y="79"/>
                        <a:pt x="615" y="79"/>
                        <a:pt x="615" y="79"/>
                      </a:cubicBezTo>
                      <a:cubicBezTo>
                        <a:pt x="615" y="79"/>
                        <a:pt x="615" y="79"/>
                        <a:pt x="615" y="79"/>
                      </a:cubicBezTo>
                      <a:cubicBezTo>
                        <a:pt x="613" y="77"/>
                        <a:pt x="613" y="77"/>
                        <a:pt x="613" y="77"/>
                      </a:cubicBezTo>
                      <a:cubicBezTo>
                        <a:pt x="612" y="77"/>
                        <a:pt x="612" y="77"/>
                        <a:pt x="612" y="77"/>
                      </a:cubicBezTo>
                      <a:cubicBezTo>
                        <a:pt x="613" y="77"/>
                        <a:pt x="613" y="77"/>
                        <a:pt x="613" y="77"/>
                      </a:cubicBezTo>
                      <a:cubicBezTo>
                        <a:pt x="611" y="76"/>
                        <a:pt x="611" y="76"/>
                        <a:pt x="611" y="76"/>
                      </a:cubicBezTo>
                      <a:cubicBezTo>
                        <a:pt x="611" y="77"/>
                        <a:pt x="611" y="77"/>
                        <a:pt x="611" y="77"/>
                      </a:cubicBezTo>
                      <a:cubicBezTo>
                        <a:pt x="609" y="77"/>
                        <a:pt x="609" y="77"/>
                        <a:pt x="609" y="77"/>
                      </a:cubicBezTo>
                      <a:cubicBezTo>
                        <a:pt x="608" y="78"/>
                        <a:pt x="608" y="78"/>
                        <a:pt x="608" y="78"/>
                      </a:cubicBezTo>
                      <a:cubicBezTo>
                        <a:pt x="608" y="78"/>
                        <a:pt x="608" y="78"/>
                        <a:pt x="608" y="78"/>
                      </a:cubicBezTo>
                      <a:cubicBezTo>
                        <a:pt x="608" y="77"/>
                        <a:pt x="608" y="77"/>
                        <a:pt x="608" y="77"/>
                      </a:cubicBezTo>
                      <a:cubicBezTo>
                        <a:pt x="607" y="76"/>
                        <a:pt x="607" y="76"/>
                        <a:pt x="607" y="76"/>
                      </a:cubicBezTo>
                      <a:cubicBezTo>
                        <a:pt x="607" y="77"/>
                        <a:pt x="607" y="77"/>
                        <a:pt x="607" y="77"/>
                      </a:cubicBezTo>
                      <a:cubicBezTo>
                        <a:pt x="607" y="79"/>
                        <a:pt x="607" y="79"/>
                        <a:pt x="607" y="79"/>
                      </a:cubicBezTo>
                      <a:cubicBezTo>
                        <a:pt x="608" y="80"/>
                        <a:pt x="608" y="80"/>
                        <a:pt x="608" y="80"/>
                      </a:cubicBezTo>
                      <a:cubicBezTo>
                        <a:pt x="607" y="81"/>
                        <a:pt x="607" y="81"/>
                        <a:pt x="607" y="81"/>
                      </a:cubicBezTo>
                      <a:cubicBezTo>
                        <a:pt x="606" y="83"/>
                        <a:pt x="606" y="83"/>
                        <a:pt x="606" y="83"/>
                      </a:cubicBezTo>
                      <a:cubicBezTo>
                        <a:pt x="605" y="83"/>
                        <a:pt x="605" y="83"/>
                        <a:pt x="605" y="83"/>
                      </a:cubicBezTo>
                      <a:cubicBezTo>
                        <a:pt x="605" y="81"/>
                        <a:pt x="605" y="81"/>
                        <a:pt x="605" y="81"/>
                      </a:cubicBezTo>
                      <a:cubicBezTo>
                        <a:pt x="604" y="81"/>
                        <a:pt x="604" y="81"/>
                        <a:pt x="604" y="81"/>
                      </a:cubicBezTo>
                      <a:cubicBezTo>
                        <a:pt x="603" y="82"/>
                        <a:pt x="603" y="82"/>
                        <a:pt x="603" y="82"/>
                      </a:cubicBezTo>
                      <a:cubicBezTo>
                        <a:pt x="600" y="80"/>
                        <a:pt x="600" y="80"/>
                        <a:pt x="600" y="80"/>
                      </a:cubicBezTo>
                      <a:cubicBezTo>
                        <a:pt x="601" y="79"/>
                        <a:pt x="601" y="79"/>
                        <a:pt x="601" y="79"/>
                      </a:cubicBezTo>
                      <a:cubicBezTo>
                        <a:pt x="600" y="77"/>
                        <a:pt x="600" y="77"/>
                        <a:pt x="600" y="77"/>
                      </a:cubicBezTo>
                      <a:cubicBezTo>
                        <a:pt x="599" y="77"/>
                        <a:pt x="599" y="77"/>
                        <a:pt x="599" y="77"/>
                      </a:cubicBezTo>
                      <a:cubicBezTo>
                        <a:pt x="599" y="76"/>
                        <a:pt x="599" y="76"/>
                        <a:pt x="599" y="76"/>
                      </a:cubicBezTo>
                      <a:cubicBezTo>
                        <a:pt x="598" y="76"/>
                        <a:pt x="598" y="76"/>
                        <a:pt x="598" y="76"/>
                      </a:cubicBezTo>
                      <a:cubicBezTo>
                        <a:pt x="598" y="76"/>
                        <a:pt x="598" y="76"/>
                        <a:pt x="598" y="76"/>
                      </a:cubicBezTo>
                      <a:cubicBezTo>
                        <a:pt x="598" y="77"/>
                        <a:pt x="598" y="77"/>
                        <a:pt x="598" y="77"/>
                      </a:cubicBezTo>
                      <a:cubicBezTo>
                        <a:pt x="598" y="78"/>
                        <a:pt x="598" y="78"/>
                        <a:pt x="598" y="78"/>
                      </a:cubicBezTo>
                      <a:cubicBezTo>
                        <a:pt x="599" y="78"/>
                        <a:pt x="599" y="78"/>
                        <a:pt x="599" y="78"/>
                      </a:cubicBezTo>
                      <a:cubicBezTo>
                        <a:pt x="599" y="79"/>
                        <a:pt x="599" y="79"/>
                        <a:pt x="599" y="79"/>
                      </a:cubicBezTo>
                      <a:cubicBezTo>
                        <a:pt x="597" y="78"/>
                        <a:pt x="597" y="78"/>
                        <a:pt x="597" y="78"/>
                      </a:cubicBezTo>
                      <a:cubicBezTo>
                        <a:pt x="596" y="77"/>
                        <a:pt x="596" y="77"/>
                        <a:pt x="596" y="77"/>
                      </a:cubicBezTo>
                      <a:cubicBezTo>
                        <a:pt x="596" y="77"/>
                        <a:pt x="596" y="77"/>
                        <a:pt x="596" y="77"/>
                      </a:cubicBezTo>
                      <a:cubicBezTo>
                        <a:pt x="596" y="78"/>
                        <a:pt x="596" y="78"/>
                        <a:pt x="596" y="78"/>
                      </a:cubicBezTo>
                      <a:cubicBezTo>
                        <a:pt x="596" y="78"/>
                        <a:pt x="596" y="78"/>
                        <a:pt x="596" y="78"/>
                      </a:cubicBezTo>
                      <a:cubicBezTo>
                        <a:pt x="596" y="79"/>
                        <a:pt x="596" y="79"/>
                        <a:pt x="596" y="79"/>
                      </a:cubicBezTo>
                      <a:cubicBezTo>
                        <a:pt x="597" y="79"/>
                        <a:pt x="597" y="79"/>
                        <a:pt x="597" y="79"/>
                      </a:cubicBezTo>
                      <a:cubicBezTo>
                        <a:pt x="598" y="80"/>
                        <a:pt x="598" y="80"/>
                        <a:pt x="598" y="80"/>
                      </a:cubicBezTo>
                      <a:cubicBezTo>
                        <a:pt x="598" y="80"/>
                        <a:pt x="598" y="80"/>
                        <a:pt x="598" y="80"/>
                      </a:cubicBezTo>
                      <a:cubicBezTo>
                        <a:pt x="596" y="81"/>
                        <a:pt x="596" y="81"/>
                        <a:pt x="596" y="81"/>
                      </a:cubicBezTo>
                      <a:cubicBezTo>
                        <a:pt x="596" y="81"/>
                        <a:pt x="596" y="81"/>
                        <a:pt x="596" y="81"/>
                      </a:cubicBezTo>
                      <a:cubicBezTo>
                        <a:pt x="597" y="81"/>
                        <a:pt x="597" y="81"/>
                        <a:pt x="597" y="81"/>
                      </a:cubicBezTo>
                      <a:cubicBezTo>
                        <a:pt x="599" y="84"/>
                        <a:pt x="599" y="84"/>
                        <a:pt x="599" y="84"/>
                      </a:cubicBezTo>
                      <a:cubicBezTo>
                        <a:pt x="601" y="85"/>
                        <a:pt x="601" y="85"/>
                        <a:pt x="601" y="85"/>
                      </a:cubicBezTo>
                      <a:cubicBezTo>
                        <a:pt x="602" y="84"/>
                        <a:pt x="602" y="84"/>
                        <a:pt x="602" y="84"/>
                      </a:cubicBezTo>
                      <a:cubicBezTo>
                        <a:pt x="604" y="85"/>
                        <a:pt x="604" y="85"/>
                        <a:pt x="604" y="85"/>
                      </a:cubicBezTo>
                      <a:cubicBezTo>
                        <a:pt x="604" y="86"/>
                        <a:pt x="604" y="86"/>
                        <a:pt x="604" y="86"/>
                      </a:cubicBezTo>
                      <a:cubicBezTo>
                        <a:pt x="604" y="86"/>
                        <a:pt x="604" y="86"/>
                        <a:pt x="604" y="86"/>
                      </a:cubicBezTo>
                      <a:cubicBezTo>
                        <a:pt x="603" y="85"/>
                        <a:pt x="603" y="85"/>
                        <a:pt x="603" y="85"/>
                      </a:cubicBezTo>
                      <a:cubicBezTo>
                        <a:pt x="602" y="85"/>
                        <a:pt x="602" y="85"/>
                        <a:pt x="602" y="85"/>
                      </a:cubicBezTo>
                      <a:cubicBezTo>
                        <a:pt x="603" y="86"/>
                        <a:pt x="603" y="86"/>
                        <a:pt x="603" y="86"/>
                      </a:cubicBezTo>
                      <a:cubicBezTo>
                        <a:pt x="604" y="87"/>
                        <a:pt x="604" y="87"/>
                        <a:pt x="604" y="87"/>
                      </a:cubicBezTo>
                      <a:cubicBezTo>
                        <a:pt x="605" y="88"/>
                        <a:pt x="605" y="88"/>
                        <a:pt x="605" y="88"/>
                      </a:cubicBezTo>
                      <a:cubicBezTo>
                        <a:pt x="606" y="89"/>
                        <a:pt x="606" y="89"/>
                        <a:pt x="606" y="89"/>
                      </a:cubicBezTo>
                      <a:cubicBezTo>
                        <a:pt x="606" y="91"/>
                        <a:pt x="606" y="91"/>
                        <a:pt x="606" y="91"/>
                      </a:cubicBezTo>
                      <a:cubicBezTo>
                        <a:pt x="605" y="94"/>
                        <a:pt x="605" y="94"/>
                        <a:pt x="605" y="94"/>
                      </a:cubicBezTo>
                      <a:cubicBezTo>
                        <a:pt x="605" y="96"/>
                        <a:pt x="605" y="96"/>
                        <a:pt x="605" y="96"/>
                      </a:cubicBezTo>
                      <a:cubicBezTo>
                        <a:pt x="605" y="97"/>
                        <a:pt x="605" y="97"/>
                        <a:pt x="605" y="97"/>
                      </a:cubicBezTo>
                      <a:cubicBezTo>
                        <a:pt x="606" y="97"/>
                        <a:pt x="606" y="97"/>
                        <a:pt x="606" y="97"/>
                      </a:cubicBezTo>
                      <a:cubicBezTo>
                        <a:pt x="604" y="99"/>
                        <a:pt x="604" y="99"/>
                        <a:pt x="604" y="99"/>
                      </a:cubicBezTo>
                      <a:cubicBezTo>
                        <a:pt x="604" y="100"/>
                        <a:pt x="604" y="100"/>
                        <a:pt x="604" y="100"/>
                      </a:cubicBezTo>
                      <a:cubicBezTo>
                        <a:pt x="604" y="101"/>
                        <a:pt x="604" y="101"/>
                        <a:pt x="604" y="101"/>
                      </a:cubicBezTo>
                      <a:cubicBezTo>
                        <a:pt x="604" y="100"/>
                        <a:pt x="604" y="100"/>
                        <a:pt x="604" y="100"/>
                      </a:cubicBezTo>
                      <a:cubicBezTo>
                        <a:pt x="604" y="99"/>
                        <a:pt x="604" y="99"/>
                        <a:pt x="604" y="99"/>
                      </a:cubicBezTo>
                      <a:cubicBezTo>
                        <a:pt x="601" y="101"/>
                        <a:pt x="601" y="101"/>
                        <a:pt x="601" y="101"/>
                      </a:cubicBezTo>
                      <a:cubicBezTo>
                        <a:pt x="601" y="100"/>
                        <a:pt x="601" y="100"/>
                        <a:pt x="601" y="100"/>
                      </a:cubicBezTo>
                      <a:cubicBezTo>
                        <a:pt x="600" y="101"/>
                        <a:pt x="600" y="101"/>
                        <a:pt x="600" y="101"/>
                      </a:cubicBezTo>
                      <a:cubicBezTo>
                        <a:pt x="599" y="101"/>
                        <a:pt x="599" y="101"/>
                        <a:pt x="599" y="101"/>
                      </a:cubicBezTo>
                      <a:cubicBezTo>
                        <a:pt x="599" y="100"/>
                        <a:pt x="599" y="100"/>
                        <a:pt x="599" y="100"/>
                      </a:cubicBezTo>
                      <a:cubicBezTo>
                        <a:pt x="598" y="100"/>
                        <a:pt x="598" y="100"/>
                        <a:pt x="598" y="100"/>
                      </a:cubicBezTo>
                      <a:cubicBezTo>
                        <a:pt x="596" y="99"/>
                        <a:pt x="596" y="99"/>
                        <a:pt x="596" y="99"/>
                      </a:cubicBezTo>
                      <a:cubicBezTo>
                        <a:pt x="595" y="98"/>
                        <a:pt x="595" y="98"/>
                        <a:pt x="595" y="98"/>
                      </a:cubicBezTo>
                      <a:cubicBezTo>
                        <a:pt x="594" y="98"/>
                        <a:pt x="594" y="98"/>
                        <a:pt x="594" y="98"/>
                      </a:cubicBezTo>
                      <a:cubicBezTo>
                        <a:pt x="593" y="97"/>
                        <a:pt x="593" y="97"/>
                        <a:pt x="593" y="97"/>
                      </a:cubicBezTo>
                      <a:cubicBezTo>
                        <a:pt x="592" y="98"/>
                        <a:pt x="592" y="98"/>
                        <a:pt x="592" y="98"/>
                      </a:cubicBezTo>
                      <a:cubicBezTo>
                        <a:pt x="591" y="99"/>
                        <a:pt x="591" y="99"/>
                        <a:pt x="591" y="99"/>
                      </a:cubicBezTo>
                      <a:cubicBezTo>
                        <a:pt x="590" y="99"/>
                        <a:pt x="590" y="99"/>
                        <a:pt x="590" y="99"/>
                      </a:cubicBezTo>
                      <a:cubicBezTo>
                        <a:pt x="591" y="99"/>
                        <a:pt x="591" y="99"/>
                        <a:pt x="591" y="99"/>
                      </a:cubicBezTo>
                      <a:cubicBezTo>
                        <a:pt x="593" y="99"/>
                        <a:pt x="593" y="99"/>
                        <a:pt x="593" y="99"/>
                      </a:cubicBezTo>
                      <a:cubicBezTo>
                        <a:pt x="593" y="98"/>
                        <a:pt x="593" y="98"/>
                        <a:pt x="593" y="98"/>
                      </a:cubicBezTo>
                      <a:cubicBezTo>
                        <a:pt x="596" y="99"/>
                        <a:pt x="596" y="99"/>
                        <a:pt x="596" y="99"/>
                      </a:cubicBezTo>
                      <a:cubicBezTo>
                        <a:pt x="596" y="100"/>
                        <a:pt x="596" y="100"/>
                        <a:pt x="596" y="100"/>
                      </a:cubicBezTo>
                      <a:cubicBezTo>
                        <a:pt x="595" y="101"/>
                        <a:pt x="595" y="101"/>
                        <a:pt x="595" y="101"/>
                      </a:cubicBezTo>
                      <a:cubicBezTo>
                        <a:pt x="594" y="100"/>
                        <a:pt x="594" y="100"/>
                        <a:pt x="594" y="100"/>
                      </a:cubicBezTo>
                      <a:cubicBezTo>
                        <a:pt x="593" y="100"/>
                        <a:pt x="593" y="100"/>
                        <a:pt x="593" y="100"/>
                      </a:cubicBezTo>
                      <a:cubicBezTo>
                        <a:pt x="593" y="101"/>
                        <a:pt x="593" y="101"/>
                        <a:pt x="593" y="101"/>
                      </a:cubicBezTo>
                      <a:cubicBezTo>
                        <a:pt x="592" y="100"/>
                        <a:pt x="592" y="100"/>
                        <a:pt x="592" y="100"/>
                      </a:cubicBezTo>
                      <a:cubicBezTo>
                        <a:pt x="591" y="100"/>
                        <a:pt x="591" y="100"/>
                        <a:pt x="591" y="100"/>
                      </a:cubicBezTo>
                      <a:cubicBezTo>
                        <a:pt x="592" y="100"/>
                        <a:pt x="592" y="100"/>
                        <a:pt x="592" y="100"/>
                      </a:cubicBezTo>
                      <a:cubicBezTo>
                        <a:pt x="592" y="101"/>
                        <a:pt x="592" y="101"/>
                        <a:pt x="592" y="101"/>
                      </a:cubicBezTo>
                      <a:cubicBezTo>
                        <a:pt x="594" y="102"/>
                        <a:pt x="594" y="102"/>
                        <a:pt x="594" y="102"/>
                      </a:cubicBezTo>
                      <a:cubicBezTo>
                        <a:pt x="593" y="103"/>
                        <a:pt x="593" y="103"/>
                        <a:pt x="593" y="103"/>
                      </a:cubicBezTo>
                      <a:cubicBezTo>
                        <a:pt x="594" y="105"/>
                        <a:pt x="594" y="105"/>
                        <a:pt x="594" y="105"/>
                      </a:cubicBezTo>
                      <a:cubicBezTo>
                        <a:pt x="595" y="105"/>
                        <a:pt x="595" y="105"/>
                        <a:pt x="595" y="105"/>
                      </a:cubicBezTo>
                      <a:cubicBezTo>
                        <a:pt x="594" y="105"/>
                        <a:pt x="594" y="105"/>
                        <a:pt x="594" y="105"/>
                      </a:cubicBezTo>
                      <a:cubicBezTo>
                        <a:pt x="594" y="103"/>
                        <a:pt x="594" y="103"/>
                        <a:pt x="594" y="103"/>
                      </a:cubicBezTo>
                      <a:cubicBezTo>
                        <a:pt x="595" y="103"/>
                        <a:pt x="595" y="103"/>
                        <a:pt x="595" y="103"/>
                      </a:cubicBezTo>
                      <a:cubicBezTo>
                        <a:pt x="596" y="103"/>
                        <a:pt x="596" y="103"/>
                        <a:pt x="596" y="103"/>
                      </a:cubicBezTo>
                      <a:cubicBezTo>
                        <a:pt x="596" y="102"/>
                        <a:pt x="596" y="102"/>
                        <a:pt x="596" y="102"/>
                      </a:cubicBezTo>
                      <a:cubicBezTo>
                        <a:pt x="597" y="101"/>
                        <a:pt x="597" y="101"/>
                        <a:pt x="597" y="101"/>
                      </a:cubicBezTo>
                      <a:cubicBezTo>
                        <a:pt x="598" y="101"/>
                        <a:pt x="598" y="101"/>
                        <a:pt x="598" y="101"/>
                      </a:cubicBezTo>
                      <a:cubicBezTo>
                        <a:pt x="599" y="101"/>
                        <a:pt x="599" y="101"/>
                        <a:pt x="599" y="101"/>
                      </a:cubicBezTo>
                      <a:cubicBezTo>
                        <a:pt x="599" y="102"/>
                        <a:pt x="599" y="102"/>
                        <a:pt x="599" y="102"/>
                      </a:cubicBezTo>
                      <a:cubicBezTo>
                        <a:pt x="600" y="104"/>
                        <a:pt x="600" y="104"/>
                        <a:pt x="600" y="104"/>
                      </a:cubicBezTo>
                      <a:cubicBezTo>
                        <a:pt x="601" y="104"/>
                        <a:pt x="601" y="104"/>
                        <a:pt x="601" y="104"/>
                      </a:cubicBezTo>
                      <a:cubicBezTo>
                        <a:pt x="602" y="105"/>
                        <a:pt x="602" y="105"/>
                        <a:pt x="602" y="105"/>
                      </a:cubicBezTo>
                      <a:cubicBezTo>
                        <a:pt x="604" y="105"/>
                        <a:pt x="604" y="105"/>
                        <a:pt x="604" y="105"/>
                      </a:cubicBezTo>
                      <a:cubicBezTo>
                        <a:pt x="604" y="104"/>
                        <a:pt x="604" y="104"/>
                        <a:pt x="604" y="104"/>
                      </a:cubicBezTo>
                      <a:cubicBezTo>
                        <a:pt x="604" y="103"/>
                        <a:pt x="604" y="103"/>
                        <a:pt x="604" y="103"/>
                      </a:cubicBezTo>
                      <a:cubicBezTo>
                        <a:pt x="604" y="104"/>
                        <a:pt x="604" y="104"/>
                        <a:pt x="604" y="104"/>
                      </a:cubicBezTo>
                      <a:cubicBezTo>
                        <a:pt x="607" y="105"/>
                        <a:pt x="607" y="105"/>
                        <a:pt x="607" y="105"/>
                      </a:cubicBezTo>
                      <a:cubicBezTo>
                        <a:pt x="607" y="106"/>
                        <a:pt x="607" y="106"/>
                        <a:pt x="607" y="106"/>
                      </a:cubicBezTo>
                      <a:cubicBezTo>
                        <a:pt x="606" y="106"/>
                        <a:pt x="606" y="106"/>
                        <a:pt x="606" y="106"/>
                      </a:cubicBezTo>
                      <a:cubicBezTo>
                        <a:pt x="606" y="107"/>
                        <a:pt x="606" y="107"/>
                        <a:pt x="606" y="107"/>
                      </a:cubicBezTo>
                      <a:cubicBezTo>
                        <a:pt x="608" y="108"/>
                        <a:pt x="608" y="108"/>
                        <a:pt x="608" y="108"/>
                      </a:cubicBezTo>
                      <a:cubicBezTo>
                        <a:pt x="608" y="108"/>
                        <a:pt x="608" y="108"/>
                        <a:pt x="608" y="108"/>
                      </a:cubicBezTo>
                      <a:cubicBezTo>
                        <a:pt x="608" y="108"/>
                        <a:pt x="608" y="108"/>
                        <a:pt x="608" y="108"/>
                      </a:cubicBezTo>
                      <a:cubicBezTo>
                        <a:pt x="609" y="107"/>
                        <a:pt x="609" y="107"/>
                        <a:pt x="609" y="107"/>
                      </a:cubicBezTo>
                      <a:cubicBezTo>
                        <a:pt x="610" y="108"/>
                        <a:pt x="610" y="108"/>
                        <a:pt x="610" y="108"/>
                      </a:cubicBezTo>
                      <a:cubicBezTo>
                        <a:pt x="612" y="110"/>
                        <a:pt x="612" y="110"/>
                        <a:pt x="612" y="110"/>
                      </a:cubicBezTo>
                      <a:cubicBezTo>
                        <a:pt x="611" y="110"/>
                        <a:pt x="611" y="110"/>
                        <a:pt x="611" y="110"/>
                      </a:cubicBezTo>
                      <a:cubicBezTo>
                        <a:pt x="610" y="110"/>
                        <a:pt x="610" y="110"/>
                        <a:pt x="610" y="110"/>
                      </a:cubicBezTo>
                      <a:cubicBezTo>
                        <a:pt x="610" y="110"/>
                        <a:pt x="610" y="110"/>
                        <a:pt x="610" y="110"/>
                      </a:cubicBezTo>
                      <a:cubicBezTo>
                        <a:pt x="611" y="111"/>
                        <a:pt x="611" y="111"/>
                        <a:pt x="611" y="111"/>
                      </a:cubicBezTo>
                      <a:cubicBezTo>
                        <a:pt x="610" y="111"/>
                        <a:pt x="610" y="111"/>
                        <a:pt x="610" y="111"/>
                      </a:cubicBezTo>
                      <a:cubicBezTo>
                        <a:pt x="610" y="112"/>
                        <a:pt x="610" y="112"/>
                        <a:pt x="610" y="112"/>
                      </a:cubicBezTo>
                      <a:cubicBezTo>
                        <a:pt x="610" y="113"/>
                        <a:pt x="610" y="113"/>
                        <a:pt x="610" y="113"/>
                      </a:cubicBezTo>
                      <a:cubicBezTo>
                        <a:pt x="611" y="113"/>
                        <a:pt x="611" y="113"/>
                        <a:pt x="611" y="113"/>
                      </a:cubicBezTo>
                      <a:cubicBezTo>
                        <a:pt x="611" y="112"/>
                        <a:pt x="611" y="112"/>
                        <a:pt x="611" y="112"/>
                      </a:cubicBezTo>
                      <a:cubicBezTo>
                        <a:pt x="612" y="111"/>
                        <a:pt x="612" y="111"/>
                        <a:pt x="612" y="111"/>
                      </a:cubicBezTo>
                      <a:cubicBezTo>
                        <a:pt x="612" y="112"/>
                        <a:pt x="612" y="112"/>
                        <a:pt x="612" y="112"/>
                      </a:cubicBezTo>
                      <a:cubicBezTo>
                        <a:pt x="613" y="111"/>
                        <a:pt x="613" y="111"/>
                        <a:pt x="613" y="111"/>
                      </a:cubicBezTo>
                      <a:cubicBezTo>
                        <a:pt x="614" y="112"/>
                        <a:pt x="614" y="112"/>
                        <a:pt x="614" y="112"/>
                      </a:cubicBezTo>
                      <a:cubicBezTo>
                        <a:pt x="616" y="113"/>
                        <a:pt x="616" y="113"/>
                        <a:pt x="616" y="113"/>
                      </a:cubicBezTo>
                      <a:cubicBezTo>
                        <a:pt x="618" y="114"/>
                        <a:pt x="618" y="114"/>
                        <a:pt x="618" y="114"/>
                      </a:cubicBezTo>
                      <a:cubicBezTo>
                        <a:pt x="619" y="115"/>
                        <a:pt x="619" y="115"/>
                        <a:pt x="619" y="115"/>
                      </a:cubicBezTo>
                      <a:cubicBezTo>
                        <a:pt x="618" y="116"/>
                        <a:pt x="618" y="116"/>
                        <a:pt x="618" y="116"/>
                      </a:cubicBezTo>
                      <a:cubicBezTo>
                        <a:pt x="620" y="117"/>
                        <a:pt x="620" y="117"/>
                        <a:pt x="620" y="117"/>
                      </a:cubicBezTo>
                      <a:cubicBezTo>
                        <a:pt x="621" y="117"/>
                        <a:pt x="621" y="117"/>
                        <a:pt x="621" y="117"/>
                      </a:cubicBezTo>
                      <a:cubicBezTo>
                        <a:pt x="622" y="119"/>
                        <a:pt x="622" y="119"/>
                        <a:pt x="622" y="119"/>
                      </a:cubicBezTo>
                      <a:cubicBezTo>
                        <a:pt x="622" y="122"/>
                        <a:pt x="622" y="122"/>
                        <a:pt x="622" y="122"/>
                      </a:cubicBezTo>
                      <a:cubicBezTo>
                        <a:pt x="621" y="122"/>
                        <a:pt x="621" y="122"/>
                        <a:pt x="621" y="122"/>
                      </a:cubicBezTo>
                      <a:cubicBezTo>
                        <a:pt x="621" y="122"/>
                        <a:pt x="621" y="122"/>
                        <a:pt x="621" y="122"/>
                      </a:cubicBezTo>
                      <a:cubicBezTo>
                        <a:pt x="622" y="123"/>
                        <a:pt x="622" y="123"/>
                        <a:pt x="622" y="123"/>
                      </a:cubicBezTo>
                      <a:cubicBezTo>
                        <a:pt x="623" y="124"/>
                        <a:pt x="623" y="124"/>
                        <a:pt x="623" y="124"/>
                      </a:cubicBezTo>
                      <a:cubicBezTo>
                        <a:pt x="622" y="124"/>
                        <a:pt x="622" y="124"/>
                        <a:pt x="622" y="124"/>
                      </a:cubicBezTo>
                      <a:cubicBezTo>
                        <a:pt x="622" y="124"/>
                        <a:pt x="622" y="124"/>
                        <a:pt x="622" y="124"/>
                      </a:cubicBezTo>
                      <a:cubicBezTo>
                        <a:pt x="618" y="124"/>
                        <a:pt x="618" y="124"/>
                        <a:pt x="618" y="124"/>
                      </a:cubicBezTo>
                      <a:cubicBezTo>
                        <a:pt x="617" y="123"/>
                        <a:pt x="617" y="123"/>
                        <a:pt x="617" y="123"/>
                      </a:cubicBezTo>
                      <a:cubicBezTo>
                        <a:pt x="616" y="123"/>
                        <a:pt x="616" y="123"/>
                        <a:pt x="616" y="123"/>
                      </a:cubicBezTo>
                      <a:cubicBezTo>
                        <a:pt x="616" y="123"/>
                        <a:pt x="616" y="123"/>
                        <a:pt x="616" y="123"/>
                      </a:cubicBezTo>
                      <a:cubicBezTo>
                        <a:pt x="615" y="122"/>
                        <a:pt x="615" y="122"/>
                        <a:pt x="615" y="122"/>
                      </a:cubicBezTo>
                      <a:cubicBezTo>
                        <a:pt x="615" y="122"/>
                        <a:pt x="615" y="122"/>
                        <a:pt x="615" y="122"/>
                      </a:cubicBezTo>
                      <a:cubicBezTo>
                        <a:pt x="615" y="122"/>
                        <a:pt x="615" y="122"/>
                        <a:pt x="615" y="122"/>
                      </a:cubicBezTo>
                      <a:cubicBezTo>
                        <a:pt x="615" y="123"/>
                        <a:pt x="615" y="123"/>
                        <a:pt x="615" y="123"/>
                      </a:cubicBezTo>
                      <a:cubicBezTo>
                        <a:pt x="614" y="124"/>
                        <a:pt x="614" y="124"/>
                        <a:pt x="614" y="124"/>
                      </a:cubicBezTo>
                      <a:cubicBezTo>
                        <a:pt x="612" y="124"/>
                        <a:pt x="612" y="124"/>
                        <a:pt x="612" y="124"/>
                      </a:cubicBezTo>
                      <a:cubicBezTo>
                        <a:pt x="612" y="124"/>
                        <a:pt x="612" y="124"/>
                        <a:pt x="612" y="124"/>
                      </a:cubicBezTo>
                      <a:cubicBezTo>
                        <a:pt x="613" y="125"/>
                        <a:pt x="613" y="125"/>
                        <a:pt x="613" y="125"/>
                      </a:cubicBezTo>
                      <a:cubicBezTo>
                        <a:pt x="611" y="126"/>
                        <a:pt x="611" y="126"/>
                        <a:pt x="611" y="126"/>
                      </a:cubicBezTo>
                      <a:cubicBezTo>
                        <a:pt x="610" y="126"/>
                        <a:pt x="610" y="126"/>
                        <a:pt x="610" y="126"/>
                      </a:cubicBezTo>
                      <a:cubicBezTo>
                        <a:pt x="610" y="127"/>
                        <a:pt x="610" y="127"/>
                        <a:pt x="610" y="127"/>
                      </a:cubicBezTo>
                      <a:cubicBezTo>
                        <a:pt x="611" y="127"/>
                        <a:pt x="611" y="127"/>
                        <a:pt x="611" y="127"/>
                      </a:cubicBezTo>
                      <a:cubicBezTo>
                        <a:pt x="609" y="129"/>
                        <a:pt x="609" y="129"/>
                        <a:pt x="609" y="129"/>
                      </a:cubicBezTo>
                      <a:cubicBezTo>
                        <a:pt x="609" y="129"/>
                        <a:pt x="609" y="129"/>
                        <a:pt x="609" y="129"/>
                      </a:cubicBezTo>
                      <a:cubicBezTo>
                        <a:pt x="609" y="129"/>
                        <a:pt x="609" y="129"/>
                        <a:pt x="609" y="129"/>
                      </a:cubicBezTo>
                      <a:cubicBezTo>
                        <a:pt x="608" y="129"/>
                        <a:pt x="608" y="129"/>
                        <a:pt x="608" y="129"/>
                      </a:cubicBezTo>
                      <a:cubicBezTo>
                        <a:pt x="608" y="130"/>
                        <a:pt x="608" y="130"/>
                        <a:pt x="608" y="130"/>
                      </a:cubicBezTo>
                      <a:cubicBezTo>
                        <a:pt x="608" y="131"/>
                        <a:pt x="608" y="131"/>
                        <a:pt x="608" y="131"/>
                      </a:cubicBezTo>
                      <a:cubicBezTo>
                        <a:pt x="608" y="132"/>
                        <a:pt x="608" y="132"/>
                        <a:pt x="608" y="132"/>
                      </a:cubicBezTo>
                      <a:cubicBezTo>
                        <a:pt x="607" y="132"/>
                        <a:pt x="607" y="132"/>
                        <a:pt x="607" y="132"/>
                      </a:cubicBezTo>
                      <a:cubicBezTo>
                        <a:pt x="607" y="133"/>
                        <a:pt x="607" y="133"/>
                        <a:pt x="607" y="133"/>
                      </a:cubicBezTo>
                      <a:cubicBezTo>
                        <a:pt x="607" y="133"/>
                        <a:pt x="607" y="133"/>
                        <a:pt x="607" y="133"/>
                      </a:cubicBezTo>
                      <a:cubicBezTo>
                        <a:pt x="606" y="134"/>
                        <a:pt x="606" y="134"/>
                        <a:pt x="606" y="134"/>
                      </a:cubicBezTo>
                      <a:cubicBezTo>
                        <a:pt x="605" y="134"/>
                        <a:pt x="605" y="134"/>
                        <a:pt x="605" y="134"/>
                      </a:cubicBezTo>
                      <a:cubicBezTo>
                        <a:pt x="606" y="135"/>
                        <a:pt x="606" y="135"/>
                        <a:pt x="606" y="135"/>
                      </a:cubicBezTo>
                      <a:cubicBezTo>
                        <a:pt x="606" y="135"/>
                        <a:pt x="606" y="135"/>
                        <a:pt x="606" y="135"/>
                      </a:cubicBezTo>
                      <a:cubicBezTo>
                        <a:pt x="605" y="136"/>
                        <a:pt x="605" y="136"/>
                        <a:pt x="605" y="136"/>
                      </a:cubicBezTo>
                      <a:cubicBezTo>
                        <a:pt x="605" y="136"/>
                        <a:pt x="605" y="136"/>
                        <a:pt x="605" y="136"/>
                      </a:cubicBezTo>
                      <a:cubicBezTo>
                        <a:pt x="604" y="136"/>
                        <a:pt x="604" y="136"/>
                        <a:pt x="604" y="136"/>
                      </a:cubicBezTo>
                      <a:cubicBezTo>
                        <a:pt x="605" y="137"/>
                        <a:pt x="605" y="137"/>
                        <a:pt x="605" y="137"/>
                      </a:cubicBezTo>
                      <a:cubicBezTo>
                        <a:pt x="605" y="137"/>
                        <a:pt x="605" y="137"/>
                        <a:pt x="605" y="137"/>
                      </a:cubicBezTo>
                      <a:cubicBezTo>
                        <a:pt x="604" y="138"/>
                        <a:pt x="604" y="138"/>
                        <a:pt x="604" y="138"/>
                      </a:cubicBezTo>
                      <a:cubicBezTo>
                        <a:pt x="604" y="139"/>
                        <a:pt x="604" y="139"/>
                        <a:pt x="604" y="139"/>
                      </a:cubicBezTo>
                      <a:cubicBezTo>
                        <a:pt x="604" y="139"/>
                        <a:pt x="604" y="139"/>
                        <a:pt x="604" y="139"/>
                      </a:cubicBezTo>
                      <a:cubicBezTo>
                        <a:pt x="603" y="140"/>
                        <a:pt x="603" y="140"/>
                        <a:pt x="603" y="140"/>
                      </a:cubicBezTo>
                      <a:cubicBezTo>
                        <a:pt x="603" y="139"/>
                        <a:pt x="603" y="139"/>
                        <a:pt x="603" y="139"/>
                      </a:cubicBezTo>
                      <a:cubicBezTo>
                        <a:pt x="602" y="139"/>
                        <a:pt x="602" y="139"/>
                        <a:pt x="602" y="139"/>
                      </a:cubicBezTo>
                      <a:cubicBezTo>
                        <a:pt x="603" y="140"/>
                        <a:pt x="603" y="140"/>
                        <a:pt x="603" y="140"/>
                      </a:cubicBezTo>
                      <a:cubicBezTo>
                        <a:pt x="604" y="141"/>
                        <a:pt x="604" y="141"/>
                        <a:pt x="604" y="141"/>
                      </a:cubicBezTo>
                      <a:cubicBezTo>
                        <a:pt x="604" y="142"/>
                        <a:pt x="604" y="142"/>
                        <a:pt x="604" y="142"/>
                      </a:cubicBezTo>
                      <a:cubicBezTo>
                        <a:pt x="602" y="142"/>
                        <a:pt x="602" y="142"/>
                        <a:pt x="602" y="142"/>
                      </a:cubicBezTo>
                      <a:cubicBezTo>
                        <a:pt x="602" y="142"/>
                        <a:pt x="602" y="142"/>
                        <a:pt x="602" y="142"/>
                      </a:cubicBezTo>
                      <a:cubicBezTo>
                        <a:pt x="603" y="142"/>
                        <a:pt x="603" y="142"/>
                        <a:pt x="603" y="142"/>
                      </a:cubicBezTo>
                      <a:cubicBezTo>
                        <a:pt x="604" y="144"/>
                        <a:pt x="604" y="144"/>
                        <a:pt x="604" y="144"/>
                      </a:cubicBezTo>
                      <a:cubicBezTo>
                        <a:pt x="603" y="144"/>
                        <a:pt x="603" y="144"/>
                        <a:pt x="603" y="144"/>
                      </a:cubicBezTo>
                      <a:cubicBezTo>
                        <a:pt x="603" y="145"/>
                        <a:pt x="603" y="145"/>
                        <a:pt x="603" y="145"/>
                      </a:cubicBezTo>
                      <a:cubicBezTo>
                        <a:pt x="602" y="146"/>
                        <a:pt x="602" y="146"/>
                        <a:pt x="602" y="146"/>
                      </a:cubicBezTo>
                      <a:cubicBezTo>
                        <a:pt x="603" y="147"/>
                        <a:pt x="603" y="147"/>
                        <a:pt x="603" y="147"/>
                      </a:cubicBezTo>
                      <a:cubicBezTo>
                        <a:pt x="602" y="148"/>
                        <a:pt x="602" y="148"/>
                        <a:pt x="602" y="148"/>
                      </a:cubicBezTo>
                      <a:cubicBezTo>
                        <a:pt x="602" y="150"/>
                        <a:pt x="602" y="150"/>
                        <a:pt x="602" y="150"/>
                      </a:cubicBezTo>
                      <a:cubicBezTo>
                        <a:pt x="601" y="151"/>
                        <a:pt x="601" y="151"/>
                        <a:pt x="601" y="151"/>
                      </a:cubicBezTo>
                      <a:cubicBezTo>
                        <a:pt x="601" y="152"/>
                        <a:pt x="601" y="152"/>
                        <a:pt x="601" y="152"/>
                      </a:cubicBezTo>
                      <a:cubicBezTo>
                        <a:pt x="602" y="152"/>
                        <a:pt x="602" y="152"/>
                        <a:pt x="602" y="152"/>
                      </a:cubicBezTo>
                      <a:cubicBezTo>
                        <a:pt x="602" y="153"/>
                        <a:pt x="602" y="153"/>
                        <a:pt x="602" y="153"/>
                      </a:cubicBezTo>
                      <a:cubicBezTo>
                        <a:pt x="601" y="153"/>
                        <a:pt x="601" y="153"/>
                        <a:pt x="601" y="153"/>
                      </a:cubicBezTo>
                      <a:cubicBezTo>
                        <a:pt x="603" y="155"/>
                        <a:pt x="603" y="155"/>
                        <a:pt x="603" y="155"/>
                      </a:cubicBezTo>
                      <a:cubicBezTo>
                        <a:pt x="603" y="156"/>
                        <a:pt x="603" y="156"/>
                        <a:pt x="603" y="156"/>
                      </a:cubicBezTo>
                      <a:cubicBezTo>
                        <a:pt x="602" y="155"/>
                        <a:pt x="602" y="155"/>
                        <a:pt x="602" y="155"/>
                      </a:cubicBezTo>
                      <a:cubicBezTo>
                        <a:pt x="601" y="155"/>
                        <a:pt x="601" y="155"/>
                        <a:pt x="601" y="155"/>
                      </a:cubicBezTo>
                      <a:cubicBezTo>
                        <a:pt x="600" y="155"/>
                        <a:pt x="600" y="155"/>
                        <a:pt x="600" y="155"/>
                      </a:cubicBezTo>
                      <a:cubicBezTo>
                        <a:pt x="600" y="155"/>
                        <a:pt x="600" y="155"/>
                        <a:pt x="600" y="155"/>
                      </a:cubicBezTo>
                      <a:cubicBezTo>
                        <a:pt x="598" y="154"/>
                        <a:pt x="598" y="154"/>
                        <a:pt x="598" y="154"/>
                      </a:cubicBezTo>
                      <a:cubicBezTo>
                        <a:pt x="599" y="153"/>
                        <a:pt x="599" y="153"/>
                        <a:pt x="599" y="153"/>
                      </a:cubicBezTo>
                      <a:cubicBezTo>
                        <a:pt x="598" y="153"/>
                        <a:pt x="598" y="153"/>
                        <a:pt x="598" y="153"/>
                      </a:cubicBezTo>
                      <a:cubicBezTo>
                        <a:pt x="597" y="153"/>
                        <a:pt x="597" y="153"/>
                        <a:pt x="597" y="153"/>
                      </a:cubicBezTo>
                      <a:cubicBezTo>
                        <a:pt x="597" y="153"/>
                        <a:pt x="597" y="153"/>
                        <a:pt x="597" y="153"/>
                      </a:cubicBezTo>
                      <a:cubicBezTo>
                        <a:pt x="597" y="153"/>
                        <a:pt x="597" y="153"/>
                        <a:pt x="597" y="153"/>
                      </a:cubicBezTo>
                      <a:cubicBezTo>
                        <a:pt x="594" y="151"/>
                        <a:pt x="594" y="151"/>
                        <a:pt x="594" y="151"/>
                      </a:cubicBezTo>
                      <a:cubicBezTo>
                        <a:pt x="593" y="151"/>
                        <a:pt x="593" y="151"/>
                        <a:pt x="593" y="151"/>
                      </a:cubicBezTo>
                      <a:cubicBezTo>
                        <a:pt x="591" y="152"/>
                        <a:pt x="591" y="152"/>
                        <a:pt x="591" y="152"/>
                      </a:cubicBezTo>
                      <a:cubicBezTo>
                        <a:pt x="591" y="152"/>
                        <a:pt x="591" y="152"/>
                        <a:pt x="591" y="152"/>
                      </a:cubicBezTo>
                      <a:cubicBezTo>
                        <a:pt x="590" y="152"/>
                        <a:pt x="590" y="152"/>
                        <a:pt x="590" y="152"/>
                      </a:cubicBezTo>
                      <a:cubicBezTo>
                        <a:pt x="589" y="153"/>
                        <a:pt x="589" y="153"/>
                        <a:pt x="589" y="153"/>
                      </a:cubicBezTo>
                      <a:cubicBezTo>
                        <a:pt x="588" y="153"/>
                        <a:pt x="588" y="153"/>
                        <a:pt x="588" y="153"/>
                      </a:cubicBezTo>
                      <a:cubicBezTo>
                        <a:pt x="587" y="155"/>
                        <a:pt x="587" y="155"/>
                        <a:pt x="587" y="155"/>
                      </a:cubicBezTo>
                      <a:cubicBezTo>
                        <a:pt x="586" y="155"/>
                        <a:pt x="586" y="155"/>
                        <a:pt x="586" y="155"/>
                      </a:cubicBezTo>
                      <a:cubicBezTo>
                        <a:pt x="586" y="155"/>
                        <a:pt x="586" y="155"/>
                        <a:pt x="586" y="155"/>
                      </a:cubicBezTo>
                      <a:cubicBezTo>
                        <a:pt x="586" y="156"/>
                        <a:pt x="586" y="156"/>
                        <a:pt x="586" y="156"/>
                      </a:cubicBezTo>
                      <a:cubicBezTo>
                        <a:pt x="586" y="157"/>
                        <a:pt x="586" y="157"/>
                        <a:pt x="586" y="157"/>
                      </a:cubicBezTo>
                      <a:cubicBezTo>
                        <a:pt x="586" y="158"/>
                        <a:pt x="586" y="158"/>
                        <a:pt x="586" y="158"/>
                      </a:cubicBezTo>
                      <a:cubicBezTo>
                        <a:pt x="586" y="158"/>
                        <a:pt x="586" y="158"/>
                        <a:pt x="586" y="158"/>
                      </a:cubicBezTo>
                      <a:cubicBezTo>
                        <a:pt x="585" y="161"/>
                        <a:pt x="585" y="161"/>
                        <a:pt x="585" y="161"/>
                      </a:cubicBezTo>
                      <a:cubicBezTo>
                        <a:pt x="585" y="161"/>
                        <a:pt x="585" y="161"/>
                        <a:pt x="585" y="161"/>
                      </a:cubicBezTo>
                      <a:cubicBezTo>
                        <a:pt x="584" y="160"/>
                        <a:pt x="584" y="160"/>
                        <a:pt x="584" y="160"/>
                      </a:cubicBezTo>
                      <a:cubicBezTo>
                        <a:pt x="583" y="157"/>
                        <a:pt x="583" y="157"/>
                        <a:pt x="583" y="157"/>
                      </a:cubicBezTo>
                      <a:cubicBezTo>
                        <a:pt x="583" y="157"/>
                        <a:pt x="583" y="157"/>
                        <a:pt x="583" y="157"/>
                      </a:cubicBezTo>
                      <a:cubicBezTo>
                        <a:pt x="582" y="156"/>
                        <a:pt x="582" y="156"/>
                        <a:pt x="582" y="156"/>
                      </a:cubicBezTo>
                      <a:cubicBezTo>
                        <a:pt x="581" y="155"/>
                        <a:pt x="581" y="155"/>
                        <a:pt x="581" y="155"/>
                      </a:cubicBezTo>
                      <a:cubicBezTo>
                        <a:pt x="581" y="156"/>
                        <a:pt x="581" y="156"/>
                        <a:pt x="581" y="156"/>
                      </a:cubicBezTo>
                      <a:cubicBezTo>
                        <a:pt x="580" y="158"/>
                        <a:pt x="580" y="158"/>
                        <a:pt x="580" y="158"/>
                      </a:cubicBezTo>
                      <a:cubicBezTo>
                        <a:pt x="579" y="159"/>
                        <a:pt x="579" y="159"/>
                        <a:pt x="579" y="159"/>
                      </a:cubicBezTo>
                      <a:cubicBezTo>
                        <a:pt x="579" y="159"/>
                        <a:pt x="579" y="159"/>
                        <a:pt x="579" y="159"/>
                      </a:cubicBezTo>
                      <a:cubicBezTo>
                        <a:pt x="580" y="160"/>
                        <a:pt x="580" y="160"/>
                        <a:pt x="580" y="160"/>
                      </a:cubicBezTo>
                      <a:cubicBezTo>
                        <a:pt x="579" y="162"/>
                        <a:pt x="579" y="162"/>
                        <a:pt x="579" y="162"/>
                      </a:cubicBezTo>
                      <a:cubicBezTo>
                        <a:pt x="578" y="161"/>
                        <a:pt x="578" y="161"/>
                        <a:pt x="578" y="161"/>
                      </a:cubicBezTo>
                      <a:cubicBezTo>
                        <a:pt x="578" y="161"/>
                        <a:pt x="578" y="161"/>
                        <a:pt x="578" y="161"/>
                      </a:cubicBezTo>
                      <a:cubicBezTo>
                        <a:pt x="578" y="160"/>
                        <a:pt x="578" y="160"/>
                        <a:pt x="578" y="160"/>
                      </a:cubicBezTo>
                      <a:cubicBezTo>
                        <a:pt x="577" y="160"/>
                        <a:pt x="577" y="160"/>
                        <a:pt x="577" y="160"/>
                      </a:cubicBezTo>
                      <a:cubicBezTo>
                        <a:pt x="576" y="161"/>
                        <a:pt x="576" y="161"/>
                        <a:pt x="576" y="161"/>
                      </a:cubicBezTo>
                      <a:cubicBezTo>
                        <a:pt x="576" y="162"/>
                        <a:pt x="576" y="162"/>
                        <a:pt x="576" y="162"/>
                      </a:cubicBezTo>
                      <a:cubicBezTo>
                        <a:pt x="575" y="161"/>
                        <a:pt x="575" y="161"/>
                        <a:pt x="575" y="161"/>
                      </a:cubicBezTo>
                      <a:cubicBezTo>
                        <a:pt x="574" y="161"/>
                        <a:pt x="574" y="161"/>
                        <a:pt x="574" y="161"/>
                      </a:cubicBezTo>
                      <a:cubicBezTo>
                        <a:pt x="574" y="162"/>
                        <a:pt x="574" y="162"/>
                        <a:pt x="574" y="162"/>
                      </a:cubicBezTo>
                      <a:cubicBezTo>
                        <a:pt x="575" y="162"/>
                        <a:pt x="575" y="162"/>
                        <a:pt x="575" y="162"/>
                      </a:cubicBezTo>
                      <a:cubicBezTo>
                        <a:pt x="574" y="163"/>
                        <a:pt x="574" y="163"/>
                        <a:pt x="574" y="163"/>
                      </a:cubicBezTo>
                      <a:cubicBezTo>
                        <a:pt x="574" y="164"/>
                        <a:pt x="574" y="164"/>
                        <a:pt x="574" y="164"/>
                      </a:cubicBezTo>
                      <a:cubicBezTo>
                        <a:pt x="574" y="164"/>
                        <a:pt x="574" y="164"/>
                        <a:pt x="574" y="164"/>
                      </a:cubicBezTo>
                      <a:cubicBezTo>
                        <a:pt x="575" y="165"/>
                        <a:pt x="575" y="165"/>
                        <a:pt x="575" y="165"/>
                      </a:cubicBezTo>
                      <a:cubicBezTo>
                        <a:pt x="575" y="166"/>
                        <a:pt x="575" y="166"/>
                        <a:pt x="575" y="166"/>
                      </a:cubicBezTo>
                      <a:cubicBezTo>
                        <a:pt x="574" y="166"/>
                        <a:pt x="574" y="166"/>
                        <a:pt x="574" y="166"/>
                      </a:cubicBezTo>
                      <a:cubicBezTo>
                        <a:pt x="575" y="167"/>
                        <a:pt x="575" y="167"/>
                        <a:pt x="575" y="167"/>
                      </a:cubicBezTo>
                      <a:cubicBezTo>
                        <a:pt x="576" y="167"/>
                        <a:pt x="576" y="167"/>
                        <a:pt x="576" y="167"/>
                      </a:cubicBezTo>
                      <a:cubicBezTo>
                        <a:pt x="576" y="168"/>
                        <a:pt x="576" y="168"/>
                        <a:pt x="576" y="168"/>
                      </a:cubicBezTo>
                      <a:cubicBezTo>
                        <a:pt x="577" y="168"/>
                        <a:pt x="577" y="168"/>
                        <a:pt x="577" y="168"/>
                      </a:cubicBezTo>
                      <a:cubicBezTo>
                        <a:pt x="576" y="168"/>
                        <a:pt x="576" y="168"/>
                        <a:pt x="576" y="168"/>
                      </a:cubicBezTo>
                      <a:cubicBezTo>
                        <a:pt x="576" y="169"/>
                        <a:pt x="576" y="169"/>
                        <a:pt x="576" y="169"/>
                      </a:cubicBezTo>
                      <a:cubicBezTo>
                        <a:pt x="577" y="170"/>
                        <a:pt x="577" y="170"/>
                        <a:pt x="577" y="170"/>
                      </a:cubicBezTo>
                      <a:cubicBezTo>
                        <a:pt x="577" y="170"/>
                        <a:pt x="577" y="170"/>
                        <a:pt x="577" y="170"/>
                      </a:cubicBezTo>
                      <a:cubicBezTo>
                        <a:pt x="577" y="171"/>
                        <a:pt x="577" y="171"/>
                        <a:pt x="577" y="171"/>
                      </a:cubicBezTo>
                      <a:cubicBezTo>
                        <a:pt x="576" y="170"/>
                        <a:pt x="576" y="170"/>
                        <a:pt x="576" y="170"/>
                      </a:cubicBezTo>
                      <a:cubicBezTo>
                        <a:pt x="576" y="170"/>
                        <a:pt x="576" y="170"/>
                        <a:pt x="576" y="170"/>
                      </a:cubicBezTo>
                      <a:cubicBezTo>
                        <a:pt x="576" y="171"/>
                        <a:pt x="576" y="171"/>
                        <a:pt x="576" y="171"/>
                      </a:cubicBezTo>
                      <a:cubicBezTo>
                        <a:pt x="577" y="171"/>
                        <a:pt x="577" y="171"/>
                        <a:pt x="577" y="171"/>
                      </a:cubicBezTo>
                      <a:cubicBezTo>
                        <a:pt x="577" y="171"/>
                        <a:pt x="577" y="171"/>
                        <a:pt x="577" y="171"/>
                      </a:cubicBezTo>
                      <a:cubicBezTo>
                        <a:pt x="577" y="172"/>
                        <a:pt x="577" y="172"/>
                        <a:pt x="577" y="172"/>
                      </a:cubicBezTo>
                      <a:cubicBezTo>
                        <a:pt x="577" y="173"/>
                        <a:pt x="577" y="173"/>
                        <a:pt x="577" y="173"/>
                      </a:cubicBezTo>
                      <a:cubicBezTo>
                        <a:pt x="577" y="174"/>
                        <a:pt x="577" y="174"/>
                        <a:pt x="577" y="174"/>
                      </a:cubicBezTo>
                      <a:cubicBezTo>
                        <a:pt x="576" y="175"/>
                        <a:pt x="576" y="175"/>
                        <a:pt x="576" y="175"/>
                      </a:cubicBezTo>
                      <a:cubicBezTo>
                        <a:pt x="577" y="176"/>
                        <a:pt x="577" y="176"/>
                        <a:pt x="577" y="176"/>
                      </a:cubicBezTo>
                      <a:cubicBezTo>
                        <a:pt x="576" y="176"/>
                        <a:pt x="576" y="176"/>
                        <a:pt x="576" y="176"/>
                      </a:cubicBezTo>
                      <a:cubicBezTo>
                        <a:pt x="577" y="177"/>
                        <a:pt x="577" y="177"/>
                        <a:pt x="577" y="177"/>
                      </a:cubicBezTo>
                      <a:cubicBezTo>
                        <a:pt x="577" y="178"/>
                        <a:pt x="577" y="178"/>
                        <a:pt x="577" y="178"/>
                      </a:cubicBezTo>
                      <a:cubicBezTo>
                        <a:pt x="577" y="179"/>
                        <a:pt x="577" y="179"/>
                        <a:pt x="577" y="179"/>
                      </a:cubicBezTo>
                      <a:cubicBezTo>
                        <a:pt x="578" y="180"/>
                        <a:pt x="578" y="180"/>
                        <a:pt x="578" y="180"/>
                      </a:cubicBezTo>
                      <a:cubicBezTo>
                        <a:pt x="577" y="181"/>
                        <a:pt x="577" y="181"/>
                        <a:pt x="577" y="181"/>
                      </a:cubicBezTo>
                      <a:cubicBezTo>
                        <a:pt x="578" y="181"/>
                        <a:pt x="578" y="181"/>
                        <a:pt x="578" y="181"/>
                      </a:cubicBezTo>
                      <a:cubicBezTo>
                        <a:pt x="579" y="182"/>
                        <a:pt x="579" y="182"/>
                        <a:pt x="579" y="182"/>
                      </a:cubicBezTo>
                      <a:cubicBezTo>
                        <a:pt x="580" y="184"/>
                        <a:pt x="580" y="184"/>
                        <a:pt x="580" y="184"/>
                      </a:cubicBezTo>
                      <a:cubicBezTo>
                        <a:pt x="581" y="184"/>
                        <a:pt x="581" y="184"/>
                        <a:pt x="581" y="184"/>
                      </a:cubicBezTo>
                      <a:cubicBezTo>
                        <a:pt x="582" y="184"/>
                        <a:pt x="582" y="184"/>
                        <a:pt x="582" y="184"/>
                      </a:cubicBezTo>
                      <a:cubicBezTo>
                        <a:pt x="582" y="183"/>
                        <a:pt x="582" y="183"/>
                        <a:pt x="582" y="183"/>
                      </a:cubicBezTo>
                      <a:cubicBezTo>
                        <a:pt x="581" y="182"/>
                        <a:pt x="581" y="182"/>
                        <a:pt x="581" y="182"/>
                      </a:cubicBezTo>
                      <a:cubicBezTo>
                        <a:pt x="581" y="181"/>
                        <a:pt x="581" y="181"/>
                        <a:pt x="581" y="181"/>
                      </a:cubicBezTo>
                      <a:cubicBezTo>
                        <a:pt x="581" y="181"/>
                        <a:pt x="581" y="181"/>
                        <a:pt x="581" y="181"/>
                      </a:cubicBezTo>
                      <a:cubicBezTo>
                        <a:pt x="582" y="181"/>
                        <a:pt x="582" y="181"/>
                        <a:pt x="582" y="181"/>
                      </a:cubicBezTo>
                      <a:cubicBezTo>
                        <a:pt x="584" y="182"/>
                        <a:pt x="584" y="182"/>
                        <a:pt x="584" y="182"/>
                      </a:cubicBezTo>
                      <a:cubicBezTo>
                        <a:pt x="585" y="182"/>
                        <a:pt x="585" y="182"/>
                        <a:pt x="585" y="182"/>
                      </a:cubicBezTo>
                      <a:cubicBezTo>
                        <a:pt x="585" y="182"/>
                        <a:pt x="585" y="182"/>
                        <a:pt x="585" y="182"/>
                      </a:cubicBezTo>
                      <a:cubicBezTo>
                        <a:pt x="585" y="183"/>
                        <a:pt x="585" y="183"/>
                        <a:pt x="585" y="183"/>
                      </a:cubicBezTo>
                      <a:cubicBezTo>
                        <a:pt x="585" y="183"/>
                        <a:pt x="585" y="183"/>
                        <a:pt x="585" y="183"/>
                      </a:cubicBezTo>
                      <a:cubicBezTo>
                        <a:pt x="586" y="184"/>
                        <a:pt x="586" y="184"/>
                        <a:pt x="586" y="184"/>
                      </a:cubicBezTo>
                      <a:cubicBezTo>
                        <a:pt x="585" y="185"/>
                        <a:pt x="585" y="185"/>
                        <a:pt x="585" y="185"/>
                      </a:cubicBezTo>
                      <a:cubicBezTo>
                        <a:pt x="585" y="185"/>
                        <a:pt x="585" y="185"/>
                        <a:pt x="585" y="185"/>
                      </a:cubicBezTo>
                      <a:cubicBezTo>
                        <a:pt x="585" y="186"/>
                        <a:pt x="585" y="186"/>
                        <a:pt x="585" y="186"/>
                      </a:cubicBezTo>
                      <a:cubicBezTo>
                        <a:pt x="584" y="186"/>
                        <a:pt x="584" y="186"/>
                        <a:pt x="584" y="186"/>
                      </a:cubicBezTo>
                      <a:cubicBezTo>
                        <a:pt x="585" y="188"/>
                        <a:pt x="585" y="188"/>
                        <a:pt x="585" y="188"/>
                      </a:cubicBezTo>
                      <a:cubicBezTo>
                        <a:pt x="586" y="189"/>
                        <a:pt x="586" y="189"/>
                        <a:pt x="586" y="189"/>
                      </a:cubicBezTo>
                      <a:cubicBezTo>
                        <a:pt x="586" y="190"/>
                        <a:pt x="586" y="190"/>
                        <a:pt x="586" y="190"/>
                      </a:cubicBezTo>
                      <a:cubicBezTo>
                        <a:pt x="587" y="191"/>
                        <a:pt x="587" y="191"/>
                        <a:pt x="587" y="191"/>
                      </a:cubicBezTo>
                      <a:cubicBezTo>
                        <a:pt x="587" y="191"/>
                        <a:pt x="587" y="191"/>
                        <a:pt x="587" y="191"/>
                      </a:cubicBezTo>
                      <a:cubicBezTo>
                        <a:pt x="587" y="190"/>
                        <a:pt x="587" y="190"/>
                        <a:pt x="587" y="190"/>
                      </a:cubicBezTo>
                      <a:cubicBezTo>
                        <a:pt x="588" y="190"/>
                        <a:pt x="588" y="190"/>
                        <a:pt x="588" y="190"/>
                      </a:cubicBezTo>
                      <a:cubicBezTo>
                        <a:pt x="588" y="189"/>
                        <a:pt x="588" y="189"/>
                        <a:pt x="588" y="189"/>
                      </a:cubicBezTo>
                      <a:cubicBezTo>
                        <a:pt x="589" y="190"/>
                        <a:pt x="589" y="190"/>
                        <a:pt x="589" y="190"/>
                      </a:cubicBezTo>
                      <a:cubicBezTo>
                        <a:pt x="590" y="190"/>
                        <a:pt x="590" y="190"/>
                        <a:pt x="590" y="190"/>
                      </a:cubicBezTo>
                      <a:cubicBezTo>
                        <a:pt x="590" y="192"/>
                        <a:pt x="590" y="192"/>
                        <a:pt x="590" y="192"/>
                      </a:cubicBezTo>
                      <a:cubicBezTo>
                        <a:pt x="592" y="194"/>
                        <a:pt x="592" y="194"/>
                        <a:pt x="592" y="194"/>
                      </a:cubicBezTo>
                      <a:cubicBezTo>
                        <a:pt x="593" y="195"/>
                        <a:pt x="593" y="195"/>
                        <a:pt x="593" y="195"/>
                      </a:cubicBezTo>
                      <a:cubicBezTo>
                        <a:pt x="592" y="196"/>
                        <a:pt x="592" y="196"/>
                        <a:pt x="592" y="196"/>
                      </a:cubicBezTo>
                      <a:cubicBezTo>
                        <a:pt x="592" y="197"/>
                        <a:pt x="592" y="197"/>
                        <a:pt x="592" y="197"/>
                      </a:cubicBezTo>
                      <a:cubicBezTo>
                        <a:pt x="591" y="197"/>
                        <a:pt x="591" y="197"/>
                        <a:pt x="591" y="197"/>
                      </a:cubicBezTo>
                      <a:cubicBezTo>
                        <a:pt x="590" y="196"/>
                        <a:pt x="590" y="196"/>
                        <a:pt x="590" y="196"/>
                      </a:cubicBezTo>
                      <a:cubicBezTo>
                        <a:pt x="589" y="196"/>
                        <a:pt x="589" y="196"/>
                        <a:pt x="589" y="196"/>
                      </a:cubicBezTo>
                      <a:cubicBezTo>
                        <a:pt x="589" y="195"/>
                        <a:pt x="589" y="195"/>
                        <a:pt x="589" y="195"/>
                      </a:cubicBezTo>
                      <a:cubicBezTo>
                        <a:pt x="589" y="194"/>
                        <a:pt x="589" y="194"/>
                        <a:pt x="589" y="194"/>
                      </a:cubicBezTo>
                      <a:cubicBezTo>
                        <a:pt x="589" y="193"/>
                        <a:pt x="589" y="193"/>
                        <a:pt x="589" y="193"/>
                      </a:cubicBezTo>
                      <a:cubicBezTo>
                        <a:pt x="589" y="192"/>
                        <a:pt x="589" y="192"/>
                        <a:pt x="589" y="192"/>
                      </a:cubicBezTo>
                      <a:cubicBezTo>
                        <a:pt x="588" y="192"/>
                        <a:pt x="588" y="192"/>
                        <a:pt x="588" y="192"/>
                      </a:cubicBezTo>
                      <a:cubicBezTo>
                        <a:pt x="589" y="193"/>
                        <a:pt x="589" y="193"/>
                        <a:pt x="589" y="193"/>
                      </a:cubicBezTo>
                      <a:cubicBezTo>
                        <a:pt x="589" y="193"/>
                        <a:pt x="589" y="193"/>
                        <a:pt x="589" y="193"/>
                      </a:cubicBezTo>
                      <a:cubicBezTo>
                        <a:pt x="588" y="194"/>
                        <a:pt x="588" y="194"/>
                        <a:pt x="588" y="194"/>
                      </a:cubicBezTo>
                      <a:cubicBezTo>
                        <a:pt x="587" y="195"/>
                        <a:pt x="587" y="195"/>
                        <a:pt x="587" y="195"/>
                      </a:cubicBezTo>
                      <a:cubicBezTo>
                        <a:pt x="587" y="195"/>
                        <a:pt x="587" y="195"/>
                        <a:pt x="587" y="195"/>
                      </a:cubicBezTo>
                      <a:cubicBezTo>
                        <a:pt x="588" y="195"/>
                        <a:pt x="588" y="195"/>
                        <a:pt x="588" y="195"/>
                      </a:cubicBezTo>
                      <a:cubicBezTo>
                        <a:pt x="588" y="196"/>
                        <a:pt x="588" y="196"/>
                        <a:pt x="588" y="196"/>
                      </a:cubicBezTo>
                      <a:cubicBezTo>
                        <a:pt x="588" y="197"/>
                        <a:pt x="588" y="197"/>
                        <a:pt x="588" y="197"/>
                      </a:cubicBezTo>
                      <a:cubicBezTo>
                        <a:pt x="588" y="198"/>
                        <a:pt x="588" y="198"/>
                        <a:pt x="588" y="198"/>
                      </a:cubicBezTo>
                      <a:cubicBezTo>
                        <a:pt x="588" y="199"/>
                        <a:pt x="588" y="199"/>
                        <a:pt x="588" y="199"/>
                      </a:cubicBezTo>
                      <a:cubicBezTo>
                        <a:pt x="588" y="202"/>
                        <a:pt x="588" y="202"/>
                        <a:pt x="588" y="202"/>
                      </a:cubicBezTo>
                      <a:cubicBezTo>
                        <a:pt x="588" y="202"/>
                        <a:pt x="588" y="202"/>
                        <a:pt x="588" y="202"/>
                      </a:cubicBezTo>
                      <a:cubicBezTo>
                        <a:pt x="588" y="203"/>
                        <a:pt x="588" y="203"/>
                        <a:pt x="588" y="203"/>
                      </a:cubicBezTo>
                      <a:cubicBezTo>
                        <a:pt x="591" y="206"/>
                        <a:pt x="591" y="206"/>
                        <a:pt x="591" y="206"/>
                      </a:cubicBezTo>
                      <a:cubicBezTo>
                        <a:pt x="592" y="206"/>
                        <a:pt x="592" y="206"/>
                        <a:pt x="592" y="206"/>
                      </a:cubicBezTo>
                      <a:cubicBezTo>
                        <a:pt x="593" y="208"/>
                        <a:pt x="593" y="208"/>
                        <a:pt x="593" y="208"/>
                      </a:cubicBezTo>
                      <a:cubicBezTo>
                        <a:pt x="594" y="209"/>
                        <a:pt x="594" y="209"/>
                        <a:pt x="594" y="209"/>
                      </a:cubicBezTo>
                      <a:cubicBezTo>
                        <a:pt x="594" y="210"/>
                        <a:pt x="594" y="210"/>
                        <a:pt x="594" y="210"/>
                      </a:cubicBezTo>
                      <a:cubicBezTo>
                        <a:pt x="594" y="211"/>
                        <a:pt x="594" y="211"/>
                        <a:pt x="594" y="211"/>
                      </a:cubicBezTo>
                      <a:cubicBezTo>
                        <a:pt x="591" y="212"/>
                        <a:pt x="591" y="212"/>
                        <a:pt x="591" y="212"/>
                      </a:cubicBezTo>
                      <a:cubicBezTo>
                        <a:pt x="591" y="211"/>
                        <a:pt x="591" y="211"/>
                        <a:pt x="591" y="211"/>
                      </a:cubicBezTo>
                      <a:cubicBezTo>
                        <a:pt x="589" y="212"/>
                        <a:pt x="589" y="212"/>
                        <a:pt x="589" y="212"/>
                      </a:cubicBezTo>
                      <a:cubicBezTo>
                        <a:pt x="588" y="212"/>
                        <a:pt x="588" y="212"/>
                        <a:pt x="588" y="212"/>
                      </a:cubicBezTo>
                      <a:cubicBezTo>
                        <a:pt x="589" y="212"/>
                        <a:pt x="589" y="212"/>
                        <a:pt x="589" y="212"/>
                      </a:cubicBezTo>
                      <a:cubicBezTo>
                        <a:pt x="588" y="214"/>
                        <a:pt x="588" y="214"/>
                        <a:pt x="588" y="214"/>
                      </a:cubicBezTo>
                      <a:cubicBezTo>
                        <a:pt x="588" y="215"/>
                        <a:pt x="588" y="215"/>
                        <a:pt x="588" y="215"/>
                      </a:cubicBezTo>
                      <a:cubicBezTo>
                        <a:pt x="587" y="216"/>
                        <a:pt x="587" y="216"/>
                        <a:pt x="587" y="216"/>
                      </a:cubicBezTo>
                      <a:cubicBezTo>
                        <a:pt x="588" y="216"/>
                        <a:pt x="588" y="216"/>
                        <a:pt x="588" y="216"/>
                      </a:cubicBezTo>
                      <a:cubicBezTo>
                        <a:pt x="587" y="219"/>
                        <a:pt x="587" y="219"/>
                        <a:pt x="587" y="219"/>
                      </a:cubicBezTo>
                      <a:cubicBezTo>
                        <a:pt x="588" y="221"/>
                        <a:pt x="588" y="221"/>
                        <a:pt x="588" y="221"/>
                      </a:cubicBezTo>
                      <a:cubicBezTo>
                        <a:pt x="590" y="222"/>
                        <a:pt x="590" y="222"/>
                        <a:pt x="590" y="222"/>
                      </a:cubicBezTo>
                      <a:cubicBezTo>
                        <a:pt x="590" y="223"/>
                        <a:pt x="590" y="223"/>
                        <a:pt x="590" y="223"/>
                      </a:cubicBezTo>
                      <a:cubicBezTo>
                        <a:pt x="591" y="224"/>
                        <a:pt x="591" y="224"/>
                        <a:pt x="591" y="224"/>
                      </a:cubicBezTo>
                      <a:cubicBezTo>
                        <a:pt x="592" y="224"/>
                        <a:pt x="592" y="224"/>
                        <a:pt x="592" y="224"/>
                      </a:cubicBezTo>
                      <a:cubicBezTo>
                        <a:pt x="591" y="224"/>
                        <a:pt x="591" y="224"/>
                        <a:pt x="591" y="224"/>
                      </a:cubicBezTo>
                      <a:cubicBezTo>
                        <a:pt x="590" y="224"/>
                        <a:pt x="590" y="224"/>
                        <a:pt x="590" y="224"/>
                      </a:cubicBezTo>
                      <a:cubicBezTo>
                        <a:pt x="589" y="224"/>
                        <a:pt x="589" y="224"/>
                        <a:pt x="589" y="224"/>
                      </a:cubicBezTo>
                      <a:cubicBezTo>
                        <a:pt x="588" y="225"/>
                        <a:pt x="588" y="225"/>
                        <a:pt x="588" y="225"/>
                      </a:cubicBezTo>
                      <a:cubicBezTo>
                        <a:pt x="588" y="225"/>
                        <a:pt x="588" y="225"/>
                        <a:pt x="588" y="225"/>
                      </a:cubicBezTo>
                      <a:cubicBezTo>
                        <a:pt x="586" y="226"/>
                        <a:pt x="586" y="226"/>
                        <a:pt x="586" y="226"/>
                      </a:cubicBezTo>
                      <a:cubicBezTo>
                        <a:pt x="585" y="226"/>
                        <a:pt x="585" y="226"/>
                        <a:pt x="585" y="226"/>
                      </a:cubicBezTo>
                      <a:cubicBezTo>
                        <a:pt x="585" y="226"/>
                        <a:pt x="585" y="226"/>
                        <a:pt x="585" y="226"/>
                      </a:cubicBezTo>
                      <a:cubicBezTo>
                        <a:pt x="585" y="227"/>
                        <a:pt x="585" y="227"/>
                        <a:pt x="585" y="227"/>
                      </a:cubicBezTo>
                      <a:cubicBezTo>
                        <a:pt x="587" y="227"/>
                        <a:pt x="587" y="227"/>
                        <a:pt x="587" y="227"/>
                      </a:cubicBezTo>
                      <a:cubicBezTo>
                        <a:pt x="586" y="228"/>
                        <a:pt x="586" y="228"/>
                        <a:pt x="586" y="228"/>
                      </a:cubicBezTo>
                      <a:cubicBezTo>
                        <a:pt x="586" y="228"/>
                        <a:pt x="586" y="228"/>
                        <a:pt x="586" y="228"/>
                      </a:cubicBezTo>
                      <a:cubicBezTo>
                        <a:pt x="587" y="229"/>
                        <a:pt x="587" y="229"/>
                        <a:pt x="587" y="229"/>
                      </a:cubicBezTo>
                      <a:cubicBezTo>
                        <a:pt x="587" y="230"/>
                        <a:pt x="587" y="230"/>
                        <a:pt x="587" y="230"/>
                      </a:cubicBezTo>
                      <a:cubicBezTo>
                        <a:pt x="586" y="229"/>
                        <a:pt x="586" y="229"/>
                        <a:pt x="586" y="229"/>
                      </a:cubicBezTo>
                      <a:cubicBezTo>
                        <a:pt x="587" y="231"/>
                        <a:pt x="587" y="231"/>
                        <a:pt x="587" y="231"/>
                      </a:cubicBezTo>
                      <a:cubicBezTo>
                        <a:pt x="586" y="231"/>
                        <a:pt x="586" y="231"/>
                        <a:pt x="586" y="231"/>
                      </a:cubicBezTo>
                      <a:cubicBezTo>
                        <a:pt x="587" y="231"/>
                        <a:pt x="587" y="231"/>
                        <a:pt x="587" y="231"/>
                      </a:cubicBezTo>
                      <a:cubicBezTo>
                        <a:pt x="588" y="231"/>
                        <a:pt x="588" y="231"/>
                        <a:pt x="588" y="231"/>
                      </a:cubicBezTo>
                      <a:cubicBezTo>
                        <a:pt x="588" y="232"/>
                        <a:pt x="588" y="232"/>
                        <a:pt x="588" y="232"/>
                      </a:cubicBezTo>
                      <a:cubicBezTo>
                        <a:pt x="588" y="233"/>
                        <a:pt x="588" y="233"/>
                        <a:pt x="588" y="233"/>
                      </a:cubicBezTo>
                      <a:cubicBezTo>
                        <a:pt x="588" y="234"/>
                        <a:pt x="588" y="234"/>
                        <a:pt x="588" y="234"/>
                      </a:cubicBezTo>
                      <a:cubicBezTo>
                        <a:pt x="588" y="235"/>
                        <a:pt x="588" y="235"/>
                        <a:pt x="588" y="235"/>
                      </a:cubicBezTo>
                      <a:cubicBezTo>
                        <a:pt x="588" y="237"/>
                        <a:pt x="588" y="237"/>
                        <a:pt x="588" y="237"/>
                      </a:cubicBezTo>
                      <a:cubicBezTo>
                        <a:pt x="587" y="237"/>
                        <a:pt x="587" y="237"/>
                        <a:pt x="587" y="237"/>
                      </a:cubicBezTo>
                      <a:cubicBezTo>
                        <a:pt x="588" y="238"/>
                        <a:pt x="588" y="238"/>
                        <a:pt x="588" y="238"/>
                      </a:cubicBezTo>
                      <a:cubicBezTo>
                        <a:pt x="587" y="238"/>
                        <a:pt x="587" y="238"/>
                        <a:pt x="587" y="238"/>
                      </a:cubicBezTo>
                      <a:cubicBezTo>
                        <a:pt x="586" y="239"/>
                        <a:pt x="586" y="239"/>
                        <a:pt x="586" y="239"/>
                      </a:cubicBezTo>
                      <a:cubicBezTo>
                        <a:pt x="586" y="240"/>
                        <a:pt x="586" y="240"/>
                        <a:pt x="586" y="240"/>
                      </a:cubicBezTo>
                      <a:cubicBezTo>
                        <a:pt x="586" y="240"/>
                        <a:pt x="586" y="240"/>
                        <a:pt x="586" y="240"/>
                      </a:cubicBezTo>
                      <a:cubicBezTo>
                        <a:pt x="585" y="242"/>
                        <a:pt x="585" y="242"/>
                        <a:pt x="585" y="242"/>
                      </a:cubicBezTo>
                      <a:cubicBezTo>
                        <a:pt x="584" y="244"/>
                        <a:pt x="584" y="244"/>
                        <a:pt x="584" y="244"/>
                      </a:cubicBezTo>
                      <a:cubicBezTo>
                        <a:pt x="584" y="243"/>
                        <a:pt x="584" y="243"/>
                        <a:pt x="584" y="243"/>
                      </a:cubicBezTo>
                      <a:cubicBezTo>
                        <a:pt x="584" y="243"/>
                        <a:pt x="584" y="243"/>
                        <a:pt x="584" y="243"/>
                      </a:cubicBezTo>
                      <a:cubicBezTo>
                        <a:pt x="584" y="242"/>
                        <a:pt x="584" y="242"/>
                        <a:pt x="584" y="242"/>
                      </a:cubicBezTo>
                      <a:cubicBezTo>
                        <a:pt x="584" y="241"/>
                        <a:pt x="584" y="241"/>
                        <a:pt x="584" y="241"/>
                      </a:cubicBezTo>
                      <a:cubicBezTo>
                        <a:pt x="582" y="241"/>
                        <a:pt x="582" y="241"/>
                        <a:pt x="582" y="241"/>
                      </a:cubicBezTo>
                      <a:cubicBezTo>
                        <a:pt x="581" y="240"/>
                        <a:pt x="581" y="240"/>
                        <a:pt x="581" y="240"/>
                      </a:cubicBezTo>
                      <a:cubicBezTo>
                        <a:pt x="581" y="238"/>
                        <a:pt x="581" y="238"/>
                        <a:pt x="581" y="238"/>
                      </a:cubicBezTo>
                      <a:cubicBezTo>
                        <a:pt x="579" y="234"/>
                        <a:pt x="579" y="234"/>
                        <a:pt x="579" y="234"/>
                      </a:cubicBezTo>
                      <a:cubicBezTo>
                        <a:pt x="578" y="233"/>
                        <a:pt x="578" y="233"/>
                        <a:pt x="578" y="233"/>
                      </a:cubicBezTo>
                      <a:cubicBezTo>
                        <a:pt x="578" y="233"/>
                        <a:pt x="578" y="233"/>
                        <a:pt x="578" y="233"/>
                      </a:cubicBezTo>
                      <a:cubicBezTo>
                        <a:pt x="579" y="232"/>
                        <a:pt x="579" y="232"/>
                        <a:pt x="579" y="232"/>
                      </a:cubicBezTo>
                      <a:cubicBezTo>
                        <a:pt x="580" y="232"/>
                        <a:pt x="580" y="232"/>
                        <a:pt x="580" y="232"/>
                      </a:cubicBezTo>
                      <a:cubicBezTo>
                        <a:pt x="579" y="232"/>
                        <a:pt x="579" y="232"/>
                        <a:pt x="579" y="232"/>
                      </a:cubicBezTo>
                      <a:cubicBezTo>
                        <a:pt x="578" y="232"/>
                        <a:pt x="578" y="232"/>
                        <a:pt x="578" y="232"/>
                      </a:cubicBezTo>
                      <a:cubicBezTo>
                        <a:pt x="576" y="231"/>
                        <a:pt x="576" y="231"/>
                        <a:pt x="576" y="231"/>
                      </a:cubicBezTo>
                      <a:cubicBezTo>
                        <a:pt x="572" y="225"/>
                        <a:pt x="572" y="225"/>
                        <a:pt x="572" y="225"/>
                      </a:cubicBezTo>
                      <a:cubicBezTo>
                        <a:pt x="569" y="222"/>
                        <a:pt x="569" y="222"/>
                        <a:pt x="569" y="222"/>
                      </a:cubicBezTo>
                      <a:cubicBezTo>
                        <a:pt x="569" y="220"/>
                        <a:pt x="569" y="220"/>
                        <a:pt x="569" y="220"/>
                      </a:cubicBezTo>
                      <a:cubicBezTo>
                        <a:pt x="568" y="219"/>
                        <a:pt x="568" y="219"/>
                        <a:pt x="568" y="219"/>
                      </a:cubicBezTo>
                      <a:cubicBezTo>
                        <a:pt x="565" y="215"/>
                        <a:pt x="565" y="215"/>
                        <a:pt x="565" y="215"/>
                      </a:cubicBezTo>
                      <a:cubicBezTo>
                        <a:pt x="562" y="211"/>
                        <a:pt x="562" y="211"/>
                        <a:pt x="562" y="211"/>
                      </a:cubicBezTo>
                      <a:cubicBezTo>
                        <a:pt x="560" y="206"/>
                        <a:pt x="560" y="206"/>
                        <a:pt x="560" y="206"/>
                      </a:cubicBezTo>
                      <a:cubicBezTo>
                        <a:pt x="560" y="205"/>
                        <a:pt x="560" y="205"/>
                        <a:pt x="560" y="205"/>
                      </a:cubicBezTo>
                      <a:cubicBezTo>
                        <a:pt x="559" y="203"/>
                        <a:pt x="559" y="203"/>
                        <a:pt x="559" y="203"/>
                      </a:cubicBezTo>
                      <a:cubicBezTo>
                        <a:pt x="559" y="200"/>
                        <a:pt x="559" y="200"/>
                        <a:pt x="559" y="200"/>
                      </a:cubicBezTo>
                      <a:cubicBezTo>
                        <a:pt x="558" y="198"/>
                        <a:pt x="558" y="198"/>
                        <a:pt x="558" y="198"/>
                      </a:cubicBezTo>
                      <a:cubicBezTo>
                        <a:pt x="558" y="197"/>
                        <a:pt x="558" y="197"/>
                        <a:pt x="558" y="197"/>
                      </a:cubicBezTo>
                      <a:cubicBezTo>
                        <a:pt x="559" y="196"/>
                        <a:pt x="559" y="196"/>
                        <a:pt x="559" y="196"/>
                      </a:cubicBezTo>
                      <a:cubicBezTo>
                        <a:pt x="559" y="194"/>
                        <a:pt x="559" y="194"/>
                        <a:pt x="559" y="194"/>
                      </a:cubicBezTo>
                      <a:cubicBezTo>
                        <a:pt x="560" y="194"/>
                        <a:pt x="560" y="194"/>
                        <a:pt x="560" y="194"/>
                      </a:cubicBezTo>
                      <a:cubicBezTo>
                        <a:pt x="559" y="193"/>
                        <a:pt x="559" y="193"/>
                        <a:pt x="559" y="193"/>
                      </a:cubicBezTo>
                      <a:cubicBezTo>
                        <a:pt x="560" y="193"/>
                        <a:pt x="560" y="193"/>
                        <a:pt x="560" y="193"/>
                      </a:cubicBezTo>
                      <a:cubicBezTo>
                        <a:pt x="560" y="191"/>
                        <a:pt x="560" y="191"/>
                        <a:pt x="560" y="191"/>
                      </a:cubicBezTo>
                      <a:cubicBezTo>
                        <a:pt x="558" y="188"/>
                        <a:pt x="558" y="188"/>
                        <a:pt x="558" y="188"/>
                      </a:cubicBezTo>
                      <a:cubicBezTo>
                        <a:pt x="557" y="188"/>
                        <a:pt x="557" y="188"/>
                        <a:pt x="557" y="188"/>
                      </a:cubicBezTo>
                      <a:cubicBezTo>
                        <a:pt x="557" y="188"/>
                        <a:pt x="557" y="188"/>
                        <a:pt x="557" y="188"/>
                      </a:cubicBezTo>
                      <a:cubicBezTo>
                        <a:pt x="558" y="187"/>
                        <a:pt x="558" y="187"/>
                        <a:pt x="558" y="187"/>
                      </a:cubicBezTo>
                      <a:cubicBezTo>
                        <a:pt x="560" y="188"/>
                        <a:pt x="560" y="188"/>
                        <a:pt x="560" y="188"/>
                      </a:cubicBezTo>
                      <a:cubicBezTo>
                        <a:pt x="561" y="187"/>
                        <a:pt x="561" y="187"/>
                        <a:pt x="561" y="187"/>
                      </a:cubicBezTo>
                      <a:cubicBezTo>
                        <a:pt x="560" y="186"/>
                        <a:pt x="560" y="186"/>
                        <a:pt x="560" y="186"/>
                      </a:cubicBezTo>
                      <a:cubicBezTo>
                        <a:pt x="560" y="184"/>
                        <a:pt x="560" y="184"/>
                        <a:pt x="560" y="184"/>
                      </a:cubicBezTo>
                      <a:cubicBezTo>
                        <a:pt x="562" y="184"/>
                        <a:pt x="562" y="184"/>
                        <a:pt x="562" y="184"/>
                      </a:cubicBezTo>
                      <a:cubicBezTo>
                        <a:pt x="563" y="184"/>
                        <a:pt x="563" y="184"/>
                        <a:pt x="563" y="184"/>
                      </a:cubicBezTo>
                      <a:cubicBezTo>
                        <a:pt x="562" y="183"/>
                        <a:pt x="562" y="183"/>
                        <a:pt x="562" y="183"/>
                      </a:cubicBezTo>
                      <a:cubicBezTo>
                        <a:pt x="564" y="181"/>
                        <a:pt x="564" y="181"/>
                        <a:pt x="564" y="181"/>
                      </a:cubicBezTo>
                      <a:cubicBezTo>
                        <a:pt x="563" y="179"/>
                        <a:pt x="563" y="179"/>
                        <a:pt x="563" y="179"/>
                      </a:cubicBezTo>
                      <a:cubicBezTo>
                        <a:pt x="563" y="177"/>
                        <a:pt x="563" y="177"/>
                        <a:pt x="563" y="177"/>
                      </a:cubicBezTo>
                      <a:cubicBezTo>
                        <a:pt x="563" y="177"/>
                        <a:pt x="563" y="177"/>
                        <a:pt x="563" y="177"/>
                      </a:cubicBezTo>
                      <a:cubicBezTo>
                        <a:pt x="563" y="176"/>
                        <a:pt x="563" y="176"/>
                        <a:pt x="563" y="176"/>
                      </a:cubicBezTo>
                      <a:cubicBezTo>
                        <a:pt x="563" y="175"/>
                        <a:pt x="563" y="175"/>
                        <a:pt x="563" y="175"/>
                      </a:cubicBezTo>
                      <a:cubicBezTo>
                        <a:pt x="563" y="174"/>
                        <a:pt x="563" y="174"/>
                        <a:pt x="563" y="174"/>
                      </a:cubicBezTo>
                      <a:cubicBezTo>
                        <a:pt x="563" y="173"/>
                        <a:pt x="563" y="173"/>
                        <a:pt x="563" y="173"/>
                      </a:cubicBezTo>
                      <a:cubicBezTo>
                        <a:pt x="564" y="173"/>
                        <a:pt x="564" y="173"/>
                        <a:pt x="564" y="173"/>
                      </a:cubicBezTo>
                      <a:cubicBezTo>
                        <a:pt x="563" y="172"/>
                        <a:pt x="563" y="172"/>
                        <a:pt x="563" y="172"/>
                      </a:cubicBezTo>
                      <a:cubicBezTo>
                        <a:pt x="563" y="171"/>
                        <a:pt x="563" y="171"/>
                        <a:pt x="563" y="171"/>
                      </a:cubicBezTo>
                      <a:cubicBezTo>
                        <a:pt x="563" y="171"/>
                        <a:pt x="563" y="171"/>
                        <a:pt x="563" y="171"/>
                      </a:cubicBezTo>
                      <a:cubicBezTo>
                        <a:pt x="564" y="169"/>
                        <a:pt x="564" y="169"/>
                        <a:pt x="564" y="169"/>
                      </a:cubicBezTo>
                      <a:cubicBezTo>
                        <a:pt x="563" y="169"/>
                        <a:pt x="563" y="169"/>
                        <a:pt x="563" y="169"/>
                      </a:cubicBezTo>
                      <a:cubicBezTo>
                        <a:pt x="563" y="168"/>
                        <a:pt x="563" y="168"/>
                        <a:pt x="563" y="168"/>
                      </a:cubicBezTo>
                      <a:cubicBezTo>
                        <a:pt x="564" y="168"/>
                        <a:pt x="564" y="168"/>
                        <a:pt x="564" y="168"/>
                      </a:cubicBezTo>
                      <a:cubicBezTo>
                        <a:pt x="565" y="167"/>
                        <a:pt x="565" y="167"/>
                        <a:pt x="565" y="167"/>
                      </a:cubicBezTo>
                      <a:cubicBezTo>
                        <a:pt x="564" y="166"/>
                        <a:pt x="564" y="166"/>
                        <a:pt x="564" y="166"/>
                      </a:cubicBezTo>
                      <a:cubicBezTo>
                        <a:pt x="565" y="164"/>
                        <a:pt x="565" y="164"/>
                        <a:pt x="565" y="164"/>
                      </a:cubicBezTo>
                      <a:cubicBezTo>
                        <a:pt x="564" y="164"/>
                        <a:pt x="564" y="164"/>
                        <a:pt x="564" y="164"/>
                      </a:cubicBezTo>
                      <a:cubicBezTo>
                        <a:pt x="564" y="163"/>
                        <a:pt x="564" y="163"/>
                        <a:pt x="564" y="163"/>
                      </a:cubicBezTo>
                      <a:cubicBezTo>
                        <a:pt x="565" y="162"/>
                        <a:pt x="565" y="162"/>
                        <a:pt x="565" y="162"/>
                      </a:cubicBezTo>
                      <a:cubicBezTo>
                        <a:pt x="565" y="160"/>
                        <a:pt x="565" y="160"/>
                        <a:pt x="565" y="160"/>
                      </a:cubicBezTo>
                      <a:cubicBezTo>
                        <a:pt x="564" y="161"/>
                        <a:pt x="564" y="161"/>
                        <a:pt x="564" y="161"/>
                      </a:cubicBezTo>
                      <a:cubicBezTo>
                        <a:pt x="564" y="160"/>
                        <a:pt x="564" y="160"/>
                        <a:pt x="564" y="160"/>
                      </a:cubicBezTo>
                      <a:cubicBezTo>
                        <a:pt x="564" y="159"/>
                        <a:pt x="564" y="159"/>
                        <a:pt x="564" y="159"/>
                      </a:cubicBezTo>
                      <a:cubicBezTo>
                        <a:pt x="565" y="158"/>
                        <a:pt x="565" y="158"/>
                        <a:pt x="565" y="158"/>
                      </a:cubicBezTo>
                      <a:cubicBezTo>
                        <a:pt x="565" y="158"/>
                        <a:pt x="565" y="158"/>
                        <a:pt x="565" y="158"/>
                      </a:cubicBezTo>
                      <a:cubicBezTo>
                        <a:pt x="566" y="157"/>
                        <a:pt x="566" y="157"/>
                        <a:pt x="566" y="157"/>
                      </a:cubicBezTo>
                      <a:cubicBezTo>
                        <a:pt x="567" y="157"/>
                        <a:pt x="567" y="157"/>
                        <a:pt x="567" y="157"/>
                      </a:cubicBezTo>
                      <a:cubicBezTo>
                        <a:pt x="567" y="156"/>
                        <a:pt x="567" y="156"/>
                        <a:pt x="567" y="156"/>
                      </a:cubicBezTo>
                      <a:cubicBezTo>
                        <a:pt x="568" y="155"/>
                        <a:pt x="568" y="155"/>
                        <a:pt x="568" y="155"/>
                      </a:cubicBezTo>
                      <a:cubicBezTo>
                        <a:pt x="568" y="155"/>
                        <a:pt x="568" y="155"/>
                        <a:pt x="568" y="155"/>
                      </a:cubicBezTo>
                      <a:cubicBezTo>
                        <a:pt x="569" y="154"/>
                        <a:pt x="569" y="154"/>
                        <a:pt x="569" y="154"/>
                      </a:cubicBezTo>
                      <a:cubicBezTo>
                        <a:pt x="570" y="154"/>
                        <a:pt x="570" y="154"/>
                        <a:pt x="570" y="154"/>
                      </a:cubicBezTo>
                      <a:cubicBezTo>
                        <a:pt x="570" y="154"/>
                        <a:pt x="570" y="154"/>
                        <a:pt x="570" y="154"/>
                      </a:cubicBezTo>
                      <a:cubicBezTo>
                        <a:pt x="570" y="153"/>
                        <a:pt x="570" y="153"/>
                        <a:pt x="570" y="153"/>
                      </a:cubicBezTo>
                      <a:cubicBezTo>
                        <a:pt x="569" y="153"/>
                        <a:pt x="569" y="153"/>
                        <a:pt x="569" y="153"/>
                      </a:cubicBezTo>
                      <a:cubicBezTo>
                        <a:pt x="568" y="154"/>
                        <a:pt x="568" y="154"/>
                        <a:pt x="568" y="154"/>
                      </a:cubicBezTo>
                      <a:cubicBezTo>
                        <a:pt x="567" y="153"/>
                        <a:pt x="567" y="153"/>
                        <a:pt x="567" y="153"/>
                      </a:cubicBezTo>
                      <a:cubicBezTo>
                        <a:pt x="567" y="152"/>
                        <a:pt x="567" y="152"/>
                        <a:pt x="567" y="152"/>
                      </a:cubicBezTo>
                      <a:cubicBezTo>
                        <a:pt x="568" y="150"/>
                        <a:pt x="568" y="150"/>
                        <a:pt x="568" y="150"/>
                      </a:cubicBezTo>
                      <a:cubicBezTo>
                        <a:pt x="568" y="150"/>
                        <a:pt x="568" y="150"/>
                        <a:pt x="568" y="150"/>
                      </a:cubicBezTo>
                      <a:cubicBezTo>
                        <a:pt x="567" y="149"/>
                        <a:pt x="567" y="149"/>
                        <a:pt x="567" y="149"/>
                      </a:cubicBezTo>
                      <a:cubicBezTo>
                        <a:pt x="567" y="149"/>
                        <a:pt x="567" y="149"/>
                        <a:pt x="567" y="149"/>
                      </a:cubicBezTo>
                      <a:cubicBezTo>
                        <a:pt x="566" y="149"/>
                        <a:pt x="566" y="149"/>
                        <a:pt x="566" y="149"/>
                      </a:cubicBezTo>
                      <a:cubicBezTo>
                        <a:pt x="566" y="149"/>
                        <a:pt x="566" y="149"/>
                        <a:pt x="566" y="149"/>
                      </a:cubicBezTo>
                      <a:cubicBezTo>
                        <a:pt x="566" y="147"/>
                        <a:pt x="566" y="147"/>
                        <a:pt x="566" y="147"/>
                      </a:cubicBezTo>
                      <a:cubicBezTo>
                        <a:pt x="566" y="147"/>
                        <a:pt x="566" y="147"/>
                        <a:pt x="566" y="147"/>
                      </a:cubicBezTo>
                      <a:cubicBezTo>
                        <a:pt x="566" y="146"/>
                        <a:pt x="566" y="146"/>
                        <a:pt x="566" y="146"/>
                      </a:cubicBezTo>
                      <a:cubicBezTo>
                        <a:pt x="566" y="145"/>
                        <a:pt x="566" y="145"/>
                        <a:pt x="566" y="145"/>
                      </a:cubicBezTo>
                      <a:cubicBezTo>
                        <a:pt x="565" y="145"/>
                        <a:pt x="565" y="145"/>
                        <a:pt x="565" y="145"/>
                      </a:cubicBezTo>
                      <a:cubicBezTo>
                        <a:pt x="565" y="144"/>
                        <a:pt x="565" y="144"/>
                        <a:pt x="565" y="144"/>
                      </a:cubicBezTo>
                      <a:cubicBezTo>
                        <a:pt x="565" y="144"/>
                        <a:pt x="565" y="144"/>
                        <a:pt x="565" y="144"/>
                      </a:cubicBezTo>
                      <a:cubicBezTo>
                        <a:pt x="565" y="144"/>
                        <a:pt x="565" y="144"/>
                        <a:pt x="565" y="144"/>
                      </a:cubicBezTo>
                      <a:cubicBezTo>
                        <a:pt x="564" y="143"/>
                        <a:pt x="564" y="143"/>
                        <a:pt x="564" y="143"/>
                      </a:cubicBezTo>
                      <a:cubicBezTo>
                        <a:pt x="564" y="142"/>
                        <a:pt x="564" y="142"/>
                        <a:pt x="564" y="142"/>
                      </a:cubicBezTo>
                      <a:cubicBezTo>
                        <a:pt x="563" y="142"/>
                        <a:pt x="563" y="142"/>
                        <a:pt x="563" y="142"/>
                      </a:cubicBezTo>
                      <a:cubicBezTo>
                        <a:pt x="563" y="141"/>
                        <a:pt x="563" y="141"/>
                        <a:pt x="563" y="141"/>
                      </a:cubicBezTo>
                      <a:cubicBezTo>
                        <a:pt x="563" y="140"/>
                        <a:pt x="563" y="140"/>
                        <a:pt x="563" y="140"/>
                      </a:cubicBezTo>
                      <a:cubicBezTo>
                        <a:pt x="563" y="139"/>
                        <a:pt x="563" y="139"/>
                        <a:pt x="563" y="139"/>
                      </a:cubicBezTo>
                      <a:cubicBezTo>
                        <a:pt x="564" y="138"/>
                        <a:pt x="564" y="138"/>
                        <a:pt x="564" y="138"/>
                      </a:cubicBezTo>
                      <a:cubicBezTo>
                        <a:pt x="565" y="138"/>
                        <a:pt x="565" y="138"/>
                        <a:pt x="565" y="138"/>
                      </a:cubicBezTo>
                      <a:cubicBezTo>
                        <a:pt x="566" y="138"/>
                        <a:pt x="566" y="138"/>
                        <a:pt x="566" y="138"/>
                      </a:cubicBezTo>
                      <a:cubicBezTo>
                        <a:pt x="566" y="137"/>
                        <a:pt x="566" y="137"/>
                        <a:pt x="566" y="137"/>
                      </a:cubicBezTo>
                      <a:cubicBezTo>
                        <a:pt x="567" y="137"/>
                        <a:pt x="567" y="137"/>
                        <a:pt x="567" y="137"/>
                      </a:cubicBezTo>
                      <a:cubicBezTo>
                        <a:pt x="566" y="137"/>
                        <a:pt x="566" y="137"/>
                        <a:pt x="566" y="137"/>
                      </a:cubicBezTo>
                      <a:cubicBezTo>
                        <a:pt x="565" y="137"/>
                        <a:pt x="565" y="137"/>
                        <a:pt x="565" y="137"/>
                      </a:cubicBezTo>
                      <a:cubicBezTo>
                        <a:pt x="565" y="137"/>
                        <a:pt x="565" y="137"/>
                        <a:pt x="565" y="137"/>
                      </a:cubicBezTo>
                      <a:cubicBezTo>
                        <a:pt x="563" y="137"/>
                        <a:pt x="563" y="137"/>
                        <a:pt x="563" y="137"/>
                      </a:cubicBezTo>
                      <a:cubicBezTo>
                        <a:pt x="562" y="136"/>
                        <a:pt x="562" y="136"/>
                        <a:pt x="562" y="136"/>
                      </a:cubicBezTo>
                      <a:cubicBezTo>
                        <a:pt x="562" y="136"/>
                        <a:pt x="562" y="136"/>
                        <a:pt x="562" y="136"/>
                      </a:cubicBezTo>
                      <a:cubicBezTo>
                        <a:pt x="560" y="136"/>
                        <a:pt x="560" y="136"/>
                        <a:pt x="560" y="136"/>
                      </a:cubicBezTo>
                      <a:cubicBezTo>
                        <a:pt x="559" y="137"/>
                        <a:pt x="559" y="137"/>
                        <a:pt x="559" y="137"/>
                      </a:cubicBezTo>
                      <a:cubicBezTo>
                        <a:pt x="558" y="137"/>
                        <a:pt x="558" y="137"/>
                        <a:pt x="558" y="137"/>
                      </a:cubicBezTo>
                      <a:cubicBezTo>
                        <a:pt x="557" y="138"/>
                        <a:pt x="557" y="138"/>
                        <a:pt x="557" y="138"/>
                      </a:cubicBezTo>
                      <a:cubicBezTo>
                        <a:pt x="558" y="138"/>
                        <a:pt x="558" y="138"/>
                        <a:pt x="558" y="138"/>
                      </a:cubicBezTo>
                      <a:cubicBezTo>
                        <a:pt x="558" y="139"/>
                        <a:pt x="558" y="139"/>
                        <a:pt x="558" y="139"/>
                      </a:cubicBezTo>
                      <a:cubicBezTo>
                        <a:pt x="559" y="140"/>
                        <a:pt x="559" y="140"/>
                        <a:pt x="559" y="140"/>
                      </a:cubicBezTo>
                      <a:cubicBezTo>
                        <a:pt x="559" y="141"/>
                        <a:pt x="559" y="141"/>
                        <a:pt x="559" y="141"/>
                      </a:cubicBezTo>
                      <a:cubicBezTo>
                        <a:pt x="558" y="141"/>
                        <a:pt x="558" y="141"/>
                        <a:pt x="558" y="141"/>
                      </a:cubicBezTo>
                      <a:cubicBezTo>
                        <a:pt x="559" y="142"/>
                        <a:pt x="559" y="142"/>
                        <a:pt x="559" y="142"/>
                      </a:cubicBezTo>
                      <a:cubicBezTo>
                        <a:pt x="560" y="143"/>
                        <a:pt x="560" y="143"/>
                        <a:pt x="560" y="143"/>
                      </a:cubicBezTo>
                      <a:cubicBezTo>
                        <a:pt x="560" y="143"/>
                        <a:pt x="560" y="143"/>
                        <a:pt x="560" y="143"/>
                      </a:cubicBezTo>
                      <a:cubicBezTo>
                        <a:pt x="560" y="144"/>
                        <a:pt x="560" y="144"/>
                        <a:pt x="560" y="144"/>
                      </a:cubicBezTo>
                      <a:cubicBezTo>
                        <a:pt x="561" y="145"/>
                        <a:pt x="561" y="145"/>
                        <a:pt x="561" y="145"/>
                      </a:cubicBezTo>
                      <a:cubicBezTo>
                        <a:pt x="562" y="146"/>
                        <a:pt x="562" y="146"/>
                        <a:pt x="562" y="146"/>
                      </a:cubicBezTo>
                      <a:cubicBezTo>
                        <a:pt x="562" y="147"/>
                        <a:pt x="562" y="147"/>
                        <a:pt x="562" y="147"/>
                      </a:cubicBezTo>
                      <a:cubicBezTo>
                        <a:pt x="563" y="148"/>
                        <a:pt x="563" y="148"/>
                        <a:pt x="563" y="148"/>
                      </a:cubicBezTo>
                      <a:cubicBezTo>
                        <a:pt x="562" y="148"/>
                        <a:pt x="562" y="148"/>
                        <a:pt x="562" y="148"/>
                      </a:cubicBezTo>
                      <a:cubicBezTo>
                        <a:pt x="562" y="148"/>
                        <a:pt x="562" y="148"/>
                        <a:pt x="562" y="148"/>
                      </a:cubicBezTo>
                      <a:cubicBezTo>
                        <a:pt x="561" y="147"/>
                        <a:pt x="561" y="147"/>
                        <a:pt x="561" y="147"/>
                      </a:cubicBezTo>
                      <a:cubicBezTo>
                        <a:pt x="560" y="147"/>
                        <a:pt x="560" y="147"/>
                        <a:pt x="560" y="147"/>
                      </a:cubicBezTo>
                      <a:cubicBezTo>
                        <a:pt x="559" y="148"/>
                        <a:pt x="559" y="148"/>
                        <a:pt x="559" y="148"/>
                      </a:cubicBezTo>
                      <a:cubicBezTo>
                        <a:pt x="559" y="149"/>
                        <a:pt x="559" y="149"/>
                        <a:pt x="559" y="149"/>
                      </a:cubicBezTo>
                      <a:cubicBezTo>
                        <a:pt x="559" y="150"/>
                        <a:pt x="559" y="150"/>
                        <a:pt x="559" y="150"/>
                      </a:cubicBezTo>
                      <a:cubicBezTo>
                        <a:pt x="559" y="151"/>
                        <a:pt x="559" y="151"/>
                        <a:pt x="559" y="151"/>
                      </a:cubicBezTo>
                      <a:cubicBezTo>
                        <a:pt x="559" y="151"/>
                        <a:pt x="559" y="151"/>
                        <a:pt x="559" y="151"/>
                      </a:cubicBezTo>
                      <a:cubicBezTo>
                        <a:pt x="559" y="151"/>
                        <a:pt x="559" y="151"/>
                        <a:pt x="559" y="151"/>
                      </a:cubicBezTo>
                      <a:cubicBezTo>
                        <a:pt x="559" y="152"/>
                        <a:pt x="559" y="152"/>
                        <a:pt x="559" y="152"/>
                      </a:cubicBezTo>
                      <a:cubicBezTo>
                        <a:pt x="559" y="152"/>
                        <a:pt x="559" y="152"/>
                        <a:pt x="559" y="152"/>
                      </a:cubicBezTo>
                      <a:cubicBezTo>
                        <a:pt x="558" y="153"/>
                        <a:pt x="558" y="153"/>
                        <a:pt x="558" y="153"/>
                      </a:cubicBezTo>
                      <a:cubicBezTo>
                        <a:pt x="559" y="153"/>
                        <a:pt x="559" y="153"/>
                        <a:pt x="559" y="153"/>
                      </a:cubicBezTo>
                      <a:cubicBezTo>
                        <a:pt x="558" y="154"/>
                        <a:pt x="558" y="154"/>
                        <a:pt x="558" y="154"/>
                      </a:cubicBezTo>
                      <a:cubicBezTo>
                        <a:pt x="558" y="156"/>
                        <a:pt x="558" y="156"/>
                        <a:pt x="558" y="156"/>
                      </a:cubicBezTo>
                      <a:cubicBezTo>
                        <a:pt x="558" y="157"/>
                        <a:pt x="558" y="157"/>
                        <a:pt x="558" y="157"/>
                      </a:cubicBezTo>
                      <a:cubicBezTo>
                        <a:pt x="558" y="157"/>
                        <a:pt x="558" y="157"/>
                        <a:pt x="558" y="157"/>
                      </a:cubicBezTo>
                      <a:cubicBezTo>
                        <a:pt x="557" y="158"/>
                        <a:pt x="557" y="158"/>
                        <a:pt x="557" y="158"/>
                      </a:cubicBezTo>
                      <a:cubicBezTo>
                        <a:pt x="556" y="159"/>
                        <a:pt x="556" y="159"/>
                        <a:pt x="556" y="159"/>
                      </a:cubicBezTo>
                      <a:cubicBezTo>
                        <a:pt x="556" y="158"/>
                        <a:pt x="556" y="158"/>
                        <a:pt x="556" y="158"/>
                      </a:cubicBezTo>
                      <a:cubicBezTo>
                        <a:pt x="555" y="157"/>
                        <a:pt x="555" y="157"/>
                        <a:pt x="555" y="157"/>
                      </a:cubicBezTo>
                      <a:cubicBezTo>
                        <a:pt x="556" y="156"/>
                        <a:pt x="556" y="156"/>
                        <a:pt x="556" y="156"/>
                      </a:cubicBezTo>
                      <a:cubicBezTo>
                        <a:pt x="556" y="156"/>
                        <a:pt x="556" y="156"/>
                        <a:pt x="556" y="156"/>
                      </a:cubicBezTo>
                      <a:cubicBezTo>
                        <a:pt x="555" y="156"/>
                        <a:pt x="555" y="156"/>
                        <a:pt x="555" y="156"/>
                      </a:cubicBezTo>
                      <a:cubicBezTo>
                        <a:pt x="554" y="156"/>
                        <a:pt x="554" y="156"/>
                        <a:pt x="554" y="156"/>
                      </a:cubicBezTo>
                      <a:cubicBezTo>
                        <a:pt x="554" y="157"/>
                        <a:pt x="554" y="157"/>
                        <a:pt x="554" y="157"/>
                      </a:cubicBezTo>
                      <a:cubicBezTo>
                        <a:pt x="554" y="157"/>
                        <a:pt x="554" y="157"/>
                        <a:pt x="554" y="157"/>
                      </a:cubicBezTo>
                      <a:cubicBezTo>
                        <a:pt x="554" y="156"/>
                        <a:pt x="554" y="156"/>
                        <a:pt x="554" y="156"/>
                      </a:cubicBezTo>
                      <a:cubicBezTo>
                        <a:pt x="553" y="156"/>
                        <a:pt x="553" y="156"/>
                        <a:pt x="553" y="156"/>
                      </a:cubicBezTo>
                      <a:cubicBezTo>
                        <a:pt x="552" y="155"/>
                        <a:pt x="552" y="155"/>
                        <a:pt x="552" y="155"/>
                      </a:cubicBezTo>
                      <a:cubicBezTo>
                        <a:pt x="551" y="156"/>
                        <a:pt x="551" y="156"/>
                        <a:pt x="551" y="156"/>
                      </a:cubicBezTo>
                      <a:cubicBezTo>
                        <a:pt x="551" y="155"/>
                        <a:pt x="551" y="155"/>
                        <a:pt x="551" y="155"/>
                      </a:cubicBezTo>
                      <a:cubicBezTo>
                        <a:pt x="551" y="155"/>
                        <a:pt x="551" y="155"/>
                        <a:pt x="551" y="155"/>
                      </a:cubicBezTo>
                      <a:cubicBezTo>
                        <a:pt x="552" y="154"/>
                        <a:pt x="552" y="154"/>
                        <a:pt x="552" y="154"/>
                      </a:cubicBezTo>
                      <a:cubicBezTo>
                        <a:pt x="552" y="154"/>
                        <a:pt x="552" y="154"/>
                        <a:pt x="552" y="154"/>
                      </a:cubicBezTo>
                      <a:cubicBezTo>
                        <a:pt x="552" y="153"/>
                        <a:pt x="552" y="153"/>
                        <a:pt x="552" y="153"/>
                      </a:cubicBezTo>
                      <a:cubicBezTo>
                        <a:pt x="552" y="153"/>
                        <a:pt x="552" y="153"/>
                        <a:pt x="552" y="153"/>
                      </a:cubicBezTo>
                      <a:cubicBezTo>
                        <a:pt x="552" y="152"/>
                        <a:pt x="552" y="152"/>
                        <a:pt x="552" y="152"/>
                      </a:cubicBezTo>
                      <a:cubicBezTo>
                        <a:pt x="551" y="152"/>
                        <a:pt x="551" y="152"/>
                        <a:pt x="551" y="152"/>
                      </a:cubicBezTo>
                      <a:cubicBezTo>
                        <a:pt x="552" y="151"/>
                        <a:pt x="552" y="151"/>
                        <a:pt x="552" y="151"/>
                      </a:cubicBezTo>
                      <a:cubicBezTo>
                        <a:pt x="551" y="151"/>
                        <a:pt x="551" y="151"/>
                        <a:pt x="551" y="151"/>
                      </a:cubicBezTo>
                      <a:cubicBezTo>
                        <a:pt x="551" y="150"/>
                        <a:pt x="551" y="150"/>
                        <a:pt x="551" y="150"/>
                      </a:cubicBezTo>
                      <a:cubicBezTo>
                        <a:pt x="551" y="150"/>
                        <a:pt x="551" y="150"/>
                        <a:pt x="551" y="150"/>
                      </a:cubicBezTo>
                      <a:cubicBezTo>
                        <a:pt x="551" y="149"/>
                        <a:pt x="551" y="149"/>
                        <a:pt x="551" y="149"/>
                      </a:cubicBezTo>
                      <a:cubicBezTo>
                        <a:pt x="550" y="148"/>
                        <a:pt x="550" y="148"/>
                        <a:pt x="550" y="148"/>
                      </a:cubicBezTo>
                      <a:cubicBezTo>
                        <a:pt x="550" y="147"/>
                        <a:pt x="550" y="147"/>
                        <a:pt x="550" y="147"/>
                      </a:cubicBezTo>
                      <a:cubicBezTo>
                        <a:pt x="550" y="147"/>
                        <a:pt x="550" y="147"/>
                        <a:pt x="550" y="147"/>
                      </a:cubicBezTo>
                      <a:cubicBezTo>
                        <a:pt x="549" y="149"/>
                        <a:pt x="549" y="149"/>
                        <a:pt x="549" y="149"/>
                      </a:cubicBezTo>
                      <a:cubicBezTo>
                        <a:pt x="549" y="149"/>
                        <a:pt x="549" y="149"/>
                        <a:pt x="549" y="149"/>
                      </a:cubicBezTo>
                      <a:cubicBezTo>
                        <a:pt x="549" y="150"/>
                        <a:pt x="549" y="150"/>
                        <a:pt x="549" y="150"/>
                      </a:cubicBezTo>
                      <a:cubicBezTo>
                        <a:pt x="548" y="151"/>
                        <a:pt x="548" y="151"/>
                        <a:pt x="548" y="151"/>
                      </a:cubicBezTo>
                      <a:cubicBezTo>
                        <a:pt x="548" y="151"/>
                        <a:pt x="548" y="151"/>
                        <a:pt x="548" y="151"/>
                      </a:cubicBezTo>
                      <a:cubicBezTo>
                        <a:pt x="547" y="150"/>
                        <a:pt x="547" y="150"/>
                        <a:pt x="547" y="150"/>
                      </a:cubicBezTo>
                      <a:cubicBezTo>
                        <a:pt x="547" y="150"/>
                        <a:pt x="547" y="150"/>
                        <a:pt x="547" y="150"/>
                      </a:cubicBezTo>
                      <a:cubicBezTo>
                        <a:pt x="546" y="150"/>
                        <a:pt x="546" y="150"/>
                        <a:pt x="546" y="150"/>
                      </a:cubicBezTo>
                      <a:cubicBezTo>
                        <a:pt x="546" y="149"/>
                        <a:pt x="546" y="149"/>
                        <a:pt x="546" y="149"/>
                      </a:cubicBezTo>
                      <a:cubicBezTo>
                        <a:pt x="545" y="149"/>
                        <a:pt x="545" y="149"/>
                        <a:pt x="545" y="149"/>
                      </a:cubicBezTo>
                      <a:cubicBezTo>
                        <a:pt x="545" y="149"/>
                        <a:pt x="545" y="149"/>
                        <a:pt x="545" y="149"/>
                      </a:cubicBezTo>
                      <a:cubicBezTo>
                        <a:pt x="544" y="149"/>
                        <a:pt x="544" y="149"/>
                        <a:pt x="544" y="149"/>
                      </a:cubicBezTo>
                      <a:cubicBezTo>
                        <a:pt x="544" y="150"/>
                        <a:pt x="544" y="150"/>
                        <a:pt x="544" y="150"/>
                      </a:cubicBezTo>
                      <a:cubicBezTo>
                        <a:pt x="543" y="150"/>
                        <a:pt x="543" y="150"/>
                        <a:pt x="543" y="150"/>
                      </a:cubicBezTo>
                      <a:cubicBezTo>
                        <a:pt x="543" y="151"/>
                        <a:pt x="543" y="151"/>
                        <a:pt x="543" y="151"/>
                      </a:cubicBezTo>
                      <a:cubicBezTo>
                        <a:pt x="541" y="151"/>
                        <a:pt x="541" y="151"/>
                        <a:pt x="541" y="151"/>
                      </a:cubicBezTo>
                      <a:cubicBezTo>
                        <a:pt x="541" y="151"/>
                        <a:pt x="541" y="151"/>
                        <a:pt x="541" y="151"/>
                      </a:cubicBezTo>
                      <a:cubicBezTo>
                        <a:pt x="540" y="151"/>
                        <a:pt x="540" y="151"/>
                        <a:pt x="540" y="151"/>
                      </a:cubicBezTo>
                      <a:cubicBezTo>
                        <a:pt x="540" y="152"/>
                        <a:pt x="540" y="152"/>
                        <a:pt x="540" y="152"/>
                      </a:cubicBezTo>
                      <a:cubicBezTo>
                        <a:pt x="539" y="151"/>
                        <a:pt x="539" y="151"/>
                        <a:pt x="539" y="151"/>
                      </a:cubicBezTo>
                      <a:cubicBezTo>
                        <a:pt x="538" y="153"/>
                        <a:pt x="538" y="153"/>
                        <a:pt x="538" y="153"/>
                      </a:cubicBezTo>
                      <a:cubicBezTo>
                        <a:pt x="537" y="153"/>
                        <a:pt x="537" y="153"/>
                        <a:pt x="537" y="153"/>
                      </a:cubicBezTo>
                      <a:cubicBezTo>
                        <a:pt x="537" y="154"/>
                        <a:pt x="537" y="154"/>
                        <a:pt x="537" y="154"/>
                      </a:cubicBezTo>
                      <a:cubicBezTo>
                        <a:pt x="536" y="155"/>
                        <a:pt x="536" y="155"/>
                        <a:pt x="536" y="155"/>
                      </a:cubicBezTo>
                      <a:cubicBezTo>
                        <a:pt x="536" y="155"/>
                        <a:pt x="536" y="155"/>
                        <a:pt x="536" y="155"/>
                      </a:cubicBezTo>
                      <a:cubicBezTo>
                        <a:pt x="537" y="156"/>
                        <a:pt x="537" y="156"/>
                        <a:pt x="537" y="156"/>
                      </a:cubicBezTo>
                      <a:cubicBezTo>
                        <a:pt x="537" y="157"/>
                        <a:pt x="537" y="157"/>
                        <a:pt x="537" y="157"/>
                      </a:cubicBezTo>
                      <a:cubicBezTo>
                        <a:pt x="538" y="158"/>
                        <a:pt x="538" y="158"/>
                        <a:pt x="538" y="158"/>
                      </a:cubicBezTo>
                      <a:cubicBezTo>
                        <a:pt x="537" y="159"/>
                        <a:pt x="537" y="159"/>
                        <a:pt x="537" y="159"/>
                      </a:cubicBezTo>
                      <a:cubicBezTo>
                        <a:pt x="537" y="162"/>
                        <a:pt x="537" y="162"/>
                        <a:pt x="537" y="162"/>
                      </a:cubicBezTo>
                      <a:cubicBezTo>
                        <a:pt x="538" y="163"/>
                        <a:pt x="538" y="163"/>
                        <a:pt x="538" y="163"/>
                      </a:cubicBezTo>
                      <a:cubicBezTo>
                        <a:pt x="537" y="163"/>
                        <a:pt x="537" y="163"/>
                        <a:pt x="537" y="163"/>
                      </a:cubicBezTo>
                      <a:cubicBezTo>
                        <a:pt x="537" y="164"/>
                        <a:pt x="537" y="164"/>
                        <a:pt x="537" y="164"/>
                      </a:cubicBezTo>
                      <a:cubicBezTo>
                        <a:pt x="537" y="165"/>
                        <a:pt x="537" y="165"/>
                        <a:pt x="537" y="165"/>
                      </a:cubicBezTo>
                      <a:cubicBezTo>
                        <a:pt x="536" y="165"/>
                        <a:pt x="536" y="165"/>
                        <a:pt x="536" y="165"/>
                      </a:cubicBezTo>
                      <a:cubicBezTo>
                        <a:pt x="536" y="167"/>
                        <a:pt x="536" y="167"/>
                        <a:pt x="536" y="167"/>
                      </a:cubicBezTo>
                      <a:cubicBezTo>
                        <a:pt x="535" y="168"/>
                        <a:pt x="535" y="168"/>
                        <a:pt x="535" y="168"/>
                      </a:cubicBezTo>
                      <a:cubicBezTo>
                        <a:pt x="535" y="168"/>
                        <a:pt x="535" y="168"/>
                        <a:pt x="535" y="168"/>
                      </a:cubicBezTo>
                      <a:cubicBezTo>
                        <a:pt x="535" y="170"/>
                        <a:pt x="535" y="170"/>
                        <a:pt x="535" y="170"/>
                      </a:cubicBezTo>
                      <a:cubicBezTo>
                        <a:pt x="536" y="171"/>
                        <a:pt x="536" y="171"/>
                        <a:pt x="536" y="171"/>
                      </a:cubicBezTo>
                      <a:cubicBezTo>
                        <a:pt x="535" y="172"/>
                        <a:pt x="535" y="172"/>
                        <a:pt x="535" y="172"/>
                      </a:cubicBezTo>
                      <a:cubicBezTo>
                        <a:pt x="536" y="173"/>
                        <a:pt x="536" y="173"/>
                        <a:pt x="536" y="173"/>
                      </a:cubicBezTo>
                      <a:cubicBezTo>
                        <a:pt x="536" y="173"/>
                        <a:pt x="536" y="173"/>
                        <a:pt x="536" y="173"/>
                      </a:cubicBezTo>
                      <a:cubicBezTo>
                        <a:pt x="536" y="174"/>
                        <a:pt x="536" y="174"/>
                        <a:pt x="536" y="174"/>
                      </a:cubicBezTo>
                      <a:cubicBezTo>
                        <a:pt x="536" y="175"/>
                        <a:pt x="536" y="175"/>
                        <a:pt x="536" y="175"/>
                      </a:cubicBezTo>
                      <a:cubicBezTo>
                        <a:pt x="537" y="174"/>
                        <a:pt x="537" y="174"/>
                        <a:pt x="537" y="174"/>
                      </a:cubicBezTo>
                      <a:cubicBezTo>
                        <a:pt x="538" y="174"/>
                        <a:pt x="538" y="174"/>
                        <a:pt x="538" y="174"/>
                      </a:cubicBezTo>
                      <a:cubicBezTo>
                        <a:pt x="538" y="174"/>
                        <a:pt x="538" y="174"/>
                        <a:pt x="538" y="174"/>
                      </a:cubicBezTo>
                      <a:cubicBezTo>
                        <a:pt x="538" y="174"/>
                        <a:pt x="538" y="174"/>
                        <a:pt x="538" y="174"/>
                      </a:cubicBezTo>
                      <a:cubicBezTo>
                        <a:pt x="539" y="174"/>
                        <a:pt x="539" y="174"/>
                        <a:pt x="539" y="174"/>
                      </a:cubicBezTo>
                      <a:cubicBezTo>
                        <a:pt x="539" y="174"/>
                        <a:pt x="539" y="174"/>
                        <a:pt x="539" y="174"/>
                      </a:cubicBezTo>
                      <a:cubicBezTo>
                        <a:pt x="539" y="174"/>
                        <a:pt x="539" y="174"/>
                        <a:pt x="539" y="174"/>
                      </a:cubicBezTo>
                      <a:cubicBezTo>
                        <a:pt x="539" y="174"/>
                        <a:pt x="539" y="174"/>
                        <a:pt x="539" y="174"/>
                      </a:cubicBezTo>
                      <a:cubicBezTo>
                        <a:pt x="540" y="174"/>
                        <a:pt x="540" y="174"/>
                        <a:pt x="540" y="174"/>
                      </a:cubicBezTo>
                      <a:cubicBezTo>
                        <a:pt x="541" y="174"/>
                        <a:pt x="541" y="174"/>
                        <a:pt x="541" y="174"/>
                      </a:cubicBezTo>
                      <a:cubicBezTo>
                        <a:pt x="541" y="175"/>
                        <a:pt x="541" y="175"/>
                        <a:pt x="541" y="175"/>
                      </a:cubicBezTo>
                      <a:cubicBezTo>
                        <a:pt x="541" y="175"/>
                        <a:pt x="541" y="175"/>
                        <a:pt x="541" y="175"/>
                      </a:cubicBezTo>
                      <a:cubicBezTo>
                        <a:pt x="542" y="176"/>
                        <a:pt x="542" y="176"/>
                        <a:pt x="542" y="176"/>
                      </a:cubicBezTo>
                      <a:cubicBezTo>
                        <a:pt x="541" y="176"/>
                        <a:pt x="541" y="176"/>
                        <a:pt x="541" y="176"/>
                      </a:cubicBezTo>
                      <a:cubicBezTo>
                        <a:pt x="541" y="176"/>
                        <a:pt x="541" y="176"/>
                        <a:pt x="541" y="176"/>
                      </a:cubicBezTo>
                      <a:cubicBezTo>
                        <a:pt x="540" y="176"/>
                        <a:pt x="540" y="176"/>
                        <a:pt x="540" y="176"/>
                      </a:cubicBezTo>
                      <a:cubicBezTo>
                        <a:pt x="539" y="176"/>
                        <a:pt x="539" y="176"/>
                        <a:pt x="539" y="176"/>
                      </a:cubicBezTo>
                      <a:cubicBezTo>
                        <a:pt x="539" y="177"/>
                        <a:pt x="539" y="177"/>
                        <a:pt x="539" y="177"/>
                      </a:cubicBezTo>
                      <a:cubicBezTo>
                        <a:pt x="539" y="177"/>
                        <a:pt x="539" y="177"/>
                        <a:pt x="539" y="177"/>
                      </a:cubicBezTo>
                      <a:cubicBezTo>
                        <a:pt x="539" y="177"/>
                        <a:pt x="539" y="177"/>
                        <a:pt x="539" y="177"/>
                      </a:cubicBezTo>
                      <a:cubicBezTo>
                        <a:pt x="538" y="179"/>
                        <a:pt x="538" y="179"/>
                        <a:pt x="538" y="179"/>
                      </a:cubicBezTo>
                      <a:cubicBezTo>
                        <a:pt x="537" y="178"/>
                        <a:pt x="537" y="178"/>
                        <a:pt x="537" y="178"/>
                      </a:cubicBezTo>
                      <a:cubicBezTo>
                        <a:pt x="537" y="178"/>
                        <a:pt x="537" y="178"/>
                        <a:pt x="537" y="178"/>
                      </a:cubicBezTo>
                      <a:cubicBezTo>
                        <a:pt x="537" y="177"/>
                        <a:pt x="537" y="177"/>
                        <a:pt x="537" y="177"/>
                      </a:cubicBezTo>
                      <a:cubicBezTo>
                        <a:pt x="536" y="178"/>
                        <a:pt x="536" y="178"/>
                        <a:pt x="536" y="178"/>
                      </a:cubicBezTo>
                      <a:cubicBezTo>
                        <a:pt x="535" y="177"/>
                        <a:pt x="535" y="177"/>
                        <a:pt x="535" y="177"/>
                      </a:cubicBezTo>
                      <a:cubicBezTo>
                        <a:pt x="535" y="177"/>
                        <a:pt x="535" y="177"/>
                        <a:pt x="535" y="177"/>
                      </a:cubicBezTo>
                      <a:cubicBezTo>
                        <a:pt x="535" y="178"/>
                        <a:pt x="535" y="178"/>
                        <a:pt x="535" y="178"/>
                      </a:cubicBezTo>
                      <a:cubicBezTo>
                        <a:pt x="535" y="179"/>
                        <a:pt x="535" y="179"/>
                        <a:pt x="535" y="179"/>
                      </a:cubicBezTo>
                      <a:cubicBezTo>
                        <a:pt x="535" y="179"/>
                        <a:pt x="535" y="179"/>
                        <a:pt x="535" y="179"/>
                      </a:cubicBezTo>
                      <a:cubicBezTo>
                        <a:pt x="534" y="179"/>
                        <a:pt x="534" y="179"/>
                        <a:pt x="534" y="179"/>
                      </a:cubicBezTo>
                      <a:cubicBezTo>
                        <a:pt x="534" y="180"/>
                        <a:pt x="534" y="180"/>
                        <a:pt x="534" y="180"/>
                      </a:cubicBezTo>
                      <a:cubicBezTo>
                        <a:pt x="534" y="180"/>
                        <a:pt x="534" y="180"/>
                        <a:pt x="534" y="180"/>
                      </a:cubicBezTo>
                      <a:cubicBezTo>
                        <a:pt x="534" y="181"/>
                        <a:pt x="534" y="181"/>
                        <a:pt x="534" y="181"/>
                      </a:cubicBezTo>
                      <a:cubicBezTo>
                        <a:pt x="533" y="181"/>
                        <a:pt x="533" y="181"/>
                        <a:pt x="533" y="181"/>
                      </a:cubicBezTo>
                      <a:cubicBezTo>
                        <a:pt x="532" y="179"/>
                        <a:pt x="532" y="179"/>
                        <a:pt x="532" y="179"/>
                      </a:cubicBezTo>
                      <a:cubicBezTo>
                        <a:pt x="531" y="179"/>
                        <a:pt x="531" y="179"/>
                        <a:pt x="531" y="179"/>
                      </a:cubicBezTo>
                      <a:cubicBezTo>
                        <a:pt x="532" y="180"/>
                        <a:pt x="532" y="180"/>
                        <a:pt x="532" y="180"/>
                      </a:cubicBezTo>
                      <a:cubicBezTo>
                        <a:pt x="531" y="181"/>
                        <a:pt x="531" y="181"/>
                        <a:pt x="531" y="181"/>
                      </a:cubicBezTo>
                      <a:cubicBezTo>
                        <a:pt x="531" y="181"/>
                        <a:pt x="531" y="181"/>
                        <a:pt x="531" y="181"/>
                      </a:cubicBezTo>
                      <a:cubicBezTo>
                        <a:pt x="530" y="182"/>
                        <a:pt x="530" y="182"/>
                        <a:pt x="530" y="182"/>
                      </a:cubicBezTo>
                      <a:cubicBezTo>
                        <a:pt x="529" y="182"/>
                        <a:pt x="529" y="182"/>
                        <a:pt x="529" y="182"/>
                      </a:cubicBezTo>
                      <a:cubicBezTo>
                        <a:pt x="529" y="183"/>
                        <a:pt x="529" y="183"/>
                        <a:pt x="529" y="183"/>
                      </a:cubicBezTo>
                      <a:cubicBezTo>
                        <a:pt x="527" y="181"/>
                        <a:pt x="527" y="181"/>
                        <a:pt x="527" y="181"/>
                      </a:cubicBezTo>
                      <a:cubicBezTo>
                        <a:pt x="527" y="181"/>
                        <a:pt x="527" y="181"/>
                        <a:pt x="527" y="181"/>
                      </a:cubicBezTo>
                      <a:cubicBezTo>
                        <a:pt x="526" y="181"/>
                        <a:pt x="526" y="181"/>
                        <a:pt x="526" y="181"/>
                      </a:cubicBezTo>
                      <a:cubicBezTo>
                        <a:pt x="526" y="180"/>
                        <a:pt x="526" y="180"/>
                        <a:pt x="526" y="180"/>
                      </a:cubicBezTo>
                      <a:cubicBezTo>
                        <a:pt x="527" y="180"/>
                        <a:pt x="527" y="180"/>
                        <a:pt x="527" y="180"/>
                      </a:cubicBezTo>
                      <a:cubicBezTo>
                        <a:pt x="527" y="180"/>
                        <a:pt x="527" y="180"/>
                        <a:pt x="527" y="180"/>
                      </a:cubicBezTo>
                      <a:cubicBezTo>
                        <a:pt x="527" y="179"/>
                        <a:pt x="527" y="179"/>
                        <a:pt x="527" y="179"/>
                      </a:cubicBezTo>
                      <a:cubicBezTo>
                        <a:pt x="529" y="179"/>
                        <a:pt x="529" y="179"/>
                        <a:pt x="529" y="179"/>
                      </a:cubicBezTo>
                      <a:cubicBezTo>
                        <a:pt x="531" y="178"/>
                        <a:pt x="531" y="178"/>
                        <a:pt x="531" y="178"/>
                      </a:cubicBezTo>
                      <a:cubicBezTo>
                        <a:pt x="530" y="177"/>
                        <a:pt x="530" y="177"/>
                        <a:pt x="530" y="177"/>
                      </a:cubicBezTo>
                      <a:cubicBezTo>
                        <a:pt x="530" y="177"/>
                        <a:pt x="530" y="177"/>
                        <a:pt x="530" y="177"/>
                      </a:cubicBezTo>
                      <a:cubicBezTo>
                        <a:pt x="529" y="178"/>
                        <a:pt x="529" y="178"/>
                        <a:pt x="529" y="178"/>
                      </a:cubicBezTo>
                      <a:cubicBezTo>
                        <a:pt x="528" y="178"/>
                        <a:pt x="528" y="178"/>
                        <a:pt x="528" y="178"/>
                      </a:cubicBezTo>
                      <a:cubicBezTo>
                        <a:pt x="528" y="177"/>
                        <a:pt x="528" y="177"/>
                        <a:pt x="528" y="177"/>
                      </a:cubicBezTo>
                      <a:cubicBezTo>
                        <a:pt x="527" y="177"/>
                        <a:pt x="527" y="177"/>
                        <a:pt x="527" y="177"/>
                      </a:cubicBezTo>
                      <a:cubicBezTo>
                        <a:pt x="526" y="177"/>
                        <a:pt x="526" y="177"/>
                        <a:pt x="526" y="177"/>
                      </a:cubicBezTo>
                      <a:cubicBezTo>
                        <a:pt x="524" y="176"/>
                        <a:pt x="524" y="176"/>
                        <a:pt x="524" y="176"/>
                      </a:cubicBezTo>
                      <a:cubicBezTo>
                        <a:pt x="523" y="177"/>
                        <a:pt x="523" y="177"/>
                        <a:pt x="523" y="177"/>
                      </a:cubicBezTo>
                      <a:cubicBezTo>
                        <a:pt x="523" y="177"/>
                        <a:pt x="523" y="177"/>
                        <a:pt x="523" y="177"/>
                      </a:cubicBezTo>
                      <a:cubicBezTo>
                        <a:pt x="523" y="177"/>
                        <a:pt x="523" y="177"/>
                        <a:pt x="523" y="177"/>
                      </a:cubicBezTo>
                      <a:cubicBezTo>
                        <a:pt x="522" y="177"/>
                        <a:pt x="522" y="177"/>
                        <a:pt x="522" y="177"/>
                      </a:cubicBezTo>
                      <a:cubicBezTo>
                        <a:pt x="522" y="177"/>
                        <a:pt x="522" y="177"/>
                        <a:pt x="522" y="177"/>
                      </a:cubicBezTo>
                      <a:cubicBezTo>
                        <a:pt x="521" y="177"/>
                        <a:pt x="521" y="177"/>
                        <a:pt x="521" y="177"/>
                      </a:cubicBezTo>
                      <a:cubicBezTo>
                        <a:pt x="519" y="176"/>
                        <a:pt x="519" y="176"/>
                        <a:pt x="519" y="176"/>
                      </a:cubicBezTo>
                      <a:cubicBezTo>
                        <a:pt x="518" y="177"/>
                        <a:pt x="518" y="177"/>
                        <a:pt x="518" y="177"/>
                      </a:cubicBezTo>
                      <a:cubicBezTo>
                        <a:pt x="518" y="176"/>
                        <a:pt x="518" y="176"/>
                        <a:pt x="518" y="176"/>
                      </a:cubicBezTo>
                      <a:cubicBezTo>
                        <a:pt x="516" y="176"/>
                        <a:pt x="516" y="176"/>
                        <a:pt x="516" y="176"/>
                      </a:cubicBezTo>
                      <a:cubicBezTo>
                        <a:pt x="515" y="177"/>
                        <a:pt x="515" y="177"/>
                        <a:pt x="515" y="177"/>
                      </a:cubicBezTo>
                      <a:cubicBezTo>
                        <a:pt x="515" y="177"/>
                        <a:pt x="515" y="177"/>
                        <a:pt x="515" y="177"/>
                      </a:cubicBezTo>
                      <a:cubicBezTo>
                        <a:pt x="514" y="178"/>
                        <a:pt x="514" y="178"/>
                        <a:pt x="514" y="178"/>
                      </a:cubicBezTo>
                      <a:cubicBezTo>
                        <a:pt x="516" y="179"/>
                        <a:pt x="516" y="179"/>
                        <a:pt x="516" y="179"/>
                      </a:cubicBezTo>
                      <a:cubicBezTo>
                        <a:pt x="514" y="179"/>
                        <a:pt x="514" y="179"/>
                        <a:pt x="514" y="179"/>
                      </a:cubicBezTo>
                      <a:cubicBezTo>
                        <a:pt x="514" y="179"/>
                        <a:pt x="514" y="179"/>
                        <a:pt x="514" y="179"/>
                      </a:cubicBezTo>
                      <a:cubicBezTo>
                        <a:pt x="513" y="180"/>
                        <a:pt x="513" y="180"/>
                        <a:pt x="513" y="180"/>
                      </a:cubicBezTo>
                      <a:cubicBezTo>
                        <a:pt x="515" y="180"/>
                        <a:pt x="515" y="180"/>
                        <a:pt x="515" y="180"/>
                      </a:cubicBezTo>
                      <a:cubicBezTo>
                        <a:pt x="515" y="180"/>
                        <a:pt x="515" y="180"/>
                        <a:pt x="515" y="180"/>
                      </a:cubicBezTo>
                      <a:cubicBezTo>
                        <a:pt x="516" y="180"/>
                        <a:pt x="516" y="180"/>
                        <a:pt x="516" y="180"/>
                      </a:cubicBezTo>
                      <a:cubicBezTo>
                        <a:pt x="516" y="181"/>
                        <a:pt x="516" y="181"/>
                        <a:pt x="516" y="181"/>
                      </a:cubicBezTo>
                      <a:cubicBezTo>
                        <a:pt x="514" y="181"/>
                        <a:pt x="514" y="181"/>
                        <a:pt x="514" y="181"/>
                      </a:cubicBezTo>
                      <a:cubicBezTo>
                        <a:pt x="513" y="181"/>
                        <a:pt x="513" y="181"/>
                        <a:pt x="513" y="181"/>
                      </a:cubicBezTo>
                      <a:cubicBezTo>
                        <a:pt x="512" y="181"/>
                        <a:pt x="512" y="181"/>
                        <a:pt x="512" y="181"/>
                      </a:cubicBezTo>
                      <a:cubicBezTo>
                        <a:pt x="511" y="181"/>
                        <a:pt x="511" y="181"/>
                        <a:pt x="511" y="181"/>
                      </a:cubicBezTo>
                      <a:cubicBezTo>
                        <a:pt x="511" y="182"/>
                        <a:pt x="511" y="182"/>
                        <a:pt x="511" y="182"/>
                      </a:cubicBezTo>
                      <a:cubicBezTo>
                        <a:pt x="510" y="182"/>
                        <a:pt x="510" y="182"/>
                        <a:pt x="510" y="182"/>
                      </a:cubicBezTo>
                      <a:cubicBezTo>
                        <a:pt x="510" y="182"/>
                        <a:pt x="510" y="182"/>
                        <a:pt x="510" y="182"/>
                      </a:cubicBezTo>
                      <a:cubicBezTo>
                        <a:pt x="509" y="182"/>
                        <a:pt x="509" y="182"/>
                        <a:pt x="509" y="182"/>
                      </a:cubicBezTo>
                      <a:cubicBezTo>
                        <a:pt x="509" y="182"/>
                        <a:pt x="509" y="182"/>
                        <a:pt x="509" y="182"/>
                      </a:cubicBezTo>
                      <a:cubicBezTo>
                        <a:pt x="507" y="181"/>
                        <a:pt x="507" y="181"/>
                        <a:pt x="507" y="181"/>
                      </a:cubicBezTo>
                      <a:cubicBezTo>
                        <a:pt x="506" y="182"/>
                        <a:pt x="506" y="182"/>
                        <a:pt x="506" y="182"/>
                      </a:cubicBezTo>
                      <a:cubicBezTo>
                        <a:pt x="505" y="182"/>
                        <a:pt x="505" y="182"/>
                        <a:pt x="505" y="182"/>
                      </a:cubicBezTo>
                      <a:cubicBezTo>
                        <a:pt x="503" y="182"/>
                        <a:pt x="503" y="182"/>
                        <a:pt x="503" y="182"/>
                      </a:cubicBezTo>
                      <a:cubicBezTo>
                        <a:pt x="503" y="183"/>
                        <a:pt x="503" y="183"/>
                        <a:pt x="503" y="183"/>
                      </a:cubicBezTo>
                      <a:cubicBezTo>
                        <a:pt x="505" y="184"/>
                        <a:pt x="505" y="184"/>
                        <a:pt x="505" y="184"/>
                      </a:cubicBezTo>
                      <a:cubicBezTo>
                        <a:pt x="504" y="184"/>
                        <a:pt x="504" y="184"/>
                        <a:pt x="504" y="184"/>
                      </a:cubicBezTo>
                      <a:cubicBezTo>
                        <a:pt x="504" y="185"/>
                        <a:pt x="504" y="185"/>
                        <a:pt x="504" y="185"/>
                      </a:cubicBezTo>
                      <a:cubicBezTo>
                        <a:pt x="503" y="184"/>
                        <a:pt x="503" y="184"/>
                        <a:pt x="503" y="184"/>
                      </a:cubicBezTo>
                      <a:cubicBezTo>
                        <a:pt x="502" y="184"/>
                        <a:pt x="502" y="184"/>
                        <a:pt x="502" y="184"/>
                      </a:cubicBezTo>
                      <a:cubicBezTo>
                        <a:pt x="502" y="183"/>
                        <a:pt x="502" y="183"/>
                        <a:pt x="502" y="183"/>
                      </a:cubicBezTo>
                      <a:cubicBezTo>
                        <a:pt x="502" y="183"/>
                        <a:pt x="502" y="183"/>
                        <a:pt x="502" y="183"/>
                      </a:cubicBezTo>
                      <a:cubicBezTo>
                        <a:pt x="501" y="183"/>
                        <a:pt x="501" y="183"/>
                        <a:pt x="501" y="183"/>
                      </a:cubicBezTo>
                      <a:cubicBezTo>
                        <a:pt x="500" y="183"/>
                        <a:pt x="500" y="183"/>
                        <a:pt x="500" y="183"/>
                      </a:cubicBezTo>
                      <a:cubicBezTo>
                        <a:pt x="500" y="183"/>
                        <a:pt x="500" y="183"/>
                        <a:pt x="500" y="183"/>
                      </a:cubicBezTo>
                      <a:cubicBezTo>
                        <a:pt x="499" y="184"/>
                        <a:pt x="499" y="184"/>
                        <a:pt x="499" y="184"/>
                      </a:cubicBezTo>
                      <a:cubicBezTo>
                        <a:pt x="498" y="184"/>
                        <a:pt x="498" y="184"/>
                        <a:pt x="498" y="184"/>
                      </a:cubicBezTo>
                      <a:cubicBezTo>
                        <a:pt x="496" y="185"/>
                        <a:pt x="496" y="185"/>
                        <a:pt x="496" y="185"/>
                      </a:cubicBezTo>
                      <a:cubicBezTo>
                        <a:pt x="495" y="185"/>
                        <a:pt x="495" y="185"/>
                        <a:pt x="495" y="185"/>
                      </a:cubicBezTo>
                      <a:cubicBezTo>
                        <a:pt x="493" y="186"/>
                        <a:pt x="493" y="186"/>
                        <a:pt x="493" y="186"/>
                      </a:cubicBezTo>
                      <a:cubicBezTo>
                        <a:pt x="492" y="186"/>
                        <a:pt x="492" y="186"/>
                        <a:pt x="492" y="186"/>
                      </a:cubicBezTo>
                      <a:cubicBezTo>
                        <a:pt x="491" y="185"/>
                        <a:pt x="491" y="185"/>
                        <a:pt x="491" y="185"/>
                      </a:cubicBezTo>
                      <a:cubicBezTo>
                        <a:pt x="491" y="186"/>
                        <a:pt x="491" y="186"/>
                        <a:pt x="491" y="186"/>
                      </a:cubicBezTo>
                      <a:cubicBezTo>
                        <a:pt x="491" y="186"/>
                        <a:pt x="491" y="186"/>
                        <a:pt x="491" y="186"/>
                      </a:cubicBezTo>
                      <a:cubicBezTo>
                        <a:pt x="489" y="188"/>
                        <a:pt x="489" y="188"/>
                        <a:pt x="489" y="188"/>
                      </a:cubicBezTo>
                      <a:cubicBezTo>
                        <a:pt x="489" y="188"/>
                        <a:pt x="489" y="188"/>
                        <a:pt x="489" y="188"/>
                      </a:cubicBezTo>
                      <a:cubicBezTo>
                        <a:pt x="488" y="189"/>
                        <a:pt x="488" y="189"/>
                        <a:pt x="488" y="189"/>
                      </a:cubicBezTo>
                      <a:cubicBezTo>
                        <a:pt x="487" y="190"/>
                        <a:pt x="487" y="190"/>
                        <a:pt x="487" y="190"/>
                      </a:cubicBezTo>
                      <a:cubicBezTo>
                        <a:pt x="489" y="192"/>
                        <a:pt x="489" y="192"/>
                        <a:pt x="489" y="192"/>
                      </a:cubicBezTo>
                      <a:cubicBezTo>
                        <a:pt x="488" y="194"/>
                        <a:pt x="488" y="194"/>
                        <a:pt x="488" y="194"/>
                      </a:cubicBezTo>
                      <a:cubicBezTo>
                        <a:pt x="487" y="195"/>
                        <a:pt x="487" y="195"/>
                        <a:pt x="487" y="195"/>
                      </a:cubicBezTo>
                      <a:cubicBezTo>
                        <a:pt x="486" y="196"/>
                        <a:pt x="486" y="196"/>
                        <a:pt x="486" y="196"/>
                      </a:cubicBezTo>
                      <a:cubicBezTo>
                        <a:pt x="487" y="197"/>
                        <a:pt x="487" y="197"/>
                        <a:pt x="487" y="197"/>
                      </a:cubicBezTo>
                      <a:cubicBezTo>
                        <a:pt x="487" y="199"/>
                        <a:pt x="487" y="199"/>
                        <a:pt x="487" y="199"/>
                      </a:cubicBezTo>
                      <a:cubicBezTo>
                        <a:pt x="487" y="200"/>
                        <a:pt x="487" y="200"/>
                        <a:pt x="487" y="200"/>
                      </a:cubicBezTo>
                      <a:cubicBezTo>
                        <a:pt x="487" y="201"/>
                        <a:pt x="487" y="201"/>
                        <a:pt x="487" y="201"/>
                      </a:cubicBezTo>
                      <a:cubicBezTo>
                        <a:pt x="487" y="201"/>
                        <a:pt x="487" y="201"/>
                        <a:pt x="487" y="201"/>
                      </a:cubicBezTo>
                      <a:cubicBezTo>
                        <a:pt x="486" y="201"/>
                        <a:pt x="486" y="201"/>
                        <a:pt x="486" y="201"/>
                      </a:cubicBezTo>
                      <a:cubicBezTo>
                        <a:pt x="486" y="202"/>
                        <a:pt x="486" y="202"/>
                        <a:pt x="486" y="202"/>
                      </a:cubicBezTo>
                      <a:cubicBezTo>
                        <a:pt x="485" y="202"/>
                        <a:pt x="485" y="202"/>
                        <a:pt x="485" y="202"/>
                      </a:cubicBezTo>
                      <a:cubicBezTo>
                        <a:pt x="486" y="204"/>
                        <a:pt x="486" y="204"/>
                        <a:pt x="486" y="204"/>
                      </a:cubicBezTo>
                      <a:cubicBezTo>
                        <a:pt x="485" y="204"/>
                        <a:pt x="485" y="204"/>
                        <a:pt x="485" y="204"/>
                      </a:cubicBezTo>
                      <a:cubicBezTo>
                        <a:pt x="485" y="206"/>
                        <a:pt x="485" y="206"/>
                        <a:pt x="485" y="206"/>
                      </a:cubicBezTo>
                      <a:cubicBezTo>
                        <a:pt x="484" y="207"/>
                        <a:pt x="484" y="207"/>
                        <a:pt x="484" y="207"/>
                      </a:cubicBezTo>
                      <a:cubicBezTo>
                        <a:pt x="484" y="208"/>
                        <a:pt x="484" y="208"/>
                        <a:pt x="484" y="208"/>
                      </a:cubicBezTo>
                      <a:cubicBezTo>
                        <a:pt x="483" y="208"/>
                        <a:pt x="483" y="208"/>
                        <a:pt x="483" y="208"/>
                      </a:cubicBezTo>
                      <a:cubicBezTo>
                        <a:pt x="483" y="210"/>
                        <a:pt x="483" y="210"/>
                        <a:pt x="483" y="210"/>
                      </a:cubicBezTo>
                      <a:cubicBezTo>
                        <a:pt x="482" y="210"/>
                        <a:pt x="482" y="210"/>
                        <a:pt x="482" y="210"/>
                      </a:cubicBezTo>
                      <a:cubicBezTo>
                        <a:pt x="482" y="212"/>
                        <a:pt x="482" y="212"/>
                        <a:pt x="482" y="212"/>
                      </a:cubicBezTo>
                      <a:cubicBezTo>
                        <a:pt x="482" y="214"/>
                        <a:pt x="482" y="214"/>
                        <a:pt x="482" y="214"/>
                      </a:cubicBezTo>
                      <a:cubicBezTo>
                        <a:pt x="482" y="214"/>
                        <a:pt x="482" y="214"/>
                        <a:pt x="482" y="214"/>
                      </a:cubicBezTo>
                      <a:cubicBezTo>
                        <a:pt x="482" y="215"/>
                        <a:pt x="482" y="215"/>
                        <a:pt x="482" y="215"/>
                      </a:cubicBezTo>
                      <a:cubicBezTo>
                        <a:pt x="481" y="216"/>
                        <a:pt x="481" y="216"/>
                        <a:pt x="481" y="216"/>
                      </a:cubicBezTo>
                      <a:cubicBezTo>
                        <a:pt x="481" y="217"/>
                        <a:pt x="481" y="217"/>
                        <a:pt x="481" y="217"/>
                      </a:cubicBezTo>
                      <a:cubicBezTo>
                        <a:pt x="480" y="218"/>
                        <a:pt x="480" y="218"/>
                        <a:pt x="480" y="218"/>
                      </a:cubicBezTo>
                      <a:cubicBezTo>
                        <a:pt x="480" y="219"/>
                        <a:pt x="480" y="219"/>
                        <a:pt x="480" y="219"/>
                      </a:cubicBezTo>
                      <a:cubicBezTo>
                        <a:pt x="480" y="219"/>
                        <a:pt x="480" y="219"/>
                        <a:pt x="480" y="219"/>
                      </a:cubicBezTo>
                      <a:cubicBezTo>
                        <a:pt x="480" y="220"/>
                        <a:pt x="480" y="220"/>
                        <a:pt x="480" y="220"/>
                      </a:cubicBezTo>
                      <a:cubicBezTo>
                        <a:pt x="478" y="221"/>
                        <a:pt x="478" y="221"/>
                        <a:pt x="478" y="221"/>
                      </a:cubicBezTo>
                      <a:cubicBezTo>
                        <a:pt x="478" y="223"/>
                        <a:pt x="478" y="223"/>
                        <a:pt x="478" y="223"/>
                      </a:cubicBezTo>
                      <a:cubicBezTo>
                        <a:pt x="477" y="224"/>
                        <a:pt x="477" y="224"/>
                        <a:pt x="477" y="224"/>
                      </a:cubicBezTo>
                      <a:cubicBezTo>
                        <a:pt x="477" y="224"/>
                        <a:pt x="477" y="224"/>
                        <a:pt x="477" y="224"/>
                      </a:cubicBezTo>
                      <a:cubicBezTo>
                        <a:pt x="476" y="226"/>
                        <a:pt x="476" y="226"/>
                        <a:pt x="476" y="226"/>
                      </a:cubicBezTo>
                      <a:cubicBezTo>
                        <a:pt x="476" y="227"/>
                        <a:pt x="476" y="227"/>
                        <a:pt x="476" y="227"/>
                      </a:cubicBezTo>
                      <a:cubicBezTo>
                        <a:pt x="475" y="227"/>
                        <a:pt x="475" y="227"/>
                        <a:pt x="475" y="227"/>
                      </a:cubicBezTo>
                      <a:cubicBezTo>
                        <a:pt x="476" y="228"/>
                        <a:pt x="476" y="228"/>
                        <a:pt x="476" y="228"/>
                      </a:cubicBezTo>
                      <a:cubicBezTo>
                        <a:pt x="477" y="229"/>
                        <a:pt x="477" y="229"/>
                        <a:pt x="477" y="229"/>
                      </a:cubicBezTo>
                      <a:cubicBezTo>
                        <a:pt x="478" y="228"/>
                        <a:pt x="478" y="228"/>
                        <a:pt x="478" y="228"/>
                      </a:cubicBezTo>
                      <a:cubicBezTo>
                        <a:pt x="478" y="229"/>
                        <a:pt x="478" y="229"/>
                        <a:pt x="478" y="229"/>
                      </a:cubicBezTo>
                      <a:cubicBezTo>
                        <a:pt x="479" y="229"/>
                        <a:pt x="479" y="229"/>
                        <a:pt x="479" y="229"/>
                      </a:cubicBezTo>
                      <a:cubicBezTo>
                        <a:pt x="481" y="228"/>
                        <a:pt x="481" y="228"/>
                        <a:pt x="481" y="228"/>
                      </a:cubicBezTo>
                      <a:cubicBezTo>
                        <a:pt x="481" y="228"/>
                        <a:pt x="481" y="228"/>
                        <a:pt x="481" y="228"/>
                      </a:cubicBezTo>
                      <a:cubicBezTo>
                        <a:pt x="482" y="228"/>
                        <a:pt x="482" y="228"/>
                        <a:pt x="482" y="228"/>
                      </a:cubicBezTo>
                      <a:cubicBezTo>
                        <a:pt x="483" y="228"/>
                        <a:pt x="483" y="228"/>
                        <a:pt x="483" y="228"/>
                      </a:cubicBezTo>
                      <a:cubicBezTo>
                        <a:pt x="484" y="227"/>
                        <a:pt x="484" y="227"/>
                        <a:pt x="484" y="227"/>
                      </a:cubicBezTo>
                      <a:cubicBezTo>
                        <a:pt x="484" y="230"/>
                        <a:pt x="484" y="230"/>
                        <a:pt x="484" y="230"/>
                      </a:cubicBezTo>
                      <a:cubicBezTo>
                        <a:pt x="485" y="231"/>
                        <a:pt x="485" y="231"/>
                        <a:pt x="485" y="231"/>
                      </a:cubicBezTo>
                      <a:cubicBezTo>
                        <a:pt x="485" y="232"/>
                        <a:pt x="485" y="232"/>
                        <a:pt x="485" y="232"/>
                      </a:cubicBezTo>
                      <a:cubicBezTo>
                        <a:pt x="485" y="233"/>
                        <a:pt x="485" y="233"/>
                        <a:pt x="485" y="233"/>
                      </a:cubicBezTo>
                      <a:cubicBezTo>
                        <a:pt x="486" y="234"/>
                        <a:pt x="486" y="234"/>
                        <a:pt x="486" y="234"/>
                      </a:cubicBezTo>
                      <a:cubicBezTo>
                        <a:pt x="487" y="234"/>
                        <a:pt x="487" y="234"/>
                        <a:pt x="487" y="234"/>
                      </a:cubicBezTo>
                      <a:cubicBezTo>
                        <a:pt x="487" y="234"/>
                        <a:pt x="487" y="234"/>
                        <a:pt x="487" y="234"/>
                      </a:cubicBezTo>
                      <a:cubicBezTo>
                        <a:pt x="488" y="233"/>
                        <a:pt x="488" y="233"/>
                        <a:pt x="488" y="233"/>
                      </a:cubicBezTo>
                      <a:cubicBezTo>
                        <a:pt x="488" y="232"/>
                        <a:pt x="488" y="232"/>
                        <a:pt x="488" y="232"/>
                      </a:cubicBezTo>
                      <a:cubicBezTo>
                        <a:pt x="489" y="232"/>
                        <a:pt x="489" y="232"/>
                        <a:pt x="489" y="232"/>
                      </a:cubicBezTo>
                      <a:cubicBezTo>
                        <a:pt x="489" y="233"/>
                        <a:pt x="489" y="233"/>
                        <a:pt x="489" y="233"/>
                      </a:cubicBezTo>
                      <a:cubicBezTo>
                        <a:pt x="490" y="232"/>
                        <a:pt x="490" y="232"/>
                        <a:pt x="490" y="232"/>
                      </a:cubicBezTo>
                      <a:cubicBezTo>
                        <a:pt x="491" y="232"/>
                        <a:pt x="491" y="232"/>
                        <a:pt x="491" y="232"/>
                      </a:cubicBezTo>
                      <a:cubicBezTo>
                        <a:pt x="490" y="233"/>
                        <a:pt x="490" y="233"/>
                        <a:pt x="490" y="233"/>
                      </a:cubicBezTo>
                      <a:cubicBezTo>
                        <a:pt x="490" y="233"/>
                        <a:pt x="490" y="233"/>
                        <a:pt x="490" y="233"/>
                      </a:cubicBezTo>
                      <a:cubicBezTo>
                        <a:pt x="490" y="235"/>
                        <a:pt x="490" y="235"/>
                        <a:pt x="490" y="235"/>
                      </a:cubicBezTo>
                      <a:cubicBezTo>
                        <a:pt x="489" y="235"/>
                        <a:pt x="489" y="235"/>
                        <a:pt x="489" y="235"/>
                      </a:cubicBezTo>
                      <a:cubicBezTo>
                        <a:pt x="489" y="235"/>
                        <a:pt x="489" y="235"/>
                        <a:pt x="489" y="235"/>
                      </a:cubicBezTo>
                      <a:cubicBezTo>
                        <a:pt x="489" y="236"/>
                        <a:pt x="489" y="236"/>
                        <a:pt x="489" y="236"/>
                      </a:cubicBezTo>
                      <a:cubicBezTo>
                        <a:pt x="491" y="235"/>
                        <a:pt x="491" y="235"/>
                        <a:pt x="491" y="235"/>
                      </a:cubicBezTo>
                      <a:cubicBezTo>
                        <a:pt x="492" y="235"/>
                        <a:pt x="492" y="235"/>
                        <a:pt x="492" y="235"/>
                      </a:cubicBezTo>
                      <a:cubicBezTo>
                        <a:pt x="493" y="233"/>
                        <a:pt x="493" y="233"/>
                        <a:pt x="493" y="233"/>
                      </a:cubicBezTo>
                      <a:cubicBezTo>
                        <a:pt x="492" y="233"/>
                        <a:pt x="492" y="233"/>
                        <a:pt x="492" y="233"/>
                      </a:cubicBezTo>
                      <a:cubicBezTo>
                        <a:pt x="493" y="232"/>
                        <a:pt x="493" y="232"/>
                        <a:pt x="493" y="232"/>
                      </a:cubicBezTo>
                      <a:cubicBezTo>
                        <a:pt x="493" y="233"/>
                        <a:pt x="493" y="233"/>
                        <a:pt x="493" y="233"/>
                      </a:cubicBezTo>
                      <a:cubicBezTo>
                        <a:pt x="493" y="234"/>
                        <a:pt x="493" y="234"/>
                        <a:pt x="493" y="234"/>
                      </a:cubicBezTo>
                      <a:cubicBezTo>
                        <a:pt x="493" y="235"/>
                        <a:pt x="493" y="235"/>
                        <a:pt x="493" y="235"/>
                      </a:cubicBezTo>
                      <a:cubicBezTo>
                        <a:pt x="494" y="235"/>
                        <a:pt x="494" y="235"/>
                        <a:pt x="494" y="235"/>
                      </a:cubicBezTo>
                      <a:cubicBezTo>
                        <a:pt x="494" y="234"/>
                        <a:pt x="494" y="234"/>
                        <a:pt x="494" y="234"/>
                      </a:cubicBezTo>
                      <a:cubicBezTo>
                        <a:pt x="494" y="232"/>
                        <a:pt x="494" y="232"/>
                        <a:pt x="494" y="232"/>
                      </a:cubicBezTo>
                      <a:cubicBezTo>
                        <a:pt x="494" y="232"/>
                        <a:pt x="494" y="232"/>
                        <a:pt x="494" y="232"/>
                      </a:cubicBezTo>
                      <a:cubicBezTo>
                        <a:pt x="493" y="231"/>
                        <a:pt x="493" y="231"/>
                        <a:pt x="493" y="231"/>
                      </a:cubicBezTo>
                      <a:cubicBezTo>
                        <a:pt x="493" y="229"/>
                        <a:pt x="493" y="229"/>
                        <a:pt x="493" y="229"/>
                      </a:cubicBezTo>
                      <a:cubicBezTo>
                        <a:pt x="494" y="229"/>
                        <a:pt x="494" y="229"/>
                        <a:pt x="494" y="229"/>
                      </a:cubicBezTo>
                      <a:cubicBezTo>
                        <a:pt x="495" y="230"/>
                        <a:pt x="495" y="230"/>
                        <a:pt x="495" y="230"/>
                      </a:cubicBezTo>
                      <a:cubicBezTo>
                        <a:pt x="495" y="230"/>
                        <a:pt x="495" y="230"/>
                        <a:pt x="495" y="230"/>
                      </a:cubicBezTo>
                      <a:cubicBezTo>
                        <a:pt x="495" y="231"/>
                        <a:pt x="495" y="231"/>
                        <a:pt x="495" y="231"/>
                      </a:cubicBezTo>
                      <a:cubicBezTo>
                        <a:pt x="495" y="231"/>
                        <a:pt x="495" y="231"/>
                        <a:pt x="495" y="231"/>
                      </a:cubicBezTo>
                      <a:cubicBezTo>
                        <a:pt x="496" y="230"/>
                        <a:pt x="496" y="230"/>
                        <a:pt x="496" y="230"/>
                      </a:cubicBezTo>
                      <a:cubicBezTo>
                        <a:pt x="497" y="230"/>
                        <a:pt x="497" y="230"/>
                        <a:pt x="497" y="230"/>
                      </a:cubicBezTo>
                      <a:cubicBezTo>
                        <a:pt x="498" y="229"/>
                        <a:pt x="498" y="229"/>
                        <a:pt x="498" y="229"/>
                      </a:cubicBezTo>
                      <a:cubicBezTo>
                        <a:pt x="499" y="230"/>
                        <a:pt x="499" y="230"/>
                        <a:pt x="499" y="230"/>
                      </a:cubicBezTo>
                      <a:cubicBezTo>
                        <a:pt x="500" y="230"/>
                        <a:pt x="500" y="230"/>
                        <a:pt x="500" y="230"/>
                      </a:cubicBezTo>
                      <a:cubicBezTo>
                        <a:pt x="501" y="231"/>
                        <a:pt x="501" y="231"/>
                        <a:pt x="501" y="231"/>
                      </a:cubicBezTo>
                      <a:cubicBezTo>
                        <a:pt x="501" y="232"/>
                        <a:pt x="501" y="232"/>
                        <a:pt x="501" y="232"/>
                      </a:cubicBezTo>
                      <a:cubicBezTo>
                        <a:pt x="502" y="232"/>
                        <a:pt x="502" y="232"/>
                        <a:pt x="502" y="232"/>
                      </a:cubicBezTo>
                      <a:cubicBezTo>
                        <a:pt x="503" y="232"/>
                        <a:pt x="503" y="232"/>
                        <a:pt x="503" y="232"/>
                      </a:cubicBezTo>
                      <a:cubicBezTo>
                        <a:pt x="504" y="233"/>
                        <a:pt x="504" y="233"/>
                        <a:pt x="504" y="233"/>
                      </a:cubicBezTo>
                      <a:cubicBezTo>
                        <a:pt x="506" y="233"/>
                        <a:pt x="506" y="233"/>
                        <a:pt x="506" y="233"/>
                      </a:cubicBezTo>
                      <a:cubicBezTo>
                        <a:pt x="506" y="234"/>
                        <a:pt x="506" y="234"/>
                        <a:pt x="506" y="234"/>
                      </a:cubicBezTo>
                      <a:cubicBezTo>
                        <a:pt x="507" y="234"/>
                        <a:pt x="507" y="234"/>
                        <a:pt x="507" y="234"/>
                      </a:cubicBezTo>
                      <a:cubicBezTo>
                        <a:pt x="507" y="235"/>
                        <a:pt x="507" y="235"/>
                        <a:pt x="507" y="235"/>
                      </a:cubicBezTo>
                      <a:cubicBezTo>
                        <a:pt x="508" y="235"/>
                        <a:pt x="508" y="235"/>
                        <a:pt x="508" y="235"/>
                      </a:cubicBezTo>
                      <a:cubicBezTo>
                        <a:pt x="509" y="236"/>
                        <a:pt x="509" y="236"/>
                        <a:pt x="509" y="236"/>
                      </a:cubicBezTo>
                      <a:cubicBezTo>
                        <a:pt x="508" y="237"/>
                        <a:pt x="508" y="237"/>
                        <a:pt x="508" y="237"/>
                      </a:cubicBezTo>
                      <a:cubicBezTo>
                        <a:pt x="508" y="238"/>
                        <a:pt x="508" y="238"/>
                        <a:pt x="508" y="238"/>
                      </a:cubicBezTo>
                      <a:cubicBezTo>
                        <a:pt x="507" y="238"/>
                        <a:pt x="507" y="238"/>
                        <a:pt x="507" y="238"/>
                      </a:cubicBezTo>
                      <a:cubicBezTo>
                        <a:pt x="508" y="239"/>
                        <a:pt x="508" y="239"/>
                        <a:pt x="508" y="239"/>
                      </a:cubicBezTo>
                      <a:cubicBezTo>
                        <a:pt x="509" y="239"/>
                        <a:pt x="509" y="239"/>
                        <a:pt x="509" y="239"/>
                      </a:cubicBezTo>
                      <a:cubicBezTo>
                        <a:pt x="510" y="240"/>
                        <a:pt x="510" y="240"/>
                        <a:pt x="510" y="240"/>
                      </a:cubicBezTo>
                      <a:cubicBezTo>
                        <a:pt x="510" y="241"/>
                        <a:pt x="510" y="241"/>
                        <a:pt x="510" y="241"/>
                      </a:cubicBezTo>
                      <a:cubicBezTo>
                        <a:pt x="510" y="242"/>
                        <a:pt x="510" y="242"/>
                        <a:pt x="510" y="242"/>
                      </a:cubicBezTo>
                      <a:cubicBezTo>
                        <a:pt x="510" y="243"/>
                        <a:pt x="510" y="243"/>
                        <a:pt x="510" y="243"/>
                      </a:cubicBezTo>
                      <a:cubicBezTo>
                        <a:pt x="511" y="243"/>
                        <a:pt x="511" y="243"/>
                        <a:pt x="511" y="243"/>
                      </a:cubicBezTo>
                      <a:cubicBezTo>
                        <a:pt x="512" y="244"/>
                        <a:pt x="512" y="244"/>
                        <a:pt x="512" y="244"/>
                      </a:cubicBezTo>
                      <a:cubicBezTo>
                        <a:pt x="512" y="243"/>
                        <a:pt x="512" y="243"/>
                        <a:pt x="512" y="243"/>
                      </a:cubicBezTo>
                      <a:cubicBezTo>
                        <a:pt x="512" y="244"/>
                        <a:pt x="512" y="244"/>
                        <a:pt x="512" y="244"/>
                      </a:cubicBezTo>
                      <a:cubicBezTo>
                        <a:pt x="512" y="244"/>
                        <a:pt x="512" y="244"/>
                        <a:pt x="512" y="244"/>
                      </a:cubicBezTo>
                      <a:cubicBezTo>
                        <a:pt x="512" y="245"/>
                        <a:pt x="512" y="245"/>
                        <a:pt x="512" y="245"/>
                      </a:cubicBezTo>
                      <a:cubicBezTo>
                        <a:pt x="513" y="246"/>
                        <a:pt x="513" y="246"/>
                        <a:pt x="513" y="246"/>
                      </a:cubicBezTo>
                      <a:cubicBezTo>
                        <a:pt x="512" y="246"/>
                        <a:pt x="512" y="246"/>
                        <a:pt x="512" y="246"/>
                      </a:cubicBezTo>
                      <a:cubicBezTo>
                        <a:pt x="512" y="247"/>
                        <a:pt x="512" y="247"/>
                        <a:pt x="512" y="247"/>
                      </a:cubicBezTo>
                      <a:cubicBezTo>
                        <a:pt x="513" y="248"/>
                        <a:pt x="513" y="248"/>
                        <a:pt x="513" y="248"/>
                      </a:cubicBezTo>
                      <a:cubicBezTo>
                        <a:pt x="512" y="249"/>
                        <a:pt x="512" y="249"/>
                        <a:pt x="512" y="249"/>
                      </a:cubicBezTo>
                      <a:cubicBezTo>
                        <a:pt x="513" y="249"/>
                        <a:pt x="513" y="249"/>
                        <a:pt x="513" y="249"/>
                      </a:cubicBezTo>
                      <a:cubicBezTo>
                        <a:pt x="512" y="250"/>
                        <a:pt x="512" y="250"/>
                        <a:pt x="512" y="250"/>
                      </a:cubicBezTo>
                      <a:cubicBezTo>
                        <a:pt x="512" y="250"/>
                        <a:pt x="512" y="250"/>
                        <a:pt x="512" y="250"/>
                      </a:cubicBezTo>
                      <a:cubicBezTo>
                        <a:pt x="513" y="250"/>
                        <a:pt x="513" y="250"/>
                        <a:pt x="513" y="250"/>
                      </a:cubicBezTo>
                      <a:cubicBezTo>
                        <a:pt x="512" y="251"/>
                        <a:pt x="512" y="251"/>
                        <a:pt x="512" y="251"/>
                      </a:cubicBezTo>
                      <a:cubicBezTo>
                        <a:pt x="513" y="253"/>
                        <a:pt x="513" y="253"/>
                        <a:pt x="513" y="253"/>
                      </a:cubicBezTo>
                      <a:cubicBezTo>
                        <a:pt x="513" y="254"/>
                        <a:pt x="513" y="254"/>
                        <a:pt x="513" y="254"/>
                      </a:cubicBezTo>
                      <a:cubicBezTo>
                        <a:pt x="513" y="255"/>
                        <a:pt x="513" y="255"/>
                        <a:pt x="513" y="255"/>
                      </a:cubicBezTo>
                      <a:cubicBezTo>
                        <a:pt x="513" y="256"/>
                        <a:pt x="513" y="256"/>
                        <a:pt x="513" y="256"/>
                      </a:cubicBezTo>
                      <a:cubicBezTo>
                        <a:pt x="513" y="257"/>
                        <a:pt x="513" y="257"/>
                        <a:pt x="513" y="257"/>
                      </a:cubicBezTo>
                      <a:cubicBezTo>
                        <a:pt x="514" y="259"/>
                        <a:pt x="514" y="259"/>
                        <a:pt x="514" y="259"/>
                      </a:cubicBezTo>
                      <a:cubicBezTo>
                        <a:pt x="515" y="259"/>
                        <a:pt x="515" y="259"/>
                        <a:pt x="515" y="259"/>
                      </a:cubicBezTo>
                      <a:cubicBezTo>
                        <a:pt x="516" y="259"/>
                        <a:pt x="516" y="259"/>
                        <a:pt x="516" y="259"/>
                      </a:cubicBezTo>
                      <a:cubicBezTo>
                        <a:pt x="516" y="259"/>
                        <a:pt x="516" y="259"/>
                        <a:pt x="516" y="259"/>
                      </a:cubicBezTo>
                      <a:cubicBezTo>
                        <a:pt x="515" y="260"/>
                        <a:pt x="515" y="260"/>
                        <a:pt x="515" y="260"/>
                      </a:cubicBezTo>
                      <a:cubicBezTo>
                        <a:pt x="514" y="261"/>
                        <a:pt x="514" y="261"/>
                        <a:pt x="514" y="261"/>
                      </a:cubicBezTo>
                      <a:cubicBezTo>
                        <a:pt x="515" y="262"/>
                        <a:pt x="515" y="262"/>
                        <a:pt x="515" y="262"/>
                      </a:cubicBezTo>
                      <a:cubicBezTo>
                        <a:pt x="515" y="262"/>
                        <a:pt x="515" y="262"/>
                        <a:pt x="515" y="262"/>
                      </a:cubicBezTo>
                      <a:cubicBezTo>
                        <a:pt x="517" y="263"/>
                        <a:pt x="517" y="263"/>
                        <a:pt x="517" y="263"/>
                      </a:cubicBezTo>
                      <a:cubicBezTo>
                        <a:pt x="517" y="265"/>
                        <a:pt x="517" y="265"/>
                        <a:pt x="517" y="265"/>
                      </a:cubicBezTo>
                      <a:cubicBezTo>
                        <a:pt x="517" y="265"/>
                        <a:pt x="517" y="265"/>
                        <a:pt x="517" y="265"/>
                      </a:cubicBezTo>
                      <a:cubicBezTo>
                        <a:pt x="517" y="266"/>
                        <a:pt x="517" y="266"/>
                        <a:pt x="517" y="266"/>
                      </a:cubicBezTo>
                      <a:cubicBezTo>
                        <a:pt x="517" y="268"/>
                        <a:pt x="517" y="268"/>
                        <a:pt x="517" y="268"/>
                      </a:cubicBezTo>
                      <a:cubicBezTo>
                        <a:pt x="518" y="268"/>
                        <a:pt x="518" y="268"/>
                        <a:pt x="518" y="268"/>
                      </a:cubicBezTo>
                      <a:cubicBezTo>
                        <a:pt x="518" y="269"/>
                        <a:pt x="518" y="269"/>
                        <a:pt x="518" y="269"/>
                      </a:cubicBezTo>
                      <a:cubicBezTo>
                        <a:pt x="518" y="269"/>
                        <a:pt x="518" y="269"/>
                        <a:pt x="518" y="269"/>
                      </a:cubicBezTo>
                      <a:cubicBezTo>
                        <a:pt x="518" y="270"/>
                        <a:pt x="518" y="270"/>
                        <a:pt x="518" y="270"/>
                      </a:cubicBezTo>
                      <a:cubicBezTo>
                        <a:pt x="518" y="271"/>
                        <a:pt x="518" y="271"/>
                        <a:pt x="518" y="271"/>
                      </a:cubicBezTo>
                      <a:cubicBezTo>
                        <a:pt x="518" y="272"/>
                        <a:pt x="518" y="272"/>
                        <a:pt x="518" y="272"/>
                      </a:cubicBezTo>
                      <a:cubicBezTo>
                        <a:pt x="517" y="274"/>
                        <a:pt x="517" y="274"/>
                        <a:pt x="517" y="274"/>
                      </a:cubicBezTo>
                      <a:cubicBezTo>
                        <a:pt x="517" y="275"/>
                        <a:pt x="517" y="275"/>
                        <a:pt x="517" y="275"/>
                      </a:cubicBezTo>
                      <a:cubicBezTo>
                        <a:pt x="516" y="276"/>
                        <a:pt x="516" y="276"/>
                        <a:pt x="516" y="276"/>
                      </a:cubicBezTo>
                      <a:cubicBezTo>
                        <a:pt x="516" y="278"/>
                        <a:pt x="516" y="278"/>
                        <a:pt x="516" y="278"/>
                      </a:cubicBezTo>
                      <a:cubicBezTo>
                        <a:pt x="516" y="278"/>
                        <a:pt x="516" y="278"/>
                        <a:pt x="516" y="278"/>
                      </a:cubicBezTo>
                      <a:cubicBezTo>
                        <a:pt x="516" y="279"/>
                        <a:pt x="516" y="279"/>
                        <a:pt x="516" y="279"/>
                      </a:cubicBezTo>
                      <a:cubicBezTo>
                        <a:pt x="515" y="280"/>
                        <a:pt x="515" y="280"/>
                        <a:pt x="515" y="280"/>
                      </a:cubicBezTo>
                      <a:cubicBezTo>
                        <a:pt x="516" y="281"/>
                        <a:pt x="516" y="281"/>
                        <a:pt x="516" y="281"/>
                      </a:cubicBezTo>
                      <a:cubicBezTo>
                        <a:pt x="515" y="282"/>
                        <a:pt x="515" y="282"/>
                        <a:pt x="515" y="282"/>
                      </a:cubicBezTo>
                      <a:cubicBezTo>
                        <a:pt x="515" y="282"/>
                        <a:pt x="515" y="282"/>
                        <a:pt x="515" y="282"/>
                      </a:cubicBezTo>
                      <a:cubicBezTo>
                        <a:pt x="515" y="283"/>
                        <a:pt x="515" y="283"/>
                        <a:pt x="515" y="283"/>
                      </a:cubicBezTo>
                      <a:cubicBezTo>
                        <a:pt x="514" y="284"/>
                        <a:pt x="514" y="284"/>
                        <a:pt x="514" y="284"/>
                      </a:cubicBezTo>
                      <a:cubicBezTo>
                        <a:pt x="515" y="286"/>
                        <a:pt x="515" y="286"/>
                        <a:pt x="515" y="286"/>
                      </a:cubicBezTo>
                      <a:cubicBezTo>
                        <a:pt x="514" y="287"/>
                        <a:pt x="514" y="287"/>
                        <a:pt x="514" y="287"/>
                      </a:cubicBezTo>
                      <a:cubicBezTo>
                        <a:pt x="514" y="288"/>
                        <a:pt x="514" y="288"/>
                        <a:pt x="514" y="288"/>
                      </a:cubicBezTo>
                      <a:cubicBezTo>
                        <a:pt x="515" y="288"/>
                        <a:pt x="515" y="288"/>
                        <a:pt x="515" y="288"/>
                      </a:cubicBezTo>
                      <a:cubicBezTo>
                        <a:pt x="515" y="289"/>
                        <a:pt x="515" y="289"/>
                        <a:pt x="515" y="289"/>
                      </a:cubicBezTo>
                      <a:cubicBezTo>
                        <a:pt x="514" y="290"/>
                        <a:pt x="514" y="290"/>
                        <a:pt x="514" y="290"/>
                      </a:cubicBezTo>
                      <a:cubicBezTo>
                        <a:pt x="513" y="291"/>
                        <a:pt x="513" y="291"/>
                        <a:pt x="513" y="291"/>
                      </a:cubicBezTo>
                      <a:cubicBezTo>
                        <a:pt x="512" y="292"/>
                        <a:pt x="512" y="292"/>
                        <a:pt x="512" y="292"/>
                      </a:cubicBezTo>
                      <a:cubicBezTo>
                        <a:pt x="512" y="293"/>
                        <a:pt x="512" y="293"/>
                        <a:pt x="512" y="293"/>
                      </a:cubicBezTo>
                      <a:cubicBezTo>
                        <a:pt x="511" y="294"/>
                        <a:pt x="511" y="294"/>
                        <a:pt x="511" y="294"/>
                      </a:cubicBezTo>
                      <a:cubicBezTo>
                        <a:pt x="510" y="298"/>
                        <a:pt x="510" y="298"/>
                        <a:pt x="510" y="298"/>
                      </a:cubicBezTo>
                      <a:cubicBezTo>
                        <a:pt x="510" y="298"/>
                        <a:pt x="510" y="298"/>
                        <a:pt x="510" y="298"/>
                      </a:cubicBezTo>
                      <a:cubicBezTo>
                        <a:pt x="510" y="299"/>
                        <a:pt x="510" y="299"/>
                        <a:pt x="510" y="299"/>
                      </a:cubicBezTo>
                      <a:cubicBezTo>
                        <a:pt x="510" y="299"/>
                        <a:pt x="510" y="299"/>
                        <a:pt x="510" y="299"/>
                      </a:cubicBezTo>
                      <a:cubicBezTo>
                        <a:pt x="510" y="300"/>
                        <a:pt x="510" y="300"/>
                        <a:pt x="510" y="300"/>
                      </a:cubicBezTo>
                      <a:cubicBezTo>
                        <a:pt x="509" y="301"/>
                        <a:pt x="509" y="301"/>
                        <a:pt x="509" y="301"/>
                      </a:cubicBezTo>
                      <a:cubicBezTo>
                        <a:pt x="509" y="301"/>
                        <a:pt x="509" y="301"/>
                        <a:pt x="509" y="301"/>
                      </a:cubicBezTo>
                      <a:cubicBezTo>
                        <a:pt x="508" y="302"/>
                        <a:pt x="508" y="302"/>
                        <a:pt x="508" y="302"/>
                      </a:cubicBezTo>
                      <a:cubicBezTo>
                        <a:pt x="508" y="303"/>
                        <a:pt x="508" y="303"/>
                        <a:pt x="508" y="303"/>
                      </a:cubicBezTo>
                      <a:cubicBezTo>
                        <a:pt x="507" y="303"/>
                        <a:pt x="507" y="303"/>
                        <a:pt x="507" y="303"/>
                      </a:cubicBezTo>
                      <a:cubicBezTo>
                        <a:pt x="508" y="304"/>
                        <a:pt x="508" y="304"/>
                        <a:pt x="508" y="304"/>
                      </a:cubicBezTo>
                      <a:cubicBezTo>
                        <a:pt x="507" y="306"/>
                        <a:pt x="507" y="306"/>
                        <a:pt x="507" y="306"/>
                      </a:cubicBezTo>
                      <a:cubicBezTo>
                        <a:pt x="507" y="305"/>
                        <a:pt x="507" y="305"/>
                        <a:pt x="507" y="305"/>
                      </a:cubicBezTo>
                      <a:cubicBezTo>
                        <a:pt x="506" y="305"/>
                        <a:pt x="506" y="305"/>
                        <a:pt x="506" y="305"/>
                      </a:cubicBezTo>
                      <a:cubicBezTo>
                        <a:pt x="506" y="306"/>
                        <a:pt x="506" y="306"/>
                        <a:pt x="506" y="306"/>
                      </a:cubicBezTo>
                      <a:cubicBezTo>
                        <a:pt x="506" y="307"/>
                        <a:pt x="506" y="307"/>
                        <a:pt x="506" y="307"/>
                      </a:cubicBezTo>
                      <a:cubicBezTo>
                        <a:pt x="505" y="308"/>
                        <a:pt x="505" y="308"/>
                        <a:pt x="505" y="308"/>
                      </a:cubicBezTo>
                      <a:cubicBezTo>
                        <a:pt x="505" y="308"/>
                        <a:pt x="505" y="308"/>
                        <a:pt x="505" y="308"/>
                      </a:cubicBezTo>
                      <a:cubicBezTo>
                        <a:pt x="504" y="310"/>
                        <a:pt x="504" y="310"/>
                        <a:pt x="504" y="310"/>
                      </a:cubicBezTo>
                      <a:cubicBezTo>
                        <a:pt x="503" y="311"/>
                        <a:pt x="503" y="311"/>
                        <a:pt x="503" y="311"/>
                      </a:cubicBezTo>
                      <a:cubicBezTo>
                        <a:pt x="502" y="311"/>
                        <a:pt x="502" y="311"/>
                        <a:pt x="502" y="311"/>
                      </a:cubicBezTo>
                      <a:cubicBezTo>
                        <a:pt x="502" y="311"/>
                        <a:pt x="502" y="311"/>
                        <a:pt x="502" y="311"/>
                      </a:cubicBezTo>
                      <a:cubicBezTo>
                        <a:pt x="501" y="312"/>
                        <a:pt x="501" y="312"/>
                        <a:pt x="501" y="312"/>
                      </a:cubicBezTo>
                      <a:cubicBezTo>
                        <a:pt x="500" y="313"/>
                        <a:pt x="500" y="313"/>
                        <a:pt x="500" y="313"/>
                      </a:cubicBezTo>
                      <a:cubicBezTo>
                        <a:pt x="499" y="312"/>
                        <a:pt x="499" y="312"/>
                        <a:pt x="499" y="312"/>
                      </a:cubicBezTo>
                      <a:cubicBezTo>
                        <a:pt x="499" y="313"/>
                        <a:pt x="499" y="313"/>
                        <a:pt x="499" y="313"/>
                      </a:cubicBezTo>
                      <a:cubicBezTo>
                        <a:pt x="497" y="312"/>
                        <a:pt x="497" y="312"/>
                        <a:pt x="497" y="312"/>
                      </a:cubicBezTo>
                      <a:cubicBezTo>
                        <a:pt x="496" y="311"/>
                        <a:pt x="496" y="311"/>
                        <a:pt x="496" y="311"/>
                      </a:cubicBezTo>
                      <a:cubicBezTo>
                        <a:pt x="496" y="310"/>
                        <a:pt x="496" y="310"/>
                        <a:pt x="496" y="310"/>
                      </a:cubicBezTo>
                      <a:cubicBezTo>
                        <a:pt x="495" y="309"/>
                        <a:pt x="495" y="309"/>
                        <a:pt x="495" y="309"/>
                      </a:cubicBezTo>
                      <a:cubicBezTo>
                        <a:pt x="494" y="310"/>
                        <a:pt x="494" y="310"/>
                        <a:pt x="494" y="310"/>
                      </a:cubicBezTo>
                      <a:cubicBezTo>
                        <a:pt x="493" y="309"/>
                        <a:pt x="493" y="309"/>
                        <a:pt x="493" y="309"/>
                      </a:cubicBezTo>
                      <a:cubicBezTo>
                        <a:pt x="493" y="310"/>
                        <a:pt x="493" y="310"/>
                        <a:pt x="493" y="310"/>
                      </a:cubicBezTo>
                      <a:cubicBezTo>
                        <a:pt x="493" y="311"/>
                        <a:pt x="493" y="311"/>
                        <a:pt x="493" y="311"/>
                      </a:cubicBezTo>
                      <a:cubicBezTo>
                        <a:pt x="492" y="311"/>
                        <a:pt x="492" y="311"/>
                        <a:pt x="492" y="311"/>
                      </a:cubicBezTo>
                      <a:cubicBezTo>
                        <a:pt x="492" y="313"/>
                        <a:pt x="492" y="313"/>
                        <a:pt x="492" y="313"/>
                      </a:cubicBezTo>
                      <a:cubicBezTo>
                        <a:pt x="491" y="313"/>
                        <a:pt x="491" y="313"/>
                        <a:pt x="491" y="313"/>
                      </a:cubicBezTo>
                      <a:cubicBezTo>
                        <a:pt x="491" y="315"/>
                        <a:pt x="491" y="315"/>
                        <a:pt x="491" y="315"/>
                      </a:cubicBezTo>
                      <a:cubicBezTo>
                        <a:pt x="490" y="314"/>
                        <a:pt x="490" y="314"/>
                        <a:pt x="490" y="314"/>
                      </a:cubicBezTo>
                      <a:cubicBezTo>
                        <a:pt x="489" y="314"/>
                        <a:pt x="489" y="314"/>
                        <a:pt x="489" y="314"/>
                      </a:cubicBezTo>
                      <a:cubicBezTo>
                        <a:pt x="489" y="316"/>
                        <a:pt x="489" y="316"/>
                        <a:pt x="489" y="316"/>
                      </a:cubicBezTo>
                      <a:cubicBezTo>
                        <a:pt x="488" y="316"/>
                        <a:pt x="488" y="316"/>
                        <a:pt x="488" y="316"/>
                      </a:cubicBezTo>
                      <a:close/>
                      <a:moveTo>
                        <a:pt x="158" y="319"/>
                      </a:moveTo>
                      <a:cubicBezTo>
                        <a:pt x="157" y="318"/>
                        <a:pt x="157" y="318"/>
                        <a:pt x="157" y="318"/>
                      </a:cubicBezTo>
                      <a:cubicBezTo>
                        <a:pt x="152" y="319"/>
                        <a:pt x="152" y="319"/>
                        <a:pt x="152" y="319"/>
                      </a:cubicBezTo>
                      <a:cubicBezTo>
                        <a:pt x="158" y="319"/>
                        <a:pt x="158" y="319"/>
                        <a:pt x="158" y="319"/>
                      </a:cubicBezTo>
                      <a:close/>
                      <a:moveTo>
                        <a:pt x="559" y="300"/>
                      </a:moveTo>
                      <a:cubicBezTo>
                        <a:pt x="559" y="301"/>
                        <a:pt x="559" y="301"/>
                        <a:pt x="559" y="301"/>
                      </a:cubicBezTo>
                      <a:cubicBezTo>
                        <a:pt x="560" y="300"/>
                        <a:pt x="560" y="300"/>
                        <a:pt x="560" y="300"/>
                      </a:cubicBezTo>
                      <a:cubicBezTo>
                        <a:pt x="560" y="299"/>
                        <a:pt x="560" y="299"/>
                        <a:pt x="560" y="299"/>
                      </a:cubicBezTo>
                      <a:cubicBezTo>
                        <a:pt x="559" y="300"/>
                        <a:pt x="559" y="300"/>
                        <a:pt x="559" y="300"/>
                      </a:cubicBezTo>
                      <a:cubicBezTo>
                        <a:pt x="559" y="300"/>
                        <a:pt x="559" y="300"/>
                        <a:pt x="559" y="300"/>
                      </a:cubicBezTo>
                      <a:close/>
                      <a:moveTo>
                        <a:pt x="31" y="45"/>
                      </a:moveTo>
                      <a:cubicBezTo>
                        <a:pt x="31" y="44"/>
                        <a:pt x="31" y="44"/>
                        <a:pt x="31" y="44"/>
                      </a:cubicBezTo>
                      <a:cubicBezTo>
                        <a:pt x="31" y="42"/>
                        <a:pt x="31" y="42"/>
                        <a:pt x="31" y="42"/>
                      </a:cubicBezTo>
                      <a:cubicBezTo>
                        <a:pt x="30" y="42"/>
                        <a:pt x="30" y="42"/>
                        <a:pt x="30" y="42"/>
                      </a:cubicBezTo>
                      <a:cubicBezTo>
                        <a:pt x="30" y="42"/>
                        <a:pt x="30" y="42"/>
                        <a:pt x="30" y="42"/>
                      </a:cubicBezTo>
                      <a:cubicBezTo>
                        <a:pt x="29" y="41"/>
                        <a:pt x="29" y="41"/>
                        <a:pt x="29" y="41"/>
                      </a:cubicBezTo>
                      <a:cubicBezTo>
                        <a:pt x="30" y="40"/>
                        <a:pt x="30" y="40"/>
                        <a:pt x="30" y="40"/>
                      </a:cubicBezTo>
                      <a:cubicBezTo>
                        <a:pt x="31" y="39"/>
                        <a:pt x="31" y="39"/>
                        <a:pt x="31" y="39"/>
                      </a:cubicBezTo>
                      <a:cubicBezTo>
                        <a:pt x="32" y="39"/>
                        <a:pt x="32" y="39"/>
                        <a:pt x="32" y="39"/>
                      </a:cubicBezTo>
                      <a:cubicBezTo>
                        <a:pt x="33" y="38"/>
                        <a:pt x="33" y="38"/>
                        <a:pt x="33" y="38"/>
                      </a:cubicBezTo>
                      <a:cubicBezTo>
                        <a:pt x="33" y="39"/>
                        <a:pt x="33" y="39"/>
                        <a:pt x="33" y="39"/>
                      </a:cubicBezTo>
                      <a:cubicBezTo>
                        <a:pt x="34" y="40"/>
                        <a:pt x="34" y="40"/>
                        <a:pt x="34" y="40"/>
                      </a:cubicBezTo>
                      <a:cubicBezTo>
                        <a:pt x="35" y="40"/>
                        <a:pt x="35" y="40"/>
                        <a:pt x="35" y="40"/>
                      </a:cubicBezTo>
                      <a:cubicBezTo>
                        <a:pt x="36" y="40"/>
                        <a:pt x="36" y="40"/>
                        <a:pt x="36" y="40"/>
                      </a:cubicBezTo>
                      <a:cubicBezTo>
                        <a:pt x="36" y="40"/>
                        <a:pt x="36" y="40"/>
                        <a:pt x="36" y="40"/>
                      </a:cubicBezTo>
                      <a:cubicBezTo>
                        <a:pt x="37" y="39"/>
                        <a:pt x="37" y="39"/>
                        <a:pt x="37" y="39"/>
                      </a:cubicBezTo>
                      <a:cubicBezTo>
                        <a:pt x="36" y="39"/>
                        <a:pt x="36" y="39"/>
                        <a:pt x="36" y="39"/>
                      </a:cubicBezTo>
                      <a:cubicBezTo>
                        <a:pt x="35" y="39"/>
                        <a:pt x="35" y="39"/>
                        <a:pt x="35" y="39"/>
                      </a:cubicBezTo>
                      <a:cubicBezTo>
                        <a:pt x="33" y="37"/>
                        <a:pt x="33" y="37"/>
                        <a:pt x="33" y="37"/>
                      </a:cubicBezTo>
                      <a:cubicBezTo>
                        <a:pt x="31" y="37"/>
                        <a:pt x="31" y="37"/>
                        <a:pt x="31" y="37"/>
                      </a:cubicBezTo>
                      <a:cubicBezTo>
                        <a:pt x="29" y="37"/>
                        <a:pt x="29" y="37"/>
                        <a:pt x="29" y="37"/>
                      </a:cubicBezTo>
                      <a:cubicBezTo>
                        <a:pt x="27" y="38"/>
                        <a:pt x="27" y="38"/>
                        <a:pt x="27" y="38"/>
                      </a:cubicBezTo>
                      <a:cubicBezTo>
                        <a:pt x="27" y="40"/>
                        <a:pt x="27" y="40"/>
                        <a:pt x="27" y="40"/>
                      </a:cubicBezTo>
                      <a:cubicBezTo>
                        <a:pt x="26" y="40"/>
                        <a:pt x="26" y="40"/>
                        <a:pt x="26" y="40"/>
                      </a:cubicBezTo>
                      <a:cubicBezTo>
                        <a:pt x="24" y="41"/>
                        <a:pt x="24" y="41"/>
                        <a:pt x="24" y="41"/>
                      </a:cubicBezTo>
                      <a:cubicBezTo>
                        <a:pt x="25" y="43"/>
                        <a:pt x="25" y="43"/>
                        <a:pt x="25" y="43"/>
                      </a:cubicBezTo>
                      <a:cubicBezTo>
                        <a:pt x="25" y="44"/>
                        <a:pt x="25" y="44"/>
                        <a:pt x="25" y="44"/>
                      </a:cubicBezTo>
                      <a:cubicBezTo>
                        <a:pt x="26" y="43"/>
                        <a:pt x="26" y="43"/>
                        <a:pt x="26" y="43"/>
                      </a:cubicBezTo>
                      <a:cubicBezTo>
                        <a:pt x="27" y="44"/>
                        <a:pt x="27" y="44"/>
                        <a:pt x="27" y="44"/>
                      </a:cubicBezTo>
                      <a:cubicBezTo>
                        <a:pt x="28" y="44"/>
                        <a:pt x="28" y="44"/>
                        <a:pt x="28" y="44"/>
                      </a:cubicBezTo>
                      <a:cubicBezTo>
                        <a:pt x="28" y="44"/>
                        <a:pt x="28" y="44"/>
                        <a:pt x="28" y="44"/>
                      </a:cubicBezTo>
                      <a:cubicBezTo>
                        <a:pt x="29" y="44"/>
                        <a:pt x="29" y="44"/>
                        <a:pt x="29" y="44"/>
                      </a:cubicBezTo>
                      <a:cubicBezTo>
                        <a:pt x="29" y="43"/>
                        <a:pt x="29" y="43"/>
                        <a:pt x="29" y="43"/>
                      </a:cubicBezTo>
                      <a:cubicBezTo>
                        <a:pt x="29" y="43"/>
                        <a:pt x="29" y="43"/>
                        <a:pt x="29" y="43"/>
                      </a:cubicBezTo>
                      <a:cubicBezTo>
                        <a:pt x="30" y="43"/>
                        <a:pt x="30" y="43"/>
                        <a:pt x="30" y="43"/>
                      </a:cubicBezTo>
                      <a:cubicBezTo>
                        <a:pt x="30" y="45"/>
                        <a:pt x="30" y="45"/>
                        <a:pt x="30" y="45"/>
                      </a:cubicBezTo>
                      <a:cubicBezTo>
                        <a:pt x="31" y="45"/>
                        <a:pt x="31" y="45"/>
                        <a:pt x="31" y="45"/>
                      </a:cubicBezTo>
                      <a:cubicBezTo>
                        <a:pt x="31" y="45"/>
                        <a:pt x="31" y="45"/>
                        <a:pt x="31" y="45"/>
                      </a:cubicBezTo>
                      <a:close/>
                      <a:moveTo>
                        <a:pt x="39" y="32"/>
                      </a:moveTo>
                      <a:cubicBezTo>
                        <a:pt x="39" y="31"/>
                        <a:pt x="39" y="31"/>
                        <a:pt x="39" y="31"/>
                      </a:cubicBezTo>
                      <a:cubicBezTo>
                        <a:pt x="40" y="30"/>
                        <a:pt x="40" y="30"/>
                        <a:pt x="40" y="30"/>
                      </a:cubicBezTo>
                      <a:cubicBezTo>
                        <a:pt x="40" y="30"/>
                        <a:pt x="40" y="30"/>
                        <a:pt x="40" y="30"/>
                      </a:cubicBezTo>
                      <a:cubicBezTo>
                        <a:pt x="40" y="31"/>
                        <a:pt x="40" y="31"/>
                        <a:pt x="40" y="31"/>
                      </a:cubicBezTo>
                      <a:cubicBezTo>
                        <a:pt x="41" y="31"/>
                        <a:pt x="41" y="31"/>
                        <a:pt x="41" y="31"/>
                      </a:cubicBezTo>
                      <a:cubicBezTo>
                        <a:pt x="40" y="32"/>
                        <a:pt x="40" y="32"/>
                        <a:pt x="40" y="32"/>
                      </a:cubicBezTo>
                      <a:cubicBezTo>
                        <a:pt x="39" y="32"/>
                        <a:pt x="39" y="32"/>
                        <a:pt x="39" y="32"/>
                      </a:cubicBezTo>
                      <a:cubicBezTo>
                        <a:pt x="39" y="32"/>
                        <a:pt x="39" y="32"/>
                        <a:pt x="39" y="32"/>
                      </a:cubicBezTo>
                      <a:close/>
                      <a:moveTo>
                        <a:pt x="37" y="49"/>
                      </a:moveTo>
                      <a:cubicBezTo>
                        <a:pt x="37" y="49"/>
                        <a:pt x="37" y="49"/>
                        <a:pt x="37" y="49"/>
                      </a:cubicBezTo>
                      <a:cubicBezTo>
                        <a:pt x="38" y="49"/>
                        <a:pt x="38" y="49"/>
                        <a:pt x="38" y="49"/>
                      </a:cubicBezTo>
                      <a:cubicBezTo>
                        <a:pt x="38" y="48"/>
                        <a:pt x="38" y="48"/>
                        <a:pt x="38" y="48"/>
                      </a:cubicBezTo>
                      <a:cubicBezTo>
                        <a:pt x="38" y="47"/>
                        <a:pt x="38" y="47"/>
                        <a:pt x="38" y="47"/>
                      </a:cubicBezTo>
                      <a:cubicBezTo>
                        <a:pt x="38" y="47"/>
                        <a:pt x="38" y="47"/>
                        <a:pt x="38" y="47"/>
                      </a:cubicBezTo>
                      <a:cubicBezTo>
                        <a:pt x="39" y="47"/>
                        <a:pt x="39" y="47"/>
                        <a:pt x="39" y="47"/>
                      </a:cubicBezTo>
                      <a:cubicBezTo>
                        <a:pt x="39" y="47"/>
                        <a:pt x="39" y="47"/>
                        <a:pt x="39" y="47"/>
                      </a:cubicBezTo>
                      <a:cubicBezTo>
                        <a:pt x="40" y="46"/>
                        <a:pt x="40" y="46"/>
                        <a:pt x="40" y="46"/>
                      </a:cubicBezTo>
                      <a:cubicBezTo>
                        <a:pt x="40" y="45"/>
                        <a:pt x="40" y="45"/>
                        <a:pt x="40" y="45"/>
                      </a:cubicBezTo>
                      <a:cubicBezTo>
                        <a:pt x="39" y="44"/>
                        <a:pt x="39" y="44"/>
                        <a:pt x="39" y="44"/>
                      </a:cubicBezTo>
                      <a:cubicBezTo>
                        <a:pt x="39" y="44"/>
                        <a:pt x="39" y="44"/>
                        <a:pt x="39" y="44"/>
                      </a:cubicBezTo>
                      <a:cubicBezTo>
                        <a:pt x="40" y="43"/>
                        <a:pt x="40" y="43"/>
                        <a:pt x="40" y="43"/>
                      </a:cubicBezTo>
                      <a:cubicBezTo>
                        <a:pt x="40" y="43"/>
                        <a:pt x="40" y="43"/>
                        <a:pt x="40" y="43"/>
                      </a:cubicBezTo>
                      <a:cubicBezTo>
                        <a:pt x="42" y="43"/>
                        <a:pt x="42" y="43"/>
                        <a:pt x="42" y="43"/>
                      </a:cubicBezTo>
                      <a:cubicBezTo>
                        <a:pt x="42" y="43"/>
                        <a:pt x="42" y="43"/>
                        <a:pt x="42" y="43"/>
                      </a:cubicBezTo>
                      <a:cubicBezTo>
                        <a:pt x="42" y="42"/>
                        <a:pt x="42" y="42"/>
                        <a:pt x="42" y="42"/>
                      </a:cubicBezTo>
                      <a:cubicBezTo>
                        <a:pt x="42" y="42"/>
                        <a:pt x="42" y="42"/>
                        <a:pt x="42" y="42"/>
                      </a:cubicBezTo>
                      <a:cubicBezTo>
                        <a:pt x="42" y="42"/>
                        <a:pt x="42" y="42"/>
                        <a:pt x="42" y="42"/>
                      </a:cubicBezTo>
                      <a:cubicBezTo>
                        <a:pt x="41" y="42"/>
                        <a:pt x="41" y="42"/>
                        <a:pt x="41" y="42"/>
                      </a:cubicBezTo>
                      <a:cubicBezTo>
                        <a:pt x="41" y="41"/>
                        <a:pt x="41" y="41"/>
                        <a:pt x="41" y="41"/>
                      </a:cubicBezTo>
                      <a:cubicBezTo>
                        <a:pt x="41" y="40"/>
                        <a:pt x="41" y="40"/>
                        <a:pt x="41" y="40"/>
                      </a:cubicBezTo>
                      <a:cubicBezTo>
                        <a:pt x="41" y="40"/>
                        <a:pt x="41" y="40"/>
                        <a:pt x="41" y="40"/>
                      </a:cubicBezTo>
                      <a:cubicBezTo>
                        <a:pt x="42" y="40"/>
                        <a:pt x="42" y="40"/>
                        <a:pt x="42" y="40"/>
                      </a:cubicBezTo>
                      <a:cubicBezTo>
                        <a:pt x="42" y="40"/>
                        <a:pt x="42" y="40"/>
                        <a:pt x="42" y="40"/>
                      </a:cubicBezTo>
                      <a:cubicBezTo>
                        <a:pt x="42" y="41"/>
                        <a:pt x="42" y="41"/>
                        <a:pt x="42" y="41"/>
                      </a:cubicBezTo>
                      <a:cubicBezTo>
                        <a:pt x="43" y="40"/>
                        <a:pt x="43" y="40"/>
                        <a:pt x="43" y="40"/>
                      </a:cubicBezTo>
                      <a:cubicBezTo>
                        <a:pt x="44" y="40"/>
                        <a:pt x="44" y="40"/>
                        <a:pt x="44" y="40"/>
                      </a:cubicBezTo>
                      <a:cubicBezTo>
                        <a:pt x="45" y="39"/>
                        <a:pt x="45" y="39"/>
                        <a:pt x="45" y="39"/>
                      </a:cubicBezTo>
                      <a:cubicBezTo>
                        <a:pt x="45" y="39"/>
                        <a:pt x="45" y="39"/>
                        <a:pt x="45" y="39"/>
                      </a:cubicBezTo>
                      <a:cubicBezTo>
                        <a:pt x="44" y="38"/>
                        <a:pt x="44" y="38"/>
                        <a:pt x="44" y="38"/>
                      </a:cubicBezTo>
                      <a:cubicBezTo>
                        <a:pt x="44" y="38"/>
                        <a:pt x="44" y="38"/>
                        <a:pt x="44" y="38"/>
                      </a:cubicBezTo>
                      <a:cubicBezTo>
                        <a:pt x="43" y="37"/>
                        <a:pt x="43" y="37"/>
                        <a:pt x="43" y="37"/>
                      </a:cubicBezTo>
                      <a:cubicBezTo>
                        <a:pt x="43" y="36"/>
                        <a:pt x="43" y="36"/>
                        <a:pt x="43" y="36"/>
                      </a:cubicBezTo>
                      <a:cubicBezTo>
                        <a:pt x="43" y="36"/>
                        <a:pt x="43" y="36"/>
                        <a:pt x="43" y="36"/>
                      </a:cubicBezTo>
                      <a:cubicBezTo>
                        <a:pt x="41" y="37"/>
                        <a:pt x="41" y="37"/>
                        <a:pt x="41" y="37"/>
                      </a:cubicBezTo>
                      <a:cubicBezTo>
                        <a:pt x="41" y="38"/>
                        <a:pt x="41" y="38"/>
                        <a:pt x="41" y="38"/>
                      </a:cubicBezTo>
                      <a:cubicBezTo>
                        <a:pt x="40" y="38"/>
                        <a:pt x="40" y="38"/>
                        <a:pt x="40" y="38"/>
                      </a:cubicBezTo>
                      <a:cubicBezTo>
                        <a:pt x="40" y="37"/>
                        <a:pt x="40" y="37"/>
                        <a:pt x="40" y="37"/>
                      </a:cubicBezTo>
                      <a:cubicBezTo>
                        <a:pt x="41" y="37"/>
                        <a:pt x="41" y="37"/>
                        <a:pt x="41" y="37"/>
                      </a:cubicBezTo>
                      <a:cubicBezTo>
                        <a:pt x="41" y="36"/>
                        <a:pt x="41" y="36"/>
                        <a:pt x="41" y="36"/>
                      </a:cubicBezTo>
                      <a:cubicBezTo>
                        <a:pt x="42" y="35"/>
                        <a:pt x="42" y="35"/>
                        <a:pt x="42" y="35"/>
                      </a:cubicBezTo>
                      <a:cubicBezTo>
                        <a:pt x="42" y="34"/>
                        <a:pt x="42" y="34"/>
                        <a:pt x="42" y="34"/>
                      </a:cubicBezTo>
                      <a:cubicBezTo>
                        <a:pt x="42" y="34"/>
                        <a:pt x="42" y="34"/>
                        <a:pt x="42" y="34"/>
                      </a:cubicBezTo>
                      <a:cubicBezTo>
                        <a:pt x="41" y="35"/>
                        <a:pt x="41" y="35"/>
                        <a:pt x="41" y="35"/>
                      </a:cubicBezTo>
                      <a:cubicBezTo>
                        <a:pt x="40" y="36"/>
                        <a:pt x="40" y="36"/>
                        <a:pt x="40" y="36"/>
                      </a:cubicBezTo>
                      <a:cubicBezTo>
                        <a:pt x="40" y="36"/>
                        <a:pt x="40" y="36"/>
                        <a:pt x="40" y="36"/>
                      </a:cubicBezTo>
                      <a:cubicBezTo>
                        <a:pt x="40" y="36"/>
                        <a:pt x="40" y="36"/>
                        <a:pt x="40" y="36"/>
                      </a:cubicBezTo>
                      <a:cubicBezTo>
                        <a:pt x="40" y="35"/>
                        <a:pt x="40" y="35"/>
                        <a:pt x="40" y="35"/>
                      </a:cubicBezTo>
                      <a:cubicBezTo>
                        <a:pt x="39" y="34"/>
                        <a:pt x="39" y="34"/>
                        <a:pt x="39" y="34"/>
                      </a:cubicBezTo>
                      <a:cubicBezTo>
                        <a:pt x="39" y="35"/>
                        <a:pt x="39" y="35"/>
                        <a:pt x="39" y="35"/>
                      </a:cubicBezTo>
                      <a:cubicBezTo>
                        <a:pt x="39" y="36"/>
                        <a:pt x="39" y="36"/>
                        <a:pt x="39" y="36"/>
                      </a:cubicBezTo>
                      <a:cubicBezTo>
                        <a:pt x="38" y="36"/>
                        <a:pt x="38" y="36"/>
                        <a:pt x="38" y="36"/>
                      </a:cubicBezTo>
                      <a:cubicBezTo>
                        <a:pt x="38" y="37"/>
                        <a:pt x="38" y="37"/>
                        <a:pt x="38" y="37"/>
                      </a:cubicBezTo>
                      <a:cubicBezTo>
                        <a:pt x="38" y="37"/>
                        <a:pt x="38" y="37"/>
                        <a:pt x="38" y="37"/>
                      </a:cubicBezTo>
                      <a:cubicBezTo>
                        <a:pt x="39" y="37"/>
                        <a:pt x="39" y="37"/>
                        <a:pt x="39" y="37"/>
                      </a:cubicBezTo>
                      <a:cubicBezTo>
                        <a:pt x="39" y="37"/>
                        <a:pt x="39" y="37"/>
                        <a:pt x="39" y="37"/>
                      </a:cubicBezTo>
                      <a:cubicBezTo>
                        <a:pt x="39" y="38"/>
                        <a:pt x="39" y="38"/>
                        <a:pt x="39" y="38"/>
                      </a:cubicBezTo>
                      <a:cubicBezTo>
                        <a:pt x="39" y="38"/>
                        <a:pt x="39" y="38"/>
                        <a:pt x="39" y="38"/>
                      </a:cubicBezTo>
                      <a:cubicBezTo>
                        <a:pt x="38" y="38"/>
                        <a:pt x="38" y="38"/>
                        <a:pt x="38" y="38"/>
                      </a:cubicBezTo>
                      <a:cubicBezTo>
                        <a:pt x="38" y="39"/>
                        <a:pt x="38" y="39"/>
                        <a:pt x="38" y="39"/>
                      </a:cubicBezTo>
                      <a:cubicBezTo>
                        <a:pt x="38" y="40"/>
                        <a:pt x="38" y="40"/>
                        <a:pt x="38" y="40"/>
                      </a:cubicBezTo>
                      <a:cubicBezTo>
                        <a:pt x="37" y="40"/>
                        <a:pt x="37" y="40"/>
                        <a:pt x="37" y="40"/>
                      </a:cubicBezTo>
                      <a:cubicBezTo>
                        <a:pt x="36" y="41"/>
                        <a:pt x="36" y="41"/>
                        <a:pt x="36" y="41"/>
                      </a:cubicBezTo>
                      <a:cubicBezTo>
                        <a:pt x="36" y="41"/>
                        <a:pt x="36" y="41"/>
                        <a:pt x="36" y="41"/>
                      </a:cubicBezTo>
                      <a:cubicBezTo>
                        <a:pt x="35" y="41"/>
                        <a:pt x="35" y="41"/>
                        <a:pt x="35" y="41"/>
                      </a:cubicBezTo>
                      <a:cubicBezTo>
                        <a:pt x="34" y="41"/>
                        <a:pt x="34" y="41"/>
                        <a:pt x="34" y="41"/>
                      </a:cubicBezTo>
                      <a:cubicBezTo>
                        <a:pt x="33" y="41"/>
                        <a:pt x="33" y="41"/>
                        <a:pt x="33" y="41"/>
                      </a:cubicBezTo>
                      <a:cubicBezTo>
                        <a:pt x="33" y="40"/>
                        <a:pt x="33" y="40"/>
                        <a:pt x="33" y="40"/>
                      </a:cubicBezTo>
                      <a:cubicBezTo>
                        <a:pt x="32" y="41"/>
                        <a:pt x="32" y="41"/>
                        <a:pt x="32" y="41"/>
                      </a:cubicBezTo>
                      <a:cubicBezTo>
                        <a:pt x="32" y="41"/>
                        <a:pt x="32" y="41"/>
                        <a:pt x="32" y="41"/>
                      </a:cubicBezTo>
                      <a:cubicBezTo>
                        <a:pt x="32" y="42"/>
                        <a:pt x="32" y="42"/>
                        <a:pt x="32" y="42"/>
                      </a:cubicBezTo>
                      <a:cubicBezTo>
                        <a:pt x="32" y="42"/>
                        <a:pt x="32" y="42"/>
                        <a:pt x="32" y="42"/>
                      </a:cubicBezTo>
                      <a:cubicBezTo>
                        <a:pt x="33" y="42"/>
                        <a:pt x="33" y="42"/>
                        <a:pt x="33" y="42"/>
                      </a:cubicBezTo>
                      <a:cubicBezTo>
                        <a:pt x="33" y="42"/>
                        <a:pt x="33" y="42"/>
                        <a:pt x="33" y="42"/>
                      </a:cubicBezTo>
                      <a:cubicBezTo>
                        <a:pt x="34" y="42"/>
                        <a:pt x="34" y="42"/>
                        <a:pt x="34" y="42"/>
                      </a:cubicBezTo>
                      <a:cubicBezTo>
                        <a:pt x="34" y="43"/>
                        <a:pt x="34" y="43"/>
                        <a:pt x="34" y="43"/>
                      </a:cubicBezTo>
                      <a:cubicBezTo>
                        <a:pt x="35" y="44"/>
                        <a:pt x="35" y="44"/>
                        <a:pt x="35" y="44"/>
                      </a:cubicBezTo>
                      <a:cubicBezTo>
                        <a:pt x="35" y="44"/>
                        <a:pt x="35" y="44"/>
                        <a:pt x="35" y="44"/>
                      </a:cubicBezTo>
                      <a:cubicBezTo>
                        <a:pt x="35" y="44"/>
                        <a:pt x="35" y="44"/>
                        <a:pt x="35" y="44"/>
                      </a:cubicBezTo>
                      <a:cubicBezTo>
                        <a:pt x="34" y="44"/>
                        <a:pt x="34" y="44"/>
                        <a:pt x="34" y="44"/>
                      </a:cubicBezTo>
                      <a:cubicBezTo>
                        <a:pt x="33" y="45"/>
                        <a:pt x="33" y="45"/>
                        <a:pt x="33" y="45"/>
                      </a:cubicBezTo>
                      <a:cubicBezTo>
                        <a:pt x="33" y="47"/>
                        <a:pt x="33" y="47"/>
                        <a:pt x="33" y="47"/>
                      </a:cubicBezTo>
                      <a:cubicBezTo>
                        <a:pt x="34" y="47"/>
                        <a:pt x="34" y="47"/>
                        <a:pt x="34" y="47"/>
                      </a:cubicBezTo>
                      <a:cubicBezTo>
                        <a:pt x="33" y="48"/>
                        <a:pt x="33" y="48"/>
                        <a:pt x="33" y="48"/>
                      </a:cubicBezTo>
                      <a:cubicBezTo>
                        <a:pt x="34" y="48"/>
                        <a:pt x="34" y="48"/>
                        <a:pt x="34" y="48"/>
                      </a:cubicBezTo>
                      <a:cubicBezTo>
                        <a:pt x="34" y="48"/>
                        <a:pt x="34" y="48"/>
                        <a:pt x="34" y="48"/>
                      </a:cubicBezTo>
                      <a:cubicBezTo>
                        <a:pt x="35" y="48"/>
                        <a:pt x="35" y="48"/>
                        <a:pt x="35" y="48"/>
                      </a:cubicBezTo>
                      <a:cubicBezTo>
                        <a:pt x="35" y="48"/>
                        <a:pt x="35" y="48"/>
                        <a:pt x="35" y="48"/>
                      </a:cubicBezTo>
                      <a:cubicBezTo>
                        <a:pt x="36" y="47"/>
                        <a:pt x="36" y="47"/>
                        <a:pt x="36" y="47"/>
                      </a:cubicBezTo>
                      <a:cubicBezTo>
                        <a:pt x="36" y="47"/>
                        <a:pt x="36" y="47"/>
                        <a:pt x="36" y="47"/>
                      </a:cubicBezTo>
                      <a:cubicBezTo>
                        <a:pt x="37" y="47"/>
                        <a:pt x="37" y="47"/>
                        <a:pt x="37" y="47"/>
                      </a:cubicBezTo>
                      <a:cubicBezTo>
                        <a:pt x="37" y="49"/>
                        <a:pt x="37" y="49"/>
                        <a:pt x="37" y="49"/>
                      </a:cubicBezTo>
                      <a:close/>
                      <a:moveTo>
                        <a:pt x="43" y="47"/>
                      </a:moveTo>
                      <a:cubicBezTo>
                        <a:pt x="43" y="47"/>
                        <a:pt x="43" y="47"/>
                        <a:pt x="43" y="47"/>
                      </a:cubicBezTo>
                      <a:cubicBezTo>
                        <a:pt x="44" y="46"/>
                        <a:pt x="44" y="46"/>
                        <a:pt x="44" y="46"/>
                      </a:cubicBezTo>
                      <a:cubicBezTo>
                        <a:pt x="44" y="45"/>
                        <a:pt x="44" y="45"/>
                        <a:pt x="44" y="45"/>
                      </a:cubicBezTo>
                      <a:cubicBezTo>
                        <a:pt x="43" y="45"/>
                        <a:pt x="43" y="45"/>
                        <a:pt x="43" y="45"/>
                      </a:cubicBezTo>
                      <a:cubicBezTo>
                        <a:pt x="42" y="44"/>
                        <a:pt x="42" y="44"/>
                        <a:pt x="42" y="44"/>
                      </a:cubicBezTo>
                      <a:cubicBezTo>
                        <a:pt x="42" y="46"/>
                        <a:pt x="42" y="46"/>
                        <a:pt x="42" y="46"/>
                      </a:cubicBezTo>
                      <a:cubicBezTo>
                        <a:pt x="41" y="46"/>
                        <a:pt x="41" y="46"/>
                        <a:pt x="41" y="46"/>
                      </a:cubicBezTo>
                      <a:cubicBezTo>
                        <a:pt x="42" y="47"/>
                        <a:pt x="42" y="47"/>
                        <a:pt x="42" y="47"/>
                      </a:cubicBezTo>
                      <a:cubicBezTo>
                        <a:pt x="43" y="47"/>
                        <a:pt x="43" y="47"/>
                        <a:pt x="43" y="47"/>
                      </a:cubicBezTo>
                      <a:close/>
                      <a:moveTo>
                        <a:pt x="44" y="50"/>
                      </a:moveTo>
                      <a:cubicBezTo>
                        <a:pt x="45" y="50"/>
                        <a:pt x="45" y="50"/>
                        <a:pt x="45" y="50"/>
                      </a:cubicBezTo>
                      <a:cubicBezTo>
                        <a:pt x="46" y="49"/>
                        <a:pt x="46" y="49"/>
                        <a:pt x="46" y="49"/>
                      </a:cubicBezTo>
                      <a:cubicBezTo>
                        <a:pt x="47" y="49"/>
                        <a:pt x="47" y="49"/>
                        <a:pt x="47" y="49"/>
                      </a:cubicBezTo>
                      <a:cubicBezTo>
                        <a:pt x="48" y="49"/>
                        <a:pt x="48" y="49"/>
                        <a:pt x="48" y="49"/>
                      </a:cubicBezTo>
                      <a:cubicBezTo>
                        <a:pt x="48" y="48"/>
                        <a:pt x="48" y="48"/>
                        <a:pt x="48" y="48"/>
                      </a:cubicBezTo>
                      <a:cubicBezTo>
                        <a:pt x="47" y="48"/>
                        <a:pt x="47" y="48"/>
                        <a:pt x="47" y="48"/>
                      </a:cubicBezTo>
                      <a:cubicBezTo>
                        <a:pt x="46" y="47"/>
                        <a:pt x="46" y="47"/>
                        <a:pt x="46" y="47"/>
                      </a:cubicBezTo>
                      <a:cubicBezTo>
                        <a:pt x="45" y="46"/>
                        <a:pt x="45" y="46"/>
                        <a:pt x="45" y="46"/>
                      </a:cubicBezTo>
                      <a:cubicBezTo>
                        <a:pt x="45" y="46"/>
                        <a:pt x="45" y="46"/>
                        <a:pt x="45" y="46"/>
                      </a:cubicBezTo>
                      <a:cubicBezTo>
                        <a:pt x="45" y="48"/>
                        <a:pt x="45" y="48"/>
                        <a:pt x="45" y="48"/>
                      </a:cubicBezTo>
                      <a:cubicBezTo>
                        <a:pt x="45" y="48"/>
                        <a:pt x="45" y="48"/>
                        <a:pt x="45" y="48"/>
                      </a:cubicBezTo>
                      <a:cubicBezTo>
                        <a:pt x="44" y="48"/>
                        <a:pt x="44" y="48"/>
                        <a:pt x="44" y="48"/>
                      </a:cubicBezTo>
                      <a:cubicBezTo>
                        <a:pt x="43" y="48"/>
                        <a:pt x="43" y="48"/>
                        <a:pt x="43" y="48"/>
                      </a:cubicBezTo>
                      <a:cubicBezTo>
                        <a:pt x="44" y="49"/>
                        <a:pt x="44" y="49"/>
                        <a:pt x="44" y="49"/>
                      </a:cubicBezTo>
                      <a:cubicBezTo>
                        <a:pt x="44" y="50"/>
                        <a:pt x="44" y="50"/>
                        <a:pt x="44" y="50"/>
                      </a:cubicBezTo>
                      <a:close/>
                      <a:moveTo>
                        <a:pt x="57" y="19"/>
                      </a:moveTo>
                      <a:cubicBezTo>
                        <a:pt x="58" y="18"/>
                        <a:pt x="58" y="18"/>
                        <a:pt x="58" y="18"/>
                      </a:cubicBezTo>
                      <a:cubicBezTo>
                        <a:pt x="59" y="18"/>
                        <a:pt x="59" y="18"/>
                        <a:pt x="59" y="18"/>
                      </a:cubicBezTo>
                      <a:cubicBezTo>
                        <a:pt x="59" y="18"/>
                        <a:pt x="59" y="18"/>
                        <a:pt x="59" y="18"/>
                      </a:cubicBezTo>
                      <a:cubicBezTo>
                        <a:pt x="59" y="18"/>
                        <a:pt x="59" y="18"/>
                        <a:pt x="59" y="18"/>
                      </a:cubicBezTo>
                      <a:cubicBezTo>
                        <a:pt x="59" y="17"/>
                        <a:pt x="59" y="17"/>
                        <a:pt x="59" y="17"/>
                      </a:cubicBezTo>
                      <a:cubicBezTo>
                        <a:pt x="59" y="16"/>
                        <a:pt x="59" y="16"/>
                        <a:pt x="59" y="16"/>
                      </a:cubicBezTo>
                      <a:cubicBezTo>
                        <a:pt x="58" y="16"/>
                        <a:pt x="58" y="16"/>
                        <a:pt x="58" y="16"/>
                      </a:cubicBezTo>
                      <a:cubicBezTo>
                        <a:pt x="58" y="17"/>
                        <a:pt x="58" y="17"/>
                        <a:pt x="58" y="17"/>
                      </a:cubicBezTo>
                      <a:cubicBezTo>
                        <a:pt x="56" y="17"/>
                        <a:pt x="56" y="17"/>
                        <a:pt x="56" y="17"/>
                      </a:cubicBezTo>
                      <a:cubicBezTo>
                        <a:pt x="55" y="17"/>
                        <a:pt x="55" y="17"/>
                        <a:pt x="55" y="17"/>
                      </a:cubicBezTo>
                      <a:cubicBezTo>
                        <a:pt x="55" y="18"/>
                        <a:pt x="55" y="18"/>
                        <a:pt x="55" y="18"/>
                      </a:cubicBezTo>
                      <a:cubicBezTo>
                        <a:pt x="56" y="18"/>
                        <a:pt x="56" y="18"/>
                        <a:pt x="56" y="18"/>
                      </a:cubicBezTo>
                      <a:cubicBezTo>
                        <a:pt x="56" y="19"/>
                        <a:pt x="56" y="19"/>
                        <a:pt x="56" y="19"/>
                      </a:cubicBezTo>
                      <a:cubicBezTo>
                        <a:pt x="56" y="19"/>
                        <a:pt x="57" y="19"/>
                        <a:pt x="57" y="19"/>
                      </a:cubicBezTo>
                      <a:close/>
                      <a:moveTo>
                        <a:pt x="58" y="21"/>
                      </a:moveTo>
                      <a:cubicBezTo>
                        <a:pt x="58" y="20"/>
                        <a:pt x="58" y="20"/>
                        <a:pt x="58" y="20"/>
                      </a:cubicBezTo>
                      <a:cubicBezTo>
                        <a:pt x="58" y="20"/>
                        <a:pt x="58" y="20"/>
                        <a:pt x="58" y="20"/>
                      </a:cubicBezTo>
                      <a:cubicBezTo>
                        <a:pt x="58" y="20"/>
                        <a:pt x="58" y="20"/>
                        <a:pt x="58" y="20"/>
                      </a:cubicBezTo>
                      <a:cubicBezTo>
                        <a:pt x="58" y="21"/>
                        <a:pt x="58" y="21"/>
                        <a:pt x="58" y="21"/>
                      </a:cubicBezTo>
                      <a:close/>
                      <a:moveTo>
                        <a:pt x="58" y="23"/>
                      </a:moveTo>
                      <a:cubicBezTo>
                        <a:pt x="58" y="23"/>
                        <a:pt x="58" y="23"/>
                        <a:pt x="58" y="23"/>
                      </a:cubicBezTo>
                      <a:cubicBezTo>
                        <a:pt x="59" y="22"/>
                        <a:pt x="59" y="22"/>
                        <a:pt x="59" y="22"/>
                      </a:cubicBezTo>
                      <a:cubicBezTo>
                        <a:pt x="59" y="22"/>
                        <a:pt x="59" y="22"/>
                        <a:pt x="59" y="22"/>
                      </a:cubicBezTo>
                      <a:cubicBezTo>
                        <a:pt x="59" y="22"/>
                        <a:pt x="59" y="22"/>
                        <a:pt x="59" y="22"/>
                      </a:cubicBezTo>
                      <a:cubicBezTo>
                        <a:pt x="58" y="22"/>
                        <a:pt x="58" y="22"/>
                        <a:pt x="58" y="22"/>
                      </a:cubicBezTo>
                      <a:cubicBezTo>
                        <a:pt x="58" y="22"/>
                        <a:pt x="58" y="22"/>
                        <a:pt x="58" y="22"/>
                      </a:cubicBezTo>
                      <a:cubicBezTo>
                        <a:pt x="57" y="21"/>
                        <a:pt x="57" y="21"/>
                        <a:pt x="57" y="21"/>
                      </a:cubicBezTo>
                      <a:cubicBezTo>
                        <a:pt x="56" y="21"/>
                        <a:pt x="56" y="21"/>
                        <a:pt x="56" y="21"/>
                      </a:cubicBezTo>
                      <a:cubicBezTo>
                        <a:pt x="55" y="22"/>
                        <a:pt x="55" y="22"/>
                        <a:pt x="55" y="22"/>
                      </a:cubicBezTo>
                      <a:cubicBezTo>
                        <a:pt x="55" y="22"/>
                        <a:pt x="55" y="22"/>
                        <a:pt x="55" y="22"/>
                      </a:cubicBezTo>
                      <a:cubicBezTo>
                        <a:pt x="54" y="23"/>
                        <a:pt x="54" y="23"/>
                        <a:pt x="54" y="23"/>
                      </a:cubicBezTo>
                      <a:cubicBezTo>
                        <a:pt x="55" y="23"/>
                        <a:pt x="55" y="23"/>
                        <a:pt x="55" y="23"/>
                      </a:cubicBezTo>
                      <a:cubicBezTo>
                        <a:pt x="56" y="24"/>
                        <a:pt x="56" y="24"/>
                        <a:pt x="56" y="24"/>
                      </a:cubicBezTo>
                      <a:cubicBezTo>
                        <a:pt x="56" y="23"/>
                        <a:pt x="56" y="23"/>
                        <a:pt x="56" y="23"/>
                      </a:cubicBezTo>
                      <a:cubicBezTo>
                        <a:pt x="57" y="24"/>
                        <a:pt x="57" y="24"/>
                        <a:pt x="57" y="24"/>
                      </a:cubicBezTo>
                      <a:cubicBezTo>
                        <a:pt x="57" y="24"/>
                        <a:pt x="57" y="24"/>
                        <a:pt x="57" y="24"/>
                      </a:cubicBezTo>
                      <a:cubicBezTo>
                        <a:pt x="58" y="23"/>
                        <a:pt x="58" y="23"/>
                        <a:pt x="58" y="23"/>
                      </a:cubicBezTo>
                      <a:close/>
                      <a:moveTo>
                        <a:pt x="60" y="24"/>
                      </a:moveTo>
                      <a:cubicBezTo>
                        <a:pt x="60" y="23"/>
                        <a:pt x="60" y="23"/>
                        <a:pt x="60" y="23"/>
                      </a:cubicBezTo>
                      <a:cubicBezTo>
                        <a:pt x="61" y="22"/>
                        <a:pt x="61" y="22"/>
                        <a:pt x="61" y="22"/>
                      </a:cubicBezTo>
                      <a:cubicBezTo>
                        <a:pt x="61" y="22"/>
                        <a:pt x="61" y="22"/>
                        <a:pt x="61" y="22"/>
                      </a:cubicBezTo>
                      <a:cubicBezTo>
                        <a:pt x="62" y="22"/>
                        <a:pt x="62" y="22"/>
                        <a:pt x="62" y="22"/>
                      </a:cubicBezTo>
                      <a:cubicBezTo>
                        <a:pt x="62" y="23"/>
                        <a:pt x="62" y="23"/>
                        <a:pt x="62" y="23"/>
                      </a:cubicBezTo>
                      <a:cubicBezTo>
                        <a:pt x="62" y="23"/>
                        <a:pt x="62" y="23"/>
                        <a:pt x="62" y="23"/>
                      </a:cubicBezTo>
                      <a:cubicBezTo>
                        <a:pt x="61" y="24"/>
                        <a:pt x="61" y="24"/>
                        <a:pt x="61" y="24"/>
                      </a:cubicBezTo>
                      <a:cubicBezTo>
                        <a:pt x="60" y="24"/>
                        <a:pt x="60" y="24"/>
                        <a:pt x="60" y="24"/>
                      </a:cubicBezTo>
                      <a:close/>
                      <a:moveTo>
                        <a:pt x="56" y="28"/>
                      </a:moveTo>
                      <a:cubicBezTo>
                        <a:pt x="57" y="27"/>
                        <a:pt x="57" y="27"/>
                        <a:pt x="57" y="27"/>
                      </a:cubicBezTo>
                      <a:cubicBezTo>
                        <a:pt x="58" y="26"/>
                        <a:pt x="58" y="26"/>
                        <a:pt x="58" y="26"/>
                      </a:cubicBezTo>
                      <a:cubicBezTo>
                        <a:pt x="59" y="25"/>
                        <a:pt x="59" y="25"/>
                        <a:pt x="59" y="25"/>
                      </a:cubicBezTo>
                      <a:cubicBezTo>
                        <a:pt x="59" y="25"/>
                        <a:pt x="59" y="25"/>
                        <a:pt x="59" y="25"/>
                      </a:cubicBezTo>
                      <a:cubicBezTo>
                        <a:pt x="58" y="24"/>
                        <a:pt x="58" y="24"/>
                        <a:pt x="58" y="24"/>
                      </a:cubicBezTo>
                      <a:cubicBezTo>
                        <a:pt x="57" y="25"/>
                        <a:pt x="57" y="25"/>
                        <a:pt x="57" y="25"/>
                      </a:cubicBezTo>
                      <a:cubicBezTo>
                        <a:pt x="56" y="25"/>
                        <a:pt x="56" y="25"/>
                        <a:pt x="56" y="25"/>
                      </a:cubicBezTo>
                      <a:cubicBezTo>
                        <a:pt x="55" y="24"/>
                        <a:pt x="55" y="24"/>
                        <a:pt x="55" y="24"/>
                      </a:cubicBezTo>
                      <a:cubicBezTo>
                        <a:pt x="55" y="25"/>
                        <a:pt x="55" y="25"/>
                        <a:pt x="55" y="25"/>
                      </a:cubicBezTo>
                      <a:cubicBezTo>
                        <a:pt x="54" y="26"/>
                        <a:pt x="54" y="26"/>
                        <a:pt x="54" y="26"/>
                      </a:cubicBezTo>
                      <a:cubicBezTo>
                        <a:pt x="54" y="26"/>
                        <a:pt x="54" y="26"/>
                        <a:pt x="54" y="26"/>
                      </a:cubicBezTo>
                      <a:cubicBezTo>
                        <a:pt x="55" y="26"/>
                        <a:pt x="55" y="26"/>
                        <a:pt x="55" y="26"/>
                      </a:cubicBezTo>
                      <a:cubicBezTo>
                        <a:pt x="56" y="27"/>
                        <a:pt x="56" y="27"/>
                        <a:pt x="56" y="27"/>
                      </a:cubicBezTo>
                      <a:cubicBezTo>
                        <a:pt x="56" y="27"/>
                        <a:pt x="56" y="27"/>
                        <a:pt x="56" y="27"/>
                      </a:cubicBezTo>
                      <a:cubicBezTo>
                        <a:pt x="55" y="27"/>
                        <a:pt x="55" y="27"/>
                        <a:pt x="55" y="27"/>
                      </a:cubicBezTo>
                      <a:cubicBezTo>
                        <a:pt x="53" y="28"/>
                        <a:pt x="53" y="28"/>
                        <a:pt x="53" y="28"/>
                      </a:cubicBezTo>
                      <a:cubicBezTo>
                        <a:pt x="53" y="28"/>
                        <a:pt x="53" y="28"/>
                        <a:pt x="53" y="28"/>
                      </a:cubicBezTo>
                      <a:cubicBezTo>
                        <a:pt x="53" y="29"/>
                        <a:pt x="53" y="29"/>
                        <a:pt x="53" y="29"/>
                      </a:cubicBezTo>
                      <a:cubicBezTo>
                        <a:pt x="54" y="29"/>
                        <a:pt x="54" y="29"/>
                        <a:pt x="54" y="29"/>
                      </a:cubicBezTo>
                      <a:cubicBezTo>
                        <a:pt x="55" y="28"/>
                        <a:pt x="55" y="28"/>
                        <a:pt x="55" y="28"/>
                      </a:cubicBezTo>
                      <a:cubicBezTo>
                        <a:pt x="55" y="28"/>
                        <a:pt x="56" y="28"/>
                        <a:pt x="56" y="28"/>
                      </a:cubicBezTo>
                      <a:close/>
                      <a:moveTo>
                        <a:pt x="59" y="28"/>
                      </a:moveTo>
                      <a:cubicBezTo>
                        <a:pt x="58" y="28"/>
                        <a:pt x="58" y="28"/>
                        <a:pt x="58" y="28"/>
                      </a:cubicBezTo>
                      <a:cubicBezTo>
                        <a:pt x="58" y="28"/>
                        <a:pt x="58" y="28"/>
                        <a:pt x="58" y="28"/>
                      </a:cubicBezTo>
                      <a:cubicBezTo>
                        <a:pt x="57" y="28"/>
                        <a:pt x="57" y="28"/>
                        <a:pt x="57" y="28"/>
                      </a:cubicBezTo>
                      <a:cubicBezTo>
                        <a:pt x="58" y="27"/>
                        <a:pt x="58" y="27"/>
                        <a:pt x="58" y="27"/>
                      </a:cubicBezTo>
                      <a:cubicBezTo>
                        <a:pt x="58" y="27"/>
                        <a:pt x="58" y="27"/>
                        <a:pt x="58" y="27"/>
                      </a:cubicBezTo>
                      <a:cubicBezTo>
                        <a:pt x="59" y="26"/>
                        <a:pt x="59" y="26"/>
                        <a:pt x="59" y="26"/>
                      </a:cubicBezTo>
                      <a:cubicBezTo>
                        <a:pt x="60" y="27"/>
                        <a:pt x="60" y="27"/>
                        <a:pt x="60" y="27"/>
                      </a:cubicBezTo>
                      <a:cubicBezTo>
                        <a:pt x="59" y="27"/>
                        <a:pt x="59" y="27"/>
                        <a:pt x="59" y="27"/>
                      </a:cubicBezTo>
                      <a:cubicBezTo>
                        <a:pt x="59" y="28"/>
                        <a:pt x="59" y="28"/>
                        <a:pt x="59" y="28"/>
                      </a:cubicBezTo>
                      <a:close/>
                      <a:moveTo>
                        <a:pt x="62" y="30"/>
                      </a:moveTo>
                      <a:cubicBezTo>
                        <a:pt x="61" y="29"/>
                        <a:pt x="61" y="29"/>
                        <a:pt x="61" y="29"/>
                      </a:cubicBezTo>
                      <a:cubicBezTo>
                        <a:pt x="60" y="28"/>
                        <a:pt x="60" y="28"/>
                        <a:pt x="60" y="28"/>
                      </a:cubicBezTo>
                      <a:cubicBezTo>
                        <a:pt x="61" y="28"/>
                        <a:pt x="61" y="28"/>
                        <a:pt x="61" y="28"/>
                      </a:cubicBezTo>
                      <a:cubicBezTo>
                        <a:pt x="61" y="28"/>
                        <a:pt x="61" y="28"/>
                        <a:pt x="61" y="28"/>
                      </a:cubicBezTo>
                      <a:cubicBezTo>
                        <a:pt x="61" y="28"/>
                        <a:pt x="61" y="28"/>
                        <a:pt x="61" y="28"/>
                      </a:cubicBezTo>
                      <a:cubicBezTo>
                        <a:pt x="62" y="28"/>
                        <a:pt x="62" y="28"/>
                        <a:pt x="62" y="28"/>
                      </a:cubicBezTo>
                      <a:cubicBezTo>
                        <a:pt x="63" y="29"/>
                        <a:pt x="63" y="29"/>
                        <a:pt x="63" y="29"/>
                      </a:cubicBezTo>
                      <a:cubicBezTo>
                        <a:pt x="63" y="30"/>
                        <a:pt x="63" y="30"/>
                        <a:pt x="63" y="30"/>
                      </a:cubicBezTo>
                      <a:cubicBezTo>
                        <a:pt x="62" y="30"/>
                        <a:pt x="62" y="30"/>
                        <a:pt x="62" y="30"/>
                      </a:cubicBezTo>
                      <a:close/>
                      <a:moveTo>
                        <a:pt x="61" y="32"/>
                      </a:moveTo>
                      <a:cubicBezTo>
                        <a:pt x="60" y="31"/>
                        <a:pt x="60" y="31"/>
                        <a:pt x="60" y="31"/>
                      </a:cubicBezTo>
                      <a:cubicBezTo>
                        <a:pt x="58" y="30"/>
                        <a:pt x="58" y="30"/>
                        <a:pt x="58" y="30"/>
                      </a:cubicBezTo>
                      <a:cubicBezTo>
                        <a:pt x="56" y="30"/>
                        <a:pt x="56" y="30"/>
                        <a:pt x="56" y="30"/>
                      </a:cubicBezTo>
                      <a:cubicBezTo>
                        <a:pt x="56" y="30"/>
                        <a:pt x="56" y="30"/>
                        <a:pt x="56" y="30"/>
                      </a:cubicBezTo>
                      <a:cubicBezTo>
                        <a:pt x="55" y="29"/>
                        <a:pt x="55" y="29"/>
                        <a:pt x="55" y="29"/>
                      </a:cubicBezTo>
                      <a:cubicBezTo>
                        <a:pt x="55" y="29"/>
                        <a:pt x="55" y="29"/>
                        <a:pt x="55" y="29"/>
                      </a:cubicBezTo>
                      <a:cubicBezTo>
                        <a:pt x="56" y="29"/>
                        <a:pt x="56" y="29"/>
                        <a:pt x="56" y="29"/>
                      </a:cubicBezTo>
                      <a:cubicBezTo>
                        <a:pt x="57" y="29"/>
                        <a:pt x="57" y="29"/>
                        <a:pt x="57" y="29"/>
                      </a:cubicBezTo>
                      <a:cubicBezTo>
                        <a:pt x="59" y="30"/>
                        <a:pt x="59" y="30"/>
                        <a:pt x="59" y="30"/>
                      </a:cubicBezTo>
                      <a:cubicBezTo>
                        <a:pt x="60" y="31"/>
                        <a:pt x="60" y="31"/>
                        <a:pt x="60" y="31"/>
                      </a:cubicBezTo>
                      <a:cubicBezTo>
                        <a:pt x="61" y="31"/>
                        <a:pt x="61" y="31"/>
                        <a:pt x="61" y="31"/>
                      </a:cubicBezTo>
                      <a:cubicBezTo>
                        <a:pt x="62" y="30"/>
                        <a:pt x="62" y="30"/>
                        <a:pt x="62" y="30"/>
                      </a:cubicBezTo>
                      <a:cubicBezTo>
                        <a:pt x="62" y="30"/>
                        <a:pt x="62" y="30"/>
                        <a:pt x="62" y="30"/>
                      </a:cubicBezTo>
                      <a:cubicBezTo>
                        <a:pt x="62" y="31"/>
                        <a:pt x="62" y="31"/>
                        <a:pt x="62" y="31"/>
                      </a:cubicBezTo>
                      <a:cubicBezTo>
                        <a:pt x="61" y="32"/>
                        <a:pt x="61" y="32"/>
                        <a:pt x="61" y="32"/>
                      </a:cubicBezTo>
                      <a:cubicBezTo>
                        <a:pt x="61" y="32"/>
                        <a:pt x="61" y="32"/>
                        <a:pt x="61" y="32"/>
                      </a:cubicBezTo>
                      <a:close/>
                      <a:moveTo>
                        <a:pt x="61" y="35"/>
                      </a:moveTo>
                      <a:cubicBezTo>
                        <a:pt x="62" y="33"/>
                        <a:pt x="62" y="33"/>
                        <a:pt x="62" y="33"/>
                      </a:cubicBezTo>
                      <a:cubicBezTo>
                        <a:pt x="61" y="33"/>
                        <a:pt x="61" y="33"/>
                        <a:pt x="61" y="33"/>
                      </a:cubicBezTo>
                      <a:cubicBezTo>
                        <a:pt x="60" y="33"/>
                        <a:pt x="60" y="33"/>
                        <a:pt x="60" y="33"/>
                      </a:cubicBezTo>
                      <a:cubicBezTo>
                        <a:pt x="59" y="32"/>
                        <a:pt x="59" y="32"/>
                        <a:pt x="59" y="32"/>
                      </a:cubicBezTo>
                      <a:cubicBezTo>
                        <a:pt x="57" y="31"/>
                        <a:pt x="57" y="31"/>
                        <a:pt x="57" y="31"/>
                      </a:cubicBezTo>
                      <a:cubicBezTo>
                        <a:pt x="57" y="31"/>
                        <a:pt x="57" y="31"/>
                        <a:pt x="57" y="31"/>
                      </a:cubicBezTo>
                      <a:cubicBezTo>
                        <a:pt x="56" y="31"/>
                        <a:pt x="56" y="31"/>
                        <a:pt x="56" y="31"/>
                      </a:cubicBezTo>
                      <a:cubicBezTo>
                        <a:pt x="55" y="31"/>
                        <a:pt x="55" y="31"/>
                        <a:pt x="55" y="31"/>
                      </a:cubicBezTo>
                      <a:cubicBezTo>
                        <a:pt x="54" y="30"/>
                        <a:pt x="54" y="30"/>
                        <a:pt x="54" y="30"/>
                      </a:cubicBezTo>
                      <a:cubicBezTo>
                        <a:pt x="52" y="30"/>
                        <a:pt x="52" y="30"/>
                        <a:pt x="52" y="30"/>
                      </a:cubicBezTo>
                      <a:cubicBezTo>
                        <a:pt x="51" y="31"/>
                        <a:pt x="51" y="31"/>
                        <a:pt x="51" y="31"/>
                      </a:cubicBezTo>
                      <a:cubicBezTo>
                        <a:pt x="51" y="31"/>
                        <a:pt x="51" y="31"/>
                        <a:pt x="51" y="31"/>
                      </a:cubicBezTo>
                      <a:cubicBezTo>
                        <a:pt x="51" y="32"/>
                        <a:pt x="51" y="32"/>
                        <a:pt x="51" y="32"/>
                      </a:cubicBezTo>
                      <a:cubicBezTo>
                        <a:pt x="51" y="32"/>
                        <a:pt x="51" y="32"/>
                        <a:pt x="51" y="32"/>
                      </a:cubicBezTo>
                      <a:cubicBezTo>
                        <a:pt x="53" y="33"/>
                        <a:pt x="53" y="33"/>
                        <a:pt x="53" y="33"/>
                      </a:cubicBezTo>
                      <a:cubicBezTo>
                        <a:pt x="53" y="32"/>
                        <a:pt x="53" y="32"/>
                        <a:pt x="53" y="32"/>
                      </a:cubicBezTo>
                      <a:cubicBezTo>
                        <a:pt x="54" y="32"/>
                        <a:pt x="54" y="32"/>
                        <a:pt x="54" y="32"/>
                      </a:cubicBezTo>
                      <a:cubicBezTo>
                        <a:pt x="55" y="33"/>
                        <a:pt x="55" y="33"/>
                        <a:pt x="55" y="33"/>
                      </a:cubicBezTo>
                      <a:cubicBezTo>
                        <a:pt x="55" y="33"/>
                        <a:pt x="55" y="33"/>
                        <a:pt x="55" y="33"/>
                      </a:cubicBezTo>
                      <a:cubicBezTo>
                        <a:pt x="55" y="33"/>
                        <a:pt x="55" y="33"/>
                        <a:pt x="55" y="33"/>
                      </a:cubicBezTo>
                      <a:cubicBezTo>
                        <a:pt x="56" y="33"/>
                        <a:pt x="56" y="33"/>
                        <a:pt x="56" y="33"/>
                      </a:cubicBezTo>
                      <a:cubicBezTo>
                        <a:pt x="56" y="34"/>
                        <a:pt x="56" y="34"/>
                        <a:pt x="56" y="34"/>
                      </a:cubicBezTo>
                      <a:cubicBezTo>
                        <a:pt x="58" y="34"/>
                        <a:pt x="58" y="34"/>
                        <a:pt x="58" y="34"/>
                      </a:cubicBezTo>
                      <a:cubicBezTo>
                        <a:pt x="59" y="34"/>
                        <a:pt x="59" y="34"/>
                        <a:pt x="59" y="34"/>
                      </a:cubicBezTo>
                      <a:cubicBezTo>
                        <a:pt x="60" y="35"/>
                        <a:pt x="60" y="35"/>
                        <a:pt x="60" y="35"/>
                      </a:cubicBezTo>
                      <a:cubicBezTo>
                        <a:pt x="61" y="35"/>
                        <a:pt x="61" y="35"/>
                        <a:pt x="61" y="35"/>
                      </a:cubicBezTo>
                      <a:cubicBezTo>
                        <a:pt x="61" y="35"/>
                        <a:pt x="61" y="35"/>
                        <a:pt x="61" y="35"/>
                      </a:cubicBezTo>
                      <a:close/>
                      <a:moveTo>
                        <a:pt x="54" y="36"/>
                      </a:moveTo>
                      <a:cubicBezTo>
                        <a:pt x="54" y="36"/>
                        <a:pt x="54" y="36"/>
                        <a:pt x="54" y="36"/>
                      </a:cubicBezTo>
                      <a:cubicBezTo>
                        <a:pt x="53" y="36"/>
                        <a:pt x="53" y="36"/>
                        <a:pt x="53" y="36"/>
                      </a:cubicBezTo>
                      <a:cubicBezTo>
                        <a:pt x="52" y="36"/>
                        <a:pt x="52" y="36"/>
                        <a:pt x="52" y="36"/>
                      </a:cubicBezTo>
                      <a:cubicBezTo>
                        <a:pt x="52" y="35"/>
                        <a:pt x="52" y="35"/>
                        <a:pt x="52" y="35"/>
                      </a:cubicBezTo>
                      <a:cubicBezTo>
                        <a:pt x="51" y="34"/>
                        <a:pt x="51" y="34"/>
                        <a:pt x="51" y="34"/>
                      </a:cubicBezTo>
                      <a:cubicBezTo>
                        <a:pt x="52" y="34"/>
                        <a:pt x="52" y="34"/>
                        <a:pt x="52" y="34"/>
                      </a:cubicBezTo>
                      <a:cubicBezTo>
                        <a:pt x="53" y="34"/>
                        <a:pt x="53" y="34"/>
                        <a:pt x="53" y="34"/>
                      </a:cubicBezTo>
                      <a:cubicBezTo>
                        <a:pt x="54" y="34"/>
                        <a:pt x="54" y="34"/>
                        <a:pt x="54" y="34"/>
                      </a:cubicBezTo>
                      <a:cubicBezTo>
                        <a:pt x="54" y="34"/>
                        <a:pt x="54" y="34"/>
                        <a:pt x="54" y="34"/>
                      </a:cubicBezTo>
                      <a:cubicBezTo>
                        <a:pt x="55" y="35"/>
                        <a:pt x="55" y="35"/>
                        <a:pt x="55" y="35"/>
                      </a:cubicBezTo>
                      <a:cubicBezTo>
                        <a:pt x="56" y="35"/>
                        <a:pt x="56" y="35"/>
                        <a:pt x="56" y="35"/>
                      </a:cubicBezTo>
                      <a:cubicBezTo>
                        <a:pt x="56" y="34"/>
                        <a:pt x="56" y="34"/>
                        <a:pt x="56" y="34"/>
                      </a:cubicBezTo>
                      <a:cubicBezTo>
                        <a:pt x="56" y="35"/>
                        <a:pt x="56" y="35"/>
                        <a:pt x="56" y="35"/>
                      </a:cubicBezTo>
                      <a:cubicBezTo>
                        <a:pt x="56" y="35"/>
                        <a:pt x="56" y="35"/>
                        <a:pt x="56" y="35"/>
                      </a:cubicBezTo>
                      <a:cubicBezTo>
                        <a:pt x="56" y="35"/>
                        <a:pt x="56" y="35"/>
                        <a:pt x="56" y="35"/>
                      </a:cubicBezTo>
                      <a:cubicBezTo>
                        <a:pt x="54" y="36"/>
                        <a:pt x="54" y="36"/>
                        <a:pt x="54" y="36"/>
                      </a:cubicBezTo>
                      <a:close/>
                      <a:moveTo>
                        <a:pt x="52" y="41"/>
                      </a:moveTo>
                      <a:cubicBezTo>
                        <a:pt x="52" y="40"/>
                        <a:pt x="52" y="40"/>
                        <a:pt x="52" y="40"/>
                      </a:cubicBezTo>
                      <a:cubicBezTo>
                        <a:pt x="52" y="39"/>
                        <a:pt x="52" y="39"/>
                        <a:pt x="52" y="39"/>
                      </a:cubicBezTo>
                      <a:cubicBezTo>
                        <a:pt x="51" y="39"/>
                        <a:pt x="51" y="39"/>
                        <a:pt x="51" y="39"/>
                      </a:cubicBezTo>
                      <a:cubicBezTo>
                        <a:pt x="51" y="40"/>
                        <a:pt x="51" y="40"/>
                        <a:pt x="51" y="40"/>
                      </a:cubicBezTo>
                      <a:cubicBezTo>
                        <a:pt x="51" y="40"/>
                        <a:pt x="51" y="40"/>
                        <a:pt x="51" y="40"/>
                      </a:cubicBezTo>
                      <a:cubicBezTo>
                        <a:pt x="51" y="41"/>
                        <a:pt x="51" y="41"/>
                        <a:pt x="51" y="41"/>
                      </a:cubicBezTo>
                      <a:cubicBezTo>
                        <a:pt x="52" y="41"/>
                        <a:pt x="52" y="41"/>
                        <a:pt x="52" y="41"/>
                      </a:cubicBezTo>
                      <a:cubicBezTo>
                        <a:pt x="52" y="41"/>
                        <a:pt x="52" y="41"/>
                        <a:pt x="52" y="41"/>
                      </a:cubicBezTo>
                      <a:close/>
                      <a:moveTo>
                        <a:pt x="53" y="40"/>
                      </a:moveTo>
                      <a:cubicBezTo>
                        <a:pt x="54" y="41"/>
                        <a:pt x="54" y="41"/>
                        <a:pt x="54" y="41"/>
                      </a:cubicBezTo>
                      <a:cubicBezTo>
                        <a:pt x="54" y="40"/>
                        <a:pt x="54" y="40"/>
                        <a:pt x="54" y="40"/>
                      </a:cubicBezTo>
                      <a:cubicBezTo>
                        <a:pt x="54" y="39"/>
                        <a:pt x="54" y="39"/>
                        <a:pt x="54" y="39"/>
                      </a:cubicBezTo>
                      <a:cubicBezTo>
                        <a:pt x="53" y="38"/>
                        <a:pt x="53" y="38"/>
                        <a:pt x="53" y="38"/>
                      </a:cubicBezTo>
                      <a:cubicBezTo>
                        <a:pt x="52" y="38"/>
                        <a:pt x="52" y="38"/>
                        <a:pt x="52" y="38"/>
                      </a:cubicBezTo>
                      <a:cubicBezTo>
                        <a:pt x="52" y="39"/>
                        <a:pt x="52" y="39"/>
                        <a:pt x="52" y="39"/>
                      </a:cubicBezTo>
                      <a:cubicBezTo>
                        <a:pt x="53" y="40"/>
                        <a:pt x="53" y="40"/>
                        <a:pt x="53" y="40"/>
                      </a:cubicBezTo>
                      <a:close/>
                      <a:moveTo>
                        <a:pt x="55" y="40"/>
                      </a:moveTo>
                      <a:cubicBezTo>
                        <a:pt x="55" y="40"/>
                        <a:pt x="56" y="40"/>
                        <a:pt x="56" y="40"/>
                      </a:cubicBezTo>
                      <a:cubicBezTo>
                        <a:pt x="56" y="39"/>
                        <a:pt x="56" y="39"/>
                        <a:pt x="56" y="39"/>
                      </a:cubicBezTo>
                      <a:cubicBezTo>
                        <a:pt x="55" y="39"/>
                        <a:pt x="55" y="39"/>
                        <a:pt x="55" y="39"/>
                      </a:cubicBezTo>
                      <a:cubicBezTo>
                        <a:pt x="55" y="39"/>
                        <a:pt x="55" y="39"/>
                        <a:pt x="55" y="39"/>
                      </a:cubicBezTo>
                      <a:cubicBezTo>
                        <a:pt x="54" y="39"/>
                        <a:pt x="54" y="39"/>
                        <a:pt x="54" y="39"/>
                      </a:cubicBezTo>
                      <a:cubicBezTo>
                        <a:pt x="55" y="40"/>
                        <a:pt x="55" y="40"/>
                        <a:pt x="55" y="40"/>
                      </a:cubicBezTo>
                      <a:close/>
                      <a:moveTo>
                        <a:pt x="55" y="42"/>
                      </a:moveTo>
                      <a:cubicBezTo>
                        <a:pt x="55" y="41"/>
                        <a:pt x="55" y="41"/>
                        <a:pt x="55" y="41"/>
                      </a:cubicBezTo>
                      <a:cubicBezTo>
                        <a:pt x="55" y="41"/>
                        <a:pt x="55" y="41"/>
                        <a:pt x="55" y="41"/>
                      </a:cubicBezTo>
                      <a:cubicBezTo>
                        <a:pt x="55" y="40"/>
                        <a:pt x="55" y="40"/>
                        <a:pt x="55" y="40"/>
                      </a:cubicBezTo>
                      <a:cubicBezTo>
                        <a:pt x="55" y="40"/>
                        <a:pt x="55" y="40"/>
                        <a:pt x="55" y="40"/>
                      </a:cubicBezTo>
                      <a:cubicBezTo>
                        <a:pt x="54" y="40"/>
                        <a:pt x="54" y="40"/>
                        <a:pt x="54" y="40"/>
                      </a:cubicBezTo>
                      <a:cubicBezTo>
                        <a:pt x="54" y="41"/>
                        <a:pt x="54" y="41"/>
                        <a:pt x="54" y="41"/>
                      </a:cubicBezTo>
                      <a:cubicBezTo>
                        <a:pt x="54" y="41"/>
                        <a:pt x="54" y="41"/>
                        <a:pt x="54" y="41"/>
                      </a:cubicBezTo>
                      <a:cubicBezTo>
                        <a:pt x="55" y="42"/>
                        <a:pt x="55" y="42"/>
                        <a:pt x="55" y="42"/>
                      </a:cubicBezTo>
                      <a:close/>
                      <a:moveTo>
                        <a:pt x="54" y="44"/>
                      </a:moveTo>
                      <a:cubicBezTo>
                        <a:pt x="53" y="43"/>
                        <a:pt x="53" y="43"/>
                        <a:pt x="53" y="43"/>
                      </a:cubicBezTo>
                      <a:cubicBezTo>
                        <a:pt x="53" y="43"/>
                        <a:pt x="53" y="43"/>
                        <a:pt x="53" y="43"/>
                      </a:cubicBezTo>
                      <a:cubicBezTo>
                        <a:pt x="52" y="42"/>
                        <a:pt x="52" y="42"/>
                        <a:pt x="52" y="42"/>
                      </a:cubicBezTo>
                      <a:cubicBezTo>
                        <a:pt x="51" y="42"/>
                        <a:pt x="51" y="42"/>
                        <a:pt x="51" y="42"/>
                      </a:cubicBezTo>
                      <a:cubicBezTo>
                        <a:pt x="51" y="43"/>
                        <a:pt x="51" y="43"/>
                        <a:pt x="51" y="43"/>
                      </a:cubicBezTo>
                      <a:cubicBezTo>
                        <a:pt x="51" y="44"/>
                        <a:pt x="51" y="44"/>
                        <a:pt x="51" y="44"/>
                      </a:cubicBezTo>
                      <a:cubicBezTo>
                        <a:pt x="51" y="44"/>
                        <a:pt x="51" y="44"/>
                        <a:pt x="51" y="44"/>
                      </a:cubicBezTo>
                      <a:cubicBezTo>
                        <a:pt x="50" y="45"/>
                        <a:pt x="50" y="45"/>
                        <a:pt x="50" y="45"/>
                      </a:cubicBezTo>
                      <a:cubicBezTo>
                        <a:pt x="51" y="45"/>
                        <a:pt x="51" y="45"/>
                        <a:pt x="51" y="45"/>
                      </a:cubicBezTo>
                      <a:cubicBezTo>
                        <a:pt x="52" y="46"/>
                        <a:pt x="52" y="46"/>
                        <a:pt x="52" y="46"/>
                      </a:cubicBezTo>
                      <a:cubicBezTo>
                        <a:pt x="53" y="45"/>
                        <a:pt x="53" y="45"/>
                        <a:pt x="53" y="45"/>
                      </a:cubicBezTo>
                      <a:cubicBezTo>
                        <a:pt x="54" y="44"/>
                        <a:pt x="54" y="44"/>
                        <a:pt x="54" y="44"/>
                      </a:cubicBezTo>
                      <a:close/>
                      <a:moveTo>
                        <a:pt x="54" y="43"/>
                      </a:moveTo>
                      <a:cubicBezTo>
                        <a:pt x="54" y="43"/>
                        <a:pt x="54" y="43"/>
                        <a:pt x="54" y="43"/>
                      </a:cubicBezTo>
                      <a:cubicBezTo>
                        <a:pt x="55" y="44"/>
                        <a:pt x="55" y="44"/>
                        <a:pt x="55" y="44"/>
                      </a:cubicBezTo>
                      <a:cubicBezTo>
                        <a:pt x="55" y="44"/>
                        <a:pt x="55" y="44"/>
                        <a:pt x="55" y="44"/>
                      </a:cubicBezTo>
                      <a:cubicBezTo>
                        <a:pt x="55" y="43"/>
                        <a:pt x="55" y="43"/>
                        <a:pt x="55" y="43"/>
                      </a:cubicBezTo>
                      <a:cubicBezTo>
                        <a:pt x="55" y="43"/>
                        <a:pt x="55" y="43"/>
                        <a:pt x="55" y="43"/>
                      </a:cubicBezTo>
                      <a:cubicBezTo>
                        <a:pt x="54" y="43"/>
                        <a:pt x="54" y="43"/>
                        <a:pt x="54" y="43"/>
                      </a:cubicBezTo>
                      <a:close/>
                      <a:moveTo>
                        <a:pt x="62" y="33"/>
                      </a:moveTo>
                      <a:cubicBezTo>
                        <a:pt x="62" y="32"/>
                        <a:pt x="62" y="32"/>
                        <a:pt x="62" y="32"/>
                      </a:cubicBezTo>
                      <a:cubicBezTo>
                        <a:pt x="62" y="32"/>
                        <a:pt x="62" y="32"/>
                        <a:pt x="62" y="32"/>
                      </a:cubicBezTo>
                      <a:cubicBezTo>
                        <a:pt x="63" y="31"/>
                        <a:pt x="63" y="31"/>
                        <a:pt x="63" y="31"/>
                      </a:cubicBezTo>
                      <a:cubicBezTo>
                        <a:pt x="63" y="31"/>
                        <a:pt x="63" y="31"/>
                        <a:pt x="63" y="31"/>
                      </a:cubicBezTo>
                      <a:cubicBezTo>
                        <a:pt x="64" y="31"/>
                        <a:pt x="64" y="31"/>
                        <a:pt x="64" y="31"/>
                      </a:cubicBezTo>
                      <a:cubicBezTo>
                        <a:pt x="64" y="31"/>
                        <a:pt x="64" y="31"/>
                        <a:pt x="64" y="31"/>
                      </a:cubicBezTo>
                      <a:cubicBezTo>
                        <a:pt x="64" y="32"/>
                        <a:pt x="64" y="32"/>
                        <a:pt x="64" y="32"/>
                      </a:cubicBezTo>
                      <a:cubicBezTo>
                        <a:pt x="64" y="32"/>
                        <a:pt x="64" y="32"/>
                        <a:pt x="64" y="32"/>
                      </a:cubicBezTo>
                      <a:cubicBezTo>
                        <a:pt x="64" y="33"/>
                        <a:pt x="64" y="33"/>
                        <a:pt x="64" y="33"/>
                      </a:cubicBezTo>
                      <a:cubicBezTo>
                        <a:pt x="63" y="33"/>
                        <a:pt x="63" y="33"/>
                        <a:pt x="63" y="33"/>
                      </a:cubicBezTo>
                      <a:cubicBezTo>
                        <a:pt x="62" y="33"/>
                        <a:pt x="62" y="33"/>
                        <a:pt x="62" y="33"/>
                      </a:cubicBezTo>
                      <a:cubicBezTo>
                        <a:pt x="62" y="33"/>
                        <a:pt x="62" y="33"/>
                        <a:pt x="62" y="33"/>
                      </a:cubicBezTo>
                      <a:close/>
                      <a:moveTo>
                        <a:pt x="56" y="42"/>
                      </a:moveTo>
                      <a:cubicBezTo>
                        <a:pt x="56" y="43"/>
                        <a:pt x="56" y="43"/>
                        <a:pt x="56" y="43"/>
                      </a:cubicBezTo>
                      <a:cubicBezTo>
                        <a:pt x="57" y="43"/>
                        <a:pt x="57" y="43"/>
                        <a:pt x="57" y="43"/>
                      </a:cubicBezTo>
                      <a:cubicBezTo>
                        <a:pt x="58" y="43"/>
                        <a:pt x="58" y="43"/>
                        <a:pt x="58" y="43"/>
                      </a:cubicBezTo>
                      <a:cubicBezTo>
                        <a:pt x="58" y="42"/>
                        <a:pt x="58" y="42"/>
                        <a:pt x="58" y="42"/>
                      </a:cubicBezTo>
                      <a:cubicBezTo>
                        <a:pt x="58" y="42"/>
                        <a:pt x="58" y="42"/>
                        <a:pt x="58" y="42"/>
                      </a:cubicBezTo>
                      <a:cubicBezTo>
                        <a:pt x="58" y="41"/>
                        <a:pt x="58" y="41"/>
                        <a:pt x="58" y="41"/>
                      </a:cubicBezTo>
                      <a:cubicBezTo>
                        <a:pt x="57" y="41"/>
                        <a:pt x="57" y="41"/>
                        <a:pt x="57" y="41"/>
                      </a:cubicBezTo>
                      <a:cubicBezTo>
                        <a:pt x="57" y="42"/>
                        <a:pt x="57" y="42"/>
                        <a:pt x="57" y="42"/>
                      </a:cubicBezTo>
                      <a:cubicBezTo>
                        <a:pt x="56" y="42"/>
                        <a:pt x="56" y="42"/>
                        <a:pt x="56" y="42"/>
                      </a:cubicBezTo>
                      <a:close/>
                      <a:moveTo>
                        <a:pt x="57" y="41"/>
                      </a:moveTo>
                      <a:cubicBezTo>
                        <a:pt x="57" y="41"/>
                        <a:pt x="57" y="41"/>
                        <a:pt x="57" y="41"/>
                      </a:cubicBezTo>
                      <a:cubicBezTo>
                        <a:pt x="57" y="40"/>
                        <a:pt x="57" y="40"/>
                        <a:pt x="57" y="40"/>
                      </a:cubicBezTo>
                      <a:cubicBezTo>
                        <a:pt x="57" y="40"/>
                        <a:pt x="57" y="40"/>
                        <a:pt x="57" y="40"/>
                      </a:cubicBezTo>
                      <a:cubicBezTo>
                        <a:pt x="57" y="40"/>
                        <a:pt x="57" y="40"/>
                        <a:pt x="57" y="40"/>
                      </a:cubicBezTo>
                      <a:cubicBezTo>
                        <a:pt x="57" y="41"/>
                        <a:pt x="57" y="41"/>
                        <a:pt x="57" y="41"/>
                      </a:cubicBezTo>
                      <a:close/>
                      <a:moveTo>
                        <a:pt x="58" y="40"/>
                      </a:moveTo>
                      <a:cubicBezTo>
                        <a:pt x="58" y="40"/>
                        <a:pt x="58" y="40"/>
                        <a:pt x="58" y="40"/>
                      </a:cubicBezTo>
                      <a:cubicBezTo>
                        <a:pt x="59" y="40"/>
                        <a:pt x="59" y="40"/>
                        <a:pt x="59" y="40"/>
                      </a:cubicBezTo>
                      <a:cubicBezTo>
                        <a:pt x="59" y="40"/>
                        <a:pt x="59" y="40"/>
                        <a:pt x="59" y="40"/>
                      </a:cubicBezTo>
                      <a:cubicBezTo>
                        <a:pt x="60" y="40"/>
                        <a:pt x="60" y="40"/>
                        <a:pt x="60" y="40"/>
                      </a:cubicBezTo>
                      <a:cubicBezTo>
                        <a:pt x="59" y="39"/>
                        <a:pt x="59" y="39"/>
                        <a:pt x="59" y="39"/>
                      </a:cubicBezTo>
                      <a:cubicBezTo>
                        <a:pt x="59" y="39"/>
                        <a:pt x="59" y="39"/>
                        <a:pt x="59" y="39"/>
                      </a:cubicBezTo>
                      <a:cubicBezTo>
                        <a:pt x="59" y="40"/>
                        <a:pt x="59" y="40"/>
                        <a:pt x="59" y="40"/>
                      </a:cubicBezTo>
                      <a:cubicBezTo>
                        <a:pt x="58" y="40"/>
                        <a:pt x="58" y="40"/>
                        <a:pt x="58" y="40"/>
                      </a:cubicBezTo>
                      <a:close/>
                      <a:moveTo>
                        <a:pt x="58" y="36"/>
                      </a:moveTo>
                      <a:cubicBezTo>
                        <a:pt x="58" y="37"/>
                        <a:pt x="58" y="37"/>
                        <a:pt x="58" y="37"/>
                      </a:cubicBezTo>
                      <a:cubicBezTo>
                        <a:pt x="57" y="37"/>
                        <a:pt x="57" y="37"/>
                        <a:pt x="57" y="37"/>
                      </a:cubicBezTo>
                      <a:cubicBezTo>
                        <a:pt x="57" y="37"/>
                        <a:pt x="57" y="37"/>
                        <a:pt x="57" y="37"/>
                      </a:cubicBezTo>
                      <a:cubicBezTo>
                        <a:pt x="56" y="36"/>
                        <a:pt x="56" y="36"/>
                        <a:pt x="56" y="36"/>
                      </a:cubicBezTo>
                      <a:cubicBezTo>
                        <a:pt x="57" y="35"/>
                        <a:pt x="57" y="35"/>
                        <a:pt x="57" y="35"/>
                      </a:cubicBezTo>
                      <a:cubicBezTo>
                        <a:pt x="58" y="35"/>
                        <a:pt x="58" y="35"/>
                        <a:pt x="58" y="35"/>
                      </a:cubicBezTo>
                      <a:cubicBezTo>
                        <a:pt x="59" y="35"/>
                        <a:pt x="59" y="35"/>
                        <a:pt x="59" y="35"/>
                      </a:cubicBezTo>
                      <a:cubicBezTo>
                        <a:pt x="60" y="35"/>
                        <a:pt x="60" y="35"/>
                        <a:pt x="60" y="35"/>
                      </a:cubicBezTo>
                      <a:cubicBezTo>
                        <a:pt x="60" y="36"/>
                        <a:pt x="60" y="36"/>
                        <a:pt x="60" y="36"/>
                      </a:cubicBezTo>
                      <a:cubicBezTo>
                        <a:pt x="60" y="36"/>
                        <a:pt x="60" y="36"/>
                        <a:pt x="60" y="36"/>
                      </a:cubicBezTo>
                      <a:cubicBezTo>
                        <a:pt x="60" y="37"/>
                        <a:pt x="60" y="37"/>
                        <a:pt x="60" y="37"/>
                      </a:cubicBezTo>
                      <a:cubicBezTo>
                        <a:pt x="59" y="37"/>
                        <a:pt x="59" y="37"/>
                        <a:pt x="59" y="37"/>
                      </a:cubicBezTo>
                      <a:cubicBezTo>
                        <a:pt x="58" y="36"/>
                        <a:pt x="58" y="36"/>
                        <a:pt x="58" y="36"/>
                      </a:cubicBezTo>
                      <a:close/>
                      <a:moveTo>
                        <a:pt x="62" y="36"/>
                      </a:moveTo>
                      <a:cubicBezTo>
                        <a:pt x="63" y="37"/>
                        <a:pt x="63" y="37"/>
                        <a:pt x="63" y="37"/>
                      </a:cubicBezTo>
                      <a:cubicBezTo>
                        <a:pt x="63" y="37"/>
                        <a:pt x="63" y="37"/>
                        <a:pt x="63" y="37"/>
                      </a:cubicBezTo>
                      <a:cubicBezTo>
                        <a:pt x="64" y="36"/>
                        <a:pt x="64" y="36"/>
                        <a:pt x="64" y="36"/>
                      </a:cubicBezTo>
                      <a:cubicBezTo>
                        <a:pt x="64" y="36"/>
                        <a:pt x="64" y="36"/>
                        <a:pt x="64" y="36"/>
                      </a:cubicBezTo>
                      <a:cubicBezTo>
                        <a:pt x="64" y="35"/>
                        <a:pt x="64" y="35"/>
                        <a:pt x="64" y="35"/>
                      </a:cubicBezTo>
                      <a:cubicBezTo>
                        <a:pt x="63" y="36"/>
                        <a:pt x="63" y="36"/>
                        <a:pt x="63" y="36"/>
                      </a:cubicBezTo>
                      <a:cubicBezTo>
                        <a:pt x="63" y="36"/>
                        <a:pt x="63" y="36"/>
                        <a:pt x="63" y="36"/>
                      </a:cubicBezTo>
                      <a:cubicBezTo>
                        <a:pt x="62" y="36"/>
                        <a:pt x="62" y="36"/>
                        <a:pt x="62" y="36"/>
                      </a:cubicBezTo>
                      <a:close/>
                      <a:moveTo>
                        <a:pt x="64" y="44"/>
                      </a:moveTo>
                      <a:cubicBezTo>
                        <a:pt x="64" y="44"/>
                        <a:pt x="64" y="44"/>
                        <a:pt x="64" y="44"/>
                      </a:cubicBezTo>
                      <a:cubicBezTo>
                        <a:pt x="64" y="43"/>
                        <a:pt x="64" y="43"/>
                        <a:pt x="64" y="43"/>
                      </a:cubicBezTo>
                      <a:cubicBezTo>
                        <a:pt x="63" y="42"/>
                        <a:pt x="63" y="42"/>
                        <a:pt x="63" y="42"/>
                      </a:cubicBezTo>
                      <a:cubicBezTo>
                        <a:pt x="64" y="41"/>
                        <a:pt x="64" y="41"/>
                        <a:pt x="64" y="41"/>
                      </a:cubicBezTo>
                      <a:cubicBezTo>
                        <a:pt x="63" y="40"/>
                        <a:pt x="63" y="40"/>
                        <a:pt x="63" y="40"/>
                      </a:cubicBezTo>
                      <a:cubicBezTo>
                        <a:pt x="62" y="40"/>
                        <a:pt x="62" y="40"/>
                        <a:pt x="62" y="40"/>
                      </a:cubicBezTo>
                      <a:cubicBezTo>
                        <a:pt x="62" y="40"/>
                        <a:pt x="62" y="40"/>
                        <a:pt x="62" y="40"/>
                      </a:cubicBezTo>
                      <a:cubicBezTo>
                        <a:pt x="61" y="40"/>
                        <a:pt x="61" y="40"/>
                        <a:pt x="61" y="40"/>
                      </a:cubicBezTo>
                      <a:cubicBezTo>
                        <a:pt x="59" y="41"/>
                        <a:pt x="59" y="41"/>
                        <a:pt x="59" y="41"/>
                      </a:cubicBezTo>
                      <a:cubicBezTo>
                        <a:pt x="59" y="42"/>
                        <a:pt x="59" y="42"/>
                        <a:pt x="59" y="42"/>
                      </a:cubicBezTo>
                      <a:cubicBezTo>
                        <a:pt x="60" y="43"/>
                        <a:pt x="60" y="43"/>
                        <a:pt x="60" y="43"/>
                      </a:cubicBezTo>
                      <a:cubicBezTo>
                        <a:pt x="60" y="44"/>
                        <a:pt x="60" y="44"/>
                        <a:pt x="60" y="44"/>
                      </a:cubicBezTo>
                      <a:cubicBezTo>
                        <a:pt x="61" y="45"/>
                        <a:pt x="61" y="45"/>
                        <a:pt x="61" y="45"/>
                      </a:cubicBezTo>
                      <a:cubicBezTo>
                        <a:pt x="62" y="45"/>
                        <a:pt x="62" y="45"/>
                        <a:pt x="62" y="45"/>
                      </a:cubicBezTo>
                      <a:cubicBezTo>
                        <a:pt x="63" y="44"/>
                        <a:pt x="63" y="44"/>
                        <a:pt x="63" y="44"/>
                      </a:cubicBezTo>
                      <a:cubicBezTo>
                        <a:pt x="64" y="44"/>
                        <a:pt x="64" y="44"/>
                        <a:pt x="64" y="44"/>
                      </a:cubicBezTo>
                      <a:close/>
                      <a:moveTo>
                        <a:pt x="66" y="44"/>
                      </a:moveTo>
                      <a:cubicBezTo>
                        <a:pt x="67" y="43"/>
                        <a:pt x="67" y="43"/>
                        <a:pt x="67" y="43"/>
                      </a:cubicBezTo>
                      <a:cubicBezTo>
                        <a:pt x="66" y="43"/>
                        <a:pt x="66" y="43"/>
                        <a:pt x="66" y="43"/>
                      </a:cubicBezTo>
                      <a:cubicBezTo>
                        <a:pt x="66" y="42"/>
                        <a:pt x="66" y="42"/>
                        <a:pt x="66" y="42"/>
                      </a:cubicBezTo>
                      <a:cubicBezTo>
                        <a:pt x="67" y="42"/>
                        <a:pt x="67" y="42"/>
                        <a:pt x="67" y="42"/>
                      </a:cubicBezTo>
                      <a:cubicBezTo>
                        <a:pt x="67" y="41"/>
                        <a:pt x="67" y="41"/>
                        <a:pt x="67" y="41"/>
                      </a:cubicBezTo>
                      <a:cubicBezTo>
                        <a:pt x="67" y="40"/>
                        <a:pt x="67" y="40"/>
                        <a:pt x="67" y="40"/>
                      </a:cubicBezTo>
                      <a:cubicBezTo>
                        <a:pt x="68" y="40"/>
                        <a:pt x="68" y="40"/>
                        <a:pt x="68" y="40"/>
                      </a:cubicBezTo>
                      <a:cubicBezTo>
                        <a:pt x="69" y="40"/>
                        <a:pt x="69" y="40"/>
                        <a:pt x="69" y="40"/>
                      </a:cubicBezTo>
                      <a:cubicBezTo>
                        <a:pt x="69" y="39"/>
                        <a:pt x="69" y="39"/>
                        <a:pt x="69" y="39"/>
                      </a:cubicBezTo>
                      <a:cubicBezTo>
                        <a:pt x="68" y="39"/>
                        <a:pt x="68" y="39"/>
                        <a:pt x="68" y="39"/>
                      </a:cubicBezTo>
                      <a:cubicBezTo>
                        <a:pt x="68" y="39"/>
                        <a:pt x="68" y="39"/>
                        <a:pt x="68" y="39"/>
                      </a:cubicBezTo>
                      <a:cubicBezTo>
                        <a:pt x="66" y="38"/>
                        <a:pt x="66" y="38"/>
                        <a:pt x="66" y="38"/>
                      </a:cubicBezTo>
                      <a:cubicBezTo>
                        <a:pt x="65" y="38"/>
                        <a:pt x="65" y="38"/>
                        <a:pt x="65" y="38"/>
                      </a:cubicBezTo>
                      <a:cubicBezTo>
                        <a:pt x="64" y="38"/>
                        <a:pt x="64" y="38"/>
                        <a:pt x="64" y="38"/>
                      </a:cubicBezTo>
                      <a:cubicBezTo>
                        <a:pt x="63" y="38"/>
                        <a:pt x="63" y="38"/>
                        <a:pt x="63" y="38"/>
                      </a:cubicBezTo>
                      <a:cubicBezTo>
                        <a:pt x="63" y="38"/>
                        <a:pt x="63" y="38"/>
                        <a:pt x="63" y="38"/>
                      </a:cubicBezTo>
                      <a:cubicBezTo>
                        <a:pt x="63" y="39"/>
                        <a:pt x="63" y="39"/>
                        <a:pt x="63" y="39"/>
                      </a:cubicBezTo>
                      <a:cubicBezTo>
                        <a:pt x="64" y="41"/>
                        <a:pt x="64" y="41"/>
                        <a:pt x="64" y="41"/>
                      </a:cubicBezTo>
                      <a:cubicBezTo>
                        <a:pt x="64" y="42"/>
                        <a:pt x="64" y="42"/>
                        <a:pt x="64" y="42"/>
                      </a:cubicBezTo>
                      <a:cubicBezTo>
                        <a:pt x="65" y="43"/>
                        <a:pt x="65" y="43"/>
                        <a:pt x="65" y="43"/>
                      </a:cubicBezTo>
                      <a:cubicBezTo>
                        <a:pt x="66" y="44"/>
                        <a:pt x="66" y="44"/>
                        <a:pt x="66" y="44"/>
                      </a:cubicBezTo>
                      <a:cubicBezTo>
                        <a:pt x="66" y="44"/>
                        <a:pt x="66" y="44"/>
                        <a:pt x="66" y="44"/>
                      </a:cubicBezTo>
                      <a:close/>
                      <a:moveTo>
                        <a:pt x="70" y="44"/>
                      </a:moveTo>
                      <a:cubicBezTo>
                        <a:pt x="69" y="44"/>
                        <a:pt x="69" y="44"/>
                        <a:pt x="69" y="44"/>
                      </a:cubicBezTo>
                      <a:cubicBezTo>
                        <a:pt x="71" y="45"/>
                        <a:pt x="71" y="45"/>
                        <a:pt x="71" y="45"/>
                      </a:cubicBezTo>
                      <a:cubicBezTo>
                        <a:pt x="71" y="45"/>
                        <a:pt x="71" y="45"/>
                        <a:pt x="71" y="45"/>
                      </a:cubicBezTo>
                      <a:cubicBezTo>
                        <a:pt x="72" y="46"/>
                        <a:pt x="72" y="46"/>
                        <a:pt x="72" y="46"/>
                      </a:cubicBezTo>
                      <a:cubicBezTo>
                        <a:pt x="73" y="44"/>
                        <a:pt x="73" y="44"/>
                        <a:pt x="73" y="44"/>
                      </a:cubicBezTo>
                      <a:cubicBezTo>
                        <a:pt x="73" y="43"/>
                        <a:pt x="73" y="43"/>
                        <a:pt x="73" y="43"/>
                      </a:cubicBezTo>
                      <a:cubicBezTo>
                        <a:pt x="72" y="43"/>
                        <a:pt x="72" y="43"/>
                        <a:pt x="72" y="43"/>
                      </a:cubicBezTo>
                      <a:cubicBezTo>
                        <a:pt x="71" y="43"/>
                        <a:pt x="71" y="43"/>
                        <a:pt x="71" y="43"/>
                      </a:cubicBezTo>
                      <a:cubicBezTo>
                        <a:pt x="70" y="44"/>
                        <a:pt x="70" y="44"/>
                        <a:pt x="70" y="44"/>
                      </a:cubicBezTo>
                      <a:close/>
                      <a:moveTo>
                        <a:pt x="69" y="45"/>
                      </a:moveTo>
                      <a:cubicBezTo>
                        <a:pt x="69" y="46"/>
                        <a:pt x="69" y="46"/>
                        <a:pt x="69" y="46"/>
                      </a:cubicBezTo>
                      <a:cubicBezTo>
                        <a:pt x="70" y="46"/>
                        <a:pt x="70" y="46"/>
                        <a:pt x="70" y="46"/>
                      </a:cubicBezTo>
                      <a:cubicBezTo>
                        <a:pt x="71" y="47"/>
                        <a:pt x="71" y="47"/>
                        <a:pt x="71" y="47"/>
                      </a:cubicBezTo>
                      <a:cubicBezTo>
                        <a:pt x="71" y="46"/>
                        <a:pt x="71" y="46"/>
                        <a:pt x="71" y="46"/>
                      </a:cubicBezTo>
                      <a:cubicBezTo>
                        <a:pt x="70" y="45"/>
                        <a:pt x="70" y="45"/>
                        <a:pt x="70" y="45"/>
                      </a:cubicBezTo>
                      <a:cubicBezTo>
                        <a:pt x="69" y="45"/>
                        <a:pt x="69" y="45"/>
                        <a:pt x="69" y="45"/>
                      </a:cubicBezTo>
                      <a:close/>
                      <a:moveTo>
                        <a:pt x="69" y="18"/>
                      </a:moveTo>
                      <a:cubicBezTo>
                        <a:pt x="70" y="17"/>
                        <a:pt x="70" y="17"/>
                        <a:pt x="70" y="17"/>
                      </a:cubicBezTo>
                      <a:cubicBezTo>
                        <a:pt x="70" y="17"/>
                        <a:pt x="70" y="17"/>
                        <a:pt x="70" y="17"/>
                      </a:cubicBezTo>
                      <a:cubicBezTo>
                        <a:pt x="71" y="17"/>
                        <a:pt x="71" y="17"/>
                        <a:pt x="71" y="17"/>
                      </a:cubicBezTo>
                      <a:cubicBezTo>
                        <a:pt x="72" y="17"/>
                        <a:pt x="72" y="17"/>
                        <a:pt x="72" y="17"/>
                      </a:cubicBezTo>
                      <a:cubicBezTo>
                        <a:pt x="72" y="17"/>
                        <a:pt x="72" y="17"/>
                        <a:pt x="72" y="17"/>
                      </a:cubicBezTo>
                      <a:cubicBezTo>
                        <a:pt x="73" y="17"/>
                        <a:pt x="73" y="17"/>
                        <a:pt x="73" y="17"/>
                      </a:cubicBezTo>
                      <a:cubicBezTo>
                        <a:pt x="73" y="18"/>
                        <a:pt x="73" y="18"/>
                        <a:pt x="73" y="18"/>
                      </a:cubicBezTo>
                      <a:cubicBezTo>
                        <a:pt x="72" y="18"/>
                        <a:pt x="72" y="18"/>
                        <a:pt x="72" y="18"/>
                      </a:cubicBezTo>
                      <a:cubicBezTo>
                        <a:pt x="72" y="19"/>
                        <a:pt x="72" y="19"/>
                        <a:pt x="72" y="19"/>
                      </a:cubicBezTo>
                      <a:cubicBezTo>
                        <a:pt x="71" y="18"/>
                        <a:pt x="71" y="18"/>
                        <a:pt x="71" y="18"/>
                      </a:cubicBezTo>
                      <a:cubicBezTo>
                        <a:pt x="70" y="18"/>
                        <a:pt x="70" y="18"/>
                        <a:pt x="70" y="18"/>
                      </a:cubicBezTo>
                      <a:cubicBezTo>
                        <a:pt x="69" y="18"/>
                        <a:pt x="69" y="18"/>
                        <a:pt x="69" y="18"/>
                      </a:cubicBezTo>
                      <a:close/>
                      <a:moveTo>
                        <a:pt x="71" y="30"/>
                      </a:moveTo>
                      <a:cubicBezTo>
                        <a:pt x="72" y="29"/>
                        <a:pt x="72" y="29"/>
                        <a:pt x="72" y="29"/>
                      </a:cubicBezTo>
                      <a:cubicBezTo>
                        <a:pt x="72" y="28"/>
                        <a:pt x="72" y="28"/>
                        <a:pt x="72" y="28"/>
                      </a:cubicBezTo>
                      <a:cubicBezTo>
                        <a:pt x="72" y="28"/>
                        <a:pt x="72" y="28"/>
                        <a:pt x="72" y="28"/>
                      </a:cubicBezTo>
                      <a:cubicBezTo>
                        <a:pt x="72" y="28"/>
                        <a:pt x="72" y="28"/>
                        <a:pt x="72" y="28"/>
                      </a:cubicBezTo>
                      <a:cubicBezTo>
                        <a:pt x="71" y="27"/>
                        <a:pt x="71" y="27"/>
                        <a:pt x="71" y="27"/>
                      </a:cubicBezTo>
                      <a:cubicBezTo>
                        <a:pt x="70" y="27"/>
                        <a:pt x="70" y="27"/>
                        <a:pt x="70" y="27"/>
                      </a:cubicBezTo>
                      <a:cubicBezTo>
                        <a:pt x="69" y="27"/>
                        <a:pt x="69" y="27"/>
                        <a:pt x="69" y="27"/>
                      </a:cubicBezTo>
                      <a:cubicBezTo>
                        <a:pt x="68" y="28"/>
                        <a:pt x="68" y="28"/>
                        <a:pt x="68" y="28"/>
                      </a:cubicBezTo>
                      <a:cubicBezTo>
                        <a:pt x="67" y="28"/>
                        <a:pt x="67" y="28"/>
                        <a:pt x="67" y="28"/>
                      </a:cubicBezTo>
                      <a:cubicBezTo>
                        <a:pt x="68" y="29"/>
                        <a:pt x="68" y="29"/>
                        <a:pt x="68" y="29"/>
                      </a:cubicBezTo>
                      <a:cubicBezTo>
                        <a:pt x="69" y="30"/>
                        <a:pt x="69" y="30"/>
                        <a:pt x="69" y="30"/>
                      </a:cubicBezTo>
                      <a:cubicBezTo>
                        <a:pt x="70" y="30"/>
                        <a:pt x="70" y="30"/>
                        <a:pt x="70" y="30"/>
                      </a:cubicBezTo>
                      <a:cubicBezTo>
                        <a:pt x="71" y="30"/>
                        <a:pt x="71" y="30"/>
                        <a:pt x="71" y="30"/>
                      </a:cubicBezTo>
                      <a:close/>
                      <a:moveTo>
                        <a:pt x="74" y="28"/>
                      </a:moveTo>
                      <a:cubicBezTo>
                        <a:pt x="73" y="29"/>
                        <a:pt x="73" y="29"/>
                        <a:pt x="73" y="29"/>
                      </a:cubicBezTo>
                      <a:cubicBezTo>
                        <a:pt x="73" y="30"/>
                        <a:pt x="73" y="30"/>
                        <a:pt x="73" y="30"/>
                      </a:cubicBezTo>
                      <a:cubicBezTo>
                        <a:pt x="72" y="31"/>
                        <a:pt x="72" y="31"/>
                        <a:pt x="72" y="31"/>
                      </a:cubicBezTo>
                      <a:cubicBezTo>
                        <a:pt x="72" y="30"/>
                        <a:pt x="72" y="30"/>
                        <a:pt x="72" y="30"/>
                      </a:cubicBezTo>
                      <a:cubicBezTo>
                        <a:pt x="71" y="30"/>
                        <a:pt x="71" y="30"/>
                        <a:pt x="71" y="30"/>
                      </a:cubicBezTo>
                      <a:cubicBezTo>
                        <a:pt x="70" y="31"/>
                        <a:pt x="70" y="31"/>
                        <a:pt x="70" y="31"/>
                      </a:cubicBezTo>
                      <a:cubicBezTo>
                        <a:pt x="69" y="31"/>
                        <a:pt x="69" y="31"/>
                        <a:pt x="69" y="31"/>
                      </a:cubicBezTo>
                      <a:cubicBezTo>
                        <a:pt x="69" y="31"/>
                        <a:pt x="69" y="31"/>
                        <a:pt x="69" y="31"/>
                      </a:cubicBezTo>
                      <a:cubicBezTo>
                        <a:pt x="68" y="31"/>
                        <a:pt x="68" y="31"/>
                        <a:pt x="68" y="31"/>
                      </a:cubicBezTo>
                      <a:cubicBezTo>
                        <a:pt x="68" y="32"/>
                        <a:pt x="68" y="32"/>
                        <a:pt x="68" y="32"/>
                      </a:cubicBezTo>
                      <a:cubicBezTo>
                        <a:pt x="68" y="33"/>
                        <a:pt x="68" y="33"/>
                        <a:pt x="68" y="33"/>
                      </a:cubicBezTo>
                      <a:cubicBezTo>
                        <a:pt x="68" y="35"/>
                        <a:pt x="68" y="35"/>
                        <a:pt x="68" y="35"/>
                      </a:cubicBezTo>
                      <a:cubicBezTo>
                        <a:pt x="69" y="37"/>
                        <a:pt x="69" y="37"/>
                        <a:pt x="69" y="37"/>
                      </a:cubicBezTo>
                      <a:cubicBezTo>
                        <a:pt x="70" y="38"/>
                        <a:pt x="70" y="38"/>
                        <a:pt x="70" y="38"/>
                      </a:cubicBezTo>
                      <a:cubicBezTo>
                        <a:pt x="71" y="38"/>
                        <a:pt x="71" y="38"/>
                        <a:pt x="71" y="38"/>
                      </a:cubicBezTo>
                      <a:cubicBezTo>
                        <a:pt x="73" y="38"/>
                        <a:pt x="73" y="38"/>
                        <a:pt x="73" y="38"/>
                      </a:cubicBezTo>
                      <a:cubicBezTo>
                        <a:pt x="74" y="37"/>
                        <a:pt x="74" y="37"/>
                        <a:pt x="74" y="37"/>
                      </a:cubicBezTo>
                      <a:cubicBezTo>
                        <a:pt x="75" y="37"/>
                        <a:pt x="75" y="37"/>
                        <a:pt x="75" y="37"/>
                      </a:cubicBezTo>
                      <a:cubicBezTo>
                        <a:pt x="76" y="37"/>
                        <a:pt x="76" y="37"/>
                        <a:pt x="76" y="37"/>
                      </a:cubicBezTo>
                      <a:cubicBezTo>
                        <a:pt x="76" y="36"/>
                        <a:pt x="76" y="36"/>
                        <a:pt x="76" y="36"/>
                      </a:cubicBezTo>
                      <a:cubicBezTo>
                        <a:pt x="75" y="35"/>
                        <a:pt x="75" y="35"/>
                        <a:pt x="75" y="35"/>
                      </a:cubicBezTo>
                      <a:cubicBezTo>
                        <a:pt x="75" y="35"/>
                        <a:pt x="75" y="35"/>
                        <a:pt x="75" y="35"/>
                      </a:cubicBezTo>
                      <a:cubicBezTo>
                        <a:pt x="74" y="34"/>
                        <a:pt x="74" y="34"/>
                        <a:pt x="74" y="34"/>
                      </a:cubicBezTo>
                      <a:cubicBezTo>
                        <a:pt x="73" y="33"/>
                        <a:pt x="73" y="33"/>
                        <a:pt x="73" y="33"/>
                      </a:cubicBezTo>
                      <a:cubicBezTo>
                        <a:pt x="73" y="32"/>
                        <a:pt x="73" y="32"/>
                        <a:pt x="73" y="32"/>
                      </a:cubicBezTo>
                      <a:cubicBezTo>
                        <a:pt x="74" y="32"/>
                        <a:pt x="74" y="32"/>
                        <a:pt x="74" y="32"/>
                      </a:cubicBezTo>
                      <a:cubicBezTo>
                        <a:pt x="75" y="32"/>
                        <a:pt x="75" y="32"/>
                        <a:pt x="75" y="32"/>
                      </a:cubicBezTo>
                      <a:cubicBezTo>
                        <a:pt x="76" y="31"/>
                        <a:pt x="76" y="31"/>
                        <a:pt x="76" y="31"/>
                      </a:cubicBezTo>
                      <a:cubicBezTo>
                        <a:pt x="76" y="31"/>
                        <a:pt x="76" y="31"/>
                        <a:pt x="76" y="31"/>
                      </a:cubicBezTo>
                      <a:cubicBezTo>
                        <a:pt x="75" y="30"/>
                        <a:pt x="75" y="30"/>
                        <a:pt x="75" y="30"/>
                      </a:cubicBezTo>
                      <a:cubicBezTo>
                        <a:pt x="74" y="30"/>
                        <a:pt x="74" y="30"/>
                        <a:pt x="74" y="30"/>
                      </a:cubicBezTo>
                      <a:cubicBezTo>
                        <a:pt x="74" y="28"/>
                        <a:pt x="74" y="28"/>
                        <a:pt x="74" y="28"/>
                      </a:cubicBezTo>
                      <a:close/>
                      <a:moveTo>
                        <a:pt x="78" y="30"/>
                      </a:moveTo>
                      <a:cubicBezTo>
                        <a:pt x="77" y="30"/>
                        <a:pt x="77" y="30"/>
                        <a:pt x="77" y="30"/>
                      </a:cubicBezTo>
                      <a:cubicBezTo>
                        <a:pt x="77" y="29"/>
                        <a:pt x="77" y="29"/>
                        <a:pt x="77" y="29"/>
                      </a:cubicBezTo>
                      <a:cubicBezTo>
                        <a:pt x="77" y="28"/>
                        <a:pt x="77" y="28"/>
                        <a:pt x="77" y="28"/>
                      </a:cubicBezTo>
                      <a:cubicBezTo>
                        <a:pt x="76" y="29"/>
                        <a:pt x="76" y="29"/>
                        <a:pt x="76" y="29"/>
                      </a:cubicBezTo>
                      <a:cubicBezTo>
                        <a:pt x="75" y="28"/>
                        <a:pt x="75" y="28"/>
                        <a:pt x="75" y="28"/>
                      </a:cubicBezTo>
                      <a:cubicBezTo>
                        <a:pt x="75" y="27"/>
                        <a:pt x="75" y="27"/>
                        <a:pt x="75" y="27"/>
                      </a:cubicBezTo>
                      <a:cubicBezTo>
                        <a:pt x="75" y="27"/>
                        <a:pt x="75" y="27"/>
                        <a:pt x="75" y="27"/>
                      </a:cubicBezTo>
                      <a:cubicBezTo>
                        <a:pt x="75" y="25"/>
                        <a:pt x="75" y="25"/>
                        <a:pt x="75" y="25"/>
                      </a:cubicBezTo>
                      <a:cubicBezTo>
                        <a:pt x="74" y="24"/>
                        <a:pt x="74" y="24"/>
                        <a:pt x="74" y="24"/>
                      </a:cubicBezTo>
                      <a:cubicBezTo>
                        <a:pt x="75" y="23"/>
                        <a:pt x="75" y="23"/>
                        <a:pt x="75" y="23"/>
                      </a:cubicBezTo>
                      <a:cubicBezTo>
                        <a:pt x="76" y="23"/>
                        <a:pt x="76" y="23"/>
                        <a:pt x="76" y="23"/>
                      </a:cubicBezTo>
                      <a:cubicBezTo>
                        <a:pt x="76" y="22"/>
                        <a:pt x="76" y="22"/>
                        <a:pt x="76" y="22"/>
                      </a:cubicBezTo>
                      <a:cubicBezTo>
                        <a:pt x="76" y="21"/>
                        <a:pt x="76" y="21"/>
                        <a:pt x="76" y="21"/>
                      </a:cubicBezTo>
                      <a:cubicBezTo>
                        <a:pt x="77" y="21"/>
                        <a:pt x="77" y="21"/>
                        <a:pt x="77" y="21"/>
                      </a:cubicBezTo>
                      <a:cubicBezTo>
                        <a:pt x="77" y="20"/>
                        <a:pt x="77" y="20"/>
                        <a:pt x="77" y="20"/>
                      </a:cubicBezTo>
                      <a:cubicBezTo>
                        <a:pt x="78" y="21"/>
                        <a:pt x="78" y="21"/>
                        <a:pt x="78" y="21"/>
                      </a:cubicBezTo>
                      <a:cubicBezTo>
                        <a:pt x="79" y="21"/>
                        <a:pt x="79" y="21"/>
                        <a:pt x="79" y="21"/>
                      </a:cubicBezTo>
                      <a:cubicBezTo>
                        <a:pt x="79" y="22"/>
                        <a:pt x="79" y="22"/>
                        <a:pt x="79" y="22"/>
                      </a:cubicBezTo>
                      <a:cubicBezTo>
                        <a:pt x="79" y="23"/>
                        <a:pt x="79" y="23"/>
                        <a:pt x="79" y="23"/>
                      </a:cubicBezTo>
                      <a:cubicBezTo>
                        <a:pt x="79" y="24"/>
                        <a:pt x="79" y="24"/>
                        <a:pt x="79" y="24"/>
                      </a:cubicBezTo>
                      <a:cubicBezTo>
                        <a:pt x="80" y="24"/>
                        <a:pt x="80" y="24"/>
                        <a:pt x="80" y="24"/>
                      </a:cubicBezTo>
                      <a:cubicBezTo>
                        <a:pt x="81" y="25"/>
                        <a:pt x="81" y="25"/>
                        <a:pt x="81" y="25"/>
                      </a:cubicBezTo>
                      <a:cubicBezTo>
                        <a:pt x="82" y="25"/>
                        <a:pt x="82" y="25"/>
                        <a:pt x="82" y="25"/>
                      </a:cubicBezTo>
                      <a:cubicBezTo>
                        <a:pt x="82" y="25"/>
                        <a:pt x="82" y="25"/>
                        <a:pt x="82" y="25"/>
                      </a:cubicBezTo>
                      <a:cubicBezTo>
                        <a:pt x="80" y="26"/>
                        <a:pt x="80" y="26"/>
                        <a:pt x="80" y="26"/>
                      </a:cubicBezTo>
                      <a:cubicBezTo>
                        <a:pt x="79" y="27"/>
                        <a:pt x="79" y="27"/>
                        <a:pt x="79" y="27"/>
                      </a:cubicBezTo>
                      <a:cubicBezTo>
                        <a:pt x="79" y="27"/>
                        <a:pt x="79" y="27"/>
                        <a:pt x="79" y="27"/>
                      </a:cubicBezTo>
                      <a:cubicBezTo>
                        <a:pt x="79" y="28"/>
                        <a:pt x="79" y="28"/>
                        <a:pt x="79" y="28"/>
                      </a:cubicBezTo>
                      <a:cubicBezTo>
                        <a:pt x="79" y="29"/>
                        <a:pt x="79" y="29"/>
                        <a:pt x="79" y="29"/>
                      </a:cubicBezTo>
                      <a:cubicBezTo>
                        <a:pt x="78" y="30"/>
                        <a:pt x="78" y="30"/>
                        <a:pt x="78" y="30"/>
                      </a:cubicBezTo>
                      <a:close/>
                      <a:moveTo>
                        <a:pt x="488" y="54"/>
                      </a:moveTo>
                      <a:cubicBezTo>
                        <a:pt x="488" y="54"/>
                        <a:pt x="488" y="54"/>
                        <a:pt x="488" y="54"/>
                      </a:cubicBezTo>
                      <a:cubicBezTo>
                        <a:pt x="489" y="54"/>
                        <a:pt x="489" y="54"/>
                        <a:pt x="489" y="54"/>
                      </a:cubicBezTo>
                      <a:cubicBezTo>
                        <a:pt x="488" y="53"/>
                        <a:pt x="488" y="53"/>
                        <a:pt x="488" y="53"/>
                      </a:cubicBezTo>
                      <a:cubicBezTo>
                        <a:pt x="488" y="54"/>
                        <a:pt x="488" y="54"/>
                        <a:pt x="488" y="54"/>
                      </a:cubicBezTo>
                      <a:cubicBezTo>
                        <a:pt x="488" y="54"/>
                        <a:pt x="488" y="54"/>
                        <a:pt x="488" y="54"/>
                      </a:cubicBezTo>
                      <a:close/>
                      <a:moveTo>
                        <a:pt x="484" y="54"/>
                      </a:moveTo>
                      <a:cubicBezTo>
                        <a:pt x="485" y="54"/>
                        <a:pt x="485" y="54"/>
                        <a:pt x="485" y="54"/>
                      </a:cubicBezTo>
                      <a:cubicBezTo>
                        <a:pt x="485" y="53"/>
                        <a:pt x="485" y="53"/>
                        <a:pt x="485" y="53"/>
                      </a:cubicBezTo>
                      <a:cubicBezTo>
                        <a:pt x="484" y="53"/>
                        <a:pt x="484" y="53"/>
                        <a:pt x="484" y="53"/>
                      </a:cubicBezTo>
                      <a:cubicBezTo>
                        <a:pt x="484" y="53"/>
                        <a:pt x="484" y="53"/>
                        <a:pt x="484" y="53"/>
                      </a:cubicBezTo>
                      <a:cubicBezTo>
                        <a:pt x="484" y="54"/>
                        <a:pt x="484" y="54"/>
                        <a:pt x="484" y="54"/>
                      </a:cubicBezTo>
                      <a:close/>
                      <a:moveTo>
                        <a:pt x="481" y="55"/>
                      </a:moveTo>
                      <a:cubicBezTo>
                        <a:pt x="481" y="55"/>
                        <a:pt x="481" y="55"/>
                        <a:pt x="481" y="55"/>
                      </a:cubicBezTo>
                      <a:cubicBezTo>
                        <a:pt x="481" y="55"/>
                        <a:pt x="481" y="55"/>
                        <a:pt x="481" y="55"/>
                      </a:cubicBezTo>
                      <a:cubicBezTo>
                        <a:pt x="481" y="54"/>
                        <a:pt x="481" y="54"/>
                        <a:pt x="481" y="54"/>
                      </a:cubicBezTo>
                      <a:cubicBezTo>
                        <a:pt x="481" y="54"/>
                        <a:pt x="481" y="54"/>
                        <a:pt x="481" y="54"/>
                      </a:cubicBezTo>
                      <a:cubicBezTo>
                        <a:pt x="480" y="54"/>
                        <a:pt x="480" y="54"/>
                        <a:pt x="480" y="54"/>
                      </a:cubicBezTo>
                      <a:cubicBezTo>
                        <a:pt x="481" y="55"/>
                        <a:pt x="481" y="55"/>
                        <a:pt x="481" y="55"/>
                      </a:cubicBezTo>
                      <a:close/>
                      <a:moveTo>
                        <a:pt x="564" y="147"/>
                      </a:moveTo>
                      <a:cubicBezTo>
                        <a:pt x="563" y="147"/>
                        <a:pt x="563" y="147"/>
                        <a:pt x="563" y="147"/>
                      </a:cubicBezTo>
                      <a:cubicBezTo>
                        <a:pt x="564" y="148"/>
                        <a:pt x="564" y="148"/>
                        <a:pt x="564" y="148"/>
                      </a:cubicBezTo>
                      <a:cubicBezTo>
                        <a:pt x="564" y="147"/>
                        <a:pt x="564" y="147"/>
                        <a:pt x="564" y="147"/>
                      </a:cubicBezTo>
                      <a:cubicBezTo>
                        <a:pt x="564" y="147"/>
                        <a:pt x="564" y="147"/>
                        <a:pt x="564" y="147"/>
                      </a:cubicBezTo>
                      <a:cubicBezTo>
                        <a:pt x="564" y="146"/>
                        <a:pt x="564" y="146"/>
                        <a:pt x="564" y="146"/>
                      </a:cubicBezTo>
                      <a:cubicBezTo>
                        <a:pt x="564" y="147"/>
                        <a:pt x="564" y="147"/>
                        <a:pt x="564" y="147"/>
                      </a:cubicBezTo>
                      <a:close/>
                      <a:moveTo>
                        <a:pt x="562" y="145"/>
                      </a:moveTo>
                      <a:cubicBezTo>
                        <a:pt x="563" y="146"/>
                        <a:pt x="563" y="146"/>
                        <a:pt x="563" y="146"/>
                      </a:cubicBezTo>
                      <a:cubicBezTo>
                        <a:pt x="564" y="146"/>
                        <a:pt x="564" y="146"/>
                        <a:pt x="564" y="146"/>
                      </a:cubicBezTo>
                      <a:cubicBezTo>
                        <a:pt x="564" y="145"/>
                        <a:pt x="564" y="145"/>
                        <a:pt x="564" y="145"/>
                      </a:cubicBezTo>
                      <a:cubicBezTo>
                        <a:pt x="563" y="145"/>
                        <a:pt x="563" y="145"/>
                        <a:pt x="563" y="145"/>
                      </a:cubicBezTo>
                      <a:cubicBezTo>
                        <a:pt x="563" y="145"/>
                        <a:pt x="563" y="145"/>
                        <a:pt x="563" y="145"/>
                      </a:cubicBezTo>
                      <a:cubicBezTo>
                        <a:pt x="562" y="145"/>
                        <a:pt x="562" y="145"/>
                        <a:pt x="562" y="145"/>
                      </a:cubicBezTo>
                      <a:close/>
                      <a:moveTo>
                        <a:pt x="90" y="93"/>
                      </a:moveTo>
                      <a:cubicBezTo>
                        <a:pt x="90" y="92"/>
                        <a:pt x="90" y="92"/>
                        <a:pt x="90" y="92"/>
                      </a:cubicBezTo>
                      <a:cubicBezTo>
                        <a:pt x="90" y="92"/>
                        <a:pt x="90" y="92"/>
                        <a:pt x="90" y="92"/>
                      </a:cubicBezTo>
                      <a:cubicBezTo>
                        <a:pt x="91" y="91"/>
                        <a:pt x="91" y="91"/>
                        <a:pt x="91" y="91"/>
                      </a:cubicBezTo>
                      <a:cubicBezTo>
                        <a:pt x="92" y="91"/>
                        <a:pt x="92" y="91"/>
                        <a:pt x="92" y="91"/>
                      </a:cubicBezTo>
                      <a:cubicBezTo>
                        <a:pt x="91" y="91"/>
                        <a:pt x="91" y="91"/>
                        <a:pt x="91" y="91"/>
                      </a:cubicBezTo>
                      <a:cubicBezTo>
                        <a:pt x="90" y="91"/>
                        <a:pt x="90" y="91"/>
                        <a:pt x="90" y="91"/>
                      </a:cubicBezTo>
                      <a:cubicBezTo>
                        <a:pt x="90" y="91"/>
                        <a:pt x="90" y="91"/>
                        <a:pt x="90" y="91"/>
                      </a:cubicBezTo>
                      <a:cubicBezTo>
                        <a:pt x="89" y="92"/>
                        <a:pt x="89" y="92"/>
                        <a:pt x="89" y="92"/>
                      </a:cubicBezTo>
                      <a:cubicBezTo>
                        <a:pt x="90" y="93"/>
                        <a:pt x="90" y="93"/>
                        <a:pt x="90" y="93"/>
                      </a:cubicBezTo>
                      <a:close/>
                      <a:moveTo>
                        <a:pt x="84" y="120"/>
                      </a:moveTo>
                      <a:cubicBezTo>
                        <a:pt x="85" y="120"/>
                        <a:pt x="85" y="120"/>
                        <a:pt x="85" y="120"/>
                      </a:cubicBezTo>
                      <a:cubicBezTo>
                        <a:pt x="86" y="120"/>
                        <a:pt x="86" y="120"/>
                        <a:pt x="86" y="120"/>
                      </a:cubicBezTo>
                      <a:cubicBezTo>
                        <a:pt x="88" y="119"/>
                        <a:pt x="88" y="119"/>
                        <a:pt x="88" y="119"/>
                      </a:cubicBezTo>
                      <a:cubicBezTo>
                        <a:pt x="89" y="119"/>
                        <a:pt x="89" y="119"/>
                        <a:pt x="89" y="119"/>
                      </a:cubicBezTo>
                      <a:cubicBezTo>
                        <a:pt x="89" y="120"/>
                        <a:pt x="89" y="120"/>
                        <a:pt x="89" y="120"/>
                      </a:cubicBezTo>
                      <a:cubicBezTo>
                        <a:pt x="90" y="120"/>
                        <a:pt x="90" y="120"/>
                        <a:pt x="90" y="120"/>
                      </a:cubicBezTo>
                      <a:cubicBezTo>
                        <a:pt x="91" y="120"/>
                        <a:pt x="91" y="120"/>
                        <a:pt x="91" y="120"/>
                      </a:cubicBezTo>
                      <a:cubicBezTo>
                        <a:pt x="90" y="119"/>
                        <a:pt x="90" y="119"/>
                        <a:pt x="90" y="119"/>
                      </a:cubicBezTo>
                      <a:cubicBezTo>
                        <a:pt x="90" y="119"/>
                        <a:pt x="90" y="119"/>
                        <a:pt x="90" y="119"/>
                      </a:cubicBezTo>
                      <a:cubicBezTo>
                        <a:pt x="91" y="119"/>
                        <a:pt x="91" y="119"/>
                        <a:pt x="91" y="119"/>
                      </a:cubicBezTo>
                      <a:cubicBezTo>
                        <a:pt x="91" y="120"/>
                        <a:pt x="91" y="120"/>
                        <a:pt x="91" y="120"/>
                      </a:cubicBezTo>
                      <a:cubicBezTo>
                        <a:pt x="92" y="120"/>
                        <a:pt x="92" y="120"/>
                        <a:pt x="92" y="120"/>
                      </a:cubicBezTo>
                      <a:cubicBezTo>
                        <a:pt x="93" y="120"/>
                        <a:pt x="93" y="120"/>
                        <a:pt x="93" y="120"/>
                      </a:cubicBezTo>
                      <a:cubicBezTo>
                        <a:pt x="94" y="120"/>
                        <a:pt x="94" y="120"/>
                        <a:pt x="94" y="120"/>
                      </a:cubicBezTo>
                      <a:cubicBezTo>
                        <a:pt x="94" y="119"/>
                        <a:pt x="94" y="119"/>
                        <a:pt x="94" y="119"/>
                      </a:cubicBezTo>
                      <a:cubicBezTo>
                        <a:pt x="95" y="118"/>
                        <a:pt x="95" y="118"/>
                        <a:pt x="95" y="118"/>
                      </a:cubicBezTo>
                      <a:cubicBezTo>
                        <a:pt x="95" y="117"/>
                        <a:pt x="95" y="117"/>
                        <a:pt x="95" y="117"/>
                      </a:cubicBezTo>
                      <a:cubicBezTo>
                        <a:pt x="95" y="116"/>
                        <a:pt x="95" y="116"/>
                        <a:pt x="95" y="116"/>
                      </a:cubicBezTo>
                      <a:cubicBezTo>
                        <a:pt x="96" y="116"/>
                        <a:pt x="96" y="116"/>
                        <a:pt x="96" y="116"/>
                      </a:cubicBezTo>
                      <a:cubicBezTo>
                        <a:pt x="95" y="115"/>
                        <a:pt x="95" y="115"/>
                        <a:pt x="95" y="115"/>
                      </a:cubicBezTo>
                      <a:cubicBezTo>
                        <a:pt x="94" y="114"/>
                        <a:pt x="94" y="114"/>
                        <a:pt x="94" y="114"/>
                      </a:cubicBezTo>
                      <a:cubicBezTo>
                        <a:pt x="94" y="114"/>
                        <a:pt x="94" y="114"/>
                        <a:pt x="94" y="114"/>
                      </a:cubicBezTo>
                      <a:cubicBezTo>
                        <a:pt x="93" y="114"/>
                        <a:pt x="93" y="114"/>
                        <a:pt x="93" y="114"/>
                      </a:cubicBezTo>
                      <a:cubicBezTo>
                        <a:pt x="93" y="113"/>
                        <a:pt x="93" y="113"/>
                        <a:pt x="93" y="113"/>
                      </a:cubicBezTo>
                      <a:cubicBezTo>
                        <a:pt x="93" y="113"/>
                        <a:pt x="93" y="113"/>
                        <a:pt x="93" y="113"/>
                      </a:cubicBezTo>
                      <a:cubicBezTo>
                        <a:pt x="94" y="113"/>
                        <a:pt x="94" y="113"/>
                        <a:pt x="94" y="113"/>
                      </a:cubicBezTo>
                      <a:cubicBezTo>
                        <a:pt x="94" y="113"/>
                        <a:pt x="94" y="113"/>
                        <a:pt x="94" y="113"/>
                      </a:cubicBezTo>
                      <a:cubicBezTo>
                        <a:pt x="95" y="114"/>
                        <a:pt x="95" y="114"/>
                        <a:pt x="95" y="114"/>
                      </a:cubicBezTo>
                      <a:cubicBezTo>
                        <a:pt x="95" y="114"/>
                        <a:pt x="95" y="114"/>
                        <a:pt x="95" y="114"/>
                      </a:cubicBezTo>
                      <a:cubicBezTo>
                        <a:pt x="95" y="115"/>
                        <a:pt x="95" y="115"/>
                        <a:pt x="95" y="115"/>
                      </a:cubicBezTo>
                      <a:cubicBezTo>
                        <a:pt x="96" y="114"/>
                        <a:pt x="96" y="114"/>
                        <a:pt x="96" y="114"/>
                      </a:cubicBezTo>
                      <a:cubicBezTo>
                        <a:pt x="96" y="113"/>
                        <a:pt x="96" y="113"/>
                        <a:pt x="96" y="113"/>
                      </a:cubicBezTo>
                      <a:cubicBezTo>
                        <a:pt x="95" y="112"/>
                        <a:pt x="95" y="112"/>
                        <a:pt x="95" y="112"/>
                      </a:cubicBezTo>
                      <a:cubicBezTo>
                        <a:pt x="94" y="110"/>
                        <a:pt x="94" y="110"/>
                        <a:pt x="94" y="110"/>
                      </a:cubicBezTo>
                      <a:cubicBezTo>
                        <a:pt x="94" y="110"/>
                        <a:pt x="94" y="110"/>
                        <a:pt x="94" y="110"/>
                      </a:cubicBezTo>
                      <a:cubicBezTo>
                        <a:pt x="95" y="111"/>
                        <a:pt x="95" y="111"/>
                        <a:pt x="95" y="111"/>
                      </a:cubicBezTo>
                      <a:cubicBezTo>
                        <a:pt x="95" y="111"/>
                        <a:pt x="95" y="111"/>
                        <a:pt x="95" y="111"/>
                      </a:cubicBezTo>
                      <a:cubicBezTo>
                        <a:pt x="96" y="112"/>
                        <a:pt x="96" y="112"/>
                        <a:pt x="96" y="112"/>
                      </a:cubicBezTo>
                      <a:cubicBezTo>
                        <a:pt x="96" y="112"/>
                        <a:pt x="96" y="112"/>
                        <a:pt x="96" y="112"/>
                      </a:cubicBezTo>
                      <a:cubicBezTo>
                        <a:pt x="97" y="111"/>
                        <a:pt x="97" y="111"/>
                        <a:pt x="97" y="111"/>
                      </a:cubicBezTo>
                      <a:cubicBezTo>
                        <a:pt x="97" y="111"/>
                        <a:pt x="97" y="111"/>
                        <a:pt x="97" y="111"/>
                      </a:cubicBezTo>
                      <a:cubicBezTo>
                        <a:pt x="96" y="110"/>
                        <a:pt x="96" y="110"/>
                        <a:pt x="96" y="110"/>
                      </a:cubicBezTo>
                      <a:cubicBezTo>
                        <a:pt x="96" y="110"/>
                        <a:pt x="96" y="110"/>
                        <a:pt x="96" y="110"/>
                      </a:cubicBezTo>
                      <a:cubicBezTo>
                        <a:pt x="97" y="109"/>
                        <a:pt x="97" y="109"/>
                        <a:pt x="97" y="109"/>
                      </a:cubicBezTo>
                      <a:cubicBezTo>
                        <a:pt x="97" y="108"/>
                        <a:pt x="97" y="108"/>
                        <a:pt x="97" y="108"/>
                      </a:cubicBezTo>
                      <a:cubicBezTo>
                        <a:pt x="96" y="107"/>
                        <a:pt x="96" y="107"/>
                        <a:pt x="96" y="107"/>
                      </a:cubicBezTo>
                      <a:cubicBezTo>
                        <a:pt x="95" y="106"/>
                        <a:pt x="95" y="106"/>
                        <a:pt x="95" y="106"/>
                      </a:cubicBezTo>
                      <a:cubicBezTo>
                        <a:pt x="96" y="106"/>
                        <a:pt x="96" y="106"/>
                        <a:pt x="96" y="106"/>
                      </a:cubicBezTo>
                      <a:cubicBezTo>
                        <a:pt x="96" y="107"/>
                        <a:pt x="96" y="107"/>
                        <a:pt x="96" y="107"/>
                      </a:cubicBezTo>
                      <a:cubicBezTo>
                        <a:pt x="97" y="107"/>
                        <a:pt x="97" y="107"/>
                        <a:pt x="97" y="107"/>
                      </a:cubicBezTo>
                      <a:cubicBezTo>
                        <a:pt x="97" y="106"/>
                        <a:pt x="97" y="106"/>
                        <a:pt x="97" y="106"/>
                      </a:cubicBezTo>
                      <a:cubicBezTo>
                        <a:pt x="97" y="106"/>
                        <a:pt x="97" y="106"/>
                        <a:pt x="97" y="106"/>
                      </a:cubicBezTo>
                      <a:cubicBezTo>
                        <a:pt x="97" y="106"/>
                        <a:pt x="97" y="106"/>
                        <a:pt x="97" y="106"/>
                      </a:cubicBezTo>
                      <a:cubicBezTo>
                        <a:pt x="97" y="104"/>
                        <a:pt x="97" y="104"/>
                        <a:pt x="97" y="104"/>
                      </a:cubicBezTo>
                      <a:cubicBezTo>
                        <a:pt x="97" y="104"/>
                        <a:pt x="97" y="104"/>
                        <a:pt x="97" y="104"/>
                      </a:cubicBezTo>
                      <a:cubicBezTo>
                        <a:pt x="98" y="105"/>
                        <a:pt x="98" y="105"/>
                        <a:pt x="98" y="105"/>
                      </a:cubicBezTo>
                      <a:cubicBezTo>
                        <a:pt x="99" y="105"/>
                        <a:pt x="99" y="105"/>
                        <a:pt x="99" y="105"/>
                      </a:cubicBezTo>
                      <a:cubicBezTo>
                        <a:pt x="100" y="105"/>
                        <a:pt x="100" y="105"/>
                        <a:pt x="100" y="105"/>
                      </a:cubicBezTo>
                      <a:cubicBezTo>
                        <a:pt x="99" y="104"/>
                        <a:pt x="99" y="104"/>
                        <a:pt x="99" y="104"/>
                      </a:cubicBezTo>
                      <a:cubicBezTo>
                        <a:pt x="99" y="104"/>
                        <a:pt x="99" y="104"/>
                        <a:pt x="99" y="104"/>
                      </a:cubicBezTo>
                      <a:cubicBezTo>
                        <a:pt x="100" y="104"/>
                        <a:pt x="100" y="104"/>
                        <a:pt x="100" y="104"/>
                      </a:cubicBezTo>
                      <a:cubicBezTo>
                        <a:pt x="100" y="104"/>
                        <a:pt x="100" y="104"/>
                        <a:pt x="100" y="104"/>
                      </a:cubicBezTo>
                      <a:cubicBezTo>
                        <a:pt x="101" y="104"/>
                        <a:pt x="101" y="104"/>
                        <a:pt x="101" y="104"/>
                      </a:cubicBezTo>
                      <a:cubicBezTo>
                        <a:pt x="101" y="103"/>
                        <a:pt x="101" y="103"/>
                        <a:pt x="101" y="103"/>
                      </a:cubicBezTo>
                      <a:cubicBezTo>
                        <a:pt x="101" y="102"/>
                        <a:pt x="101" y="102"/>
                        <a:pt x="101" y="102"/>
                      </a:cubicBezTo>
                      <a:cubicBezTo>
                        <a:pt x="101" y="102"/>
                        <a:pt x="101" y="102"/>
                        <a:pt x="101" y="102"/>
                      </a:cubicBezTo>
                      <a:cubicBezTo>
                        <a:pt x="102" y="102"/>
                        <a:pt x="102" y="102"/>
                        <a:pt x="102" y="102"/>
                      </a:cubicBezTo>
                      <a:cubicBezTo>
                        <a:pt x="102" y="101"/>
                        <a:pt x="102" y="101"/>
                        <a:pt x="102" y="101"/>
                      </a:cubicBezTo>
                      <a:cubicBezTo>
                        <a:pt x="101" y="100"/>
                        <a:pt x="101" y="100"/>
                        <a:pt x="101" y="100"/>
                      </a:cubicBezTo>
                      <a:cubicBezTo>
                        <a:pt x="101" y="100"/>
                        <a:pt x="101" y="100"/>
                        <a:pt x="101" y="100"/>
                      </a:cubicBezTo>
                      <a:cubicBezTo>
                        <a:pt x="102" y="99"/>
                        <a:pt x="102" y="99"/>
                        <a:pt x="102" y="99"/>
                      </a:cubicBezTo>
                      <a:cubicBezTo>
                        <a:pt x="102" y="100"/>
                        <a:pt x="102" y="100"/>
                        <a:pt x="102" y="100"/>
                      </a:cubicBezTo>
                      <a:cubicBezTo>
                        <a:pt x="103" y="99"/>
                        <a:pt x="103" y="99"/>
                        <a:pt x="103" y="99"/>
                      </a:cubicBezTo>
                      <a:cubicBezTo>
                        <a:pt x="104" y="98"/>
                        <a:pt x="104" y="98"/>
                        <a:pt x="104" y="98"/>
                      </a:cubicBezTo>
                      <a:cubicBezTo>
                        <a:pt x="104" y="97"/>
                        <a:pt x="104" y="97"/>
                        <a:pt x="104" y="97"/>
                      </a:cubicBezTo>
                      <a:cubicBezTo>
                        <a:pt x="105" y="96"/>
                        <a:pt x="105" y="96"/>
                        <a:pt x="105" y="96"/>
                      </a:cubicBezTo>
                      <a:cubicBezTo>
                        <a:pt x="105" y="95"/>
                        <a:pt x="105" y="95"/>
                        <a:pt x="105" y="95"/>
                      </a:cubicBezTo>
                      <a:cubicBezTo>
                        <a:pt x="106" y="95"/>
                        <a:pt x="106" y="95"/>
                        <a:pt x="106" y="95"/>
                      </a:cubicBezTo>
                      <a:cubicBezTo>
                        <a:pt x="107" y="93"/>
                        <a:pt x="107" y="93"/>
                        <a:pt x="107" y="93"/>
                      </a:cubicBezTo>
                      <a:cubicBezTo>
                        <a:pt x="108" y="92"/>
                        <a:pt x="108" y="92"/>
                        <a:pt x="108" y="92"/>
                      </a:cubicBezTo>
                      <a:cubicBezTo>
                        <a:pt x="108" y="92"/>
                        <a:pt x="108" y="92"/>
                        <a:pt x="108" y="92"/>
                      </a:cubicBezTo>
                      <a:cubicBezTo>
                        <a:pt x="110" y="91"/>
                        <a:pt x="110" y="91"/>
                        <a:pt x="110" y="91"/>
                      </a:cubicBezTo>
                      <a:cubicBezTo>
                        <a:pt x="112" y="89"/>
                        <a:pt x="112" y="89"/>
                        <a:pt x="112" y="89"/>
                      </a:cubicBezTo>
                      <a:cubicBezTo>
                        <a:pt x="114" y="87"/>
                        <a:pt x="114" y="87"/>
                        <a:pt x="114" y="87"/>
                      </a:cubicBezTo>
                      <a:cubicBezTo>
                        <a:pt x="114" y="87"/>
                        <a:pt x="114" y="87"/>
                        <a:pt x="114" y="87"/>
                      </a:cubicBezTo>
                      <a:cubicBezTo>
                        <a:pt x="115" y="86"/>
                        <a:pt x="115" y="86"/>
                        <a:pt x="115" y="86"/>
                      </a:cubicBezTo>
                      <a:cubicBezTo>
                        <a:pt x="117" y="86"/>
                        <a:pt x="117" y="86"/>
                        <a:pt x="117" y="86"/>
                      </a:cubicBezTo>
                      <a:cubicBezTo>
                        <a:pt x="118" y="85"/>
                        <a:pt x="118" y="85"/>
                        <a:pt x="118" y="85"/>
                      </a:cubicBezTo>
                      <a:cubicBezTo>
                        <a:pt x="119" y="84"/>
                        <a:pt x="119" y="84"/>
                        <a:pt x="119" y="84"/>
                      </a:cubicBezTo>
                      <a:cubicBezTo>
                        <a:pt x="120" y="83"/>
                        <a:pt x="120" y="83"/>
                        <a:pt x="120" y="83"/>
                      </a:cubicBezTo>
                      <a:cubicBezTo>
                        <a:pt x="121" y="83"/>
                        <a:pt x="121" y="83"/>
                        <a:pt x="121" y="83"/>
                      </a:cubicBezTo>
                      <a:cubicBezTo>
                        <a:pt x="121" y="83"/>
                        <a:pt x="121" y="83"/>
                        <a:pt x="121" y="83"/>
                      </a:cubicBezTo>
                      <a:cubicBezTo>
                        <a:pt x="121" y="83"/>
                        <a:pt x="121" y="83"/>
                        <a:pt x="121" y="83"/>
                      </a:cubicBezTo>
                      <a:cubicBezTo>
                        <a:pt x="121" y="82"/>
                        <a:pt x="121" y="82"/>
                        <a:pt x="121" y="82"/>
                      </a:cubicBezTo>
                      <a:cubicBezTo>
                        <a:pt x="121" y="81"/>
                        <a:pt x="121" y="81"/>
                        <a:pt x="121" y="81"/>
                      </a:cubicBezTo>
                      <a:cubicBezTo>
                        <a:pt x="121" y="81"/>
                        <a:pt x="121" y="81"/>
                        <a:pt x="121" y="81"/>
                      </a:cubicBezTo>
                      <a:cubicBezTo>
                        <a:pt x="121" y="79"/>
                        <a:pt x="121" y="79"/>
                        <a:pt x="121" y="79"/>
                      </a:cubicBezTo>
                      <a:cubicBezTo>
                        <a:pt x="121" y="79"/>
                        <a:pt x="121" y="79"/>
                        <a:pt x="121" y="79"/>
                      </a:cubicBezTo>
                      <a:cubicBezTo>
                        <a:pt x="120" y="79"/>
                        <a:pt x="120" y="79"/>
                        <a:pt x="120" y="79"/>
                      </a:cubicBezTo>
                      <a:cubicBezTo>
                        <a:pt x="120" y="78"/>
                        <a:pt x="120" y="78"/>
                        <a:pt x="120" y="78"/>
                      </a:cubicBezTo>
                      <a:cubicBezTo>
                        <a:pt x="121" y="77"/>
                        <a:pt x="121" y="77"/>
                        <a:pt x="121" y="77"/>
                      </a:cubicBezTo>
                      <a:cubicBezTo>
                        <a:pt x="121" y="77"/>
                        <a:pt x="121" y="77"/>
                        <a:pt x="121" y="77"/>
                      </a:cubicBezTo>
                      <a:cubicBezTo>
                        <a:pt x="120" y="77"/>
                        <a:pt x="120" y="77"/>
                        <a:pt x="120" y="77"/>
                      </a:cubicBezTo>
                      <a:cubicBezTo>
                        <a:pt x="119" y="76"/>
                        <a:pt x="119" y="76"/>
                        <a:pt x="119" y="76"/>
                      </a:cubicBezTo>
                      <a:cubicBezTo>
                        <a:pt x="118" y="76"/>
                        <a:pt x="118" y="76"/>
                        <a:pt x="118" y="76"/>
                      </a:cubicBezTo>
                      <a:cubicBezTo>
                        <a:pt x="118" y="75"/>
                        <a:pt x="118" y="75"/>
                        <a:pt x="118" y="75"/>
                      </a:cubicBezTo>
                      <a:cubicBezTo>
                        <a:pt x="118" y="75"/>
                        <a:pt x="118" y="75"/>
                        <a:pt x="118" y="75"/>
                      </a:cubicBezTo>
                      <a:cubicBezTo>
                        <a:pt x="117" y="74"/>
                        <a:pt x="117" y="74"/>
                        <a:pt x="117" y="74"/>
                      </a:cubicBezTo>
                      <a:cubicBezTo>
                        <a:pt x="116" y="75"/>
                        <a:pt x="116" y="75"/>
                        <a:pt x="116" y="75"/>
                      </a:cubicBezTo>
                      <a:cubicBezTo>
                        <a:pt x="116" y="75"/>
                        <a:pt x="116" y="75"/>
                        <a:pt x="116" y="75"/>
                      </a:cubicBezTo>
                      <a:cubicBezTo>
                        <a:pt x="115" y="75"/>
                        <a:pt x="115" y="75"/>
                        <a:pt x="115" y="75"/>
                      </a:cubicBezTo>
                      <a:cubicBezTo>
                        <a:pt x="115" y="75"/>
                        <a:pt x="115" y="75"/>
                        <a:pt x="115" y="75"/>
                      </a:cubicBezTo>
                      <a:cubicBezTo>
                        <a:pt x="114" y="75"/>
                        <a:pt x="114" y="75"/>
                        <a:pt x="114" y="75"/>
                      </a:cubicBezTo>
                      <a:cubicBezTo>
                        <a:pt x="113" y="76"/>
                        <a:pt x="113" y="76"/>
                        <a:pt x="113" y="76"/>
                      </a:cubicBezTo>
                      <a:cubicBezTo>
                        <a:pt x="112" y="76"/>
                        <a:pt x="112" y="76"/>
                        <a:pt x="112" y="76"/>
                      </a:cubicBezTo>
                      <a:cubicBezTo>
                        <a:pt x="112" y="77"/>
                        <a:pt x="112" y="77"/>
                        <a:pt x="112" y="77"/>
                      </a:cubicBezTo>
                      <a:cubicBezTo>
                        <a:pt x="111" y="77"/>
                        <a:pt x="111" y="77"/>
                        <a:pt x="111" y="77"/>
                      </a:cubicBezTo>
                      <a:cubicBezTo>
                        <a:pt x="111" y="77"/>
                        <a:pt x="111" y="77"/>
                        <a:pt x="111" y="77"/>
                      </a:cubicBezTo>
                      <a:cubicBezTo>
                        <a:pt x="110" y="78"/>
                        <a:pt x="110" y="78"/>
                        <a:pt x="110" y="78"/>
                      </a:cubicBezTo>
                      <a:cubicBezTo>
                        <a:pt x="110" y="79"/>
                        <a:pt x="110" y="79"/>
                        <a:pt x="110" y="79"/>
                      </a:cubicBezTo>
                      <a:cubicBezTo>
                        <a:pt x="110" y="79"/>
                        <a:pt x="110" y="79"/>
                        <a:pt x="110" y="79"/>
                      </a:cubicBezTo>
                      <a:cubicBezTo>
                        <a:pt x="110" y="80"/>
                        <a:pt x="110" y="80"/>
                        <a:pt x="110" y="80"/>
                      </a:cubicBezTo>
                      <a:cubicBezTo>
                        <a:pt x="110" y="81"/>
                        <a:pt x="110" y="81"/>
                        <a:pt x="110" y="81"/>
                      </a:cubicBezTo>
                      <a:cubicBezTo>
                        <a:pt x="110" y="81"/>
                        <a:pt x="110" y="81"/>
                        <a:pt x="110" y="81"/>
                      </a:cubicBezTo>
                      <a:cubicBezTo>
                        <a:pt x="109" y="81"/>
                        <a:pt x="109" y="81"/>
                        <a:pt x="109" y="81"/>
                      </a:cubicBezTo>
                      <a:cubicBezTo>
                        <a:pt x="109" y="82"/>
                        <a:pt x="109" y="82"/>
                        <a:pt x="109" y="82"/>
                      </a:cubicBezTo>
                      <a:cubicBezTo>
                        <a:pt x="109" y="82"/>
                        <a:pt x="109" y="82"/>
                        <a:pt x="109" y="82"/>
                      </a:cubicBezTo>
                      <a:cubicBezTo>
                        <a:pt x="108" y="83"/>
                        <a:pt x="108" y="83"/>
                        <a:pt x="108" y="83"/>
                      </a:cubicBezTo>
                      <a:cubicBezTo>
                        <a:pt x="106" y="84"/>
                        <a:pt x="106" y="84"/>
                        <a:pt x="106" y="84"/>
                      </a:cubicBezTo>
                      <a:cubicBezTo>
                        <a:pt x="106" y="84"/>
                        <a:pt x="106" y="84"/>
                        <a:pt x="106" y="84"/>
                      </a:cubicBezTo>
                      <a:cubicBezTo>
                        <a:pt x="105" y="84"/>
                        <a:pt x="105" y="84"/>
                        <a:pt x="105" y="84"/>
                      </a:cubicBezTo>
                      <a:cubicBezTo>
                        <a:pt x="105" y="84"/>
                        <a:pt x="105" y="84"/>
                        <a:pt x="105" y="84"/>
                      </a:cubicBezTo>
                      <a:cubicBezTo>
                        <a:pt x="104" y="84"/>
                        <a:pt x="104" y="84"/>
                        <a:pt x="104" y="84"/>
                      </a:cubicBezTo>
                      <a:cubicBezTo>
                        <a:pt x="103" y="85"/>
                        <a:pt x="103" y="85"/>
                        <a:pt x="103" y="85"/>
                      </a:cubicBezTo>
                      <a:cubicBezTo>
                        <a:pt x="102" y="86"/>
                        <a:pt x="102" y="86"/>
                        <a:pt x="102" y="86"/>
                      </a:cubicBezTo>
                      <a:cubicBezTo>
                        <a:pt x="102" y="86"/>
                        <a:pt x="102" y="86"/>
                        <a:pt x="102" y="86"/>
                      </a:cubicBezTo>
                      <a:cubicBezTo>
                        <a:pt x="102" y="85"/>
                        <a:pt x="102" y="85"/>
                        <a:pt x="102" y="85"/>
                      </a:cubicBezTo>
                      <a:cubicBezTo>
                        <a:pt x="101" y="85"/>
                        <a:pt x="101" y="85"/>
                        <a:pt x="101" y="85"/>
                      </a:cubicBezTo>
                      <a:cubicBezTo>
                        <a:pt x="101" y="86"/>
                        <a:pt x="101" y="86"/>
                        <a:pt x="101" y="86"/>
                      </a:cubicBezTo>
                      <a:cubicBezTo>
                        <a:pt x="101" y="87"/>
                        <a:pt x="101" y="87"/>
                        <a:pt x="101" y="87"/>
                      </a:cubicBezTo>
                      <a:cubicBezTo>
                        <a:pt x="101" y="87"/>
                        <a:pt x="101" y="87"/>
                        <a:pt x="101" y="87"/>
                      </a:cubicBezTo>
                      <a:cubicBezTo>
                        <a:pt x="101" y="86"/>
                        <a:pt x="101" y="86"/>
                        <a:pt x="101" y="86"/>
                      </a:cubicBezTo>
                      <a:cubicBezTo>
                        <a:pt x="100" y="85"/>
                        <a:pt x="100" y="85"/>
                        <a:pt x="100" y="85"/>
                      </a:cubicBezTo>
                      <a:cubicBezTo>
                        <a:pt x="99" y="85"/>
                        <a:pt x="99" y="85"/>
                        <a:pt x="99" y="85"/>
                      </a:cubicBezTo>
                      <a:cubicBezTo>
                        <a:pt x="97" y="86"/>
                        <a:pt x="97" y="86"/>
                        <a:pt x="97" y="86"/>
                      </a:cubicBezTo>
                      <a:cubicBezTo>
                        <a:pt x="97" y="86"/>
                        <a:pt x="97" y="86"/>
                        <a:pt x="97" y="86"/>
                      </a:cubicBezTo>
                      <a:cubicBezTo>
                        <a:pt x="96" y="86"/>
                        <a:pt x="96" y="86"/>
                        <a:pt x="96" y="86"/>
                      </a:cubicBezTo>
                      <a:cubicBezTo>
                        <a:pt x="96" y="87"/>
                        <a:pt x="96" y="87"/>
                        <a:pt x="96" y="87"/>
                      </a:cubicBezTo>
                      <a:cubicBezTo>
                        <a:pt x="96" y="88"/>
                        <a:pt x="96" y="88"/>
                        <a:pt x="96" y="88"/>
                      </a:cubicBezTo>
                      <a:cubicBezTo>
                        <a:pt x="97" y="88"/>
                        <a:pt x="97" y="88"/>
                        <a:pt x="97" y="88"/>
                      </a:cubicBezTo>
                      <a:cubicBezTo>
                        <a:pt x="97" y="89"/>
                        <a:pt x="97" y="89"/>
                        <a:pt x="97" y="89"/>
                      </a:cubicBezTo>
                      <a:cubicBezTo>
                        <a:pt x="96" y="89"/>
                        <a:pt x="96" y="89"/>
                        <a:pt x="96" y="89"/>
                      </a:cubicBezTo>
                      <a:cubicBezTo>
                        <a:pt x="96" y="90"/>
                        <a:pt x="96" y="90"/>
                        <a:pt x="96" y="90"/>
                      </a:cubicBezTo>
                      <a:cubicBezTo>
                        <a:pt x="95" y="89"/>
                        <a:pt x="95" y="89"/>
                        <a:pt x="95" y="89"/>
                      </a:cubicBezTo>
                      <a:cubicBezTo>
                        <a:pt x="95" y="89"/>
                        <a:pt x="95" y="89"/>
                        <a:pt x="95" y="89"/>
                      </a:cubicBezTo>
                      <a:cubicBezTo>
                        <a:pt x="96" y="89"/>
                        <a:pt x="96" y="89"/>
                        <a:pt x="96" y="89"/>
                      </a:cubicBezTo>
                      <a:cubicBezTo>
                        <a:pt x="96" y="88"/>
                        <a:pt x="96" y="88"/>
                        <a:pt x="96" y="88"/>
                      </a:cubicBezTo>
                      <a:cubicBezTo>
                        <a:pt x="95" y="88"/>
                        <a:pt x="95" y="88"/>
                        <a:pt x="95" y="88"/>
                      </a:cubicBezTo>
                      <a:cubicBezTo>
                        <a:pt x="94" y="89"/>
                        <a:pt x="94" y="89"/>
                        <a:pt x="94" y="89"/>
                      </a:cubicBezTo>
                      <a:cubicBezTo>
                        <a:pt x="94" y="89"/>
                        <a:pt x="94" y="89"/>
                        <a:pt x="94" y="89"/>
                      </a:cubicBezTo>
                      <a:cubicBezTo>
                        <a:pt x="94" y="90"/>
                        <a:pt x="94" y="90"/>
                        <a:pt x="94" y="90"/>
                      </a:cubicBezTo>
                      <a:cubicBezTo>
                        <a:pt x="94" y="90"/>
                        <a:pt x="94" y="90"/>
                        <a:pt x="94" y="90"/>
                      </a:cubicBezTo>
                      <a:cubicBezTo>
                        <a:pt x="94" y="91"/>
                        <a:pt x="94" y="91"/>
                        <a:pt x="94" y="91"/>
                      </a:cubicBezTo>
                      <a:cubicBezTo>
                        <a:pt x="93" y="91"/>
                        <a:pt x="93" y="91"/>
                        <a:pt x="93" y="91"/>
                      </a:cubicBezTo>
                      <a:cubicBezTo>
                        <a:pt x="92" y="91"/>
                        <a:pt x="92" y="91"/>
                        <a:pt x="92" y="91"/>
                      </a:cubicBezTo>
                      <a:cubicBezTo>
                        <a:pt x="92" y="92"/>
                        <a:pt x="92" y="92"/>
                        <a:pt x="92" y="92"/>
                      </a:cubicBezTo>
                      <a:cubicBezTo>
                        <a:pt x="92" y="92"/>
                        <a:pt x="92" y="92"/>
                        <a:pt x="92" y="92"/>
                      </a:cubicBezTo>
                      <a:cubicBezTo>
                        <a:pt x="91" y="93"/>
                        <a:pt x="91" y="93"/>
                        <a:pt x="91" y="93"/>
                      </a:cubicBezTo>
                      <a:cubicBezTo>
                        <a:pt x="90" y="93"/>
                        <a:pt x="90" y="93"/>
                        <a:pt x="90" y="93"/>
                      </a:cubicBezTo>
                      <a:cubicBezTo>
                        <a:pt x="90" y="94"/>
                        <a:pt x="90" y="94"/>
                        <a:pt x="90" y="94"/>
                      </a:cubicBezTo>
                      <a:cubicBezTo>
                        <a:pt x="90" y="95"/>
                        <a:pt x="90" y="95"/>
                        <a:pt x="90" y="95"/>
                      </a:cubicBezTo>
                      <a:cubicBezTo>
                        <a:pt x="91" y="95"/>
                        <a:pt x="91" y="95"/>
                        <a:pt x="91" y="95"/>
                      </a:cubicBezTo>
                      <a:cubicBezTo>
                        <a:pt x="90" y="95"/>
                        <a:pt x="90" y="95"/>
                        <a:pt x="90" y="95"/>
                      </a:cubicBezTo>
                      <a:cubicBezTo>
                        <a:pt x="89" y="95"/>
                        <a:pt x="89" y="95"/>
                        <a:pt x="89" y="95"/>
                      </a:cubicBezTo>
                      <a:cubicBezTo>
                        <a:pt x="88" y="96"/>
                        <a:pt x="88" y="96"/>
                        <a:pt x="88" y="96"/>
                      </a:cubicBezTo>
                      <a:cubicBezTo>
                        <a:pt x="88" y="97"/>
                        <a:pt x="88" y="97"/>
                        <a:pt x="88" y="97"/>
                      </a:cubicBezTo>
                      <a:cubicBezTo>
                        <a:pt x="88" y="97"/>
                        <a:pt x="88" y="97"/>
                        <a:pt x="88" y="97"/>
                      </a:cubicBezTo>
                      <a:cubicBezTo>
                        <a:pt x="89" y="97"/>
                        <a:pt x="89" y="97"/>
                        <a:pt x="89" y="97"/>
                      </a:cubicBezTo>
                      <a:cubicBezTo>
                        <a:pt x="89" y="97"/>
                        <a:pt x="89" y="97"/>
                        <a:pt x="89" y="97"/>
                      </a:cubicBezTo>
                      <a:cubicBezTo>
                        <a:pt x="90" y="98"/>
                        <a:pt x="90" y="98"/>
                        <a:pt x="90" y="98"/>
                      </a:cubicBezTo>
                      <a:cubicBezTo>
                        <a:pt x="89" y="98"/>
                        <a:pt x="89" y="98"/>
                        <a:pt x="89" y="98"/>
                      </a:cubicBezTo>
                      <a:cubicBezTo>
                        <a:pt x="89" y="99"/>
                        <a:pt x="89" y="99"/>
                        <a:pt x="89" y="99"/>
                      </a:cubicBezTo>
                      <a:cubicBezTo>
                        <a:pt x="89" y="99"/>
                        <a:pt x="89" y="99"/>
                        <a:pt x="89" y="99"/>
                      </a:cubicBezTo>
                      <a:cubicBezTo>
                        <a:pt x="88" y="99"/>
                        <a:pt x="88" y="99"/>
                        <a:pt x="88" y="99"/>
                      </a:cubicBezTo>
                      <a:cubicBezTo>
                        <a:pt x="87" y="99"/>
                        <a:pt x="87" y="99"/>
                        <a:pt x="87" y="99"/>
                      </a:cubicBezTo>
                      <a:cubicBezTo>
                        <a:pt x="86" y="99"/>
                        <a:pt x="86" y="99"/>
                        <a:pt x="86" y="99"/>
                      </a:cubicBezTo>
                      <a:cubicBezTo>
                        <a:pt x="86" y="100"/>
                        <a:pt x="86" y="100"/>
                        <a:pt x="86" y="100"/>
                      </a:cubicBezTo>
                      <a:cubicBezTo>
                        <a:pt x="86" y="101"/>
                        <a:pt x="86" y="101"/>
                        <a:pt x="86" y="101"/>
                      </a:cubicBezTo>
                      <a:cubicBezTo>
                        <a:pt x="85" y="101"/>
                        <a:pt x="85" y="101"/>
                        <a:pt x="85" y="101"/>
                      </a:cubicBezTo>
                      <a:cubicBezTo>
                        <a:pt x="85" y="102"/>
                        <a:pt x="85" y="102"/>
                        <a:pt x="85" y="102"/>
                      </a:cubicBezTo>
                      <a:cubicBezTo>
                        <a:pt x="84" y="102"/>
                        <a:pt x="84" y="102"/>
                        <a:pt x="84" y="102"/>
                      </a:cubicBezTo>
                      <a:cubicBezTo>
                        <a:pt x="83" y="101"/>
                        <a:pt x="83" y="101"/>
                        <a:pt x="83" y="101"/>
                      </a:cubicBezTo>
                      <a:cubicBezTo>
                        <a:pt x="83" y="100"/>
                        <a:pt x="83" y="100"/>
                        <a:pt x="83" y="100"/>
                      </a:cubicBezTo>
                      <a:cubicBezTo>
                        <a:pt x="83" y="101"/>
                        <a:pt x="83" y="101"/>
                        <a:pt x="83" y="101"/>
                      </a:cubicBezTo>
                      <a:cubicBezTo>
                        <a:pt x="83" y="102"/>
                        <a:pt x="83" y="102"/>
                        <a:pt x="83" y="102"/>
                      </a:cubicBezTo>
                      <a:cubicBezTo>
                        <a:pt x="83" y="103"/>
                        <a:pt x="83" y="103"/>
                        <a:pt x="83" y="103"/>
                      </a:cubicBezTo>
                      <a:cubicBezTo>
                        <a:pt x="84" y="103"/>
                        <a:pt x="84" y="103"/>
                        <a:pt x="84" y="103"/>
                      </a:cubicBezTo>
                      <a:cubicBezTo>
                        <a:pt x="84" y="103"/>
                        <a:pt x="84" y="103"/>
                        <a:pt x="84" y="103"/>
                      </a:cubicBezTo>
                      <a:cubicBezTo>
                        <a:pt x="84" y="103"/>
                        <a:pt x="84" y="103"/>
                        <a:pt x="84" y="103"/>
                      </a:cubicBezTo>
                      <a:cubicBezTo>
                        <a:pt x="85" y="104"/>
                        <a:pt x="85" y="104"/>
                        <a:pt x="85" y="104"/>
                      </a:cubicBezTo>
                      <a:cubicBezTo>
                        <a:pt x="84" y="105"/>
                        <a:pt x="84" y="105"/>
                        <a:pt x="84" y="105"/>
                      </a:cubicBezTo>
                      <a:cubicBezTo>
                        <a:pt x="84" y="105"/>
                        <a:pt x="84" y="105"/>
                        <a:pt x="84" y="105"/>
                      </a:cubicBezTo>
                      <a:cubicBezTo>
                        <a:pt x="85" y="105"/>
                        <a:pt x="85" y="105"/>
                        <a:pt x="85" y="105"/>
                      </a:cubicBezTo>
                      <a:cubicBezTo>
                        <a:pt x="85" y="105"/>
                        <a:pt x="85" y="105"/>
                        <a:pt x="85" y="105"/>
                      </a:cubicBezTo>
                      <a:cubicBezTo>
                        <a:pt x="86" y="105"/>
                        <a:pt x="86" y="105"/>
                        <a:pt x="86" y="105"/>
                      </a:cubicBezTo>
                      <a:cubicBezTo>
                        <a:pt x="86" y="105"/>
                        <a:pt x="86" y="105"/>
                        <a:pt x="86" y="105"/>
                      </a:cubicBezTo>
                      <a:cubicBezTo>
                        <a:pt x="87" y="105"/>
                        <a:pt x="87" y="105"/>
                        <a:pt x="87" y="105"/>
                      </a:cubicBezTo>
                      <a:cubicBezTo>
                        <a:pt x="88" y="105"/>
                        <a:pt x="88" y="105"/>
                        <a:pt x="88" y="105"/>
                      </a:cubicBezTo>
                      <a:cubicBezTo>
                        <a:pt x="88" y="105"/>
                        <a:pt x="88" y="105"/>
                        <a:pt x="88" y="105"/>
                      </a:cubicBezTo>
                      <a:cubicBezTo>
                        <a:pt x="88" y="106"/>
                        <a:pt x="88" y="106"/>
                        <a:pt x="88" y="106"/>
                      </a:cubicBezTo>
                      <a:cubicBezTo>
                        <a:pt x="87" y="106"/>
                        <a:pt x="87" y="106"/>
                        <a:pt x="87" y="106"/>
                      </a:cubicBezTo>
                      <a:cubicBezTo>
                        <a:pt x="86" y="106"/>
                        <a:pt x="86" y="106"/>
                        <a:pt x="86" y="106"/>
                      </a:cubicBezTo>
                      <a:cubicBezTo>
                        <a:pt x="85" y="106"/>
                        <a:pt x="85" y="106"/>
                        <a:pt x="85" y="106"/>
                      </a:cubicBezTo>
                      <a:cubicBezTo>
                        <a:pt x="85" y="106"/>
                        <a:pt x="85" y="106"/>
                        <a:pt x="85" y="106"/>
                      </a:cubicBezTo>
                      <a:cubicBezTo>
                        <a:pt x="84" y="107"/>
                        <a:pt x="84" y="107"/>
                        <a:pt x="84" y="107"/>
                      </a:cubicBezTo>
                      <a:cubicBezTo>
                        <a:pt x="85" y="107"/>
                        <a:pt x="85" y="107"/>
                        <a:pt x="85" y="107"/>
                      </a:cubicBezTo>
                      <a:cubicBezTo>
                        <a:pt x="85" y="108"/>
                        <a:pt x="85" y="108"/>
                        <a:pt x="85" y="108"/>
                      </a:cubicBezTo>
                      <a:cubicBezTo>
                        <a:pt x="86" y="108"/>
                        <a:pt x="86" y="108"/>
                        <a:pt x="86" y="108"/>
                      </a:cubicBezTo>
                      <a:cubicBezTo>
                        <a:pt x="87" y="108"/>
                        <a:pt x="87" y="108"/>
                        <a:pt x="87" y="108"/>
                      </a:cubicBezTo>
                      <a:cubicBezTo>
                        <a:pt x="87" y="108"/>
                        <a:pt x="87" y="108"/>
                        <a:pt x="87" y="108"/>
                      </a:cubicBezTo>
                      <a:cubicBezTo>
                        <a:pt x="87" y="108"/>
                        <a:pt x="87" y="108"/>
                        <a:pt x="87" y="108"/>
                      </a:cubicBezTo>
                      <a:cubicBezTo>
                        <a:pt x="86" y="109"/>
                        <a:pt x="86" y="109"/>
                        <a:pt x="86" y="109"/>
                      </a:cubicBezTo>
                      <a:cubicBezTo>
                        <a:pt x="85" y="109"/>
                        <a:pt x="85" y="109"/>
                        <a:pt x="85" y="109"/>
                      </a:cubicBezTo>
                      <a:cubicBezTo>
                        <a:pt x="84" y="109"/>
                        <a:pt x="84" y="109"/>
                        <a:pt x="84" y="109"/>
                      </a:cubicBezTo>
                      <a:cubicBezTo>
                        <a:pt x="84" y="109"/>
                        <a:pt x="84" y="109"/>
                        <a:pt x="84" y="109"/>
                      </a:cubicBezTo>
                      <a:cubicBezTo>
                        <a:pt x="84" y="110"/>
                        <a:pt x="84" y="110"/>
                        <a:pt x="84" y="110"/>
                      </a:cubicBezTo>
                      <a:cubicBezTo>
                        <a:pt x="85" y="110"/>
                        <a:pt x="85" y="110"/>
                        <a:pt x="85" y="110"/>
                      </a:cubicBezTo>
                      <a:cubicBezTo>
                        <a:pt x="86" y="110"/>
                        <a:pt x="86" y="110"/>
                        <a:pt x="86" y="110"/>
                      </a:cubicBezTo>
                      <a:cubicBezTo>
                        <a:pt x="86" y="110"/>
                        <a:pt x="86" y="110"/>
                        <a:pt x="86" y="110"/>
                      </a:cubicBezTo>
                      <a:cubicBezTo>
                        <a:pt x="86" y="110"/>
                        <a:pt x="86" y="110"/>
                        <a:pt x="86" y="110"/>
                      </a:cubicBezTo>
                      <a:cubicBezTo>
                        <a:pt x="85" y="110"/>
                        <a:pt x="85" y="110"/>
                        <a:pt x="85" y="110"/>
                      </a:cubicBezTo>
                      <a:cubicBezTo>
                        <a:pt x="85" y="111"/>
                        <a:pt x="85" y="111"/>
                        <a:pt x="85" y="111"/>
                      </a:cubicBezTo>
                      <a:cubicBezTo>
                        <a:pt x="85" y="111"/>
                        <a:pt x="85" y="111"/>
                        <a:pt x="85" y="111"/>
                      </a:cubicBezTo>
                      <a:cubicBezTo>
                        <a:pt x="86" y="111"/>
                        <a:pt x="86" y="111"/>
                        <a:pt x="86" y="111"/>
                      </a:cubicBezTo>
                      <a:cubicBezTo>
                        <a:pt x="87" y="112"/>
                        <a:pt x="87" y="112"/>
                        <a:pt x="87" y="112"/>
                      </a:cubicBezTo>
                      <a:cubicBezTo>
                        <a:pt x="88" y="112"/>
                        <a:pt x="88" y="112"/>
                        <a:pt x="88" y="112"/>
                      </a:cubicBezTo>
                      <a:cubicBezTo>
                        <a:pt x="88" y="112"/>
                        <a:pt x="88" y="112"/>
                        <a:pt x="88" y="112"/>
                      </a:cubicBezTo>
                      <a:cubicBezTo>
                        <a:pt x="88" y="113"/>
                        <a:pt x="88" y="113"/>
                        <a:pt x="88" y="113"/>
                      </a:cubicBezTo>
                      <a:cubicBezTo>
                        <a:pt x="88" y="112"/>
                        <a:pt x="88" y="112"/>
                        <a:pt x="88" y="112"/>
                      </a:cubicBezTo>
                      <a:cubicBezTo>
                        <a:pt x="87" y="112"/>
                        <a:pt x="87" y="112"/>
                        <a:pt x="87" y="112"/>
                      </a:cubicBezTo>
                      <a:cubicBezTo>
                        <a:pt x="86" y="112"/>
                        <a:pt x="86" y="112"/>
                        <a:pt x="86" y="112"/>
                      </a:cubicBezTo>
                      <a:cubicBezTo>
                        <a:pt x="85" y="111"/>
                        <a:pt x="85" y="111"/>
                        <a:pt x="85" y="111"/>
                      </a:cubicBezTo>
                      <a:cubicBezTo>
                        <a:pt x="84" y="111"/>
                        <a:pt x="84" y="111"/>
                        <a:pt x="84" y="111"/>
                      </a:cubicBezTo>
                      <a:cubicBezTo>
                        <a:pt x="84" y="112"/>
                        <a:pt x="84" y="112"/>
                        <a:pt x="84" y="112"/>
                      </a:cubicBezTo>
                      <a:cubicBezTo>
                        <a:pt x="84" y="113"/>
                        <a:pt x="84" y="113"/>
                        <a:pt x="84" y="113"/>
                      </a:cubicBezTo>
                      <a:cubicBezTo>
                        <a:pt x="83" y="113"/>
                        <a:pt x="83" y="113"/>
                        <a:pt x="83" y="113"/>
                      </a:cubicBezTo>
                      <a:cubicBezTo>
                        <a:pt x="83" y="113"/>
                        <a:pt x="83" y="113"/>
                        <a:pt x="83" y="113"/>
                      </a:cubicBezTo>
                      <a:cubicBezTo>
                        <a:pt x="84" y="114"/>
                        <a:pt x="84" y="114"/>
                        <a:pt x="84" y="114"/>
                      </a:cubicBezTo>
                      <a:cubicBezTo>
                        <a:pt x="83" y="114"/>
                        <a:pt x="83" y="114"/>
                        <a:pt x="83" y="114"/>
                      </a:cubicBezTo>
                      <a:cubicBezTo>
                        <a:pt x="83" y="114"/>
                        <a:pt x="83" y="114"/>
                        <a:pt x="83" y="114"/>
                      </a:cubicBezTo>
                      <a:cubicBezTo>
                        <a:pt x="83" y="114"/>
                        <a:pt x="83" y="114"/>
                        <a:pt x="83" y="114"/>
                      </a:cubicBezTo>
                      <a:cubicBezTo>
                        <a:pt x="82" y="115"/>
                        <a:pt x="82" y="115"/>
                        <a:pt x="82" y="115"/>
                      </a:cubicBezTo>
                      <a:cubicBezTo>
                        <a:pt x="82" y="115"/>
                        <a:pt x="82" y="115"/>
                        <a:pt x="82" y="115"/>
                      </a:cubicBezTo>
                      <a:cubicBezTo>
                        <a:pt x="82" y="116"/>
                        <a:pt x="82" y="116"/>
                        <a:pt x="82" y="116"/>
                      </a:cubicBezTo>
                      <a:cubicBezTo>
                        <a:pt x="82" y="116"/>
                        <a:pt x="82" y="116"/>
                        <a:pt x="82" y="116"/>
                      </a:cubicBezTo>
                      <a:cubicBezTo>
                        <a:pt x="81" y="116"/>
                        <a:pt x="81" y="116"/>
                        <a:pt x="81" y="116"/>
                      </a:cubicBezTo>
                      <a:cubicBezTo>
                        <a:pt x="81" y="117"/>
                        <a:pt x="81" y="117"/>
                        <a:pt x="81" y="117"/>
                      </a:cubicBezTo>
                      <a:cubicBezTo>
                        <a:pt x="82" y="117"/>
                        <a:pt x="82" y="117"/>
                        <a:pt x="82" y="117"/>
                      </a:cubicBezTo>
                      <a:cubicBezTo>
                        <a:pt x="83" y="118"/>
                        <a:pt x="83" y="118"/>
                        <a:pt x="83" y="118"/>
                      </a:cubicBezTo>
                      <a:cubicBezTo>
                        <a:pt x="83" y="118"/>
                        <a:pt x="83" y="118"/>
                        <a:pt x="83" y="118"/>
                      </a:cubicBezTo>
                      <a:cubicBezTo>
                        <a:pt x="83" y="117"/>
                        <a:pt x="83" y="117"/>
                        <a:pt x="83" y="117"/>
                      </a:cubicBezTo>
                      <a:cubicBezTo>
                        <a:pt x="84" y="117"/>
                        <a:pt x="84" y="117"/>
                        <a:pt x="84" y="117"/>
                      </a:cubicBezTo>
                      <a:cubicBezTo>
                        <a:pt x="85" y="116"/>
                        <a:pt x="85" y="116"/>
                        <a:pt x="85" y="116"/>
                      </a:cubicBezTo>
                      <a:cubicBezTo>
                        <a:pt x="86" y="116"/>
                        <a:pt x="86" y="116"/>
                        <a:pt x="86" y="116"/>
                      </a:cubicBezTo>
                      <a:cubicBezTo>
                        <a:pt x="87" y="116"/>
                        <a:pt x="87" y="116"/>
                        <a:pt x="87" y="116"/>
                      </a:cubicBezTo>
                      <a:cubicBezTo>
                        <a:pt x="88" y="116"/>
                        <a:pt x="88" y="116"/>
                        <a:pt x="88" y="116"/>
                      </a:cubicBezTo>
                      <a:cubicBezTo>
                        <a:pt x="88" y="117"/>
                        <a:pt x="88" y="117"/>
                        <a:pt x="88" y="117"/>
                      </a:cubicBezTo>
                      <a:cubicBezTo>
                        <a:pt x="87" y="117"/>
                        <a:pt x="87" y="117"/>
                        <a:pt x="87" y="117"/>
                      </a:cubicBezTo>
                      <a:cubicBezTo>
                        <a:pt x="87" y="116"/>
                        <a:pt x="87" y="116"/>
                        <a:pt x="87" y="116"/>
                      </a:cubicBezTo>
                      <a:cubicBezTo>
                        <a:pt x="86" y="116"/>
                        <a:pt x="86" y="116"/>
                        <a:pt x="86" y="116"/>
                      </a:cubicBezTo>
                      <a:cubicBezTo>
                        <a:pt x="86" y="117"/>
                        <a:pt x="86" y="117"/>
                        <a:pt x="86" y="117"/>
                      </a:cubicBezTo>
                      <a:cubicBezTo>
                        <a:pt x="84" y="117"/>
                        <a:pt x="84" y="117"/>
                        <a:pt x="84" y="117"/>
                      </a:cubicBezTo>
                      <a:cubicBezTo>
                        <a:pt x="84" y="118"/>
                        <a:pt x="84" y="118"/>
                        <a:pt x="84" y="118"/>
                      </a:cubicBezTo>
                      <a:cubicBezTo>
                        <a:pt x="84" y="119"/>
                        <a:pt x="84" y="119"/>
                        <a:pt x="84" y="119"/>
                      </a:cubicBezTo>
                      <a:cubicBezTo>
                        <a:pt x="84" y="119"/>
                        <a:pt x="84" y="119"/>
                        <a:pt x="84" y="119"/>
                      </a:cubicBezTo>
                      <a:cubicBezTo>
                        <a:pt x="84" y="120"/>
                        <a:pt x="84" y="120"/>
                        <a:pt x="84" y="120"/>
                      </a:cubicBezTo>
                      <a:cubicBezTo>
                        <a:pt x="84" y="120"/>
                        <a:pt x="84" y="120"/>
                        <a:pt x="84" y="120"/>
                      </a:cubicBezTo>
                      <a:close/>
                      <a:moveTo>
                        <a:pt x="88" y="144"/>
                      </a:moveTo>
                      <a:cubicBezTo>
                        <a:pt x="88" y="144"/>
                        <a:pt x="88" y="144"/>
                        <a:pt x="88" y="144"/>
                      </a:cubicBezTo>
                      <a:cubicBezTo>
                        <a:pt x="88" y="143"/>
                        <a:pt x="88" y="143"/>
                        <a:pt x="88" y="143"/>
                      </a:cubicBezTo>
                      <a:cubicBezTo>
                        <a:pt x="88" y="143"/>
                        <a:pt x="88" y="143"/>
                        <a:pt x="88" y="143"/>
                      </a:cubicBezTo>
                      <a:cubicBezTo>
                        <a:pt x="88" y="142"/>
                        <a:pt x="88" y="142"/>
                        <a:pt x="88" y="142"/>
                      </a:cubicBezTo>
                      <a:cubicBezTo>
                        <a:pt x="88" y="141"/>
                        <a:pt x="88" y="141"/>
                        <a:pt x="88" y="141"/>
                      </a:cubicBezTo>
                      <a:cubicBezTo>
                        <a:pt x="87" y="141"/>
                        <a:pt x="87" y="141"/>
                        <a:pt x="87" y="141"/>
                      </a:cubicBezTo>
                      <a:cubicBezTo>
                        <a:pt x="87" y="141"/>
                        <a:pt x="87" y="141"/>
                        <a:pt x="87" y="141"/>
                      </a:cubicBezTo>
                      <a:cubicBezTo>
                        <a:pt x="86" y="140"/>
                        <a:pt x="86" y="140"/>
                        <a:pt x="86" y="140"/>
                      </a:cubicBezTo>
                      <a:cubicBezTo>
                        <a:pt x="85" y="140"/>
                        <a:pt x="85" y="140"/>
                        <a:pt x="85" y="140"/>
                      </a:cubicBezTo>
                      <a:cubicBezTo>
                        <a:pt x="85" y="141"/>
                        <a:pt x="85" y="141"/>
                        <a:pt x="85" y="141"/>
                      </a:cubicBezTo>
                      <a:cubicBezTo>
                        <a:pt x="85" y="141"/>
                        <a:pt x="85" y="141"/>
                        <a:pt x="85" y="141"/>
                      </a:cubicBezTo>
                      <a:cubicBezTo>
                        <a:pt x="85" y="142"/>
                        <a:pt x="85" y="142"/>
                        <a:pt x="85" y="142"/>
                      </a:cubicBezTo>
                      <a:cubicBezTo>
                        <a:pt x="86" y="142"/>
                        <a:pt x="86" y="142"/>
                        <a:pt x="86" y="142"/>
                      </a:cubicBezTo>
                      <a:cubicBezTo>
                        <a:pt x="86" y="142"/>
                        <a:pt x="86" y="142"/>
                        <a:pt x="86" y="142"/>
                      </a:cubicBezTo>
                      <a:cubicBezTo>
                        <a:pt x="87" y="143"/>
                        <a:pt x="87" y="143"/>
                        <a:pt x="87" y="143"/>
                      </a:cubicBezTo>
                      <a:cubicBezTo>
                        <a:pt x="87" y="143"/>
                        <a:pt x="87" y="143"/>
                        <a:pt x="87" y="143"/>
                      </a:cubicBezTo>
                      <a:cubicBezTo>
                        <a:pt x="88" y="144"/>
                        <a:pt x="88" y="144"/>
                        <a:pt x="88" y="144"/>
                      </a:cubicBezTo>
                      <a:close/>
                      <a:moveTo>
                        <a:pt x="105" y="144"/>
                      </a:moveTo>
                      <a:cubicBezTo>
                        <a:pt x="104" y="143"/>
                        <a:pt x="104" y="143"/>
                        <a:pt x="104" y="143"/>
                      </a:cubicBezTo>
                      <a:cubicBezTo>
                        <a:pt x="104" y="143"/>
                        <a:pt x="104" y="143"/>
                        <a:pt x="104" y="143"/>
                      </a:cubicBezTo>
                      <a:cubicBezTo>
                        <a:pt x="103" y="143"/>
                        <a:pt x="103" y="143"/>
                        <a:pt x="103" y="143"/>
                      </a:cubicBezTo>
                      <a:cubicBezTo>
                        <a:pt x="102" y="142"/>
                        <a:pt x="102" y="142"/>
                        <a:pt x="102" y="142"/>
                      </a:cubicBezTo>
                      <a:cubicBezTo>
                        <a:pt x="101" y="142"/>
                        <a:pt x="101" y="142"/>
                        <a:pt x="101" y="142"/>
                      </a:cubicBezTo>
                      <a:cubicBezTo>
                        <a:pt x="100" y="141"/>
                        <a:pt x="100" y="141"/>
                        <a:pt x="100" y="141"/>
                      </a:cubicBezTo>
                      <a:cubicBezTo>
                        <a:pt x="99" y="140"/>
                        <a:pt x="99" y="140"/>
                        <a:pt x="99" y="140"/>
                      </a:cubicBezTo>
                      <a:cubicBezTo>
                        <a:pt x="98" y="140"/>
                        <a:pt x="98" y="140"/>
                        <a:pt x="98" y="140"/>
                      </a:cubicBezTo>
                      <a:cubicBezTo>
                        <a:pt x="97" y="138"/>
                        <a:pt x="97" y="138"/>
                        <a:pt x="97" y="138"/>
                      </a:cubicBezTo>
                      <a:cubicBezTo>
                        <a:pt x="95" y="136"/>
                        <a:pt x="95" y="136"/>
                        <a:pt x="95" y="136"/>
                      </a:cubicBezTo>
                      <a:cubicBezTo>
                        <a:pt x="95" y="134"/>
                        <a:pt x="95" y="134"/>
                        <a:pt x="95" y="134"/>
                      </a:cubicBezTo>
                      <a:cubicBezTo>
                        <a:pt x="94" y="133"/>
                        <a:pt x="94" y="133"/>
                        <a:pt x="94" y="133"/>
                      </a:cubicBezTo>
                      <a:cubicBezTo>
                        <a:pt x="94" y="131"/>
                        <a:pt x="94" y="131"/>
                        <a:pt x="94" y="131"/>
                      </a:cubicBezTo>
                      <a:cubicBezTo>
                        <a:pt x="93" y="130"/>
                        <a:pt x="93" y="130"/>
                        <a:pt x="93" y="130"/>
                      </a:cubicBezTo>
                      <a:cubicBezTo>
                        <a:pt x="92" y="127"/>
                        <a:pt x="92" y="127"/>
                        <a:pt x="92" y="127"/>
                      </a:cubicBezTo>
                      <a:cubicBezTo>
                        <a:pt x="92" y="127"/>
                        <a:pt x="92" y="127"/>
                        <a:pt x="92" y="127"/>
                      </a:cubicBezTo>
                      <a:cubicBezTo>
                        <a:pt x="93" y="126"/>
                        <a:pt x="93" y="126"/>
                        <a:pt x="93" y="126"/>
                      </a:cubicBezTo>
                      <a:cubicBezTo>
                        <a:pt x="93" y="125"/>
                        <a:pt x="93" y="125"/>
                        <a:pt x="93" y="125"/>
                      </a:cubicBezTo>
                      <a:cubicBezTo>
                        <a:pt x="92" y="125"/>
                        <a:pt x="92" y="125"/>
                        <a:pt x="92" y="125"/>
                      </a:cubicBezTo>
                      <a:cubicBezTo>
                        <a:pt x="91" y="125"/>
                        <a:pt x="91" y="125"/>
                        <a:pt x="91" y="125"/>
                      </a:cubicBezTo>
                      <a:cubicBezTo>
                        <a:pt x="90" y="125"/>
                        <a:pt x="90" y="125"/>
                        <a:pt x="90" y="125"/>
                      </a:cubicBezTo>
                      <a:cubicBezTo>
                        <a:pt x="91" y="125"/>
                        <a:pt x="91" y="125"/>
                        <a:pt x="91" y="125"/>
                      </a:cubicBezTo>
                      <a:cubicBezTo>
                        <a:pt x="92" y="125"/>
                        <a:pt x="92" y="125"/>
                        <a:pt x="92" y="125"/>
                      </a:cubicBezTo>
                      <a:cubicBezTo>
                        <a:pt x="93" y="124"/>
                        <a:pt x="93" y="124"/>
                        <a:pt x="93" y="124"/>
                      </a:cubicBezTo>
                      <a:cubicBezTo>
                        <a:pt x="93" y="123"/>
                        <a:pt x="93" y="123"/>
                        <a:pt x="93" y="123"/>
                      </a:cubicBezTo>
                      <a:cubicBezTo>
                        <a:pt x="93" y="122"/>
                        <a:pt x="93" y="122"/>
                        <a:pt x="93" y="122"/>
                      </a:cubicBezTo>
                      <a:cubicBezTo>
                        <a:pt x="92" y="122"/>
                        <a:pt x="92" y="122"/>
                        <a:pt x="92" y="122"/>
                      </a:cubicBezTo>
                      <a:cubicBezTo>
                        <a:pt x="91" y="122"/>
                        <a:pt x="91" y="122"/>
                        <a:pt x="91" y="122"/>
                      </a:cubicBezTo>
                      <a:cubicBezTo>
                        <a:pt x="92" y="122"/>
                        <a:pt x="92" y="122"/>
                        <a:pt x="92" y="122"/>
                      </a:cubicBezTo>
                      <a:cubicBezTo>
                        <a:pt x="93" y="121"/>
                        <a:pt x="93" y="121"/>
                        <a:pt x="93" y="121"/>
                      </a:cubicBezTo>
                      <a:cubicBezTo>
                        <a:pt x="93" y="121"/>
                        <a:pt x="93" y="121"/>
                        <a:pt x="93" y="121"/>
                      </a:cubicBezTo>
                      <a:cubicBezTo>
                        <a:pt x="93" y="121"/>
                        <a:pt x="93" y="121"/>
                        <a:pt x="93" y="121"/>
                      </a:cubicBezTo>
                      <a:cubicBezTo>
                        <a:pt x="91" y="121"/>
                        <a:pt x="91" y="121"/>
                        <a:pt x="91" y="121"/>
                      </a:cubicBezTo>
                      <a:cubicBezTo>
                        <a:pt x="89" y="120"/>
                        <a:pt x="89" y="120"/>
                        <a:pt x="89" y="120"/>
                      </a:cubicBezTo>
                      <a:cubicBezTo>
                        <a:pt x="88" y="120"/>
                        <a:pt x="88" y="120"/>
                        <a:pt x="88" y="120"/>
                      </a:cubicBezTo>
                      <a:cubicBezTo>
                        <a:pt x="87" y="120"/>
                        <a:pt x="87" y="120"/>
                        <a:pt x="87" y="120"/>
                      </a:cubicBezTo>
                      <a:cubicBezTo>
                        <a:pt x="85" y="121"/>
                        <a:pt x="85" y="121"/>
                        <a:pt x="85" y="121"/>
                      </a:cubicBezTo>
                      <a:cubicBezTo>
                        <a:pt x="84" y="121"/>
                        <a:pt x="84" y="121"/>
                        <a:pt x="84" y="121"/>
                      </a:cubicBezTo>
                      <a:cubicBezTo>
                        <a:pt x="83" y="121"/>
                        <a:pt x="83" y="121"/>
                        <a:pt x="83" y="121"/>
                      </a:cubicBezTo>
                      <a:cubicBezTo>
                        <a:pt x="82" y="122"/>
                        <a:pt x="82" y="122"/>
                        <a:pt x="82" y="122"/>
                      </a:cubicBezTo>
                      <a:cubicBezTo>
                        <a:pt x="82" y="123"/>
                        <a:pt x="82" y="123"/>
                        <a:pt x="82" y="123"/>
                      </a:cubicBezTo>
                      <a:cubicBezTo>
                        <a:pt x="82" y="123"/>
                        <a:pt x="82" y="123"/>
                        <a:pt x="82" y="123"/>
                      </a:cubicBezTo>
                      <a:cubicBezTo>
                        <a:pt x="82" y="124"/>
                        <a:pt x="82" y="124"/>
                        <a:pt x="82" y="124"/>
                      </a:cubicBezTo>
                      <a:cubicBezTo>
                        <a:pt x="83" y="124"/>
                        <a:pt x="83" y="124"/>
                        <a:pt x="83" y="124"/>
                      </a:cubicBezTo>
                      <a:cubicBezTo>
                        <a:pt x="83" y="125"/>
                        <a:pt x="83" y="125"/>
                        <a:pt x="83" y="125"/>
                      </a:cubicBezTo>
                      <a:cubicBezTo>
                        <a:pt x="83" y="125"/>
                        <a:pt x="83" y="125"/>
                        <a:pt x="83" y="125"/>
                      </a:cubicBezTo>
                      <a:cubicBezTo>
                        <a:pt x="82" y="125"/>
                        <a:pt x="82" y="125"/>
                        <a:pt x="82" y="125"/>
                      </a:cubicBezTo>
                      <a:cubicBezTo>
                        <a:pt x="81" y="125"/>
                        <a:pt x="81" y="125"/>
                        <a:pt x="81" y="125"/>
                      </a:cubicBezTo>
                      <a:cubicBezTo>
                        <a:pt x="80" y="127"/>
                        <a:pt x="80" y="127"/>
                        <a:pt x="80" y="127"/>
                      </a:cubicBezTo>
                      <a:cubicBezTo>
                        <a:pt x="80" y="128"/>
                        <a:pt x="80" y="128"/>
                        <a:pt x="80" y="128"/>
                      </a:cubicBezTo>
                      <a:cubicBezTo>
                        <a:pt x="80" y="128"/>
                        <a:pt x="80" y="128"/>
                        <a:pt x="80" y="128"/>
                      </a:cubicBezTo>
                      <a:cubicBezTo>
                        <a:pt x="81" y="128"/>
                        <a:pt x="81" y="128"/>
                        <a:pt x="81" y="128"/>
                      </a:cubicBezTo>
                      <a:cubicBezTo>
                        <a:pt x="82" y="127"/>
                        <a:pt x="82" y="127"/>
                        <a:pt x="82" y="127"/>
                      </a:cubicBezTo>
                      <a:cubicBezTo>
                        <a:pt x="83" y="128"/>
                        <a:pt x="83" y="128"/>
                        <a:pt x="83" y="128"/>
                      </a:cubicBezTo>
                      <a:cubicBezTo>
                        <a:pt x="82" y="128"/>
                        <a:pt x="82" y="128"/>
                        <a:pt x="82" y="128"/>
                      </a:cubicBezTo>
                      <a:cubicBezTo>
                        <a:pt x="82" y="129"/>
                        <a:pt x="82" y="129"/>
                        <a:pt x="82" y="129"/>
                      </a:cubicBezTo>
                      <a:cubicBezTo>
                        <a:pt x="82" y="129"/>
                        <a:pt x="82" y="129"/>
                        <a:pt x="82" y="129"/>
                      </a:cubicBezTo>
                      <a:cubicBezTo>
                        <a:pt x="83" y="128"/>
                        <a:pt x="83" y="128"/>
                        <a:pt x="83" y="128"/>
                      </a:cubicBezTo>
                      <a:cubicBezTo>
                        <a:pt x="83" y="128"/>
                        <a:pt x="83" y="128"/>
                        <a:pt x="83" y="128"/>
                      </a:cubicBezTo>
                      <a:cubicBezTo>
                        <a:pt x="84" y="129"/>
                        <a:pt x="84" y="129"/>
                        <a:pt x="84" y="129"/>
                      </a:cubicBezTo>
                      <a:cubicBezTo>
                        <a:pt x="83" y="129"/>
                        <a:pt x="83" y="129"/>
                        <a:pt x="83" y="129"/>
                      </a:cubicBezTo>
                      <a:cubicBezTo>
                        <a:pt x="83" y="130"/>
                        <a:pt x="83" y="130"/>
                        <a:pt x="83" y="130"/>
                      </a:cubicBezTo>
                      <a:cubicBezTo>
                        <a:pt x="83" y="131"/>
                        <a:pt x="83" y="131"/>
                        <a:pt x="83" y="131"/>
                      </a:cubicBezTo>
                      <a:cubicBezTo>
                        <a:pt x="84" y="131"/>
                        <a:pt x="84" y="131"/>
                        <a:pt x="84" y="131"/>
                      </a:cubicBezTo>
                      <a:cubicBezTo>
                        <a:pt x="84" y="131"/>
                        <a:pt x="84" y="131"/>
                        <a:pt x="84" y="131"/>
                      </a:cubicBezTo>
                      <a:cubicBezTo>
                        <a:pt x="83" y="131"/>
                        <a:pt x="83" y="131"/>
                        <a:pt x="83" y="131"/>
                      </a:cubicBezTo>
                      <a:cubicBezTo>
                        <a:pt x="82" y="131"/>
                        <a:pt x="82" y="131"/>
                        <a:pt x="82" y="131"/>
                      </a:cubicBezTo>
                      <a:cubicBezTo>
                        <a:pt x="83" y="132"/>
                        <a:pt x="83" y="132"/>
                        <a:pt x="83" y="132"/>
                      </a:cubicBezTo>
                      <a:cubicBezTo>
                        <a:pt x="83" y="133"/>
                        <a:pt x="83" y="133"/>
                        <a:pt x="83" y="133"/>
                      </a:cubicBezTo>
                      <a:cubicBezTo>
                        <a:pt x="83" y="133"/>
                        <a:pt x="83" y="133"/>
                        <a:pt x="83" y="133"/>
                      </a:cubicBezTo>
                      <a:cubicBezTo>
                        <a:pt x="82" y="133"/>
                        <a:pt x="82" y="133"/>
                        <a:pt x="82" y="133"/>
                      </a:cubicBezTo>
                      <a:cubicBezTo>
                        <a:pt x="81" y="133"/>
                        <a:pt x="81" y="133"/>
                        <a:pt x="81" y="133"/>
                      </a:cubicBezTo>
                      <a:cubicBezTo>
                        <a:pt x="81" y="133"/>
                        <a:pt x="81" y="133"/>
                        <a:pt x="81" y="133"/>
                      </a:cubicBezTo>
                      <a:cubicBezTo>
                        <a:pt x="80" y="133"/>
                        <a:pt x="80" y="133"/>
                        <a:pt x="80" y="133"/>
                      </a:cubicBezTo>
                      <a:cubicBezTo>
                        <a:pt x="79" y="134"/>
                        <a:pt x="79" y="134"/>
                        <a:pt x="79" y="134"/>
                      </a:cubicBezTo>
                      <a:cubicBezTo>
                        <a:pt x="79" y="135"/>
                        <a:pt x="79" y="135"/>
                        <a:pt x="79" y="135"/>
                      </a:cubicBezTo>
                      <a:cubicBezTo>
                        <a:pt x="79" y="136"/>
                        <a:pt x="79" y="136"/>
                        <a:pt x="79" y="136"/>
                      </a:cubicBezTo>
                      <a:cubicBezTo>
                        <a:pt x="79" y="137"/>
                        <a:pt x="79" y="137"/>
                        <a:pt x="79" y="137"/>
                      </a:cubicBezTo>
                      <a:cubicBezTo>
                        <a:pt x="79" y="138"/>
                        <a:pt x="79" y="138"/>
                        <a:pt x="79" y="138"/>
                      </a:cubicBezTo>
                      <a:cubicBezTo>
                        <a:pt x="81" y="138"/>
                        <a:pt x="81" y="138"/>
                        <a:pt x="81" y="138"/>
                      </a:cubicBezTo>
                      <a:cubicBezTo>
                        <a:pt x="81" y="139"/>
                        <a:pt x="81" y="139"/>
                        <a:pt x="81" y="139"/>
                      </a:cubicBezTo>
                      <a:cubicBezTo>
                        <a:pt x="82" y="140"/>
                        <a:pt x="82" y="140"/>
                        <a:pt x="82" y="140"/>
                      </a:cubicBezTo>
                      <a:cubicBezTo>
                        <a:pt x="83" y="140"/>
                        <a:pt x="83" y="140"/>
                        <a:pt x="83" y="140"/>
                      </a:cubicBezTo>
                      <a:cubicBezTo>
                        <a:pt x="83" y="140"/>
                        <a:pt x="83" y="140"/>
                        <a:pt x="83" y="140"/>
                      </a:cubicBezTo>
                      <a:cubicBezTo>
                        <a:pt x="84" y="140"/>
                        <a:pt x="84" y="140"/>
                        <a:pt x="84" y="140"/>
                      </a:cubicBezTo>
                      <a:cubicBezTo>
                        <a:pt x="85" y="139"/>
                        <a:pt x="85" y="139"/>
                        <a:pt x="85" y="139"/>
                      </a:cubicBezTo>
                      <a:cubicBezTo>
                        <a:pt x="85" y="138"/>
                        <a:pt x="85" y="138"/>
                        <a:pt x="85" y="138"/>
                      </a:cubicBezTo>
                      <a:cubicBezTo>
                        <a:pt x="85" y="137"/>
                        <a:pt x="85" y="137"/>
                        <a:pt x="85" y="137"/>
                      </a:cubicBezTo>
                      <a:cubicBezTo>
                        <a:pt x="85" y="136"/>
                        <a:pt x="85" y="136"/>
                        <a:pt x="85" y="136"/>
                      </a:cubicBezTo>
                      <a:cubicBezTo>
                        <a:pt x="85" y="137"/>
                        <a:pt x="85" y="137"/>
                        <a:pt x="85" y="137"/>
                      </a:cubicBezTo>
                      <a:cubicBezTo>
                        <a:pt x="85" y="138"/>
                        <a:pt x="85" y="138"/>
                        <a:pt x="85" y="138"/>
                      </a:cubicBezTo>
                      <a:cubicBezTo>
                        <a:pt x="85" y="138"/>
                        <a:pt x="85" y="138"/>
                        <a:pt x="85" y="138"/>
                      </a:cubicBezTo>
                      <a:cubicBezTo>
                        <a:pt x="86" y="139"/>
                        <a:pt x="86" y="139"/>
                        <a:pt x="86" y="139"/>
                      </a:cubicBezTo>
                      <a:cubicBezTo>
                        <a:pt x="86" y="139"/>
                        <a:pt x="86" y="139"/>
                        <a:pt x="86" y="139"/>
                      </a:cubicBezTo>
                      <a:cubicBezTo>
                        <a:pt x="87" y="139"/>
                        <a:pt x="87" y="139"/>
                        <a:pt x="87" y="139"/>
                      </a:cubicBezTo>
                      <a:cubicBezTo>
                        <a:pt x="87" y="138"/>
                        <a:pt x="87" y="138"/>
                        <a:pt x="87" y="138"/>
                      </a:cubicBezTo>
                      <a:cubicBezTo>
                        <a:pt x="87" y="138"/>
                        <a:pt x="87" y="138"/>
                        <a:pt x="87" y="138"/>
                      </a:cubicBezTo>
                      <a:cubicBezTo>
                        <a:pt x="88" y="138"/>
                        <a:pt x="88" y="138"/>
                        <a:pt x="88" y="138"/>
                      </a:cubicBezTo>
                      <a:cubicBezTo>
                        <a:pt x="88" y="138"/>
                        <a:pt x="88" y="138"/>
                        <a:pt x="88" y="138"/>
                      </a:cubicBezTo>
                      <a:cubicBezTo>
                        <a:pt x="88" y="139"/>
                        <a:pt x="88" y="139"/>
                        <a:pt x="88" y="139"/>
                      </a:cubicBezTo>
                      <a:cubicBezTo>
                        <a:pt x="88" y="140"/>
                        <a:pt x="88" y="140"/>
                        <a:pt x="88" y="140"/>
                      </a:cubicBezTo>
                      <a:cubicBezTo>
                        <a:pt x="90" y="141"/>
                        <a:pt x="90" y="141"/>
                        <a:pt x="90" y="141"/>
                      </a:cubicBezTo>
                      <a:cubicBezTo>
                        <a:pt x="90" y="141"/>
                        <a:pt x="90" y="141"/>
                        <a:pt x="90" y="141"/>
                      </a:cubicBezTo>
                      <a:cubicBezTo>
                        <a:pt x="91" y="141"/>
                        <a:pt x="91" y="141"/>
                        <a:pt x="91" y="141"/>
                      </a:cubicBezTo>
                      <a:cubicBezTo>
                        <a:pt x="91" y="141"/>
                        <a:pt x="91" y="141"/>
                        <a:pt x="91" y="141"/>
                      </a:cubicBezTo>
                      <a:cubicBezTo>
                        <a:pt x="91" y="141"/>
                        <a:pt x="91" y="141"/>
                        <a:pt x="91" y="141"/>
                      </a:cubicBezTo>
                      <a:cubicBezTo>
                        <a:pt x="91" y="141"/>
                        <a:pt x="91" y="141"/>
                        <a:pt x="91" y="141"/>
                      </a:cubicBezTo>
                      <a:cubicBezTo>
                        <a:pt x="90" y="142"/>
                        <a:pt x="90" y="142"/>
                        <a:pt x="90" y="142"/>
                      </a:cubicBezTo>
                      <a:cubicBezTo>
                        <a:pt x="90" y="142"/>
                        <a:pt x="90" y="142"/>
                        <a:pt x="90" y="142"/>
                      </a:cubicBezTo>
                      <a:cubicBezTo>
                        <a:pt x="90" y="143"/>
                        <a:pt x="90" y="143"/>
                        <a:pt x="90" y="143"/>
                      </a:cubicBezTo>
                      <a:cubicBezTo>
                        <a:pt x="90" y="143"/>
                        <a:pt x="90" y="143"/>
                        <a:pt x="90" y="143"/>
                      </a:cubicBezTo>
                      <a:cubicBezTo>
                        <a:pt x="90" y="144"/>
                        <a:pt x="90" y="144"/>
                        <a:pt x="90" y="144"/>
                      </a:cubicBezTo>
                      <a:cubicBezTo>
                        <a:pt x="90" y="144"/>
                        <a:pt x="90" y="144"/>
                        <a:pt x="90" y="144"/>
                      </a:cubicBezTo>
                      <a:cubicBezTo>
                        <a:pt x="89" y="144"/>
                        <a:pt x="89" y="144"/>
                        <a:pt x="89" y="144"/>
                      </a:cubicBezTo>
                      <a:cubicBezTo>
                        <a:pt x="89" y="144"/>
                        <a:pt x="89" y="144"/>
                        <a:pt x="89" y="144"/>
                      </a:cubicBezTo>
                      <a:cubicBezTo>
                        <a:pt x="90" y="145"/>
                        <a:pt x="90" y="145"/>
                        <a:pt x="90" y="145"/>
                      </a:cubicBezTo>
                      <a:cubicBezTo>
                        <a:pt x="91" y="145"/>
                        <a:pt x="91" y="145"/>
                        <a:pt x="91" y="145"/>
                      </a:cubicBezTo>
                      <a:cubicBezTo>
                        <a:pt x="92" y="145"/>
                        <a:pt x="92" y="145"/>
                        <a:pt x="92" y="145"/>
                      </a:cubicBezTo>
                      <a:cubicBezTo>
                        <a:pt x="93" y="145"/>
                        <a:pt x="93" y="145"/>
                        <a:pt x="93" y="145"/>
                      </a:cubicBezTo>
                      <a:cubicBezTo>
                        <a:pt x="94" y="146"/>
                        <a:pt x="94" y="146"/>
                        <a:pt x="94" y="146"/>
                      </a:cubicBezTo>
                      <a:cubicBezTo>
                        <a:pt x="94" y="145"/>
                        <a:pt x="94" y="145"/>
                        <a:pt x="94" y="145"/>
                      </a:cubicBezTo>
                      <a:cubicBezTo>
                        <a:pt x="95" y="145"/>
                        <a:pt x="95" y="145"/>
                        <a:pt x="95" y="145"/>
                      </a:cubicBezTo>
                      <a:cubicBezTo>
                        <a:pt x="95" y="145"/>
                        <a:pt x="95" y="145"/>
                        <a:pt x="95" y="145"/>
                      </a:cubicBezTo>
                      <a:cubicBezTo>
                        <a:pt x="96" y="147"/>
                        <a:pt x="96" y="147"/>
                        <a:pt x="96" y="147"/>
                      </a:cubicBezTo>
                      <a:cubicBezTo>
                        <a:pt x="96" y="147"/>
                        <a:pt x="96" y="147"/>
                        <a:pt x="96" y="147"/>
                      </a:cubicBezTo>
                      <a:cubicBezTo>
                        <a:pt x="97" y="147"/>
                        <a:pt x="97" y="147"/>
                        <a:pt x="97" y="147"/>
                      </a:cubicBezTo>
                      <a:cubicBezTo>
                        <a:pt x="98" y="146"/>
                        <a:pt x="98" y="146"/>
                        <a:pt x="98" y="146"/>
                      </a:cubicBezTo>
                      <a:cubicBezTo>
                        <a:pt x="97" y="146"/>
                        <a:pt x="97" y="146"/>
                        <a:pt x="97" y="146"/>
                      </a:cubicBezTo>
                      <a:cubicBezTo>
                        <a:pt x="96" y="145"/>
                        <a:pt x="96" y="145"/>
                        <a:pt x="96" y="145"/>
                      </a:cubicBezTo>
                      <a:cubicBezTo>
                        <a:pt x="96" y="145"/>
                        <a:pt x="96" y="145"/>
                        <a:pt x="96" y="145"/>
                      </a:cubicBezTo>
                      <a:cubicBezTo>
                        <a:pt x="96" y="145"/>
                        <a:pt x="96" y="145"/>
                        <a:pt x="96" y="145"/>
                      </a:cubicBezTo>
                      <a:cubicBezTo>
                        <a:pt x="97" y="145"/>
                        <a:pt x="97" y="145"/>
                        <a:pt x="97" y="145"/>
                      </a:cubicBezTo>
                      <a:cubicBezTo>
                        <a:pt x="98" y="145"/>
                        <a:pt x="98" y="145"/>
                        <a:pt x="98" y="145"/>
                      </a:cubicBezTo>
                      <a:cubicBezTo>
                        <a:pt x="98" y="146"/>
                        <a:pt x="98" y="146"/>
                        <a:pt x="98" y="146"/>
                      </a:cubicBezTo>
                      <a:cubicBezTo>
                        <a:pt x="99" y="147"/>
                        <a:pt x="99" y="147"/>
                        <a:pt x="99" y="147"/>
                      </a:cubicBezTo>
                      <a:cubicBezTo>
                        <a:pt x="99" y="147"/>
                        <a:pt x="99" y="147"/>
                        <a:pt x="99" y="147"/>
                      </a:cubicBezTo>
                      <a:cubicBezTo>
                        <a:pt x="99" y="146"/>
                        <a:pt x="99" y="146"/>
                        <a:pt x="99" y="146"/>
                      </a:cubicBezTo>
                      <a:cubicBezTo>
                        <a:pt x="100" y="146"/>
                        <a:pt x="100" y="146"/>
                        <a:pt x="100" y="146"/>
                      </a:cubicBezTo>
                      <a:cubicBezTo>
                        <a:pt x="100" y="146"/>
                        <a:pt x="100" y="146"/>
                        <a:pt x="100" y="146"/>
                      </a:cubicBezTo>
                      <a:cubicBezTo>
                        <a:pt x="101" y="147"/>
                        <a:pt x="101" y="147"/>
                        <a:pt x="101" y="147"/>
                      </a:cubicBezTo>
                      <a:cubicBezTo>
                        <a:pt x="102" y="147"/>
                        <a:pt x="102" y="147"/>
                        <a:pt x="102" y="147"/>
                      </a:cubicBezTo>
                      <a:cubicBezTo>
                        <a:pt x="102" y="146"/>
                        <a:pt x="102" y="146"/>
                        <a:pt x="102" y="146"/>
                      </a:cubicBezTo>
                      <a:cubicBezTo>
                        <a:pt x="101" y="146"/>
                        <a:pt x="101" y="146"/>
                        <a:pt x="101" y="146"/>
                      </a:cubicBezTo>
                      <a:cubicBezTo>
                        <a:pt x="101" y="145"/>
                        <a:pt x="101" y="145"/>
                        <a:pt x="101" y="145"/>
                      </a:cubicBezTo>
                      <a:cubicBezTo>
                        <a:pt x="102" y="145"/>
                        <a:pt x="102" y="145"/>
                        <a:pt x="102" y="145"/>
                      </a:cubicBezTo>
                      <a:cubicBezTo>
                        <a:pt x="102" y="146"/>
                        <a:pt x="102" y="146"/>
                        <a:pt x="102" y="146"/>
                      </a:cubicBezTo>
                      <a:cubicBezTo>
                        <a:pt x="103" y="146"/>
                        <a:pt x="103" y="146"/>
                        <a:pt x="103" y="146"/>
                      </a:cubicBezTo>
                      <a:cubicBezTo>
                        <a:pt x="103" y="146"/>
                        <a:pt x="103" y="146"/>
                        <a:pt x="103" y="146"/>
                      </a:cubicBezTo>
                      <a:cubicBezTo>
                        <a:pt x="103" y="147"/>
                        <a:pt x="103" y="147"/>
                        <a:pt x="103" y="147"/>
                      </a:cubicBezTo>
                      <a:cubicBezTo>
                        <a:pt x="104" y="147"/>
                        <a:pt x="104" y="147"/>
                        <a:pt x="104" y="147"/>
                      </a:cubicBezTo>
                      <a:cubicBezTo>
                        <a:pt x="104" y="147"/>
                        <a:pt x="104" y="147"/>
                        <a:pt x="104" y="147"/>
                      </a:cubicBezTo>
                      <a:cubicBezTo>
                        <a:pt x="105" y="146"/>
                        <a:pt x="105" y="146"/>
                        <a:pt x="105" y="146"/>
                      </a:cubicBezTo>
                      <a:cubicBezTo>
                        <a:pt x="104" y="146"/>
                        <a:pt x="104" y="146"/>
                        <a:pt x="104" y="146"/>
                      </a:cubicBezTo>
                      <a:cubicBezTo>
                        <a:pt x="104" y="146"/>
                        <a:pt x="104" y="146"/>
                        <a:pt x="104" y="146"/>
                      </a:cubicBezTo>
                      <a:cubicBezTo>
                        <a:pt x="103" y="145"/>
                        <a:pt x="103" y="145"/>
                        <a:pt x="103" y="145"/>
                      </a:cubicBezTo>
                      <a:cubicBezTo>
                        <a:pt x="103" y="145"/>
                        <a:pt x="103" y="145"/>
                        <a:pt x="103" y="145"/>
                      </a:cubicBezTo>
                      <a:cubicBezTo>
                        <a:pt x="104" y="145"/>
                        <a:pt x="104" y="145"/>
                        <a:pt x="104" y="145"/>
                      </a:cubicBezTo>
                      <a:cubicBezTo>
                        <a:pt x="104" y="145"/>
                        <a:pt x="104" y="145"/>
                        <a:pt x="104" y="145"/>
                      </a:cubicBezTo>
                      <a:cubicBezTo>
                        <a:pt x="105" y="145"/>
                        <a:pt x="105" y="145"/>
                        <a:pt x="105" y="145"/>
                      </a:cubicBezTo>
                      <a:cubicBezTo>
                        <a:pt x="105" y="144"/>
                        <a:pt x="105" y="144"/>
                        <a:pt x="105" y="144"/>
                      </a:cubicBezTo>
                      <a:cubicBezTo>
                        <a:pt x="105" y="144"/>
                        <a:pt x="105" y="144"/>
                        <a:pt x="105" y="144"/>
                      </a:cubicBezTo>
                      <a:close/>
                      <a:moveTo>
                        <a:pt x="33" y="198"/>
                      </a:moveTo>
                      <a:cubicBezTo>
                        <a:pt x="33" y="197"/>
                        <a:pt x="33" y="197"/>
                        <a:pt x="33" y="197"/>
                      </a:cubicBezTo>
                      <a:cubicBezTo>
                        <a:pt x="33" y="196"/>
                        <a:pt x="33" y="196"/>
                        <a:pt x="33" y="196"/>
                      </a:cubicBezTo>
                      <a:cubicBezTo>
                        <a:pt x="33" y="196"/>
                        <a:pt x="33" y="196"/>
                        <a:pt x="33" y="196"/>
                      </a:cubicBezTo>
                      <a:cubicBezTo>
                        <a:pt x="32" y="196"/>
                        <a:pt x="32" y="196"/>
                        <a:pt x="32" y="196"/>
                      </a:cubicBezTo>
                      <a:cubicBezTo>
                        <a:pt x="32" y="196"/>
                        <a:pt x="32" y="196"/>
                        <a:pt x="32" y="196"/>
                      </a:cubicBezTo>
                      <a:cubicBezTo>
                        <a:pt x="32" y="197"/>
                        <a:pt x="32" y="197"/>
                        <a:pt x="32" y="197"/>
                      </a:cubicBezTo>
                      <a:cubicBezTo>
                        <a:pt x="33" y="198"/>
                        <a:pt x="33" y="198"/>
                        <a:pt x="33" y="198"/>
                      </a:cubicBezTo>
                      <a:cubicBezTo>
                        <a:pt x="33" y="198"/>
                        <a:pt x="33" y="198"/>
                        <a:pt x="33" y="198"/>
                      </a:cubicBezTo>
                      <a:cubicBezTo>
                        <a:pt x="33" y="198"/>
                        <a:pt x="33" y="198"/>
                        <a:pt x="33" y="198"/>
                      </a:cubicBezTo>
                      <a:cubicBezTo>
                        <a:pt x="33" y="198"/>
                        <a:pt x="33" y="198"/>
                        <a:pt x="33" y="198"/>
                      </a:cubicBezTo>
                      <a:close/>
                      <a:moveTo>
                        <a:pt x="58" y="183"/>
                      </a:moveTo>
                      <a:cubicBezTo>
                        <a:pt x="59" y="183"/>
                        <a:pt x="59" y="183"/>
                        <a:pt x="59" y="183"/>
                      </a:cubicBezTo>
                      <a:cubicBezTo>
                        <a:pt x="58" y="183"/>
                        <a:pt x="58" y="183"/>
                        <a:pt x="58" y="183"/>
                      </a:cubicBezTo>
                      <a:cubicBezTo>
                        <a:pt x="58" y="182"/>
                        <a:pt x="58" y="182"/>
                        <a:pt x="58" y="182"/>
                      </a:cubicBezTo>
                      <a:cubicBezTo>
                        <a:pt x="57" y="182"/>
                        <a:pt x="57" y="182"/>
                        <a:pt x="57" y="182"/>
                      </a:cubicBezTo>
                      <a:cubicBezTo>
                        <a:pt x="57" y="183"/>
                        <a:pt x="57" y="183"/>
                        <a:pt x="57" y="183"/>
                      </a:cubicBezTo>
                      <a:cubicBezTo>
                        <a:pt x="58" y="183"/>
                        <a:pt x="58" y="183"/>
                        <a:pt x="58" y="183"/>
                      </a:cubicBezTo>
                      <a:close/>
                      <a:moveTo>
                        <a:pt x="77" y="165"/>
                      </a:moveTo>
                      <a:cubicBezTo>
                        <a:pt x="78" y="165"/>
                        <a:pt x="78" y="165"/>
                        <a:pt x="78" y="165"/>
                      </a:cubicBezTo>
                      <a:cubicBezTo>
                        <a:pt x="80" y="164"/>
                        <a:pt x="80" y="164"/>
                        <a:pt x="80" y="164"/>
                      </a:cubicBezTo>
                      <a:cubicBezTo>
                        <a:pt x="80" y="163"/>
                        <a:pt x="80" y="163"/>
                        <a:pt x="80" y="163"/>
                      </a:cubicBezTo>
                      <a:cubicBezTo>
                        <a:pt x="80" y="161"/>
                        <a:pt x="80" y="161"/>
                        <a:pt x="80" y="161"/>
                      </a:cubicBezTo>
                      <a:cubicBezTo>
                        <a:pt x="81" y="161"/>
                        <a:pt x="81" y="161"/>
                        <a:pt x="81" y="161"/>
                      </a:cubicBezTo>
                      <a:cubicBezTo>
                        <a:pt x="81" y="161"/>
                        <a:pt x="81" y="161"/>
                        <a:pt x="81" y="161"/>
                      </a:cubicBezTo>
                      <a:cubicBezTo>
                        <a:pt x="81" y="162"/>
                        <a:pt x="81" y="162"/>
                        <a:pt x="81" y="162"/>
                      </a:cubicBezTo>
                      <a:cubicBezTo>
                        <a:pt x="82" y="161"/>
                        <a:pt x="82" y="161"/>
                        <a:pt x="82" y="161"/>
                      </a:cubicBezTo>
                      <a:cubicBezTo>
                        <a:pt x="82" y="160"/>
                        <a:pt x="82" y="160"/>
                        <a:pt x="82" y="160"/>
                      </a:cubicBezTo>
                      <a:cubicBezTo>
                        <a:pt x="81" y="159"/>
                        <a:pt x="81" y="159"/>
                        <a:pt x="81" y="159"/>
                      </a:cubicBezTo>
                      <a:cubicBezTo>
                        <a:pt x="77" y="158"/>
                        <a:pt x="77" y="158"/>
                        <a:pt x="77" y="158"/>
                      </a:cubicBezTo>
                      <a:cubicBezTo>
                        <a:pt x="76" y="158"/>
                        <a:pt x="76" y="158"/>
                        <a:pt x="76" y="158"/>
                      </a:cubicBezTo>
                      <a:cubicBezTo>
                        <a:pt x="75" y="158"/>
                        <a:pt x="75" y="158"/>
                        <a:pt x="75" y="158"/>
                      </a:cubicBezTo>
                      <a:cubicBezTo>
                        <a:pt x="74" y="160"/>
                        <a:pt x="74" y="160"/>
                        <a:pt x="74" y="160"/>
                      </a:cubicBezTo>
                      <a:cubicBezTo>
                        <a:pt x="74" y="162"/>
                        <a:pt x="74" y="162"/>
                        <a:pt x="74" y="162"/>
                      </a:cubicBezTo>
                      <a:cubicBezTo>
                        <a:pt x="75" y="163"/>
                        <a:pt x="75" y="163"/>
                        <a:pt x="75" y="163"/>
                      </a:cubicBezTo>
                      <a:cubicBezTo>
                        <a:pt x="75" y="164"/>
                        <a:pt x="75" y="164"/>
                        <a:pt x="75" y="164"/>
                      </a:cubicBezTo>
                      <a:cubicBezTo>
                        <a:pt x="75" y="164"/>
                        <a:pt x="75" y="164"/>
                        <a:pt x="75" y="164"/>
                      </a:cubicBezTo>
                      <a:cubicBezTo>
                        <a:pt x="76" y="165"/>
                        <a:pt x="76" y="165"/>
                        <a:pt x="76" y="165"/>
                      </a:cubicBezTo>
                      <a:cubicBezTo>
                        <a:pt x="76" y="165"/>
                        <a:pt x="76" y="165"/>
                        <a:pt x="76" y="165"/>
                      </a:cubicBezTo>
                      <a:cubicBezTo>
                        <a:pt x="77" y="165"/>
                        <a:pt x="77" y="165"/>
                        <a:pt x="77" y="165"/>
                      </a:cubicBezTo>
                      <a:cubicBezTo>
                        <a:pt x="77" y="165"/>
                        <a:pt x="77" y="165"/>
                        <a:pt x="77" y="165"/>
                      </a:cubicBezTo>
                      <a:close/>
                      <a:moveTo>
                        <a:pt x="86" y="166"/>
                      </a:moveTo>
                      <a:cubicBezTo>
                        <a:pt x="86" y="166"/>
                        <a:pt x="86" y="166"/>
                        <a:pt x="86" y="166"/>
                      </a:cubicBezTo>
                      <a:cubicBezTo>
                        <a:pt x="86" y="166"/>
                        <a:pt x="86" y="166"/>
                        <a:pt x="86" y="166"/>
                      </a:cubicBezTo>
                      <a:cubicBezTo>
                        <a:pt x="88" y="166"/>
                        <a:pt x="88" y="166"/>
                        <a:pt x="88" y="166"/>
                      </a:cubicBezTo>
                      <a:cubicBezTo>
                        <a:pt x="88" y="165"/>
                        <a:pt x="88" y="165"/>
                        <a:pt x="88" y="165"/>
                      </a:cubicBezTo>
                      <a:cubicBezTo>
                        <a:pt x="87" y="165"/>
                        <a:pt x="87" y="165"/>
                        <a:pt x="87" y="165"/>
                      </a:cubicBezTo>
                      <a:cubicBezTo>
                        <a:pt x="86" y="166"/>
                        <a:pt x="86" y="166"/>
                        <a:pt x="86" y="166"/>
                      </a:cubicBezTo>
                      <a:cubicBezTo>
                        <a:pt x="86" y="166"/>
                        <a:pt x="86" y="166"/>
                        <a:pt x="86" y="166"/>
                      </a:cubicBezTo>
                      <a:close/>
                      <a:moveTo>
                        <a:pt x="100" y="166"/>
                      </a:moveTo>
                      <a:cubicBezTo>
                        <a:pt x="100" y="166"/>
                        <a:pt x="100" y="166"/>
                        <a:pt x="100" y="166"/>
                      </a:cubicBezTo>
                      <a:cubicBezTo>
                        <a:pt x="101" y="165"/>
                        <a:pt x="101" y="165"/>
                        <a:pt x="101" y="165"/>
                      </a:cubicBezTo>
                      <a:cubicBezTo>
                        <a:pt x="101" y="165"/>
                        <a:pt x="101" y="165"/>
                        <a:pt x="101" y="165"/>
                      </a:cubicBezTo>
                      <a:cubicBezTo>
                        <a:pt x="100" y="165"/>
                        <a:pt x="100" y="165"/>
                        <a:pt x="100" y="165"/>
                      </a:cubicBezTo>
                      <a:cubicBezTo>
                        <a:pt x="100" y="166"/>
                        <a:pt x="100" y="166"/>
                        <a:pt x="100" y="166"/>
                      </a:cubicBezTo>
                      <a:cubicBezTo>
                        <a:pt x="100" y="166"/>
                        <a:pt x="100" y="166"/>
                        <a:pt x="100" y="166"/>
                      </a:cubicBezTo>
                      <a:close/>
                      <a:moveTo>
                        <a:pt x="98" y="166"/>
                      </a:moveTo>
                      <a:cubicBezTo>
                        <a:pt x="99" y="166"/>
                        <a:pt x="99" y="166"/>
                        <a:pt x="99" y="166"/>
                      </a:cubicBezTo>
                      <a:cubicBezTo>
                        <a:pt x="99" y="166"/>
                        <a:pt x="99" y="166"/>
                        <a:pt x="99" y="166"/>
                      </a:cubicBezTo>
                      <a:cubicBezTo>
                        <a:pt x="99" y="165"/>
                        <a:pt x="99" y="165"/>
                        <a:pt x="99" y="165"/>
                      </a:cubicBezTo>
                      <a:cubicBezTo>
                        <a:pt x="98" y="165"/>
                        <a:pt x="98" y="165"/>
                        <a:pt x="98" y="165"/>
                      </a:cubicBezTo>
                      <a:cubicBezTo>
                        <a:pt x="98" y="166"/>
                        <a:pt x="98" y="166"/>
                        <a:pt x="98" y="166"/>
                      </a:cubicBezTo>
                      <a:close/>
                      <a:moveTo>
                        <a:pt x="109" y="162"/>
                      </a:moveTo>
                      <a:cubicBezTo>
                        <a:pt x="110" y="162"/>
                        <a:pt x="110" y="162"/>
                        <a:pt x="110" y="162"/>
                      </a:cubicBezTo>
                      <a:cubicBezTo>
                        <a:pt x="110" y="162"/>
                        <a:pt x="110" y="162"/>
                        <a:pt x="110" y="162"/>
                      </a:cubicBezTo>
                      <a:cubicBezTo>
                        <a:pt x="111" y="161"/>
                        <a:pt x="111" y="161"/>
                        <a:pt x="111" y="161"/>
                      </a:cubicBezTo>
                      <a:cubicBezTo>
                        <a:pt x="112" y="161"/>
                        <a:pt x="112" y="161"/>
                        <a:pt x="112" y="161"/>
                      </a:cubicBezTo>
                      <a:cubicBezTo>
                        <a:pt x="111" y="161"/>
                        <a:pt x="111" y="161"/>
                        <a:pt x="111" y="161"/>
                      </a:cubicBezTo>
                      <a:cubicBezTo>
                        <a:pt x="110" y="161"/>
                        <a:pt x="110" y="161"/>
                        <a:pt x="110" y="161"/>
                      </a:cubicBezTo>
                      <a:cubicBezTo>
                        <a:pt x="109" y="162"/>
                        <a:pt x="109" y="162"/>
                        <a:pt x="109" y="162"/>
                      </a:cubicBezTo>
                      <a:close/>
                      <a:moveTo>
                        <a:pt x="105" y="161"/>
                      </a:moveTo>
                      <a:cubicBezTo>
                        <a:pt x="105" y="161"/>
                        <a:pt x="105" y="161"/>
                        <a:pt x="105" y="161"/>
                      </a:cubicBezTo>
                      <a:cubicBezTo>
                        <a:pt x="106" y="161"/>
                        <a:pt x="106" y="161"/>
                        <a:pt x="106" y="161"/>
                      </a:cubicBezTo>
                      <a:cubicBezTo>
                        <a:pt x="106" y="161"/>
                        <a:pt x="106" y="161"/>
                        <a:pt x="106" y="161"/>
                      </a:cubicBezTo>
                      <a:cubicBezTo>
                        <a:pt x="105" y="161"/>
                        <a:pt x="105" y="161"/>
                        <a:pt x="105" y="161"/>
                      </a:cubicBezTo>
                      <a:cubicBezTo>
                        <a:pt x="105" y="161"/>
                        <a:pt x="105" y="161"/>
                        <a:pt x="105" y="161"/>
                      </a:cubicBezTo>
                      <a:close/>
                      <a:moveTo>
                        <a:pt x="102" y="161"/>
                      </a:moveTo>
                      <a:cubicBezTo>
                        <a:pt x="102" y="161"/>
                        <a:pt x="102" y="161"/>
                        <a:pt x="102" y="161"/>
                      </a:cubicBezTo>
                      <a:cubicBezTo>
                        <a:pt x="103" y="161"/>
                        <a:pt x="103" y="161"/>
                        <a:pt x="103" y="161"/>
                      </a:cubicBezTo>
                      <a:cubicBezTo>
                        <a:pt x="104" y="161"/>
                        <a:pt x="104" y="161"/>
                        <a:pt x="104" y="161"/>
                      </a:cubicBezTo>
                      <a:cubicBezTo>
                        <a:pt x="103" y="161"/>
                        <a:pt x="103" y="161"/>
                        <a:pt x="103" y="161"/>
                      </a:cubicBezTo>
                      <a:cubicBezTo>
                        <a:pt x="102" y="160"/>
                        <a:pt x="102" y="160"/>
                        <a:pt x="102" y="160"/>
                      </a:cubicBezTo>
                      <a:cubicBezTo>
                        <a:pt x="102" y="161"/>
                        <a:pt x="102" y="161"/>
                        <a:pt x="102" y="161"/>
                      </a:cubicBezTo>
                      <a:close/>
                      <a:moveTo>
                        <a:pt x="100" y="161"/>
                      </a:moveTo>
                      <a:cubicBezTo>
                        <a:pt x="100" y="161"/>
                        <a:pt x="100" y="161"/>
                        <a:pt x="100" y="161"/>
                      </a:cubicBezTo>
                      <a:cubicBezTo>
                        <a:pt x="101" y="161"/>
                        <a:pt x="101" y="161"/>
                        <a:pt x="101" y="161"/>
                      </a:cubicBezTo>
                      <a:cubicBezTo>
                        <a:pt x="101" y="161"/>
                        <a:pt x="101" y="161"/>
                        <a:pt x="101" y="161"/>
                      </a:cubicBezTo>
                      <a:cubicBezTo>
                        <a:pt x="101" y="160"/>
                        <a:pt x="101" y="160"/>
                        <a:pt x="101" y="160"/>
                      </a:cubicBezTo>
                      <a:cubicBezTo>
                        <a:pt x="100" y="161"/>
                        <a:pt x="100" y="161"/>
                        <a:pt x="100" y="161"/>
                      </a:cubicBezTo>
                      <a:close/>
                      <a:moveTo>
                        <a:pt x="202" y="133"/>
                      </a:moveTo>
                      <a:cubicBezTo>
                        <a:pt x="202" y="134"/>
                        <a:pt x="202" y="134"/>
                        <a:pt x="202" y="134"/>
                      </a:cubicBezTo>
                      <a:cubicBezTo>
                        <a:pt x="203" y="134"/>
                        <a:pt x="203" y="134"/>
                        <a:pt x="203" y="134"/>
                      </a:cubicBezTo>
                      <a:cubicBezTo>
                        <a:pt x="203" y="133"/>
                        <a:pt x="203" y="133"/>
                        <a:pt x="203" y="133"/>
                      </a:cubicBezTo>
                      <a:cubicBezTo>
                        <a:pt x="203" y="133"/>
                        <a:pt x="203" y="133"/>
                        <a:pt x="203" y="133"/>
                      </a:cubicBezTo>
                      <a:cubicBezTo>
                        <a:pt x="202" y="133"/>
                        <a:pt x="202" y="133"/>
                        <a:pt x="202" y="133"/>
                      </a:cubicBezTo>
                      <a:close/>
                      <a:moveTo>
                        <a:pt x="201" y="130"/>
                      </a:moveTo>
                      <a:cubicBezTo>
                        <a:pt x="201" y="132"/>
                        <a:pt x="201" y="132"/>
                        <a:pt x="201" y="132"/>
                      </a:cubicBezTo>
                      <a:cubicBezTo>
                        <a:pt x="201" y="133"/>
                        <a:pt x="201" y="133"/>
                        <a:pt x="201" y="133"/>
                      </a:cubicBezTo>
                      <a:cubicBezTo>
                        <a:pt x="201" y="134"/>
                        <a:pt x="201" y="134"/>
                        <a:pt x="201" y="134"/>
                      </a:cubicBezTo>
                      <a:cubicBezTo>
                        <a:pt x="201" y="134"/>
                        <a:pt x="201" y="134"/>
                        <a:pt x="201" y="134"/>
                      </a:cubicBezTo>
                      <a:cubicBezTo>
                        <a:pt x="202" y="133"/>
                        <a:pt x="202" y="133"/>
                        <a:pt x="202" y="133"/>
                      </a:cubicBezTo>
                      <a:cubicBezTo>
                        <a:pt x="202" y="131"/>
                        <a:pt x="202" y="131"/>
                        <a:pt x="202" y="131"/>
                      </a:cubicBezTo>
                      <a:cubicBezTo>
                        <a:pt x="201" y="130"/>
                        <a:pt x="201" y="130"/>
                        <a:pt x="201" y="130"/>
                      </a:cubicBezTo>
                      <a:cubicBezTo>
                        <a:pt x="201" y="130"/>
                        <a:pt x="201" y="130"/>
                        <a:pt x="201" y="130"/>
                      </a:cubicBezTo>
                      <a:close/>
                      <a:moveTo>
                        <a:pt x="199" y="128"/>
                      </a:moveTo>
                      <a:cubicBezTo>
                        <a:pt x="200" y="129"/>
                        <a:pt x="200" y="129"/>
                        <a:pt x="200" y="129"/>
                      </a:cubicBezTo>
                      <a:cubicBezTo>
                        <a:pt x="200" y="130"/>
                        <a:pt x="200" y="130"/>
                        <a:pt x="200" y="130"/>
                      </a:cubicBezTo>
                      <a:cubicBezTo>
                        <a:pt x="200" y="129"/>
                        <a:pt x="200" y="129"/>
                        <a:pt x="200" y="129"/>
                      </a:cubicBezTo>
                      <a:cubicBezTo>
                        <a:pt x="200" y="128"/>
                        <a:pt x="200" y="128"/>
                        <a:pt x="200" y="128"/>
                      </a:cubicBezTo>
                      <a:cubicBezTo>
                        <a:pt x="199" y="128"/>
                        <a:pt x="199" y="128"/>
                        <a:pt x="199" y="128"/>
                      </a:cubicBezTo>
                      <a:close/>
                      <a:moveTo>
                        <a:pt x="112" y="154"/>
                      </a:moveTo>
                      <a:cubicBezTo>
                        <a:pt x="113" y="154"/>
                        <a:pt x="113" y="154"/>
                        <a:pt x="113" y="154"/>
                      </a:cubicBezTo>
                      <a:cubicBezTo>
                        <a:pt x="113" y="154"/>
                        <a:pt x="113" y="154"/>
                        <a:pt x="113" y="154"/>
                      </a:cubicBezTo>
                      <a:cubicBezTo>
                        <a:pt x="112" y="153"/>
                        <a:pt x="112" y="153"/>
                        <a:pt x="112" y="153"/>
                      </a:cubicBezTo>
                      <a:cubicBezTo>
                        <a:pt x="112" y="154"/>
                        <a:pt x="112" y="154"/>
                        <a:pt x="112" y="154"/>
                      </a:cubicBezTo>
                      <a:close/>
                      <a:moveTo>
                        <a:pt x="117" y="158"/>
                      </a:moveTo>
                      <a:cubicBezTo>
                        <a:pt x="117" y="158"/>
                        <a:pt x="118" y="157"/>
                        <a:pt x="118" y="157"/>
                      </a:cubicBezTo>
                      <a:cubicBezTo>
                        <a:pt x="117" y="157"/>
                        <a:pt x="117" y="157"/>
                        <a:pt x="117" y="157"/>
                      </a:cubicBezTo>
                      <a:cubicBezTo>
                        <a:pt x="117" y="158"/>
                        <a:pt x="117" y="158"/>
                        <a:pt x="117" y="158"/>
                      </a:cubicBezTo>
                      <a:close/>
                      <a:moveTo>
                        <a:pt x="116" y="157"/>
                      </a:moveTo>
                      <a:cubicBezTo>
                        <a:pt x="116" y="156"/>
                        <a:pt x="116" y="156"/>
                        <a:pt x="116" y="156"/>
                      </a:cubicBezTo>
                      <a:cubicBezTo>
                        <a:pt x="114" y="155"/>
                        <a:pt x="114" y="155"/>
                        <a:pt x="114" y="155"/>
                      </a:cubicBezTo>
                      <a:cubicBezTo>
                        <a:pt x="114" y="154"/>
                        <a:pt x="114" y="154"/>
                        <a:pt x="114" y="154"/>
                      </a:cubicBezTo>
                      <a:cubicBezTo>
                        <a:pt x="114" y="155"/>
                        <a:pt x="114" y="155"/>
                        <a:pt x="114" y="155"/>
                      </a:cubicBezTo>
                      <a:cubicBezTo>
                        <a:pt x="115" y="156"/>
                        <a:pt x="115" y="156"/>
                        <a:pt x="115" y="156"/>
                      </a:cubicBezTo>
                      <a:cubicBezTo>
                        <a:pt x="116" y="157"/>
                        <a:pt x="116" y="157"/>
                        <a:pt x="116" y="157"/>
                      </a:cubicBezTo>
                      <a:close/>
                      <a:moveTo>
                        <a:pt x="119" y="153"/>
                      </a:moveTo>
                      <a:cubicBezTo>
                        <a:pt x="119" y="152"/>
                        <a:pt x="119" y="152"/>
                        <a:pt x="119" y="152"/>
                      </a:cubicBezTo>
                      <a:cubicBezTo>
                        <a:pt x="119" y="150"/>
                        <a:pt x="119" y="150"/>
                        <a:pt x="119" y="150"/>
                      </a:cubicBezTo>
                      <a:cubicBezTo>
                        <a:pt x="117" y="149"/>
                        <a:pt x="117" y="149"/>
                        <a:pt x="117" y="149"/>
                      </a:cubicBezTo>
                      <a:cubicBezTo>
                        <a:pt x="116" y="148"/>
                        <a:pt x="116" y="148"/>
                        <a:pt x="116" y="148"/>
                      </a:cubicBezTo>
                      <a:cubicBezTo>
                        <a:pt x="115" y="148"/>
                        <a:pt x="115" y="148"/>
                        <a:pt x="115" y="148"/>
                      </a:cubicBezTo>
                      <a:cubicBezTo>
                        <a:pt x="114" y="147"/>
                        <a:pt x="114" y="147"/>
                        <a:pt x="114" y="147"/>
                      </a:cubicBezTo>
                      <a:cubicBezTo>
                        <a:pt x="113" y="147"/>
                        <a:pt x="113" y="147"/>
                        <a:pt x="113" y="147"/>
                      </a:cubicBezTo>
                      <a:cubicBezTo>
                        <a:pt x="113" y="146"/>
                        <a:pt x="113" y="146"/>
                        <a:pt x="113" y="146"/>
                      </a:cubicBezTo>
                      <a:cubicBezTo>
                        <a:pt x="111" y="145"/>
                        <a:pt x="111" y="145"/>
                        <a:pt x="111" y="145"/>
                      </a:cubicBezTo>
                      <a:cubicBezTo>
                        <a:pt x="111" y="145"/>
                        <a:pt x="111" y="145"/>
                        <a:pt x="111" y="145"/>
                      </a:cubicBezTo>
                      <a:cubicBezTo>
                        <a:pt x="110" y="146"/>
                        <a:pt x="110" y="146"/>
                        <a:pt x="110" y="146"/>
                      </a:cubicBezTo>
                      <a:cubicBezTo>
                        <a:pt x="110" y="146"/>
                        <a:pt x="110" y="146"/>
                        <a:pt x="110" y="146"/>
                      </a:cubicBezTo>
                      <a:cubicBezTo>
                        <a:pt x="110" y="147"/>
                        <a:pt x="110" y="147"/>
                        <a:pt x="110" y="147"/>
                      </a:cubicBezTo>
                      <a:cubicBezTo>
                        <a:pt x="110" y="147"/>
                        <a:pt x="110" y="147"/>
                        <a:pt x="110" y="147"/>
                      </a:cubicBezTo>
                      <a:cubicBezTo>
                        <a:pt x="111" y="147"/>
                        <a:pt x="111" y="147"/>
                        <a:pt x="111" y="147"/>
                      </a:cubicBezTo>
                      <a:cubicBezTo>
                        <a:pt x="111" y="148"/>
                        <a:pt x="111" y="148"/>
                        <a:pt x="111" y="148"/>
                      </a:cubicBezTo>
                      <a:cubicBezTo>
                        <a:pt x="110" y="148"/>
                        <a:pt x="110" y="148"/>
                        <a:pt x="110" y="148"/>
                      </a:cubicBezTo>
                      <a:cubicBezTo>
                        <a:pt x="110" y="147"/>
                        <a:pt x="110" y="147"/>
                        <a:pt x="110" y="147"/>
                      </a:cubicBezTo>
                      <a:cubicBezTo>
                        <a:pt x="109" y="147"/>
                        <a:pt x="109" y="147"/>
                        <a:pt x="109" y="147"/>
                      </a:cubicBezTo>
                      <a:cubicBezTo>
                        <a:pt x="110" y="148"/>
                        <a:pt x="110" y="148"/>
                        <a:pt x="110" y="148"/>
                      </a:cubicBezTo>
                      <a:cubicBezTo>
                        <a:pt x="111" y="150"/>
                        <a:pt x="111" y="150"/>
                        <a:pt x="111" y="150"/>
                      </a:cubicBezTo>
                      <a:cubicBezTo>
                        <a:pt x="112" y="150"/>
                        <a:pt x="112" y="150"/>
                        <a:pt x="112" y="150"/>
                      </a:cubicBezTo>
                      <a:cubicBezTo>
                        <a:pt x="113" y="151"/>
                        <a:pt x="113" y="151"/>
                        <a:pt x="113" y="151"/>
                      </a:cubicBezTo>
                      <a:cubicBezTo>
                        <a:pt x="113" y="151"/>
                        <a:pt x="113" y="151"/>
                        <a:pt x="113" y="151"/>
                      </a:cubicBezTo>
                      <a:cubicBezTo>
                        <a:pt x="113" y="150"/>
                        <a:pt x="113" y="150"/>
                        <a:pt x="113" y="150"/>
                      </a:cubicBezTo>
                      <a:cubicBezTo>
                        <a:pt x="114" y="150"/>
                        <a:pt x="114" y="150"/>
                        <a:pt x="114" y="150"/>
                      </a:cubicBezTo>
                      <a:cubicBezTo>
                        <a:pt x="115" y="150"/>
                        <a:pt x="115" y="150"/>
                        <a:pt x="115" y="150"/>
                      </a:cubicBezTo>
                      <a:cubicBezTo>
                        <a:pt x="115" y="151"/>
                        <a:pt x="115" y="151"/>
                        <a:pt x="115" y="151"/>
                      </a:cubicBezTo>
                      <a:cubicBezTo>
                        <a:pt x="115" y="152"/>
                        <a:pt x="115" y="152"/>
                        <a:pt x="115" y="152"/>
                      </a:cubicBezTo>
                      <a:cubicBezTo>
                        <a:pt x="115" y="152"/>
                        <a:pt x="115" y="152"/>
                        <a:pt x="115" y="152"/>
                      </a:cubicBezTo>
                      <a:cubicBezTo>
                        <a:pt x="116" y="153"/>
                        <a:pt x="116" y="153"/>
                        <a:pt x="116" y="153"/>
                      </a:cubicBezTo>
                      <a:cubicBezTo>
                        <a:pt x="117" y="153"/>
                        <a:pt x="117" y="153"/>
                        <a:pt x="117" y="153"/>
                      </a:cubicBezTo>
                      <a:cubicBezTo>
                        <a:pt x="118" y="152"/>
                        <a:pt x="118" y="152"/>
                        <a:pt x="118" y="152"/>
                      </a:cubicBezTo>
                      <a:cubicBezTo>
                        <a:pt x="119" y="153"/>
                        <a:pt x="119" y="153"/>
                        <a:pt x="119" y="153"/>
                      </a:cubicBezTo>
                      <a:close/>
                      <a:moveTo>
                        <a:pt x="141" y="116"/>
                      </a:moveTo>
                      <a:cubicBezTo>
                        <a:pt x="142" y="116"/>
                        <a:pt x="142" y="116"/>
                        <a:pt x="142" y="116"/>
                      </a:cubicBezTo>
                      <a:cubicBezTo>
                        <a:pt x="141" y="115"/>
                        <a:pt x="141" y="115"/>
                        <a:pt x="141" y="115"/>
                      </a:cubicBezTo>
                      <a:cubicBezTo>
                        <a:pt x="141" y="115"/>
                        <a:pt x="141" y="115"/>
                        <a:pt x="141" y="115"/>
                      </a:cubicBezTo>
                      <a:cubicBezTo>
                        <a:pt x="142" y="115"/>
                        <a:pt x="142" y="115"/>
                        <a:pt x="142" y="115"/>
                      </a:cubicBezTo>
                      <a:cubicBezTo>
                        <a:pt x="142" y="116"/>
                        <a:pt x="142" y="116"/>
                        <a:pt x="142" y="116"/>
                      </a:cubicBezTo>
                      <a:cubicBezTo>
                        <a:pt x="143" y="115"/>
                        <a:pt x="143" y="115"/>
                        <a:pt x="143" y="115"/>
                      </a:cubicBezTo>
                      <a:cubicBezTo>
                        <a:pt x="143" y="116"/>
                        <a:pt x="143" y="116"/>
                        <a:pt x="143" y="116"/>
                      </a:cubicBezTo>
                      <a:cubicBezTo>
                        <a:pt x="144" y="115"/>
                        <a:pt x="144" y="115"/>
                        <a:pt x="144" y="115"/>
                      </a:cubicBezTo>
                      <a:cubicBezTo>
                        <a:pt x="144" y="115"/>
                        <a:pt x="144" y="115"/>
                        <a:pt x="144" y="115"/>
                      </a:cubicBezTo>
                      <a:cubicBezTo>
                        <a:pt x="145" y="114"/>
                        <a:pt x="145" y="114"/>
                        <a:pt x="145" y="114"/>
                      </a:cubicBezTo>
                      <a:cubicBezTo>
                        <a:pt x="146" y="114"/>
                        <a:pt x="146" y="114"/>
                        <a:pt x="146" y="114"/>
                      </a:cubicBezTo>
                      <a:cubicBezTo>
                        <a:pt x="146" y="113"/>
                        <a:pt x="146" y="113"/>
                        <a:pt x="146" y="113"/>
                      </a:cubicBezTo>
                      <a:cubicBezTo>
                        <a:pt x="146" y="112"/>
                        <a:pt x="146" y="112"/>
                        <a:pt x="146" y="112"/>
                      </a:cubicBezTo>
                      <a:cubicBezTo>
                        <a:pt x="145" y="112"/>
                        <a:pt x="145" y="112"/>
                        <a:pt x="145" y="112"/>
                      </a:cubicBezTo>
                      <a:cubicBezTo>
                        <a:pt x="144" y="111"/>
                        <a:pt x="144" y="111"/>
                        <a:pt x="144" y="111"/>
                      </a:cubicBezTo>
                      <a:cubicBezTo>
                        <a:pt x="144" y="110"/>
                        <a:pt x="144" y="110"/>
                        <a:pt x="144" y="110"/>
                      </a:cubicBezTo>
                      <a:cubicBezTo>
                        <a:pt x="143" y="110"/>
                        <a:pt x="143" y="110"/>
                        <a:pt x="143" y="110"/>
                      </a:cubicBezTo>
                      <a:cubicBezTo>
                        <a:pt x="142" y="110"/>
                        <a:pt x="142" y="110"/>
                        <a:pt x="142" y="110"/>
                      </a:cubicBezTo>
                      <a:cubicBezTo>
                        <a:pt x="141" y="111"/>
                        <a:pt x="141" y="111"/>
                        <a:pt x="141" y="111"/>
                      </a:cubicBezTo>
                      <a:cubicBezTo>
                        <a:pt x="141" y="111"/>
                        <a:pt x="141" y="111"/>
                        <a:pt x="141" y="111"/>
                      </a:cubicBezTo>
                      <a:cubicBezTo>
                        <a:pt x="140" y="112"/>
                        <a:pt x="140" y="112"/>
                        <a:pt x="140" y="112"/>
                      </a:cubicBezTo>
                      <a:cubicBezTo>
                        <a:pt x="140" y="112"/>
                        <a:pt x="140" y="112"/>
                        <a:pt x="140" y="112"/>
                      </a:cubicBezTo>
                      <a:cubicBezTo>
                        <a:pt x="140" y="113"/>
                        <a:pt x="140" y="113"/>
                        <a:pt x="140" y="113"/>
                      </a:cubicBezTo>
                      <a:cubicBezTo>
                        <a:pt x="141" y="114"/>
                        <a:pt x="141" y="114"/>
                        <a:pt x="141" y="114"/>
                      </a:cubicBezTo>
                      <a:cubicBezTo>
                        <a:pt x="140" y="115"/>
                        <a:pt x="140" y="115"/>
                        <a:pt x="140" y="115"/>
                      </a:cubicBezTo>
                      <a:cubicBezTo>
                        <a:pt x="141" y="116"/>
                        <a:pt x="141" y="116"/>
                        <a:pt x="141" y="116"/>
                      </a:cubicBezTo>
                      <a:close/>
                      <a:moveTo>
                        <a:pt x="144" y="152"/>
                      </a:moveTo>
                      <a:cubicBezTo>
                        <a:pt x="144" y="152"/>
                        <a:pt x="144" y="153"/>
                        <a:pt x="144" y="153"/>
                      </a:cubicBezTo>
                      <a:cubicBezTo>
                        <a:pt x="145" y="153"/>
                        <a:pt x="145" y="153"/>
                        <a:pt x="145" y="153"/>
                      </a:cubicBezTo>
                      <a:cubicBezTo>
                        <a:pt x="146" y="152"/>
                        <a:pt x="146" y="152"/>
                        <a:pt x="146" y="152"/>
                      </a:cubicBezTo>
                      <a:cubicBezTo>
                        <a:pt x="145" y="151"/>
                        <a:pt x="145" y="151"/>
                        <a:pt x="145" y="151"/>
                      </a:cubicBezTo>
                      <a:cubicBezTo>
                        <a:pt x="145" y="151"/>
                        <a:pt x="145" y="151"/>
                        <a:pt x="145" y="151"/>
                      </a:cubicBezTo>
                      <a:cubicBezTo>
                        <a:pt x="144" y="151"/>
                        <a:pt x="144" y="151"/>
                        <a:pt x="144" y="151"/>
                      </a:cubicBezTo>
                      <a:cubicBezTo>
                        <a:pt x="144" y="152"/>
                        <a:pt x="144" y="152"/>
                        <a:pt x="144" y="152"/>
                      </a:cubicBezTo>
                      <a:cubicBezTo>
                        <a:pt x="144" y="152"/>
                        <a:pt x="144" y="152"/>
                        <a:pt x="144" y="152"/>
                      </a:cubicBezTo>
                      <a:close/>
                      <a:moveTo>
                        <a:pt x="162" y="173"/>
                      </a:moveTo>
                      <a:cubicBezTo>
                        <a:pt x="162" y="173"/>
                        <a:pt x="162" y="173"/>
                        <a:pt x="162" y="173"/>
                      </a:cubicBezTo>
                      <a:cubicBezTo>
                        <a:pt x="163" y="173"/>
                        <a:pt x="163" y="173"/>
                        <a:pt x="163" y="173"/>
                      </a:cubicBezTo>
                      <a:cubicBezTo>
                        <a:pt x="163" y="174"/>
                        <a:pt x="163" y="174"/>
                        <a:pt x="163" y="174"/>
                      </a:cubicBezTo>
                      <a:cubicBezTo>
                        <a:pt x="164" y="174"/>
                        <a:pt x="164" y="174"/>
                        <a:pt x="164" y="174"/>
                      </a:cubicBezTo>
                      <a:cubicBezTo>
                        <a:pt x="165" y="174"/>
                        <a:pt x="165" y="174"/>
                        <a:pt x="165" y="174"/>
                      </a:cubicBezTo>
                      <a:cubicBezTo>
                        <a:pt x="165" y="174"/>
                        <a:pt x="165" y="174"/>
                        <a:pt x="165" y="174"/>
                      </a:cubicBezTo>
                      <a:cubicBezTo>
                        <a:pt x="165" y="173"/>
                        <a:pt x="165" y="173"/>
                        <a:pt x="165" y="173"/>
                      </a:cubicBezTo>
                      <a:cubicBezTo>
                        <a:pt x="164" y="173"/>
                        <a:pt x="164" y="173"/>
                        <a:pt x="164" y="173"/>
                      </a:cubicBezTo>
                      <a:cubicBezTo>
                        <a:pt x="163" y="173"/>
                        <a:pt x="163" y="173"/>
                        <a:pt x="163" y="173"/>
                      </a:cubicBezTo>
                      <a:cubicBezTo>
                        <a:pt x="163" y="173"/>
                        <a:pt x="163" y="173"/>
                        <a:pt x="163" y="173"/>
                      </a:cubicBezTo>
                      <a:cubicBezTo>
                        <a:pt x="162" y="173"/>
                        <a:pt x="162" y="173"/>
                        <a:pt x="162" y="173"/>
                      </a:cubicBezTo>
                      <a:close/>
                      <a:moveTo>
                        <a:pt x="159" y="115"/>
                      </a:moveTo>
                      <a:cubicBezTo>
                        <a:pt x="159" y="114"/>
                        <a:pt x="159" y="114"/>
                        <a:pt x="159" y="114"/>
                      </a:cubicBezTo>
                      <a:cubicBezTo>
                        <a:pt x="158" y="114"/>
                        <a:pt x="158" y="114"/>
                        <a:pt x="158" y="114"/>
                      </a:cubicBezTo>
                      <a:cubicBezTo>
                        <a:pt x="158" y="113"/>
                        <a:pt x="158" y="113"/>
                        <a:pt x="158" y="113"/>
                      </a:cubicBezTo>
                      <a:cubicBezTo>
                        <a:pt x="159" y="113"/>
                        <a:pt x="159" y="113"/>
                        <a:pt x="159" y="113"/>
                      </a:cubicBezTo>
                      <a:cubicBezTo>
                        <a:pt x="158" y="112"/>
                        <a:pt x="158" y="112"/>
                        <a:pt x="158" y="112"/>
                      </a:cubicBezTo>
                      <a:cubicBezTo>
                        <a:pt x="157" y="112"/>
                        <a:pt x="157" y="112"/>
                        <a:pt x="157" y="112"/>
                      </a:cubicBezTo>
                      <a:cubicBezTo>
                        <a:pt x="157" y="113"/>
                        <a:pt x="157" y="113"/>
                        <a:pt x="157" y="113"/>
                      </a:cubicBezTo>
                      <a:cubicBezTo>
                        <a:pt x="156" y="114"/>
                        <a:pt x="156" y="114"/>
                        <a:pt x="156" y="114"/>
                      </a:cubicBezTo>
                      <a:cubicBezTo>
                        <a:pt x="157" y="115"/>
                        <a:pt x="157" y="115"/>
                        <a:pt x="157" y="115"/>
                      </a:cubicBezTo>
                      <a:cubicBezTo>
                        <a:pt x="158" y="115"/>
                        <a:pt x="158" y="115"/>
                        <a:pt x="158" y="115"/>
                      </a:cubicBezTo>
                      <a:cubicBezTo>
                        <a:pt x="158" y="115"/>
                        <a:pt x="158" y="115"/>
                        <a:pt x="158" y="115"/>
                      </a:cubicBezTo>
                      <a:cubicBezTo>
                        <a:pt x="159" y="115"/>
                        <a:pt x="159" y="115"/>
                        <a:pt x="159" y="115"/>
                      </a:cubicBezTo>
                      <a:close/>
                      <a:moveTo>
                        <a:pt x="157" y="109"/>
                      </a:moveTo>
                      <a:cubicBezTo>
                        <a:pt x="158" y="108"/>
                        <a:pt x="158" y="108"/>
                        <a:pt x="158" y="108"/>
                      </a:cubicBezTo>
                      <a:cubicBezTo>
                        <a:pt x="159" y="108"/>
                        <a:pt x="159" y="108"/>
                        <a:pt x="159" y="108"/>
                      </a:cubicBezTo>
                      <a:cubicBezTo>
                        <a:pt x="159" y="108"/>
                        <a:pt x="159" y="108"/>
                        <a:pt x="159" y="108"/>
                      </a:cubicBezTo>
                      <a:cubicBezTo>
                        <a:pt x="159" y="107"/>
                        <a:pt x="159" y="107"/>
                        <a:pt x="159" y="107"/>
                      </a:cubicBezTo>
                      <a:cubicBezTo>
                        <a:pt x="159" y="107"/>
                        <a:pt x="159" y="107"/>
                        <a:pt x="159" y="107"/>
                      </a:cubicBezTo>
                      <a:cubicBezTo>
                        <a:pt x="160" y="107"/>
                        <a:pt x="160" y="107"/>
                        <a:pt x="160" y="107"/>
                      </a:cubicBezTo>
                      <a:cubicBezTo>
                        <a:pt x="160" y="106"/>
                        <a:pt x="160" y="106"/>
                        <a:pt x="160" y="106"/>
                      </a:cubicBezTo>
                      <a:cubicBezTo>
                        <a:pt x="159" y="107"/>
                        <a:pt x="159" y="107"/>
                        <a:pt x="159" y="107"/>
                      </a:cubicBezTo>
                      <a:cubicBezTo>
                        <a:pt x="158" y="107"/>
                        <a:pt x="158" y="107"/>
                        <a:pt x="158" y="107"/>
                      </a:cubicBezTo>
                      <a:cubicBezTo>
                        <a:pt x="157" y="108"/>
                        <a:pt x="157" y="108"/>
                        <a:pt x="157" y="108"/>
                      </a:cubicBezTo>
                      <a:cubicBezTo>
                        <a:pt x="157" y="109"/>
                        <a:pt x="157" y="109"/>
                        <a:pt x="157" y="109"/>
                      </a:cubicBezTo>
                      <a:close/>
                      <a:moveTo>
                        <a:pt x="161" y="110"/>
                      </a:moveTo>
                      <a:cubicBezTo>
                        <a:pt x="162" y="111"/>
                        <a:pt x="162" y="111"/>
                        <a:pt x="162" y="111"/>
                      </a:cubicBezTo>
                      <a:cubicBezTo>
                        <a:pt x="164" y="111"/>
                        <a:pt x="164" y="111"/>
                        <a:pt x="164" y="111"/>
                      </a:cubicBezTo>
                      <a:cubicBezTo>
                        <a:pt x="164" y="111"/>
                        <a:pt x="164" y="111"/>
                        <a:pt x="164" y="111"/>
                      </a:cubicBezTo>
                      <a:cubicBezTo>
                        <a:pt x="164" y="110"/>
                        <a:pt x="164" y="110"/>
                        <a:pt x="164" y="110"/>
                      </a:cubicBezTo>
                      <a:cubicBezTo>
                        <a:pt x="163" y="110"/>
                        <a:pt x="163" y="110"/>
                        <a:pt x="163" y="110"/>
                      </a:cubicBezTo>
                      <a:cubicBezTo>
                        <a:pt x="162" y="110"/>
                        <a:pt x="162" y="110"/>
                        <a:pt x="162" y="110"/>
                      </a:cubicBezTo>
                      <a:cubicBezTo>
                        <a:pt x="161" y="110"/>
                        <a:pt x="161" y="110"/>
                        <a:pt x="161" y="110"/>
                      </a:cubicBezTo>
                      <a:close/>
                      <a:moveTo>
                        <a:pt x="171" y="116"/>
                      </a:moveTo>
                      <a:cubicBezTo>
                        <a:pt x="171" y="117"/>
                        <a:pt x="171" y="117"/>
                        <a:pt x="171" y="117"/>
                      </a:cubicBezTo>
                      <a:cubicBezTo>
                        <a:pt x="170" y="118"/>
                        <a:pt x="170" y="118"/>
                        <a:pt x="170" y="118"/>
                      </a:cubicBezTo>
                      <a:cubicBezTo>
                        <a:pt x="169" y="118"/>
                        <a:pt x="169" y="118"/>
                        <a:pt x="169" y="118"/>
                      </a:cubicBezTo>
                      <a:cubicBezTo>
                        <a:pt x="169" y="119"/>
                        <a:pt x="169" y="119"/>
                        <a:pt x="169" y="119"/>
                      </a:cubicBezTo>
                      <a:cubicBezTo>
                        <a:pt x="170" y="120"/>
                        <a:pt x="170" y="120"/>
                        <a:pt x="170" y="120"/>
                      </a:cubicBezTo>
                      <a:cubicBezTo>
                        <a:pt x="170" y="119"/>
                        <a:pt x="170" y="119"/>
                        <a:pt x="170" y="119"/>
                      </a:cubicBezTo>
                      <a:cubicBezTo>
                        <a:pt x="171" y="119"/>
                        <a:pt x="171" y="119"/>
                        <a:pt x="171" y="119"/>
                      </a:cubicBezTo>
                      <a:cubicBezTo>
                        <a:pt x="172" y="118"/>
                        <a:pt x="172" y="118"/>
                        <a:pt x="172" y="118"/>
                      </a:cubicBezTo>
                      <a:cubicBezTo>
                        <a:pt x="173" y="117"/>
                        <a:pt x="173" y="117"/>
                        <a:pt x="173" y="117"/>
                      </a:cubicBezTo>
                      <a:cubicBezTo>
                        <a:pt x="173" y="117"/>
                        <a:pt x="173" y="117"/>
                        <a:pt x="173" y="117"/>
                      </a:cubicBezTo>
                      <a:cubicBezTo>
                        <a:pt x="174" y="116"/>
                        <a:pt x="174" y="116"/>
                        <a:pt x="174" y="116"/>
                      </a:cubicBezTo>
                      <a:cubicBezTo>
                        <a:pt x="174" y="116"/>
                        <a:pt x="174" y="116"/>
                        <a:pt x="174" y="116"/>
                      </a:cubicBezTo>
                      <a:cubicBezTo>
                        <a:pt x="174" y="115"/>
                        <a:pt x="174" y="115"/>
                        <a:pt x="174" y="115"/>
                      </a:cubicBezTo>
                      <a:cubicBezTo>
                        <a:pt x="173" y="115"/>
                        <a:pt x="173" y="115"/>
                        <a:pt x="173" y="115"/>
                      </a:cubicBezTo>
                      <a:cubicBezTo>
                        <a:pt x="171" y="116"/>
                        <a:pt x="171" y="116"/>
                        <a:pt x="171" y="116"/>
                      </a:cubicBezTo>
                      <a:cubicBezTo>
                        <a:pt x="171" y="116"/>
                        <a:pt x="171" y="116"/>
                        <a:pt x="171" y="116"/>
                      </a:cubicBezTo>
                      <a:close/>
                      <a:moveTo>
                        <a:pt x="174" y="108"/>
                      </a:moveTo>
                      <a:cubicBezTo>
                        <a:pt x="173" y="109"/>
                        <a:pt x="173" y="109"/>
                        <a:pt x="173" y="109"/>
                      </a:cubicBezTo>
                      <a:cubicBezTo>
                        <a:pt x="173" y="111"/>
                        <a:pt x="173" y="111"/>
                        <a:pt x="173" y="111"/>
                      </a:cubicBezTo>
                      <a:cubicBezTo>
                        <a:pt x="172" y="112"/>
                        <a:pt x="172" y="112"/>
                        <a:pt x="172" y="112"/>
                      </a:cubicBezTo>
                      <a:cubicBezTo>
                        <a:pt x="172" y="112"/>
                        <a:pt x="172" y="112"/>
                        <a:pt x="172" y="112"/>
                      </a:cubicBezTo>
                      <a:cubicBezTo>
                        <a:pt x="174" y="113"/>
                        <a:pt x="174" y="113"/>
                        <a:pt x="174" y="113"/>
                      </a:cubicBezTo>
                      <a:cubicBezTo>
                        <a:pt x="174" y="113"/>
                        <a:pt x="174" y="113"/>
                        <a:pt x="174" y="113"/>
                      </a:cubicBezTo>
                      <a:cubicBezTo>
                        <a:pt x="175" y="113"/>
                        <a:pt x="175" y="113"/>
                        <a:pt x="175" y="113"/>
                      </a:cubicBezTo>
                      <a:cubicBezTo>
                        <a:pt x="176" y="113"/>
                        <a:pt x="176" y="113"/>
                        <a:pt x="176" y="113"/>
                      </a:cubicBezTo>
                      <a:cubicBezTo>
                        <a:pt x="177" y="113"/>
                        <a:pt x="177" y="113"/>
                        <a:pt x="177" y="113"/>
                      </a:cubicBezTo>
                      <a:cubicBezTo>
                        <a:pt x="177" y="113"/>
                        <a:pt x="177" y="113"/>
                        <a:pt x="177" y="113"/>
                      </a:cubicBezTo>
                      <a:cubicBezTo>
                        <a:pt x="176" y="111"/>
                        <a:pt x="176" y="111"/>
                        <a:pt x="176" y="111"/>
                      </a:cubicBezTo>
                      <a:cubicBezTo>
                        <a:pt x="176" y="110"/>
                        <a:pt x="176" y="110"/>
                        <a:pt x="176" y="110"/>
                      </a:cubicBezTo>
                      <a:cubicBezTo>
                        <a:pt x="174" y="109"/>
                        <a:pt x="174" y="109"/>
                        <a:pt x="174" y="109"/>
                      </a:cubicBezTo>
                      <a:cubicBezTo>
                        <a:pt x="174" y="108"/>
                        <a:pt x="174" y="108"/>
                        <a:pt x="174" y="108"/>
                      </a:cubicBezTo>
                      <a:close/>
                      <a:moveTo>
                        <a:pt x="167" y="94"/>
                      </a:moveTo>
                      <a:cubicBezTo>
                        <a:pt x="167" y="93"/>
                        <a:pt x="167" y="93"/>
                        <a:pt x="167" y="93"/>
                      </a:cubicBezTo>
                      <a:cubicBezTo>
                        <a:pt x="167" y="93"/>
                        <a:pt x="167" y="93"/>
                        <a:pt x="167" y="93"/>
                      </a:cubicBezTo>
                      <a:cubicBezTo>
                        <a:pt x="167" y="92"/>
                        <a:pt x="167" y="92"/>
                        <a:pt x="167" y="92"/>
                      </a:cubicBezTo>
                      <a:cubicBezTo>
                        <a:pt x="166" y="93"/>
                        <a:pt x="166" y="93"/>
                        <a:pt x="166" y="93"/>
                      </a:cubicBezTo>
                      <a:cubicBezTo>
                        <a:pt x="165" y="93"/>
                        <a:pt x="165" y="93"/>
                        <a:pt x="165" y="93"/>
                      </a:cubicBezTo>
                      <a:cubicBezTo>
                        <a:pt x="166" y="93"/>
                        <a:pt x="166" y="93"/>
                        <a:pt x="166" y="93"/>
                      </a:cubicBezTo>
                      <a:cubicBezTo>
                        <a:pt x="166" y="94"/>
                        <a:pt x="166" y="94"/>
                        <a:pt x="166" y="94"/>
                      </a:cubicBezTo>
                      <a:cubicBezTo>
                        <a:pt x="167" y="94"/>
                        <a:pt x="167" y="94"/>
                        <a:pt x="167" y="94"/>
                      </a:cubicBezTo>
                      <a:cubicBezTo>
                        <a:pt x="167" y="94"/>
                        <a:pt x="167" y="94"/>
                        <a:pt x="167" y="94"/>
                      </a:cubicBezTo>
                      <a:close/>
                      <a:moveTo>
                        <a:pt x="170" y="83"/>
                      </a:moveTo>
                      <a:cubicBezTo>
                        <a:pt x="170" y="83"/>
                        <a:pt x="170" y="83"/>
                        <a:pt x="170" y="83"/>
                      </a:cubicBezTo>
                      <a:cubicBezTo>
                        <a:pt x="169" y="83"/>
                        <a:pt x="169" y="83"/>
                        <a:pt x="169" y="83"/>
                      </a:cubicBezTo>
                      <a:cubicBezTo>
                        <a:pt x="170" y="84"/>
                        <a:pt x="170" y="84"/>
                        <a:pt x="170" y="84"/>
                      </a:cubicBezTo>
                      <a:cubicBezTo>
                        <a:pt x="170" y="84"/>
                        <a:pt x="170" y="84"/>
                        <a:pt x="170" y="84"/>
                      </a:cubicBezTo>
                      <a:cubicBezTo>
                        <a:pt x="171" y="84"/>
                        <a:pt x="171" y="84"/>
                        <a:pt x="171" y="84"/>
                      </a:cubicBezTo>
                      <a:cubicBezTo>
                        <a:pt x="171" y="84"/>
                        <a:pt x="171" y="84"/>
                        <a:pt x="171" y="84"/>
                      </a:cubicBezTo>
                      <a:cubicBezTo>
                        <a:pt x="171" y="85"/>
                        <a:pt x="171" y="85"/>
                        <a:pt x="171" y="85"/>
                      </a:cubicBezTo>
                      <a:cubicBezTo>
                        <a:pt x="172" y="86"/>
                        <a:pt x="172" y="86"/>
                        <a:pt x="172" y="86"/>
                      </a:cubicBezTo>
                      <a:cubicBezTo>
                        <a:pt x="172" y="85"/>
                        <a:pt x="172" y="85"/>
                        <a:pt x="172" y="85"/>
                      </a:cubicBezTo>
                      <a:cubicBezTo>
                        <a:pt x="171" y="84"/>
                        <a:pt x="171" y="84"/>
                        <a:pt x="171" y="84"/>
                      </a:cubicBezTo>
                      <a:cubicBezTo>
                        <a:pt x="172" y="83"/>
                        <a:pt x="172" y="83"/>
                        <a:pt x="172" y="83"/>
                      </a:cubicBezTo>
                      <a:cubicBezTo>
                        <a:pt x="172" y="83"/>
                        <a:pt x="172" y="83"/>
                        <a:pt x="172" y="83"/>
                      </a:cubicBezTo>
                      <a:cubicBezTo>
                        <a:pt x="171" y="82"/>
                        <a:pt x="171" y="82"/>
                        <a:pt x="171" y="82"/>
                      </a:cubicBezTo>
                      <a:cubicBezTo>
                        <a:pt x="171" y="82"/>
                        <a:pt x="171" y="82"/>
                        <a:pt x="171" y="82"/>
                      </a:cubicBezTo>
                      <a:cubicBezTo>
                        <a:pt x="171" y="81"/>
                        <a:pt x="171" y="81"/>
                        <a:pt x="171" y="81"/>
                      </a:cubicBezTo>
                      <a:cubicBezTo>
                        <a:pt x="170" y="81"/>
                        <a:pt x="170" y="81"/>
                        <a:pt x="170" y="81"/>
                      </a:cubicBezTo>
                      <a:cubicBezTo>
                        <a:pt x="170" y="81"/>
                        <a:pt x="170" y="81"/>
                        <a:pt x="170" y="81"/>
                      </a:cubicBezTo>
                      <a:cubicBezTo>
                        <a:pt x="170" y="82"/>
                        <a:pt x="170" y="82"/>
                        <a:pt x="170" y="82"/>
                      </a:cubicBezTo>
                      <a:cubicBezTo>
                        <a:pt x="170" y="82"/>
                        <a:pt x="170" y="82"/>
                        <a:pt x="170" y="82"/>
                      </a:cubicBezTo>
                      <a:cubicBezTo>
                        <a:pt x="170" y="83"/>
                        <a:pt x="170" y="83"/>
                        <a:pt x="170" y="83"/>
                      </a:cubicBezTo>
                      <a:close/>
                      <a:moveTo>
                        <a:pt x="169" y="78"/>
                      </a:moveTo>
                      <a:cubicBezTo>
                        <a:pt x="168" y="78"/>
                        <a:pt x="168" y="78"/>
                        <a:pt x="168" y="78"/>
                      </a:cubicBezTo>
                      <a:cubicBezTo>
                        <a:pt x="167" y="77"/>
                        <a:pt x="167" y="77"/>
                        <a:pt x="167" y="77"/>
                      </a:cubicBezTo>
                      <a:cubicBezTo>
                        <a:pt x="167" y="77"/>
                        <a:pt x="167" y="77"/>
                        <a:pt x="167" y="77"/>
                      </a:cubicBezTo>
                      <a:cubicBezTo>
                        <a:pt x="166" y="77"/>
                        <a:pt x="166" y="77"/>
                        <a:pt x="166" y="77"/>
                      </a:cubicBezTo>
                      <a:cubicBezTo>
                        <a:pt x="166" y="78"/>
                        <a:pt x="166" y="78"/>
                        <a:pt x="166" y="78"/>
                      </a:cubicBezTo>
                      <a:cubicBezTo>
                        <a:pt x="168" y="78"/>
                        <a:pt x="168" y="78"/>
                        <a:pt x="168" y="78"/>
                      </a:cubicBezTo>
                      <a:cubicBezTo>
                        <a:pt x="168" y="78"/>
                        <a:pt x="168" y="78"/>
                        <a:pt x="168" y="78"/>
                      </a:cubicBezTo>
                      <a:cubicBezTo>
                        <a:pt x="169" y="78"/>
                        <a:pt x="169" y="78"/>
                        <a:pt x="169" y="78"/>
                      </a:cubicBezTo>
                      <a:close/>
                      <a:moveTo>
                        <a:pt x="169" y="77"/>
                      </a:moveTo>
                      <a:cubicBezTo>
                        <a:pt x="169" y="77"/>
                        <a:pt x="169" y="77"/>
                        <a:pt x="169" y="77"/>
                      </a:cubicBezTo>
                      <a:cubicBezTo>
                        <a:pt x="171" y="77"/>
                        <a:pt x="171" y="77"/>
                        <a:pt x="171" y="77"/>
                      </a:cubicBezTo>
                      <a:cubicBezTo>
                        <a:pt x="171" y="77"/>
                        <a:pt x="171" y="77"/>
                        <a:pt x="171" y="77"/>
                      </a:cubicBezTo>
                      <a:cubicBezTo>
                        <a:pt x="172" y="77"/>
                        <a:pt x="172" y="77"/>
                        <a:pt x="172" y="77"/>
                      </a:cubicBezTo>
                      <a:cubicBezTo>
                        <a:pt x="172" y="77"/>
                        <a:pt x="172" y="77"/>
                        <a:pt x="172" y="77"/>
                      </a:cubicBezTo>
                      <a:cubicBezTo>
                        <a:pt x="171" y="76"/>
                        <a:pt x="171" y="76"/>
                        <a:pt x="171" y="76"/>
                      </a:cubicBezTo>
                      <a:cubicBezTo>
                        <a:pt x="170" y="76"/>
                        <a:pt x="170" y="76"/>
                        <a:pt x="170" y="76"/>
                      </a:cubicBezTo>
                      <a:cubicBezTo>
                        <a:pt x="169" y="76"/>
                        <a:pt x="169" y="76"/>
                        <a:pt x="169" y="76"/>
                      </a:cubicBezTo>
                      <a:cubicBezTo>
                        <a:pt x="169" y="77"/>
                        <a:pt x="169" y="77"/>
                        <a:pt x="169" y="77"/>
                      </a:cubicBezTo>
                      <a:close/>
                      <a:moveTo>
                        <a:pt x="180" y="98"/>
                      </a:moveTo>
                      <a:cubicBezTo>
                        <a:pt x="181" y="97"/>
                        <a:pt x="181" y="97"/>
                        <a:pt x="181" y="97"/>
                      </a:cubicBezTo>
                      <a:cubicBezTo>
                        <a:pt x="180" y="97"/>
                        <a:pt x="180" y="97"/>
                        <a:pt x="180" y="97"/>
                      </a:cubicBezTo>
                      <a:cubicBezTo>
                        <a:pt x="179" y="97"/>
                        <a:pt x="179" y="97"/>
                        <a:pt x="179" y="97"/>
                      </a:cubicBezTo>
                      <a:cubicBezTo>
                        <a:pt x="179" y="97"/>
                        <a:pt x="179" y="97"/>
                        <a:pt x="179" y="97"/>
                      </a:cubicBezTo>
                      <a:cubicBezTo>
                        <a:pt x="179" y="98"/>
                        <a:pt x="179" y="98"/>
                        <a:pt x="179" y="98"/>
                      </a:cubicBezTo>
                      <a:cubicBezTo>
                        <a:pt x="180" y="98"/>
                        <a:pt x="180" y="98"/>
                        <a:pt x="180" y="98"/>
                      </a:cubicBezTo>
                      <a:close/>
                      <a:moveTo>
                        <a:pt x="183" y="97"/>
                      </a:moveTo>
                      <a:cubicBezTo>
                        <a:pt x="183" y="97"/>
                        <a:pt x="183" y="97"/>
                        <a:pt x="183" y="97"/>
                      </a:cubicBezTo>
                      <a:cubicBezTo>
                        <a:pt x="183" y="96"/>
                        <a:pt x="183" y="96"/>
                        <a:pt x="183" y="96"/>
                      </a:cubicBezTo>
                      <a:cubicBezTo>
                        <a:pt x="182" y="96"/>
                        <a:pt x="182" y="96"/>
                        <a:pt x="182" y="96"/>
                      </a:cubicBezTo>
                      <a:cubicBezTo>
                        <a:pt x="182" y="96"/>
                        <a:pt x="182" y="96"/>
                        <a:pt x="182" y="96"/>
                      </a:cubicBezTo>
                      <a:cubicBezTo>
                        <a:pt x="181" y="97"/>
                        <a:pt x="181" y="97"/>
                        <a:pt x="181" y="97"/>
                      </a:cubicBezTo>
                      <a:cubicBezTo>
                        <a:pt x="182" y="97"/>
                        <a:pt x="182" y="97"/>
                        <a:pt x="182" y="97"/>
                      </a:cubicBezTo>
                      <a:cubicBezTo>
                        <a:pt x="183" y="97"/>
                        <a:pt x="183" y="97"/>
                        <a:pt x="183" y="97"/>
                      </a:cubicBezTo>
                      <a:close/>
                      <a:moveTo>
                        <a:pt x="187" y="98"/>
                      </a:moveTo>
                      <a:cubicBezTo>
                        <a:pt x="187" y="97"/>
                        <a:pt x="187" y="97"/>
                        <a:pt x="187" y="97"/>
                      </a:cubicBezTo>
                      <a:cubicBezTo>
                        <a:pt x="186" y="97"/>
                        <a:pt x="186" y="97"/>
                        <a:pt x="186" y="97"/>
                      </a:cubicBezTo>
                      <a:cubicBezTo>
                        <a:pt x="185" y="97"/>
                        <a:pt x="185" y="97"/>
                        <a:pt x="185" y="97"/>
                      </a:cubicBezTo>
                      <a:cubicBezTo>
                        <a:pt x="186" y="98"/>
                        <a:pt x="186" y="98"/>
                        <a:pt x="186" y="98"/>
                      </a:cubicBezTo>
                      <a:cubicBezTo>
                        <a:pt x="187" y="98"/>
                        <a:pt x="187" y="98"/>
                        <a:pt x="187" y="98"/>
                      </a:cubicBezTo>
                      <a:close/>
                      <a:moveTo>
                        <a:pt x="194" y="96"/>
                      </a:moveTo>
                      <a:cubicBezTo>
                        <a:pt x="194" y="97"/>
                        <a:pt x="194" y="97"/>
                        <a:pt x="194" y="97"/>
                      </a:cubicBezTo>
                      <a:cubicBezTo>
                        <a:pt x="195" y="97"/>
                        <a:pt x="195" y="97"/>
                        <a:pt x="195" y="97"/>
                      </a:cubicBezTo>
                      <a:cubicBezTo>
                        <a:pt x="195" y="97"/>
                        <a:pt x="195" y="97"/>
                        <a:pt x="195" y="97"/>
                      </a:cubicBezTo>
                      <a:cubicBezTo>
                        <a:pt x="194" y="96"/>
                        <a:pt x="194" y="96"/>
                        <a:pt x="194" y="96"/>
                      </a:cubicBezTo>
                      <a:cubicBezTo>
                        <a:pt x="194" y="96"/>
                        <a:pt x="194" y="96"/>
                        <a:pt x="194" y="96"/>
                      </a:cubicBezTo>
                      <a:close/>
                      <a:moveTo>
                        <a:pt x="190" y="95"/>
                      </a:moveTo>
                      <a:cubicBezTo>
                        <a:pt x="191" y="95"/>
                        <a:pt x="191" y="95"/>
                        <a:pt x="191" y="95"/>
                      </a:cubicBezTo>
                      <a:cubicBezTo>
                        <a:pt x="191" y="94"/>
                        <a:pt x="191" y="94"/>
                        <a:pt x="191" y="94"/>
                      </a:cubicBezTo>
                      <a:cubicBezTo>
                        <a:pt x="190" y="94"/>
                        <a:pt x="190" y="94"/>
                        <a:pt x="190" y="94"/>
                      </a:cubicBezTo>
                      <a:cubicBezTo>
                        <a:pt x="190" y="94"/>
                        <a:pt x="190" y="94"/>
                        <a:pt x="190" y="94"/>
                      </a:cubicBezTo>
                      <a:cubicBezTo>
                        <a:pt x="190" y="95"/>
                        <a:pt x="190" y="95"/>
                        <a:pt x="190" y="95"/>
                      </a:cubicBezTo>
                      <a:cubicBezTo>
                        <a:pt x="190" y="95"/>
                        <a:pt x="190" y="95"/>
                        <a:pt x="190" y="95"/>
                      </a:cubicBezTo>
                      <a:close/>
                      <a:moveTo>
                        <a:pt x="187" y="92"/>
                      </a:moveTo>
                      <a:cubicBezTo>
                        <a:pt x="187" y="91"/>
                        <a:pt x="187" y="91"/>
                        <a:pt x="187" y="91"/>
                      </a:cubicBezTo>
                      <a:cubicBezTo>
                        <a:pt x="186" y="91"/>
                        <a:pt x="186" y="91"/>
                        <a:pt x="186" y="91"/>
                      </a:cubicBezTo>
                      <a:cubicBezTo>
                        <a:pt x="185" y="92"/>
                        <a:pt x="185" y="92"/>
                        <a:pt x="185" y="92"/>
                      </a:cubicBezTo>
                      <a:cubicBezTo>
                        <a:pt x="185" y="92"/>
                        <a:pt x="185" y="92"/>
                        <a:pt x="185" y="92"/>
                      </a:cubicBezTo>
                      <a:cubicBezTo>
                        <a:pt x="186" y="93"/>
                        <a:pt x="186" y="93"/>
                        <a:pt x="186" y="93"/>
                      </a:cubicBezTo>
                      <a:cubicBezTo>
                        <a:pt x="186" y="92"/>
                        <a:pt x="186" y="92"/>
                        <a:pt x="186" y="92"/>
                      </a:cubicBezTo>
                      <a:cubicBezTo>
                        <a:pt x="186" y="92"/>
                        <a:pt x="186" y="92"/>
                        <a:pt x="186" y="92"/>
                      </a:cubicBezTo>
                      <a:cubicBezTo>
                        <a:pt x="186" y="92"/>
                        <a:pt x="186" y="92"/>
                        <a:pt x="186" y="92"/>
                      </a:cubicBezTo>
                      <a:cubicBezTo>
                        <a:pt x="187" y="92"/>
                        <a:pt x="187" y="92"/>
                        <a:pt x="187" y="92"/>
                      </a:cubicBezTo>
                      <a:close/>
                      <a:moveTo>
                        <a:pt x="189" y="91"/>
                      </a:moveTo>
                      <a:cubicBezTo>
                        <a:pt x="189" y="90"/>
                        <a:pt x="189" y="90"/>
                        <a:pt x="189" y="90"/>
                      </a:cubicBezTo>
                      <a:cubicBezTo>
                        <a:pt x="188" y="90"/>
                        <a:pt x="188" y="90"/>
                        <a:pt x="188" y="90"/>
                      </a:cubicBezTo>
                      <a:cubicBezTo>
                        <a:pt x="188" y="91"/>
                        <a:pt x="188" y="91"/>
                        <a:pt x="188" y="91"/>
                      </a:cubicBezTo>
                      <a:cubicBezTo>
                        <a:pt x="188" y="91"/>
                        <a:pt x="188" y="91"/>
                        <a:pt x="188" y="91"/>
                      </a:cubicBezTo>
                      <a:cubicBezTo>
                        <a:pt x="189" y="91"/>
                        <a:pt x="189" y="91"/>
                        <a:pt x="189" y="91"/>
                      </a:cubicBezTo>
                      <a:cubicBezTo>
                        <a:pt x="189" y="91"/>
                        <a:pt x="189" y="91"/>
                        <a:pt x="189" y="91"/>
                      </a:cubicBezTo>
                      <a:cubicBezTo>
                        <a:pt x="189" y="91"/>
                        <a:pt x="189" y="91"/>
                        <a:pt x="189" y="91"/>
                      </a:cubicBezTo>
                      <a:close/>
                      <a:moveTo>
                        <a:pt x="190" y="91"/>
                      </a:moveTo>
                      <a:cubicBezTo>
                        <a:pt x="190" y="92"/>
                        <a:pt x="190" y="92"/>
                        <a:pt x="190" y="92"/>
                      </a:cubicBezTo>
                      <a:cubicBezTo>
                        <a:pt x="190" y="91"/>
                        <a:pt x="190" y="91"/>
                        <a:pt x="190" y="91"/>
                      </a:cubicBezTo>
                      <a:cubicBezTo>
                        <a:pt x="191" y="91"/>
                        <a:pt x="191" y="91"/>
                        <a:pt x="191" y="91"/>
                      </a:cubicBezTo>
                      <a:cubicBezTo>
                        <a:pt x="191" y="90"/>
                        <a:pt x="191" y="90"/>
                        <a:pt x="191" y="90"/>
                      </a:cubicBezTo>
                      <a:cubicBezTo>
                        <a:pt x="191" y="90"/>
                        <a:pt x="191" y="90"/>
                        <a:pt x="191" y="90"/>
                      </a:cubicBezTo>
                      <a:cubicBezTo>
                        <a:pt x="190" y="90"/>
                        <a:pt x="190" y="90"/>
                        <a:pt x="190" y="90"/>
                      </a:cubicBezTo>
                      <a:cubicBezTo>
                        <a:pt x="190" y="90"/>
                        <a:pt x="190" y="90"/>
                        <a:pt x="190" y="90"/>
                      </a:cubicBezTo>
                      <a:cubicBezTo>
                        <a:pt x="190" y="91"/>
                        <a:pt x="190" y="91"/>
                        <a:pt x="190" y="91"/>
                      </a:cubicBezTo>
                      <a:cubicBezTo>
                        <a:pt x="190" y="91"/>
                        <a:pt x="190" y="91"/>
                        <a:pt x="190" y="91"/>
                      </a:cubicBezTo>
                      <a:close/>
                      <a:moveTo>
                        <a:pt x="187" y="89"/>
                      </a:moveTo>
                      <a:cubicBezTo>
                        <a:pt x="187" y="88"/>
                        <a:pt x="187" y="88"/>
                        <a:pt x="187" y="88"/>
                      </a:cubicBezTo>
                      <a:cubicBezTo>
                        <a:pt x="187" y="88"/>
                        <a:pt x="187" y="88"/>
                        <a:pt x="187" y="88"/>
                      </a:cubicBezTo>
                      <a:cubicBezTo>
                        <a:pt x="187" y="87"/>
                        <a:pt x="187" y="87"/>
                        <a:pt x="187" y="87"/>
                      </a:cubicBezTo>
                      <a:cubicBezTo>
                        <a:pt x="186" y="88"/>
                        <a:pt x="186" y="88"/>
                        <a:pt x="186" y="88"/>
                      </a:cubicBezTo>
                      <a:cubicBezTo>
                        <a:pt x="185" y="88"/>
                        <a:pt x="185" y="88"/>
                        <a:pt x="185" y="88"/>
                      </a:cubicBezTo>
                      <a:cubicBezTo>
                        <a:pt x="185" y="88"/>
                        <a:pt x="185" y="88"/>
                        <a:pt x="185" y="88"/>
                      </a:cubicBezTo>
                      <a:cubicBezTo>
                        <a:pt x="186" y="88"/>
                        <a:pt x="186" y="88"/>
                        <a:pt x="186" y="88"/>
                      </a:cubicBezTo>
                      <a:cubicBezTo>
                        <a:pt x="187" y="89"/>
                        <a:pt x="187" y="89"/>
                        <a:pt x="187" y="89"/>
                      </a:cubicBezTo>
                      <a:close/>
                      <a:moveTo>
                        <a:pt x="191" y="87"/>
                      </a:moveTo>
                      <a:cubicBezTo>
                        <a:pt x="192" y="87"/>
                        <a:pt x="192" y="87"/>
                        <a:pt x="192" y="87"/>
                      </a:cubicBezTo>
                      <a:cubicBezTo>
                        <a:pt x="192" y="86"/>
                        <a:pt x="192" y="86"/>
                        <a:pt x="192" y="86"/>
                      </a:cubicBezTo>
                      <a:cubicBezTo>
                        <a:pt x="191" y="86"/>
                        <a:pt x="191" y="86"/>
                        <a:pt x="191" y="86"/>
                      </a:cubicBezTo>
                      <a:cubicBezTo>
                        <a:pt x="192" y="86"/>
                        <a:pt x="192" y="86"/>
                        <a:pt x="192" y="86"/>
                      </a:cubicBezTo>
                      <a:cubicBezTo>
                        <a:pt x="192" y="85"/>
                        <a:pt x="192" y="85"/>
                        <a:pt x="192" y="85"/>
                      </a:cubicBezTo>
                      <a:cubicBezTo>
                        <a:pt x="191" y="85"/>
                        <a:pt x="191" y="85"/>
                        <a:pt x="191" y="85"/>
                      </a:cubicBezTo>
                      <a:cubicBezTo>
                        <a:pt x="190" y="85"/>
                        <a:pt x="190" y="85"/>
                        <a:pt x="190" y="85"/>
                      </a:cubicBezTo>
                      <a:cubicBezTo>
                        <a:pt x="190" y="85"/>
                        <a:pt x="190" y="85"/>
                        <a:pt x="190" y="85"/>
                      </a:cubicBezTo>
                      <a:cubicBezTo>
                        <a:pt x="190" y="85"/>
                        <a:pt x="190" y="85"/>
                        <a:pt x="190" y="85"/>
                      </a:cubicBezTo>
                      <a:cubicBezTo>
                        <a:pt x="190" y="85"/>
                        <a:pt x="190" y="85"/>
                        <a:pt x="190" y="85"/>
                      </a:cubicBezTo>
                      <a:cubicBezTo>
                        <a:pt x="189" y="85"/>
                        <a:pt x="189" y="85"/>
                        <a:pt x="189" y="85"/>
                      </a:cubicBezTo>
                      <a:cubicBezTo>
                        <a:pt x="189" y="85"/>
                        <a:pt x="189" y="85"/>
                        <a:pt x="189" y="85"/>
                      </a:cubicBezTo>
                      <a:cubicBezTo>
                        <a:pt x="189" y="86"/>
                        <a:pt x="189" y="86"/>
                        <a:pt x="189" y="86"/>
                      </a:cubicBezTo>
                      <a:cubicBezTo>
                        <a:pt x="190" y="86"/>
                        <a:pt x="190" y="86"/>
                        <a:pt x="190" y="86"/>
                      </a:cubicBezTo>
                      <a:cubicBezTo>
                        <a:pt x="190" y="86"/>
                        <a:pt x="190" y="86"/>
                        <a:pt x="190" y="86"/>
                      </a:cubicBezTo>
                      <a:cubicBezTo>
                        <a:pt x="191" y="87"/>
                        <a:pt x="191" y="87"/>
                        <a:pt x="191" y="87"/>
                      </a:cubicBezTo>
                      <a:close/>
                      <a:moveTo>
                        <a:pt x="188" y="50"/>
                      </a:moveTo>
                      <a:cubicBezTo>
                        <a:pt x="188" y="49"/>
                        <a:pt x="188" y="49"/>
                        <a:pt x="188" y="49"/>
                      </a:cubicBezTo>
                      <a:cubicBezTo>
                        <a:pt x="188" y="49"/>
                        <a:pt x="188" y="49"/>
                        <a:pt x="188" y="49"/>
                      </a:cubicBezTo>
                      <a:cubicBezTo>
                        <a:pt x="187" y="49"/>
                        <a:pt x="187" y="49"/>
                        <a:pt x="187" y="49"/>
                      </a:cubicBezTo>
                      <a:cubicBezTo>
                        <a:pt x="187" y="49"/>
                        <a:pt x="187" y="49"/>
                        <a:pt x="187" y="49"/>
                      </a:cubicBezTo>
                      <a:cubicBezTo>
                        <a:pt x="188" y="50"/>
                        <a:pt x="188" y="50"/>
                        <a:pt x="188" y="50"/>
                      </a:cubicBezTo>
                      <a:close/>
                      <a:moveTo>
                        <a:pt x="182" y="57"/>
                      </a:moveTo>
                      <a:cubicBezTo>
                        <a:pt x="183" y="58"/>
                        <a:pt x="183" y="58"/>
                        <a:pt x="183" y="58"/>
                      </a:cubicBezTo>
                      <a:cubicBezTo>
                        <a:pt x="183" y="58"/>
                        <a:pt x="183" y="58"/>
                        <a:pt x="183" y="58"/>
                      </a:cubicBezTo>
                      <a:cubicBezTo>
                        <a:pt x="184" y="57"/>
                        <a:pt x="184" y="57"/>
                        <a:pt x="184" y="57"/>
                      </a:cubicBezTo>
                      <a:cubicBezTo>
                        <a:pt x="184" y="57"/>
                        <a:pt x="184" y="57"/>
                        <a:pt x="184" y="57"/>
                      </a:cubicBezTo>
                      <a:cubicBezTo>
                        <a:pt x="184" y="56"/>
                        <a:pt x="184" y="56"/>
                        <a:pt x="184" y="56"/>
                      </a:cubicBezTo>
                      <a:cubicBezTo>
                        <a:pt x="183" y="55"/>
                        <a:pt x="183" y="55"/>
                        <a:pt x="183" y="55"/>
                      </a:cubicBezTo>
                      <a:cubicBezTo>
                        <a:pt x="183" y="55"/>
                        <a:pt x="183" y="55"/>
                        <a:pt x="183" y="55"/>
                      </a:cubicBezTo>
                      <a:cubicBezTo>
                        <a:pt x="182" y="56"/>
                        <a:pt x="182" y="56"/>
                        <a:pt x="182" y="56"/>
                      </a:cubicBezTo>
                      <a:cubicBezTo>
                        <a:pt x="182" y="56"/>
                        <a:pt x="182" y="56"/>
                        <a:pt x="182" y="56"/>
                      </a:cubicBezTo>
                      <a:cubicBezTo>
                        <a:pt x="182" y="57"/>
                        <a:pt x="182" y="57"/>
                        <a:pt x="182" y="57"/>
                      </a:cubicBezTo>
                      <a:close/>
                      <a:moveTo>
                        <a:pt x="204" y="56"/>
                      </a:moveTo>
                      <a:cubicBezTo>
                        <a:pt x="204" y="56"/>
                        <a:pt x="204" y="56"/>
                        <a:pt x="204" y="56"/>
                      </a:cubicBezTo>
                      <a:cubicBezTo>
                        <a:pt x="205" y="55"/>
                        <a:pt x="205" y="55"/>
                        <a:pt x="205" y="55"/>
                      </a:cubicBezTo>
                      <a:cubicBezTo>
                        <a:pt x="206" y="55"/>
                        <a:pt x="206" y="55"/>
                        <a:pt x="206" y="55"/>
                      </a:cubicBezTo>
                      <a:cubicBezTo>
                        <a:pt x="206" y="55"/>
                        <a:pt x="206" y="55"/>
                        <a:pt x="206" y="55"/>
                      </a:cubicBezTo>
                      <a:cubicBezTo>
                        <a:pt x="206" y="55"/>
                        <a:pt x="206" y="55"/>
                        <a:pt x="206" y="55"/>
                      </a:cubicBezTo>
                      <a:cubicBezTo>
                        <a:pt x="206" y="55"/>
                        <a:pt x="206" y="55"/>
                        <a:pt x="206" y="55"/>
                      </a:cubicBezTo>
                      <a:cubicBezTo>
                        <a:pt x="207" y="55"/>
                        <a:pt x="207" y="55"/>
                        <a:pt x="207" y="55"/>
                      </a:cubicBezTo>
                      <a:cubicBezTo>
                        <a:pt x="208" y="54"/>
                        <a:pt x="208" y="54"/>
                        <a:pt x="208" y="54"/>
                      </a:cubicBezTo>
                      <a:cubicBezTo>
                        <a:pt x="208" y="53"/>
                        <a:pt x="208" y="53"/>
                        <a:pt x="208" y="53"/>
                      </a:cubicBezTo>
                      <a:cubicBezTo>
                        <a:pt x="208" y="53"/>
                        <a:pt x="208" y="53"/>
                        <a:pt x="208" y="53"/>
                      </a:cubicBezTo>
                      <a:cubicBezTo>
                        <a:pt x="208" y="52"/>
                        <a:pt x="208" y="52"/>
                        <a:pt x="208" y="52"/>
                      </a:cubicBezTo>
                      <a:cubicBezTo>
                        <a:pt x="208" y="52"/>
                        <a:pt x="208" y="52"/>
                        <a:pt x="208" y="52"/>
                      </a:cubicBezTo>
                      <a:cubicBezTo>
                        <a:pt x="207" y="52"/>
                        <a:pt x="207" y="52"/>
                        <a:pt x="207" y="52"/>
                      </a:cubicBezTo>
                      <a:cubicBezTo>
                        <a:pt x="207" y="52"/>
                        <a:pt x="207" y="52"/>
                        <a:pt x="207" y="52"/>
                      </a:cubicBezTo>
                      <a:cubicBezTo>
                        <a:pt x="206" y="53"/>
                        <a:pt x="206" y="53"/>
                        <a:pt x="206" y="53"/>
                      </a:cubicBezTo>
                      <a:cubicBezTo>
                        <a:pt x="205" y="53"/>
                        <a:pt x="205" y="53"/>
                        <a:pt x="205" y="53"/>
                      </a:cubicBezTo>
                      <a:cubicBezTo>
                        <a:pt x="204" y="55"/>
                        <a:pt x="204" y="55"/>
                        <a:pt x="204" y="55"/>
                      </a:cubicBezTo>
                      <a:cubicBezTo>
                        <a:pt x="204" y="56"/>
                        <a:pt x="204" y="56"/>
                        <a:pt x="204" y="56"/>
                      </a:cubicBezTo>
                      <a:close/>
                      <a:moveTo>
                        <a:pt x="213" y="56"/>
                      </a:moveTo>
                      <a:cubicBezTo>
                        <a:pt x="214" y="56"/>
                        <a:pt x="214" y="56"/>
                        <a:pt x="214" y="56"/>
                      </a:cubicBezTo>
                      <a:cubicBezTo>
                        <a:pt x="214" y="55"/>
                        <a:pt x="214" y="55"/>
                        <a:pt x="214" y="55"/>
                      </a:cubicBezTo>
                      <a:cubicBezTo>
                        <a:pt x="214" y="55"/>
                        <a:pt x="214" y="55"/>
                        <a:pt x="214" y="55"/>
                      </a:cubicBezTo>
                      <a:cubicBezTo>
                        <a:pt x="213" y="56"/>
                        <a:pt x="213" y="56"/>
                        <a:pt x="213" y="56"/>
                      </a:cubicBezTo>
                      <a:cubicBezTo>
                        <a:pt x="213" y="56"/>
                        <a:pt x="213" y="56"/>
                        <a:pt x="213" y="56"/>
                      </a:cubicBezTo>
                      <a:cubicBezTo>
                        <a:pt x="213" y="56"/>
                        <a:pt x="213" y="56"/>
                        <a:pt x="213" y="56"/>
                      </a:cubicBezTo>
                      <a:close/>
                      <a:moveTo>
                        <a:pt x="214" y="58"/>
                      </a:moveTo>
                      <a:cubicBezTo>
                        <a:pt x="215" y="58"/>
                        <a:pt x="215" y="58"/>
                        <a:pt x="215" y="58"/>
                      </a:cubicBezTo>
                      <a:cubicBezTo>
                        <a:pt x="215" y="58"/>
                        <a:pt x="215" y="58"/>
                        <a:pt x="215" y="58"/>
                      </a:cubicBezTo>
                      <a:cubicBezTo>
                        <a:pt x="215" y="57"/>
                        <a:pt x="215" y="57"/>
                        <a:pt x="215" y="57"/>
                      </a:cubicBezTo>
                      <a:cubicBezTo>
                        <a:pt x="215" y="57"/>
                        <a:pt x="215" y="57"/>
                        <a:pt x="215" y="57"/>
                      </a:cubicBezTo>
                      <a:cubicBezTo>
                        <a:pt x="214" y="57"/>
                        <a:pt x="214" y="57"/>
                        <a:pt x="214" y="57"/>
                      </a:cubicBezTo>
                      <a:cubicBezTo>
                        <a:pt x="214" y="56"/>
                        <a:pt x="214" y="56"/>
                        <a:pt x="214" y="56"/>
                      </a:cubicBezTo>
                      <a:cubicBezTo>
                        <a:pt x="214" y="57"/>
                        <a:pt x="214" y="57"/>
                        <a:pt x="214" y="57"/>
                      </a:cubicBezTo>
                      <a:cubicBezTo>
                        <a:pt x="214" y="57"/>
                        <a:pt x="214" y="57"/>
                        <a:pt x="214" y="57"/>
                      </a:cubicBezTo>
                      <a:cubicBezTo>
                        <a:pt x="214" y="58"/>
                        <a:pt x="214" y="58"/>
                        <a:pt x="214" y="58"/>
                      </a:cubicBezTo>
                      <a:close/>
                      <a:moveTo>
                        <a:pt x="206" y="60"/>
                      </a:moveTo>
                      <a:cubicBezTo>
                        <a:pt x="207" y="60"/>
                        <a:pt x="207" y="60"/>
                        <a:pt x="207" y="60"/>
                      </a:cubicBezTo>
                      <a:cubicBezTo>
                        <a:pt x="207" y="59"/>
                        <a:pt x="207" y="59"/>
                        <a:pt x="207" y="59"/>
                      </a:cubicBezTo>
                      <a:cubicBezTo>
                        <a:pt x="206" y="59"/>
                        <a:pt x="206" y="59"/>
                        <a:pt x="206" y="59"/>
                      </a:cubicBezTo>
                      <a:cubicBezTo>
                        <a:pt x="206" y="60"/>
                        <a:pt x="206" y="60"/>
                        <a:pt x="206" y="60"/>
                      </a:cubicBezTo>
                      <a:cubicBezTo>
                        <a:pt x="205" y="60"/>
                        <a:pt x="205" y="60"/>
                        <a:pt x="205" y="60"/>
                      </a:cubicBezTo>
                      <a:cubicBezTo>
                        <a:pt x="205" y="60"/>
                        <a:pt x="205" y="60"/>
                        <a:pt x="205" y="60"/>
                      </a:cubicBezTo>
                      <a:cubicBezTo>
                        <a:pt x="206" y="60"/>
                        <a:pt x="206" y="60"/>
                        <a:pt x="206" y="60"/>
                      </a:cubicBezTo>
                      <a:close/>
                      <a:moveTo>
                        <a:pt x="211" y="60"/>
                      </a:moveTo>
                      <a:cubicBezTo>
                        <a:pt x="211" y="60"/>
                        <a:pt x="211" y="60"/>
                        <a:pt x="211" y="60"/>
                      </a:cubicBezTo>
                      <a:cubicBezTo>
                        <a:pt x="211" y="59"/>
                        <a:pt x="211" y="59"/>
                        <a:pt x="211" y="59"/>
                      </a:cubicBezTo>
                      <a:cubicBezTo>
                        <a:pt x="211" y="59"/>
                        <a:pt x="211" y="59"/>
                        <a:pt x="211" y="59"/>
                      </a:cubicBezTo>
                      <a:cubicBezTo>
                        <a:pt x="211" y="58"/>
                        <a:pt x="211" y="58"/>
                        <a:pt x="211" y="58"/>
                      </a:cubicBezTo>
                      <a:cubicBezTo>
                        <a:pt x="211" y="58"/>
                        <a:pt x="211" y="58"/>
                        <a:pt x="211" y="58"/>
                      </a:cubicBezTo>
                      <a:cubicBezTo>
                        <a:pt x="210" y="58"/>
                        <a:pt x="210" y="58"/>
                        <a:pt x="210" y="58"/>
                      </a:cubicBezTo>
                      <a:cubicBezTo>
                        <a:pt x="210" y="59"/>
                        <a:pt x="210" y="59"/>
                        <a:pt x="210" y="59"/>
                      </a:cubicBezTo>
                      <a:cubicBezTo>
                        <a:pt x="209" y="60"/>
                        <a:pt x="209" y="60"/>
                        <a:pt x="209" y="60"/>
                      </a:cubicBezTo>
                      <a:cubicBezTo>
                        <a:pt x="209" y="60"/>
                        <a:pt x="209" y="60"/>
                        <a:pt x="209" y="60"/>
                      </a:cubicBezTo>
                      <a:cubicBezTo>
                        <a:pt x="210" y="60"/>
                        <a:pt x="210" y="60"/>
                        <a:pt x="210" y="60"/>
                      </a:cubicBezTo>
                      <a:cubicBezTo>
                        <a:pt x="210" y="59"/>
                        <a:pt x="210" y="59"/>
                        <a:pt x="210" y="59"/>
                      </a:cubicBezTo>
                      <a:cubicBezTo>
                        <a:pt x="211" y="59"/>
                        <a:pt x="211" y="59"/>
                        <a:pt x="211" y="59"/>
                      </a:cubicBezTo>
                      <a:cubicBezTo>
                        <a:pt x="211" y="60"/>
                        <a:pt x="211" y="60"/>
                        <a:pt x="211" y="60"/>
                      </a:cubicBezTo>
                      <a:close/>
                      <a:moveTo>
                        <a:pt x="211" y="65"/>
                      </a:moveTo>
                      <a:cubicBezTo>
                        <a:pt x="212" y="64"/>
                        <a:pt x="212" y="64"/>
                        <a:pt x="212" y="64"/>
                      </a:cubicBezTo>
                      <a:cubicBezTo>
                        <a:pt x="213" y="65"/>
                        <a:pt x="213" y="65"/>
                        <a:pt x="213" y="65"/>
                      </a:cubicBezTo>
                      <a:cubicBezTo>
                        <a:pt x="213" y="65"/>
                        <a:pt x="213" y="65"/>
                        <a:pt x="213" y="65"/>
                      </a:cubicBezTo>
                      <a:cubicBezTo>
                        <a:pt x="214" y="65"/>
                        <a:pt x="214" y="65"/>
                        <a:pt x="214" y="65"/>
                      </a:cubicBezTo>
                      <a:cubicBezTo>
                        <a:pt x="215" y="65"/>
                        <a:pt x="215" y="65"/>
                        <a:pt x="215" y="65"/>
                      </a:cubicBezTo>
                      <a:cubicBezTo>
                        <a:pt x="216" y="65"/>
                        <a:pt x="216" y="65"/>
                        <a:pt x="216" y="65"/>
                      </a:cubicBezTo>
                      <a:cubicBezTo>
                        <a:pt x="216" y="64"/>
                        <a:pt x="216" y="64"/>
                        <a:pt x="216" y="64"/>
                      </a:cubicBezTo>
                      <a:cubicBezTo>
                        <a:pt x="216" y="64"/>
                        <a:pt x="216" y="64"/>
                        <a:pt x="216" y="64"/>
                      </a:cubicBezTo>
                      <a:cubicBezTo>
                        <a:pt x="216" y="64"/>
                        <a:pt x="216" y="64"/>
                        <a:pt x="216" y="64"/>
                      </a:cubicBezTo>
                      <a:cubicBezTo>
                        <a:pt x="216" y="63"/>
                        <a:pt x="216" y="63"/>
                        <a:pt x="216" y="63"/>
                      </a:cubicBezTo>
                      <a:cubicBezTo>
                        <a:pt x="216" y="62"/>
                        <a:pt x="216" y="62"/>
                        <a:pt x="216" y="62"/>
                      </a:cubicBezTo>
                      <a:cubicBezTo>
                        <a:pt x="215" y="63"/>
                        <a:pt x="215" y="63"/>
                        <a:pt x="215" y="63"/>
                      </a:cubicBezTo>
                      <a:cubicBezTo>
                        <a:pt x="214" y="63"/>
                        <a:pt x="214" y="63"/>
                        <a:pt x="214" y="63"/>
                      </a:cubicBezTo>
                      <a:cubicBezTo>
                        <a:pt x="215" y="63"/>
                        <a:pt x="215" y="63"/>
                        <a:pt x="215" y="63"/>
                      </a:cubicBezTo>
                      <a:cubicBezTo>
                        <a:pt x="214" y="64"/>
                        <a:pt x="214" y="64"/>
                        <a:pt x="214" y="64"/>
                      </a:cubicBezTo>
                      <a:cubicBezTo>
                        <a:pt x="214" y="63"/>
                        <a:pt x="214" y="63"/>
                        <a:pt x="214" y="63"/>
                      </a:cubicBezTo>
                      <a:cubicBezTo>
                        <a:pt x="213" y="63"/>
                        <a:pt x="213" y="63"/>
                        <a:pt x="213" y="63"/>
                      </a:cubicBezTo>
                      <a:cubicBezTo>
                        <a:pt x="213" y="63"/>
                        <a:pt x="213" y="63"/>
                        <a:pt x="213" y="63"/>
                      </a:cubicBezTo>
                      <a:cubicBezTo>
                        <a:pt x="213" y="64"/>
                        <a:pt x="213" y="64"/>
                        <a:pt x="213" y="64"/>
                      </a:cubicBezTo>
                      <a:cubicBezTo>
                        <a:pt x="212" y="64"/>
                        <a:pt x="212" y="64"/>
                        <a:pt x="212" y="64"/>
                      </a:cubicBezTo>
                      <a:cubicBezTo>
                        <a:pt x="211" y="64"/>
                        <a:pt x="211" y="64"/>
                        <a:pt x="211" y="64"/>
                      </a:cubicBezTo>
                      <a:cubicBezTo>
                        <a:pt x="211" y="64"/>
                        <a:pt x="211" y="64"/>
                        <a:pt x="211" y="64"/>
                      </a:cubicBezTo>
                      <a:cubicBezTo>
                        <a:pt x="211" y="65"/>
                        <a:pt x="211" y="65"/>
                        <a:pt x="211" y="65"/>
                      </a:cubicBezTo>
                      <a:close/>
                      <a:moveTo>
                        <a:pt x="126" y="39"/>
                      </a:moveTo>
                      <a:cubicBezTo>
                        <a:pt x="127" y="39"/>
                        <a:pt x="127" y="39"/>
                        <a:pt x="127" y="39"/>
                      </a:cubicBezTo>
                      <a:cubicBezTo>
                        <a:pt x="127" y="40"/>
                        <a:pt x="127" y="40"/>
                        <a:pt x="127" y="40"/>
                      </a:cubicBezTo>
                      <a:cubicBezTo>
                        <a:pt x="128" y="40"/>
                        <a:pt x="128" y="40"/>
                        <a:pt x="128" y="40"/>
                      </a:cubicBezTo>
                      <a:cubicBezTo>
                        <a:pt x="129" y="39"/>
                        <a:pt x="129" y="39"/>
                        <a:pt x="129" y="39"/>
                      </a:cubicBezTo>
                      <a:cubicBezTo>
                        <a:pt x="129" y="39"/>
                        <a:pt x="129" y="39"/>
                        <a:pt x="129" y="39"/>
                      </a:cubicBezTo>
                      <a:cubicBezTo>
                        <a:pt x="129" y="39"/>
                        <a:pt x="129" y="39"/>
                        <a:pt x="129" y="39"/>
                      </a:cubicBezTo>
                      <a:cubicBezTo>
                        <a:pt x="127" y="39"/>
                        <a:pt x="127" y="39"/>
                        <a:pt x="127" y="39"/>
                      </a:cubicBezTo>
                      <a:cubicBezTo>
                        <a:pt x="127" y="39"/>
                        <a:pt x="127" y="39"/>
                        <a:pt x="127" y="39"/>
                      </a:cubicBezTo>
                      <a:cubicBezTo>
                        <a:pt x="126" y="38"/>
                        <a:pt x="126" y="38"/>
                        <a:pt x="126" y="38"/>
                      </a:cubicBezTo>
                      <a:cubicBezTo>
                        <a:pt x="125" y="38"/>
                        <a:pt x="125" y="38"/>
                        <a:pt x="125" y="38"/>
                      </a:cubicBezTo>
                      <a:cubicBezTo>
                        <a:pt x="125" y="39"/>
                        <a:pt x="125" y="39"/>
                        <a:pt x="125" y="39"/>
                      </a:cubicBezTo>
                      <a:cubicBezTo>
                        <a:pt x="126" y="39"/>
                        <a:pt x="126" y="39"/>
                        <a:pt x="126" y="39"/>
                      </a:cubicBezTo>
                      <a:close/>
                      <a:moveTo>
                        <a:pt x="123" y="21"/>
                      </a:moveTo>
                      <a:cubicBezTo>
                        <a:pt x="123" y="20"/>
                        <a:pt x="123" y="20"/>
                        <a:pt x="123" y="20"/>
                      </a:cubicBezTo>
                      <a:cubicBezTo>
                        <a:pt x="123" y="20"/>
                        <a:pt x="123" y="20"/>
                        <a:pt x="123" y="20"/>
                      </a:cubicBezTo>
                      <a:cubicBezTo>
                        <a:pt x="124" y="19"/>
                        <a:pt x="124" y="19"/>
                        <a:pt x="124" y="19"/>
                      </a:cubicBezTo>
                      <a:cubicBezTo>
                        <a:pt x="126" y="19"/>
                        <a:pt x="126" y="19"/>
                        <a:pt x="126" y="19"/>
                      </a:cubicBezTo>
                      <a:cubicBezTo>
                        <a:pt x="127" y="19"/>
                        <a:pt x="127" y="19"/>
                        <a:pt x="127" y="19"/>
                      </a:cubicBezTo>
                      <a:cubicBezTo>
                        <a:pt x="127" y="20"/>
                        <a:pt x="127" y="20"/>
                        <a:pt x="127" y="20"/>
                      </a:cubicBezTo>
                      <a:cubicBezTo>
                        <a:pt x="127" y="21"/>
                        <a:pt x="127" y="21"/>
                        <a:pt x="127" y="21"/>
                      </a:cubicBezTo>
                      <a:cubicBezTo>
                        <a:pt x="126" y="21"/>
                        <a:pt x="126" y="21"/>
                        <a:pt x="126" y="21"/>
                      </a:cubicBezTo>
                      <a:cubicBezTo>
                        <a:pt x="124" y="21"/>
                        <a:pt x="124" y="21"/>
                        <a:pt x="124" y="21"/>
                      </a:cubicBezTo>
                      <a:cubicBezTo>
                        <a:pt x="124" y="21"/>
                        <a:pt x="123" y="21"/>
                        <a:pt x="123" y="21"/>
                      </a:cubicBezTo>
                      <a:close/>
                      <a:moveTo>
                        <a:pt x="153" y="7"/>
                      </a:moveTo>
                      <a:cubicBezTo>
                        <a:pt x="154" y="6"/>
                        <a:pt x="154" y="6"/>
                        <a:pt x="154" y="6"/>
                      </a:cubicBezTo>
                      <a:cubicBezTo>
                        <a:pt x="154" y="5"/>
                        <a:pt x="154" y="5"/>
                        <a:pt x="154" y="5"/>
                      </a:cubicBezTo>
                      <a:cubicBezTo>
                        <a:pt x="156" y="5"/>
                        <a:pt x="156" y="5"/>
                        <a:pt x="156" y="5"/>
                      </a:cubicBezTo>
                      <a:cubicBezTo>
                        <a:pt x="157" y="5"/>
                        <a:pt x="157" y="5"/>
                        <a:pt x="157" y="5"/>
                      </a:cubicBezTo>
                      <a:cubicBezTo>
                        <a:pt x="157" y="6"/>
                        <a:pt x="157" y="6"/>
                        <a:pt x="157" y="6"/>
                      </a:cubicBezTo>
                      <a:cubicBezTo>
                        <a:pt x="156" y="7"/>
                        <a:pt x="156" y="7"/>
                        <a:pt x="156" y="7"/>
                      </a:cubicBezTo>
                      <a:cubicBezTo>
                        <a:pt x="156" y="7"/>
                        <a:pt x="156" y="7"/>
                        <a:pt x="156" y="7"/>
                      </a:cubicBezTo>
                      <a:cubicBezTo>
                        <a:pt x="154" y="7"/>
                        <a:pt x="154" y="7"/>
                        <a:pt x="154" y="7"/>
                      </a:cubicBezTo>
                      <a:cubicBezTo>
                        <a:pt x="154" y="7"/>
                        <a:pt x="154" y="7"/>
                        <a:pt x="154" y="7"/>
                      </a:cubicBezTo>
                      <a:cubicBezTo>
                        <a:pt x="153" y="7"/>
                        <a:pt x="153" y="7"/>
                        <a:pt x="153" y="7"/>
                      </a:cubicBezTo>
                      <a:close/>
                      <a:moveTo>
                        <a:pt x="174" y="19"/>
                      </a:moveTo>
                      <a:cubicBezTo>
                        <a:pt x="176" y="18"/>
                        <a:pt x="176" y="18"/>
                        <a:pt x="176" y="18"/>
                      </a:cubicBezTo>
                      <a:cubicBezTo>
                        <a:pt x="177" y="17"/>
                        <a:pt x="177" y="17"/>
                        <a:pt x="177" y="17"/>
                      </a:cubicBezTo>
                      <a:cubicBezTo>
                        <a:pt x="177" y="16"/>
                        <a:pt x="177" y="16"/>
                        <a:pt x="177" y="16"/>
                      </a:cubicBezTo>
                      <a:cubicBezTo>
                        <a:pt x="178" y="15"/>
                        <a:pt x="178" y="15"/>
                        <a:pt x="178" y="15"/>
                      </a:cubicBezTo>
                      <a:cubicBezTo>
                        <a:pt x="180" y="14"/>
                        <a:pt x="180" y="14"/>
                        <a:pt x="180" y="14"/>
                      </a:cubicBezTo>
                      <a:cubicBezTo>
                        <a:pt x="181" y="14"/>
                        <a:pt x="181" y="14"/>
                        <a:pt x="181" y="14"/>
                      </a:cubicBezTo>
                      <a:cubicBezTo>
                        <a:pt x="181" y="13"/>
                        <a:pt x="181" y="13"/>
                        <a:pt x="181" y="13"/>
                      </a:cubicBezTo>
                      <a:cubicBezTo>
                        <a:pt x="181" y="12"/>
                        <a:pt x="181" y="12"/>
                        <a:pt x="181" y="12"/>
                      </a:cubicBezTo>
                      <a:cubicBezTo>
                        <a:pt x="180" y="11"/>
                        <a:pt x="180" y="11"/>
                        <a:pt x="180" y="11"/>
                      </a:cubicBezTo>
                      <a:cubicBezTo>
                        <a:pt x="178" y="10"/>
                        <a:pt x="178" y="10"/>
                        <a:pt x="178" y="10"/>
                      </a:cubicBezTo>
                      <a:cubicBezTo>
                        <a:pt x="177" y="8"/>
                        <a:pt x="177" y="8"/>
                        <a:pt x="177" y="8"/>
                      </a:cubicBezTo>
                      <a:cubicBezTo>
                        <a:pt x="178" y="8"/>
                        <a:pt x="178" y="8"/>
                        <a:pt x="178" y="8"/>
                      </a:cubicBezTo>
                      <a:cubicBezTo>
                        <a:pt x="178" y="7"/>
                        <a:pt x="178" y="7"/>
                        <a:pt x="178" y="7"/>
                      </a:cubicBezTo>
                      <a:cubicBezTo>
                        <a:pt x="178" y="6"/>
                        <a:pt x="178" y="6"/>
                        <a:pt x="178" y="6"/>
                      </a:cubicBezTo>
                      <a:cubicBezTo>
                        <a:pt x="178" y="6"/>
                        <a:pt x="178" y="6"/>
                        <a:pt x="178" y="6"/>
                      </a:cubicBezTo>
                      <a:cubicBezTo>
                        <a:pt x="175" y="6"/>
                        <a:pt x="175" y="6"/>
                        <a:pt x="175" y="6"/>
                      </a:cubicBezTo>
                      <a:cubicBezTo>
                        <a:pt x="173" y="5"/>
                        <a:pt x="173" y="5"/>
                        <a:pt x="173" y="5"/>
                      </a:cubicBezTo>
                      <a:cubicBezTo>
                        <a:pt x="172" y="4"/>
                        <a:pt x="172" y="4"/>
                        <a:pt x="172" y="4"/>
                      </a:cubicBezTo>
                      <a:cubicBezTo>
                        <a:pt x="170" y="2"/>
                        <a:pt x="170" y="2"/>
                        <a:pt x="170" y="2"/>
                      </a:cubicBezTo>
                      <a:cubicBezTo>
                        <a:pt x="169" y="1"/>
                        <a:pt x="169" y="1"/>
                        <a:pt x="169" y="1"/>
                      </a:cubicBezTo>
                      <a:cubicBezTo>
                        <a:pt x="167" y="1"/>
                        <a:pt x="167" y="1"/>
                        <a:pt x="167" y="1"/>
                      </a:cubicBezTo>
                      <a:cubicBezTo>
                        <a:pt x="167" y="0"/>
                        <a:pt x="167" y="0"/>
                        <a:pt x="167" y="0"/>
                      </a:cubicBezTo>
                      <a:cubicBezTo>
                        <a:pt x="166" y="1"/>
                        <a:pt x="166" y="1"/>
                        <a:pt x="166" y="1"/>
                      </a:cubicBezTo>
                      <a:cubicBezTo>
                        <a:pt x="166" y="2"/>
                        <a:pt x="166" y="2"/>
                        <a:pt x="166" y="2"/>
                      </a:cubicBezTo>
                      <a:cubicBezTo>
                        <a:pt x="166" y="2"/>
                        <a:pt x="166" y="2"/>
                        <a:pt x="166" y="2"/>
                      </a:cubicBezTo>
                      <a:cubicBezTo>
                        <a:pt x="166" y="3"/>
                        <a:pt x="166" y="3"/>
                        <a:pt x="166" y="3"/>
                      </a:cubicBezTo>
                      <a:cubicBezTo>
                        <a:pt x="165" y="4"/>
                        <a:pt x="165" y="4"/>
                        <a:pt x="165" y="4"/>
                      </a:cubicBezTo>
                      <a:cubicBezTo>
                        <a:pt x="165" y="6"/>
                        <a:pt x="165" y="6"/>
                        <a:pt x="165" y="6"/>
                      </a:cubicBezTo>
                      <a:cubicBezTo>
                        <a:pt x="164" y="7"/>
                        <a:pt x="164" y="7"/>
                        <a:pt x="164" y="7"/>
                      </a:cubicBezTo>
                      <a:cubicBezTo>
                        <a:pt x="163" y="8"/>
                        <a:pt x="163" y="8"/>
                        <a:pt x="163" y="8"/>
                      </a:cubicBezTo>
                      <a:cubicBezTo>
                        <a:pt x="164" y="11"/>
                        <a:pt x="164" y="11"/>
                        <a:pt x="164" y="11"/>
                      </a:cubicBezTo>
                      <a:cubicBezTo>
                        <a:pt x="164" y="12"/>
                        <a:pt x="164" y="12"/>
                        <a:pt x="164" y="12"/>
                      </a:cubicBezTo>
                      <a:cubicBezTo>
                        <a:pt x="165" y="13"/>
                        <a:pt x="165" y="13"/>
                        <a:pt x="165" y="13"/>
                      </a:cubicBezTo>
                      <a:cubicBezTo>
                        <a:pt x="165" y="13"/>
                        <a:pt x="165" y="13"/>
                        <a:pt x="165" y="13"/>
                      </a:cubicBezTo>
                      <a:cubicBezTo>
                        <a:pt x="165" y="16"/>
                        <a:pt x="165" y="16"/>
                        <a:pt x="165" y="16"/>
                      </a:cubicBezTo>
                      <a:cubicBezTo>
                        <a:pt x="164" y="17"/>
                        <a:pt x="164" y="17"/>
                        <a:pt x="164" y="17"/>
                      </a:cubicBezTo>
                      <a:cubicBezTo>
                        <a:pt x="164" y="17"/>
                        <a:pt x="164" y="17"/>
                        <a:pt x="164" y="17"/>
                      </a:cubicBezTo>
                      <a:cubicBezTo>
                        <a:pt x="164" y="18"/>
                        <a:pt x="164" y="18"/>
                        <a:pt x="164" y="18"/>
                      </a:cubicBezTo>
                      <a:cubicBezTo>
                        <a:pt x="165" y="18"/>
                        <a:pt x="165" y="18"/>
                        <a:pt x="165" y="18"/>
                      </a:cubicBezTo>
                      <a:cubicBezTo>
                        <a:pt x="165" y="17"/>
                        <a:pt x="165" y="17"/>
                        <a:pt x="165" y="17"/>
                      </a:cubicBezTo>
                      <a:cubicBezTo>
                        <a:pt x="167" y="17"/>
                        <a:pt x="167" y="17"/>
                        <a:pt x="167" y="17"/>
                      </a:cubicBezTo>
                      <a:cubicBezTo>
                        <a:pt x="167" y="17"/>
                        <a:pt x="167" y="17"/>
                        <a:pt x="167" y="17"/>
                      </a:cubicBezTo>
                      <a:cubicBezTo>
                        <a:pt x="167" y="18"/>
                        <a:pt x="167" y="18"/>
                        <a:pt x="167" y="18"/>
                      </a:cubicBezTo>
                      <a:cubicBezTo>
                        <a:pt x="169" y="19"/>
                        <a:pt x="169" y="19"/>
                        <a:pt x="169" y="19"/>
                      </a:cubicBezTo>
                      <a:cubicBezTo>
                        <a:pt x="170" y="19"/>
                        <a:pt x="170" y="19"/>
                        <a:pt x="170" y="19"/>
                      </a:cubicBezTo>
                      <a:cubicBezTo>
                        <a:pt x="170" y="18"/>
                        <a:pt x="170" y="18"/>
                        <a:pt x="170" y="18"/>
                      </a:cubicBezTo>
                      <a:cubicBezTo>
                        <a:pt x="171" y="18"/>
                        <a:pt x="171" y="18"/>
                        <a:pt x="171" y="18"/>
                      </a:cubicBezTo>
                      <a:cubicBezTo>
                        <a:pt x="172" y="19"/>
                        <a:pt x="172" y="19"/>
                        <a:pt x="172" y="19"/>
                      </a:cubicBezTo>
                      <a:cubicBezTo>
                        <a:pt x="173" y="19"/>
                        <a:pt x="173" y="19"/>
                        <a:pt x="173" y="19"/>
                      </a:cubicBezTo>
                      <a:cubicBezTo>
                        <a:pt x="174" y="19"/>
                        <a:pt x="174" y="19"/>
                        <a:pt x="174" y="19"/>
                      </a:cubicBezTo>
                      <a:close/>
                      <a:moveTo>
                        <a:pt x="170" y="25"/>
                      </a:moveTo>
                      <a:cubicBezTo>
                        <a:pt x="170" y="25"/>
                        <a:pt x="170" y="25"/>
                        <a:pt x="170" y="25"/>
                      </a:cubicBezTo>
                      <a:cubicBezTo>
                        <a:pt x="171" y="26"/>
                        <a:pt x="171" y="26"/>
                        <a:pt x="171" y="26"/>
                      </a:cubicBezTo>
                      <a:cubicBezTo>
                        <a:pt x="172" y="26"/>
                        <a:pt x="172" y="26"/>
                        <a:pt x="172" y="26"/>
                      </a:cubicBezTo>
                      <a:cubicBezTo>
                        <a:pt x="173" y="25"/>
                        <a:pt x="173" y="25"/>
                        <a:pt x="173" y="25"/>
                      </a:cubicBezTo>
                      <a:cubicBezTo>
                        <a:pt x="174" y="24"/>
                        <a:pt x="174" y="24"/>
                        <a:pt x="174" y="24"/>
                      </a:cubicBezTo>
                      <a:cubicBezTo>
                        <a:pt x="175" y="24"/>
                        <a:pt x="175" y="24"/>
                        <a:pt x="175" y="24"/>
                      </a:cubicBezTo>
                      <a:cubicBezTo>
                        <a:pt x="175" y="23"/>
                        <a:pt x="175" y="23"/>
                        <a:pt x="175" y="23"/>
                      </a:cubicBezTo>
                      <a:cubicBezTo>
                        <a:pt x="176" y="22"/>
                        <a:pt x="176" y="22"/>
                        <a:pt x="176" y="22"/>
                      </a:cubicBezTo>
                      <a:cubicBezTo>
                        <a:pt x="175" y="21"/>
                        <a:pt x="175" y="21"/>
                        <a:pt x="175" y="21"/>
                      </a:cubicBezTo>
                      <a:cubicBezTo>
                        <a:pt x="173" y="20"/>
                        <a:pt x="173" y="20"/>
                        <a:pt x="173" y="20"/>
                      </a:cubicBezTo>
                      <a:cubicBezTo>
                        <a:pt x="172" y="20"/>
                        <a:pt x="172" y="20"/>
                        <a:pt x="172" y="20"/>
                      </a:cubicBezTo>
                      <a:cubicBezTo>
                        <a:pt x="170" y="20"/>
                        <a:pt x="170" y="20"/>
                        <a:pt x="170" y="20"/>
                      </a:cubicBezTo>
                      <a:cubicBezTo>
                        <a:pt x="169" y="20"/>
                        <a:pt x="169" y="20"/>
                        <a:pt x="169" y="20"/>
                      </a:cubicBezTo>
                      <a:cubicBezTo>
                        <a:pt x="168" y="20"/>
                        <a:pt x="168" y="20"/>
                        <a:pt x="168" y="20"/>
                      </a:cubicBezTo>
                      <a:cubicBezTo>
                        <a:pt x="168" y="20"/>
                        <a:pt x="168" y="20"/>
                        <a:pt x="168" y="20"/>
                      </a:cubicBezTo>
                      <a:cubicBezTo>
                        <a:pt x="167" y="21"/>
                        <a:pt x="167" y="21"/>
                        <a:pt x="167" y="21"/>
                      </a:cubicBezTo>
                      <a:cubicBezTo>
                        <a:pt x="166" y="21"/>
                        <a:pt x="166" y="21"/>
                        <a:pt x="166" y="21"/>
                      </a:cubicBezTo>
                      <a:cubicBezTo>
                        <a:pt x="166" y="21"/>
                        <a:pt x="166" y="21"/>
                        <a:pt x="166" y="21"/>
                      </a:cubicBezTo>
                      <a:cubicBezTo>
                        <a:pt x="166" y="22"/>
                        <a:pt x="166" y="22"/>
                        <a:pt x="166" y="22"/>
                      </a:cubicBezTo>
                      <a:cubicBezTo>
                        <a:pt x="167" y="22"/>
                        <a:pt x="167" y="22"/>
                        <a:pt x="167" y="22"/>
                      </a:cubicBezTo>
                      <a:cubicBezTo>
                        <a:pt x="168" y="23"/>
                        <a:pt x="168" y="23"/>
                        <a:pt x="168" y="23"/>
                      </a:cubicBezTo>
                      <a:cubicBezTo>
                        <a:pt x="169" y="23"/>
                        <a:pt x="169" y="23"/>
                        <a:pt x="169" y="23"/>
                      </a:cubicBezTo>
                      <a:cubicBezTo>
                        <a:pt x="169" y="24"/>
                        <a:pt x="169" y="24"/>
                        <a:pt x="169" y="24"/>
                      </a:cubicBezTo>
                      <a:cubicBezTo>
                        <a:pt x="170" y="24"/>
                        <a:pt x="170" y="24"/>
                        <a:pt x="170" y="24"/>
                      </a:cubicBezTo>
                      <a:cubicBezTo>
                        <a:pt x="172" y="24"/>
                        <a:pt x="172" y="24"/>
                        <a:pt x="172" y="24"/>
                      </a:cubicBezTo>
                      <a:cubicBezTo>
                        <a:pt x="173" y="24"/>
                        <a:pt x="173" y="24"/>
                        <a:pt x="173" y="24"/>
                      </a:cubicBezTo>
                      <a:cubicBezTo>
                        <a:pt x="172" y="25"/>
                        <a:pt x="172" y="25"/>
                        <a:pt x="172" y="25"/>
                      </a:cubicBezTo>
                      <a:cubicBezTo>
                        <a:pt x="171" y="25"/>
                        <a:pt x="171" y="25"/>
                        <a:pt x="171" y="25"/>
                      </a:cubicBezTo>
                      <a:cubicBezTo>
                        <a:pt x="170" y="25"/>
                        <a:pt x="170" y="25"/>
                        <a:pt x="170" y="25"/>
                      </a:cubicBezTo>
                      <a:close/>
                      <a:moveTo>
                        <a:pt x="202" y="28"/>
                      </a:moveTo>
                      <a:cubicBezTo>
                        <a:pt x="202" y="28"/>
                        <a:pt x="202" y="28"/>
                        <a:pt x="202" y="28"/>
                      </a:cubicBezTo>
                      <a:cubicBezTo>
                        <a:pt x="201" y="30"/>
                        <a:pt x="201" y="30"/>
                        <a:pt x="201" y="30"/>
                      </a:cubicBezTo>
                      <a:cubicBezTo>
                        <a:pt x="200" y="30"/>
                        <a:pt x="200" y="30"/>
                        <a:pt x="200" y="30"/>
                      </a:cubicBezTo>
                      <a:cubicBezTo>
                        <a:pt x="199" y="31"/>
                        <a:pt x="199" y="31"/>
                        <a:pt x="199" y="31"/>
                      </a:cubicBezTo>
                      <a:cubicBezTo>
                        <a:pt x="198" y="32"/>
                        <a:pt x="198" y="32"/>
                        <a:pt x="198" y="32"/>
                      </a:cubicBezTo>
                      <a:cubicBezTo>
                        <a:pt x="197" y="32"/>
                        <a:pt x="197" y="32"/>
                        <a:pt x="197" y="32"/>
                      </a:cubicBezTo>
                      <a:cubicBezTo>
                        <a:pt x="196" y="31"/>
                        <a:pt x="196" y="31"/>
                        <a:pt x="196" y="31"/>
                      </a:cubicBezTo>
                      <a:cubicBezTo>
                        <a:pt x="195" y="31"/>
                        <a:pt x="195" y="31"/>
                        <a:pt x="195" y="31"/>
                      </a:cubicBezTo>
                      <a:cubicBezTo>
                        <a:pt x="194" y="31"/>
                        <a:pt x="194" y="31"/>
                        <a:pt x="194" y="31"/>
                      </a:cubicBezTo>
                      <a:cubicBezTo>
                        <a:pt x="194" y="30"/>
                        <a:pt x="194" y="30"/>
                        <a:pt x="194" y="30"/>
                      </a:cubicBezTo>
                      <a:cubicBezTo>
                        <a:pt x="193" y="31"/>
                        <a:pt x="193" y="31"/>
                        <a:pt x="193" y="31"/>
                      </a:cubicBezTo>
                      <a:cubicBezTo>
                        <a:pt x="190" y="30"/>
                        <a:pt x="190" y="30"/>
                        <a:pt x="190" y="30"/>
                      </a:cubicBezTo>
                      <a:cubicBezTo>
                        <a:pt x="189" y="30"/>
                        <a:pt x="189" y="30"/>
                        <a:pt x="189" y="30"/>
                      </a:cubicBezTo>
                      <a:cubicBezTo>
                        <a:pt x="189" y="29"/>
                        <a:pt x="189" y="29"/>
                        <a:pt x="189" y="29"/>
                      </a:cubicBezTo>
                      <a:cubicBezTo>
                        <a:pt x="187" y="30"/>
                        <a:pt x="187" y="30"/>
                        <a:pt x="187" y="30"/>
                      </a:cubicBezTo>
                      <a:cubicBezTo>
                        <a:pt x="186" y="30"/>
                        <a:pt x="186" y="30"/>
                        <a:pt x="186" y="30"/>
                      </a:cubicBezTo>
                      <a:cubicBezTo>
                        <a:pt x="185" y="30"/>
                        <a:pt x="185" y="30"/>
                        <a:pt x="185" y="30"/>
                      </a:cubicBezTo>
                      <a:cubicBezTo>
                        <a:pt x="184" y="30"/>
                        <a:pt x="184" y="30"/>
                        <a:pt x="184" y="30"/>
                      </a:cubicBezTo>
                      <a:cubicBezTo>
                        <a:pt x="183" y="29"/>
                        <a:pt x="183" y="29"/>
                        <a:pt x="183" y="29"/>
                      </a:cubicBezTo>
                      <a:cubicBezTo>
                        <a:pt x="182" y="29"/>
                        <a:pt x="182" y="29"/>
                        <a:pt x="182" y="29"/>
                      </a:cubicBezTo>
                      <a:cubicBezTo>
                        <a:pt x="182" y="27"/>
                        <a:pt x="182" y="27"/>
                        <a:pt x="182" y="27"/>
                      </a:cubicBezTo>
                      <a:cubicBezTo>
                        <a:pt x="181" y="26"/>
                        <a:pt x="181" y="26"/>
                        <a:pt x="181" y="26"/>
                      </a:cubicBezTo>
                      <a:cubicBezTo>
                        <a:pt x="181" y="26"/>
                        <a:pt x="181" y="26"/>
                        <a:pt x="181" y="26"/>
                      </a:cubicBezTo>
                      <a:cubicBezTo>
                        <a:pt x="180" y="27"/>
                        <a:pt x="180" y="27"/>
                        <a:pt x="180" y="27"/>
                      </a:cubicBezTo>
                      <a:cubicBezTo>
                        <a:pt x="179" y="26"/>
                        <a:pt x="179" y="26"/>
                        <a:pt x="179" y="26"/>
                      </a:cubicBezTo>
                      <a:cubicBezTo>
                        <a:pt x="178" y="26"/>
                        <a:pt x="178" y="26"/>
                        <a:pt x="178" y="26"/>
                      </a:cubicBezTo>
                      <a:cubicBezTo>
                        <a:pt x="178" y="26"/>
                        <a:pt x="178" y="26"/>
                        <a:pt x="178" y="26"/>
                      </a:cubicBezTo>
                      <a:cubicBezTo>
                        <a:pt x="178" y="27"/>
                        <a:pt x="178" y="27"/>
                        <a:pt x="178" y="27"/>
                      </a:cubicBezTo>
                      <a:cubicBezTo>
                        <a:pt x="178" y="27"/>
                        <a:pt x="178" y="27"/>
                        <a:pt x="178" y="27"/>
                      </a:cubicBezTo>
                      <a:cubicBezTo>
                        <a:pt x="177" y="27"/>
                        <a:pt x="177" y="27"/>
                        <a:pt x="177" y="27"/>
                      </a:cubicBezTo>
                      <a:cubicBezTo>
                        <a:pt x="176" y="26"/>
                        <a:pt x="176" y="26"/>
                        <a:pt x="176" y="26"/>
                      </a:cubicBezTo>
                      <a:cubicBezTo>
                        <a:pt x="176" y="26"/>
                        <a:pt x="176" y="26"/>
                        <a:pt x="176" y="26"/>
                      </a:cubicBezTo>
                      <a:cubicBezTo>
                        <a:pt x="177" y="25"/>
                        <a:pt x="177" y="25"/>
                        <a:pt x="177" y="25"/>
                      </a:cubicBezTo>
                      <a:cubicBezTo>
                        <a:pt x="178" y="24"/>
                        <a:pt x="178" y="24"/>
                        <a:pt x="178" y="24"/>
                      </a:cubicBezTo>
                      <a:cubicBezTo>
                        <a:pt x="177" y="23"/>
                        <a:pt x="177" y="23"/>
                        <a:pt x="177" y="23"/>
                      </a:cubicBezTo>
                      <a:cubicBezTo>
                        <a:pt x="178" y="22"/>
                        <a:pt x="178" y="22"/>
                        <a:pt x="178" y="22"/>
                      </a:cubicBezTo>
                      <a:cubicBezTo>
                        <a:pt x="179" y="21"/>
                        <a:pt x="179" y="21"/>
                        <a:pt x="179" y="21"/>
                      </a:cubicBezTo>
                      <a:cubicBezTo>
                        <a:pt x="178" y="21"/>
                        <a:pt x="178" y="21"/>
                        <a:pt x="178" y="21"/>
                      </a:cubicBezTo>
                      <a:cubicBezTo>
                        <a:pt x="178" y="21"/>
                        <a:pt x="178" y="21"/>
                        <a:pt x="178" y="21"/>
                      </a:cubicBezTo>
                      <a:cubicBezTo>
                        <a:pt x="177" y="20"/>
                        <a:pt x="177" y="20"/>
                        <a:pt x="177" y="20"/>
                      </a:cubicBezTo>
                      <a:cubicBezTo>
                        <a:pt x="177" y="20"/>
                        <a:pt x="177" y="20"/>
                        <a:pt x="177" y="20"/>
                      </a:cubicBezTo>
                      <a:cubicBezTo>
                        <a:pt x="177" y="18"/>
                        <a:pt x="177" y="18"/>
                        <a:pt x="177" y="18"/>
                      </a:cubicBezTo>
                      <a:cubicBezTo>
                        <a:pt x="178" y="18"/>
                        <a:pt x="178" y="18"/>
                        <a:pt x="178" y="18"/>
                      </a:cubicBezTo>
                      <a:cubicBezTo>
                        <a:pt x="179" y="17"/>
                        <a:pt x="179" y="17"/>
                        <a:pt x="179" y="17"/>
                      </a:cubicBezTo>
                      <a:cubicBezTo>
                        <a:pt x="179" y="17"/>
                        <a:pt x="179" y="17"/>
                        <a:pt x="179" y="17"/>
                      </a:cubicBezTo>
                      <a:cubicBezTo>
                        <a:pt x="180" y="16"/>
                        <a:pt x="180" y="16"/>
                        <a:pt x="180" y="16"/>
                      </a:cubicBezTo>
                      <a:cubicBezTo>
                        <a:pt x="181" y="16"/>
                        <a:pt x="181" y="16"/>
                        <a:pt x="181" y="16"/>
                      </a:cubicBezTo>
                      <a:cubicBezTo>
                        <a:pt x="182" y="15"/>
                        <a:pt x="182" y="15"/>
                        <a:pt x="182" y="15"/>
                      </a:cubicBezTo>
                      <a:cubicBezTo>
                        <a:pt x="183" y="14"/>
                        <a:pt x="183" y="14"/>
                        <a:pt x="183" y="14"/>
                      </a:cubicBezTo>
                      <a:cubicBezTo>
                        <a:pt x="183" y="13"/>
                        <a:pt x="183" y="13"/>
                        <a:pt x="183" y="13"/>
                      </a:cubicBezTo>
                      <a:cubicBezTo>
                        <a:pt x="185" y="14"/>
                        <a:pt x="185" y="14"/>
                        <a:pt x="185" y="14"/>
                      </a:cubicBezTo>
                      <a:cubicBezTo>
                        <a:pt x="186" y="14"/>
                        <a:pt x="186" y="14"/>
                        <a:pt x="186" y="14"/>
                      </a:cubicBezTo>
                      <a:cubicBezTo>
                        <a:pt x="188" y="16"/>
                        <a:pt x="188" y="16"/>
                        <a:pt x="188" y="16"/>
                      </a:cubicBezTo>
                      <a:cubicBezTo>
                        <a:pt x="188" y="17"/>
                        <a:pt x="188" y="17"/>
                        <a:pt x="188" y="17"/>
                      </a:cubicBezTo>
                      <a:cubicBezTo>
                        <a:pt x="188" y="19"/>
                        <a:pt x="188" y="19"/>
                        <a:pt x="188" y="19"/>
                      </a:cubicBezTo>
                      <a:cubicBezTo>
                        <a:pt x="188" y="19"/>
                        <a:pt x="188" y="19"/>
                        <a:pt x="188" y="19"/>
                      </a:cubicBezTo>
                      <a:cubicBezTo>
                        <a:pt x="188" y="20"/>
                        <a:pt x="188" y="20"/>
                        <a:pt x="188" y="20"/>
                      </a:cubicBezTo>
                      <a:cubicBezTo>
                        <a:pt x="188" y="20"/>
                        <a:pt x="188" y="20"/>
                        <a:pt x="188" y="20"/>
                      </a:cubicBezTo>
                      <a:cubicBezTo>
                        <a:pt x="188" y="21"/>
                        <a:pt x="188" y="21"/>
                        <a:pt x="188" y="21"/>
                      </a:cubicBezTo>
                      <a:cubicBezTo>
                        <a:pt x="188" y="21"/>
                        <a:pt x="188" y="21"/>
                        <a:pt x="188" y="21"/>
                      </a:cubicBezTo>
                      <a:cubicBezTo>
                        <a:pt x="189" y="20"/>
                        <a:pt x="189" y="20"/>
                        <a:pt x="189" y="20"/>
                      </a:cubicBezTo>
                      <a:cubicBezTo>
                        <a:pt x="189" y="19"/>
                        <a:pt x="189" y="19"/>
                        <a:pt x="189" y="19"/>
                      </a:cubicBezTo>
                      <a:cubicBezTo>
                        <a:pt x="189" y="18"/>
                        <a:pt x="189" y="18"/>
                        <a:pt x="189" y="18"/>
                      </a:cubicBezTo>
                      <a:cubicBezTo>
                        <a:pt x="189" y="17"/>
                        <a:pt x="189" y="17"/>
                        <a:pt x="189" y="17"/>
                      </a:cubicBezTo>
                      <a:cubicBezTo>
                        <a:pt x="189" y="17"/>
                        <a:pt x="189" y="17"/>
                        <a:pt x="189" y="17"/>
                      </a:cubicBezTo>
                      <a:cubicBezTo>
                        <a:pt x="188" y="15"/>
                        <a:pt x="188" y="15"/>
                        <a:pt x="188" y="15"/>
                      </a:cubicBezTo>
                      <a:cubicBezTo>
                        <a:pt x="188" y="15"/>
                        <a:pt x="188" y="15"/>
                        <a:pt x="188" y="15"/>
                      </a:cubicBezTo>
                      <a:cubicBezTo>
                        <a:pt x="188" y="14"/>
                        <a:pt x="188" y="14"/>
                        <a:pt x="188" y="14"/>
                      </a:cubicBezTo>
                      <a:cubicBezTo>
                        <a:pt x="190" y="14"/>
                        <a:pt x="190" y="14"/>
                        <a:pt x="190" y="14"/>
                      </a:cubicBezTo>
                      <a:cubicBezTo>
                        <a:pt x="191" y="14"/>
                        <a:pt x="191" y="14"/>
                        <a:pt x="191" y="14"/>
                      </a:cubicBezTo>
                      <a:cubicBezTo>
                        <a:pt x="194" y="16"/>
                        <a:pt x="194" y="16"/>
                        <a:pt x="194" y="16"/>
                      </a:cubicBezTo>
                      <a:cubicBezTo>
                        <a:pt x="195" y="16"/>
                        <a:pt x="195" y="16"/>
                        <a:pt x="195" y="16"/>
                      </a:cubicBezTo>
                      <a:cubicBezTo>
                        <a:pt x="195" y="17"/>
                        <a:pt x="195" y="17"/>
                        <a:pt x="195" y="17"/>
                      </a:cubicBezTo>
                      <a:cubicBezTo>
                        <a:pt x="195" y="18"/>
                        <a:pt x="195" y="18"/>
                        <a:pt x="195" y="18"/>
                      </a:cubicBezTo>
                      <a:cubicBezTo>
                        <a:pt x="196" y="18"/>
                        <a:pt x="196" y="18"/>
                        <a:pt x="196" y="18"/>
                      </a:cubicBezTo>
                      <a:cubicBezTo>
                        <a:pt x="197" y="19"/>
                        <a:pt x="197" y="19"/>
                        <a:pt x="197" y="19"/>
                      </a:cubicBezTo>
                      <a:cubicBezTo>
                        <a:pt x="197" y="21"/>
                        <a:pt x="197" y="21"/>
                        <a:pt x="197" y="21"/>
                      </a:cubicBezTo>
                      <a:cubicBezTo>
                        <a:pt x="198" y="22"/>
                        <a:pt x="198" y="22"/>
                        <a:pt x="198" y="22"/>
                      </a:cubicBezTo>
                      <a:cubicBezTo>
                        <a:pt x="199" y="23"/>
                        <a:pt x="199" y="23"/>
                        <a:pt x="199" y="23"/>
                      </a:cubicBezTo>
                      <a:cubicBezTo>
                        <a:pt x="199" y="24"/>
                        <a:pt x="199" y="24"/>
                        <a:pt x="199" y="24"/>
                      </a:cubicBezTo>
                      <a:cubicBezTo>
                        <a:pt x="198" y="24"/>
                        <a:pt x="198" y="24"/>
                        <a:pt x="198" y="24"/>
                      </a:cubicBezTo>
                      <a:cubicBezTo>
                        <a:pt x="197" y="23"/>
                        <a:pt x="197" y="23"/>
                        <a:pt x="197" y="23"/>
                      </a:cubicBezTo>
                      <a:cubicBezTo>
                        <a:pt x="197" y="23"/>
                        <a:pt x="197" y="23"/>
                        <a:pt x="197" y="23"/>
                      </a:cubicBezTo>
                      <a:cubicBezTo>
                        <a:pt x="197" y="24"/>
                        <a:pt x="197" y="24"/>
                        <a:pt x="197" y="24"/>
                      </a:cubicBezTo>
                      <a:cubicBezTo>
                        <a:pt x="198" y="25"/>
                        <a:pt x="198" y="25"/>
                        <a:pt x="198" y="25"/>
                      </a:cubicBezTo>
                      <a:cubicBezTo>
                        <a:pt x="199" y="25"/>
                        <a:pt x="199" y="25"/>
                        <a:pt x="199" y="25"/>
                      </a:cubicBezTo>
                      <a:cubicBezTo>
                        <a:pt x="200" y="26"/>
                        <a:pt x="200" y="26"/>
                        <a:pt x="200" y="26"/>
                      </a:cubicBezTo>
                      <a:cubicBezTo>
                        <a:pt x="201" y="26"/>
                        <a:pt x="201" y="26"/>
                        <a:pt x="201" y="26"/>
                      </a:cubicBezTo>
                      <a:cubicBezTo>
                        <a:pt x="202" y="28"/>
                        <a:pt x="202" y="28"/>
                        <a:pt x="202" y="28"/>
                      </a:cubicBezTo>
                      <a:close/>
                      <a:moveTo>
                        <a:pt x="377" y="4"/>
                      </a:moveTo>
                      <a:cubicBezTo>
                        <a:pt x="377" y="2"/>
                        <a:pt x="377" y="2"/>
                        <a:pt x="377" y="2"/>
                      </a:cubicBezTo>
                      <a:cubicBezTo>
                        <a:pt x="379" y="1"/>
                        <a:pt x="379" y="1"/>
                        <a:pt x="379" y="1"/>
                      </a:cubicBezTo>
                      <a:cubicBezTo>
                        <a:pt x="379" y="1"/>
                        <a:pt x="379" y="1"/>
                        <a:pt x="379" y="1"/>
                      </a:cubicBezTo>
                      <a:cubicBezTo>
                        <a:pt x="379" y="2"/>
                        <a:pt x="379" y="2"/>
                        <a:pt x="379" y="2"/>
                      </a:cubicBezTo>
                      <a:cubicBezTo>
                        <a:pt x="379" y="2"/>
                        <a:pt x="379" y="2"/>
                        <a:pt x="379" y="2"/>
                      </a:cubicBezTo>
                      <a:cubicBezTo>
                        <a:pt x="379" y="2"/>
                        <a:pt x="379" y="2"/>
                        <a:pt x="379" y="2"/>
                      </a:cubicBezTo>
                      <a:cubicBezTo>
                        <a:pt x="378" y="3"/>
                        <a:pt x="378" y="3"/>
                        <a:pt x="378" y="3"/>
                      </a:cubicBezTo>
                      <a:cubicBezTo>
                        <a:pt x="377" y="4"/>
                        <a:pt x="377" y="4"/>
                        <a:pt x="377" y="4"/>
                      </a:cubicBezTo>
                      <a:close/>
                      <a:moveTo>
                        <a:pt x="387" y="18"/>
                      </a:moveTo>
                      <a:cubicBezTo>
                        <a:pt x="388" y="20"/>
                        <a:pt x="388" y="20"/>
                        <a:pt x="388" y="20"/>
                      </a:cubicBezTo>
                      <a:cubicBezTo>
                        <a:pt x="389" y="22"/>
                        <a:pt x="389" y="22"/>
                        <a:pt x="389" y="22"/>
                      </a:cubicBezTo>
                      <a:cubicBezTo>
                        <a:pt x="390" y="23"/>
                        <a:pt x="390" y="23"/>
                        <a:pt x="390" y="23"/>
                      </a:cubicBezTo>
                      <a:cubicBezTo>
                        <a:pt x="393" y="24"/>
                        <a:pt x="393" y="24"/>
                        <a:pt x="393" y="24"/>
                      </a:cubicBezTo>
                      <a:cubicBezTo>
                        <a:pt x="396" y="24"/>
                        <a:pt x="396" y="24"/>
                        <a:pt x="396" y="24"/>
                      </a:cubicBezTo>
                      <a:cubicBezTo>
                        <a:pt x="397" y="25"/>
                        <a:pt x="397" y="25"/>
                        <a:pt x="397" y="25"/>
                      </a:cubicBezTo>
                      <a:cubicBezTo>
                        <a:pt x="399" y="25"/>
                        <a:pt x="399" y="25"/>
                        <a:pt x="399" y="25"/>
                      </a:cubicBezTo>
                      <a:cubicBezTo>
                        <a:pt x="400" y="24"/>
                        <a:pt x="400" y="24"/>
                        <a:pt x="400" y="24"/>
                      </a:cubicBezTo>
                      <a:cubicBezTo>
                        <a:pt x="402" y="25"/>
                        <a:pt x="402" y="25"/>
                        <a:pt x="402" y="25"/>
                      </a:cubicBezTo>
                      <a:cubicBezTo>
                        <a:pt x="402" y="24"/>
                        <a:pt x="402" y="24"/>
                        <a:pt x="402" y="24"/>
                      </a:cubicBezTo>
                      <a:cubicBezTo>
                        <a:pt x="404" y="23"/>
                        <a:pt x="404" y="23"/>
                        <a:pt x="404" y="23"/>
                      </a:cubicBezTo>
                      <a:cubicBezTo>
                        <a:pt x="405" y="22"/>
                        <a:pt x="405" y="22"/>
                        <a:pt x="405" y="22"/>
                      </a:cubicBezTo>
                      <a:cubicBezTo>
                        <a:pt x="405" y="21"/>
                        <a:pt x="405" y="21"/>
                        <a:pt x="405" y="21"/>
                      </a:cubicBezTo>
                      <a:cubicBezTo>
                        <a:pt x="405" y="20"/>
                        <a:pt x="405" y="20"/>
                        <a:pt x="405" y="20"/>
                      </a:cubicBezTo>
                      <a:cubicBezTo>
                        <a:pt x="404" y="20"/>
                        <a:pt x="404" y="20"/>
                        <a:pt x="404" y="20"/>
                      </a:cubicBezTo>
                      <a:cubicBezTo>
                        <a:pt x="404" y="20"/>
                        <a:pt x="404" y="20"/>
                        <a:pt x="404" y="20"/>
                      </a:cubicBezTo>
                      <a:cubicBezTo>
                        <a:pt x="403" y="19"/>
                        <a:pt x="403" y="19"/>
                        <a:pt x="403" y="19"/>
                      </a:cubicBezTo>
                      <a:cubicBezTo>
                        <a:pt x="403" y="19"/>
                        <a:pt x="403" y="19"/>
                        <a:pt x="403" y="19"/>
                      </a:cubicBezTo>
                      <a:cubicBezTo>
                        <a:pt x="403" y="18"/>
                        <a:pt x="403" y="18"/>
                        <a:pt x="403" y="18"/>
                      </a:cubicBezTo>
                      <a:cubicBezTo>
                        <a:pt x="402" y="19"/>
                        <a:pt x="402" y="19"/>
                        <a:pt x="402" y="19"/>
                      </a:cubicBezTo>
                      <a:cubicBezTo>
                        <a:pt x="401" y="18"/>
                        <a:pt x="401" y="18"/>
                        <a:pt x="401" y="18"/>
                      </a:cubicBezTo>
                      <a:cubicBezTo>
                        <a:pt x="398" y="19"/>
                        <a:pt x="398" y="19"/>
                        <a:pt x="398" y="19"/>
                      </a:cubicBezTo>
                      <a:cubicBezTo>
                        <a:pt x="397" y="20"/>
                        <a:pt x="397" y="20"/>
                        <a:pt x="397" y="20"/>
                      </a:cubicBezTo>
                      <a:cubicBezTo>
                        <a:pt x="396" y="20"/>
                        <a:pt x="396" y="20"/>
                        <a:pt x="396" y="20"/>
                      </a:cubicBezTo>
                      <a:cubicBezTo>
                        <a:pt x="396" y="19"/>
                        <a:pt x="396" y="19"/>
                        <a:pt x="396" y="19"/>
                      </a:cubicBezTo>
                      <a:cubicBezTo>
                        <a:pt x="395" y="19"/>
                        <a:pt x="395" y="19"/>
                        <a:pt x="395" y="19"/>
                      </a:cubicBezTo>
                      <a:cubicBezTo>
                        <a:pt x="395" y="19"/>
                        <a:pt x="395" y="19"/>
                        <a:pt x="395" y="19"/>
                      </a:cubicBezTo>
                      <a:cubicBezTo>
                        <a:pt x="394" y="19"/>
                        <a:pt x="394" y="19"/>
                        <a:pt x="394" y="19"/>
                      </a:cubicBezTo>
                      <a:cubicBezTo>
                        <a:pt x="392" y="19"/>
                        <a:pt x="392" y="19"/>
                        <a:pt x="392" y="19"/>
                      </a:cubicBezTo>
                      <a:cubicBezTo>
                        <a:pt x="391" y="19"/>
                        <a:pt x="391" y="19"/>
                        <a:pt x="391" y="19"/>
                      </a:cubicBezTo>
                      <a:cubicBezTo>
                        <a:pt x="391" y="19"/>
                        <a:pt x="391" y="19"/>
                        <a:pt x="391" y="19"/>
                      </a:cubicBezTo>
                      <a:cubicBezTo>
                        <a:pt x="391" y="20"/>
                        <a:pt x="391" y="20"/>
                        <a:pt x="391" y="20"/>
                      </a:cubicBezTo>
                      <a:cubicBezTo>
                        <a:pt x="389" y="20"/>
                        <a:pt x="389" y="20"/>
                        <a:pt x="389" y="20"/>
                      </a:cubicBezTo>
                      <a:cubicBezTo>
                        <a:pt x="388" y="19"/>
                        <a:pt x="388" y="19"/>
                        <a:pt x="388" y="19"/>
                      </a:cubicBezTo>
                      <a:cubicBezTo>
                        <a:pt x="388" y="18"/>
                        <a:pt x="388" y="18"/>
                        <a:pt x="388" y="18"/>
                      </a:cubicBezTo>
                      <a:cubicBezTo>
                        <a:pt x="387" y="18"/>
                        <a:pt x="387" y="18"/>
                        <a:pt x="387" y="18"/>
                      </a:cubicBezTo>
                      <a:close/>
                      <a:moveTo>
                        <a:pt x="350" y="33"/>
                      </a:moveTo>
                      <a:cubicBezTo>
                        <a:pt x="349" y="31"/>
                        <a:pt x="349" y="31"/>
                        <a:pt x="349" y="31"/>
                      </a:cubicBezTo>
                      <a:cubicBezTo>
                        <a:pt x="349" y="30"/>
                        <a:pt x="349" y="30"/>
                        <a:pt x="349" y="30"/>
                      </a:cubicBezTo>
                      <a:cubicBezTo>
                        <a:pt x="348" y="29"/>
                        <a:pt x="348" y="29"/>
                        <a:pt x="348" y="29"/>
                      </a:cubicBezTo>
                      <a:cubicBezTo>
                        <a:pt x="347" y="29"/>
                        <a:pt x="347" y="29"/>
                        <a:pt x="347" y="29"/>
                      </a:cubicBezTo>
                      <a:cubicBezTo>
                        <a:pt x="346" y="28"/>
                        <a:pt x="346" y="28"/>
                        <a:pt x="346" y="28"/>
                      </a:cubicBezTo>
                      <a:cubicBezTo>
                        <a:pt x="345" y="28"/>
                        <a:pt x="345" y="28"/>
                        <a:pt x="345" y="28"/>
                      </a:cubicBezTo>
                      <a:cubicBezTo>
                        <a:pt x="345" y="27"/>
                        <a:pt x="345" y="27"/>
                        <a:pt x="345" y="27"/>
                      </a:cubicBezTo>
                      <a:cubicBezTo>
                        <a:pt x="345" y="28"/>
                        <a:pt x="345" y="28"/>
                        <a:pt x="345" y="28"/>
                      </a:cubicBezTo>
                      <a:cubicBezTo>
                        <a:pt x="346" y="29"/>
                        <a:pt x="346" y="29"/>
                        <a:pt x="346" y="29"/>
                      </a:cubicBezTo>
                      <a:cubicBezTo>
                        <a:pt x="347" y="31"/>
                        <a:pt x="347" y="31"/>
                        <a:pt x="347" y="31"/>
                      </a:cubicBezTo>
                      <a:cubicBezTo>
                        <a:pt x="348" y="32"/>
                        <a:pt x="348" y="32"/>
                        <a:pt x="348" y="32"/>
                      </a:cubicBezTo>
                      <a:cubicBezTo>
                        <a:pt x="349" y="34"/>
                        <a:pt x="349" y="34"/>
                        <a:pt x="349" y="34"/>
                      </a:cubicBezTo>
                      <a:cubicBezTo>
                        <a:pt x="350" y="34"/>
                        <a:pt x="350" y="34"/>
                        <a:pt x="350" y="34"/>
                      </a:cubicBezTo>
                      <a:cubicBezTo>
                        <a:pt x="351" y="34"/>
                        <a:pt x="351" y="34"/>
                        <a:pt x="351" y="34"/>
                      </a:cubicBezTo>
                      <a:cubicBezTo>
                        <a:pt x="350" y="33"/>
                        <a:pt x="350" y="33"/>
                        <a:pt x="350" y="33"/>
                      </a:cubicBezTo>
                      <a:close/>
                      <a:moveTo>
                        <a:pt x="369" y="35"/>
                      </a:moveTo>
                      <a:cubicBezTo>
                        <a:pt x="369" y="35"/>
                        <a:pt x="369" y="35"/>
                        <a:pt x="369" y="35"/>
                      </a:cubicBezTo>
                      <a:cubicBezTo>
                        <a:pt x="368" y="35"/>
                        <a:pt x="368" y="35"/>
                        <a:pt x="368" y="35"/>
                      </a:cubicBezTo>
                      <a:cubicBezTo>
                        <a:pt x="368" y="34"/>
                        <a:pt x="368" y="34"/>
                        <a:pt x="368" y="34"/>
                      </a:cubicBezTo>
                      <a:cubicBezTo>
                        <a:pt x="368" y="34"/>
                        <a:pt x="368" y="34"/>
                        <a:pt x="368" y="34"/>
                      </a:cubicBezTo>
                      <a:cubicBezTo>
                        <a:pt x="369" y="34"/>
                        <a:pt x="369" y="34"/>
                        <a:pt x="369" y="34"/>
                      </a:cubicBezTo>
                      <a:cubicBezTo>
                        <a:pt x="369" y="34"/>
                        <a:pt x="369" y="34"/>
                        <a:pt x="369" y="34"/>
                      </a:cubicBezTo>
                      <a:cubicBezTo>
                        <a:pt x="370" y="35"/>
                        <a:pt x="370" y="35"/>
                        <a:pt x="370" y="35"/>
                      </a:cubicBezTo>
                      <a:cubicBezTo>
                        <a:pt x="370" y="35"/>
                        <a:pt x="370" y="35"/>
                        <a:pt x="370" y="35"/>
                      </a:cubicBezTo>
                      <a:cubicBezTo>
                        <a:pt x="370" y="36"/>
                        <a:pt x="370" y="36"/>
                        <a:pt x="370" y="36"/>
                      </a:cubicBezTo>
                      <a:cubicBezTo>
                        <a:pt x="371" y="36"/>
                        <a:pt x="371" y="36"/>
                        <a:pt x="371" y="36"/>
                      </a:cubicBezTo>
                      <a:cubicBezTo>
                        <a:pt x="372" y="35"/>
                        <a:pt x="372" y="35"/>
                        <a:pt x="372" y="35"/>
                      </a:cubicBezTo>
                      <a:cubicBezTo>
                        <a:pt x="373" y="33"/>
                        <a:pt x="373" y="33"/>
                        <a:pt x="373" y="33"/>
                      </a:cubicBezTo>
                      <a:cubicBezTo>
                        <a:pt x="374" y="31"/>
                        <a:pt x="374" y="31"/>
                        <a:pt x="374" y="31"/>
                      </a:cubicBezTo>
                      <a:cubicBezTo>
                        <a:pt x="375" y="31"/>
                        <a:pt x="375" y="31"/>
                        <a:pt x="375" y="31"/>
                      </a:cubicBezTo>
                      <a:cubicBezTo>
                        <a:pt x="376" y="31"/>
                        <a:pt x="376" y="31"/>
                        <a:pt x="376" y="31"/>
                      </a:cubicBezTo>
                      <a:cubicBezTo>
                        <a:pt x="377" y="31"/>
                        <a:pt x="377" y="31"/>
                        <a:pt x="377" y="31"/>
                      </a:cubicBezTo>
                      <a:cubicBezTo>
                        <a:pt x="376" y="31"/>
                        <a:pt x="376" y="31"/>
                        <a:pt x="376" y="31"/>
                      </a:cubicBezTo>
                      <a:cubicBezTo>
                        <a:pt x="377" y="32"/>
                        <a:pt x="377" y="32"/>
                        <a:pt x="377" y="32"/>
                      </a:cubicBezTo>
                      <a:cubicBezTo>
                        <a:pt x="378" y="32"/>
                        <a:pt x="378" y="32"/>
                        <a:pt x="378" y="32"/>
                      </a:cubicBezTo>
                      <a:cubicBezTo>
                        <a:pt x="379" y="32"/>
                        <a:pt x="379" y="32"/>
                        <a:pt x="379" y="32"/>
                      </a:cubicBezTo>
                      <a:cubicBezTo>
                        <a:pt x="379" y="31"/>
                        <a:pt x="379" y="31"/>
                        <a:pt x="379" y="31"/>
                      </a:cubicBezTo>
                      <a:cubicBezTo>
                        <a:pt x="380" y="30"/>
                        <a:pt x="380" y="30"/>
                        <a:pt x="380" y="30"/>
                      </a:cubicBezTo>
                      <a:cubicBezTo>
                        <a:pt x="381" y="29"/>
                        <a:pt x="381" y="29"/>
                        <a:pt x="381" y="29"/>
                      </a:cubicBezTo>
                      <a:cubicBezTo>
                        <a:pt x="381" y="29"/>
                        <a:pt x="381" y="29"/>
                        <a:pt x="381" y="29"/>
                      </a:cubicBezTo>
                      <a:cubicBezTo>
                        <a:pt x="379" y="29"/>
                        <a:pt x="379" y="29"/>
                        <a:pt x="379" y="29"/>
                      </a:cubicBezTo>
                      <a:cubicBezTo>
                        <a:pt x="378" y="30"/>
                        <a:pt x="378" y="30"/>
                        <a:pt x="378" y="30"/>
                      </a:cubicBezTo>
                      <a:cubicBezTo>
                        <a:pt x="377" y="29"/>
                        <a:pt x="377" y="29"/>
                        <a:pt x="377" y="29"/>
                      </a:cubicBezTo>
                      <a:cubicBezTo>
                        <a:pt x="375" y="29"/>
                        <a:pt x="375" y="29"/>
                        <a:pt x="375" y="29"/>
                      </a:cubicBezTo>
                      <a:cubicBezTo>
                        <a:pt x="374" y="28"/>
                        <a:pt x="374" y="28"/>
                        <a:pt x="374" y="28"/>
                      </a:cubicBezTo>
                      <a:cubicBezTo>
                        <a:pt x="373" y="28"/>
                        <a:pt x="373" y="28"/>
                        <a:pt x="373" y="28"/>
                      </a:cubicBezTo>
                      <a:cubicBezTo>
                        <a:pt x="373" y="28"/>
                        <a:pt x="373" y="28"/>
                        <a:pt x="373" y="28"/>
                      </a:cubicBezTo>
                      <a:cubicBezTo>
                        <a:pt x="372" y="26"/>
                        <a:pt x="372" y="26"/>
                        <a:pt x="372" y="26"/>
                      </a:cubicBezTo>
                      <a:cubicBezTo>
                        <a:pt x="371" y="26"/>
                        <a:pt x="371" y="26"/>
                        <a:pt x="371" y="26"/>
                      </a:cubicBezTo>
                      <a:cubicBezTo>
                        <a:pt x="370" y="24"/>
                        <a:pt x="370" y="24"/>
                        <a:pt x="370" y="24"/>
                      </a:cubicBezTo>
                      <a:cubicBezTo>
                        <a:pt x="370" y="24"/>
                        <a:pt x="370" y="24"/>
                        <a:pt x="370" y="24"/>
                      </a:cubicBezTo>
                      <a:cubicBezTo>
                        <a:pt x="370" y="23"/>
                        <a:pt x="370" y="23"/>
                        <a:pt x="370" y="23"/>
                      </a:cubicBezTo>
                      <a:cubicBezTo>
                        <a:pt x="369" y="22"/>
                        <a:pt x="369" y="22"/>
                        <a:pt x="369" y="22"/>
                      </a:cubicBezTo>
                      <a:cubicBezTo>
                        <a:pt x="368" y="22"/>
                        <a:pt x="368" y="22"/>
                        <a:pt x="368" y="22"/>
                      </a:cubicBezTo>
                      <a:cubicBezTo>
                        <a:pt x="368" y="21"/>
                        <a:pt x="368" y="21"/>
                        <a:pt x="368" y="21"/>
                      </a:cubicBezTo>
                      <a:cubicBezTo>
                        <a:pt x="369" y="21"/>
                        <a:pt x="369" y="21"/>
                        <a:pt x="369" y="21"/>
                      </a:cubicBezTo>
                      <a:cubicBezTo>
                        <a:pt x="368" y="20"/>
                        <a:pt x="368" y="20"/>
                        <a:pt x="368" y="20"/>
                      </a:cubicBezTo>
                      <a:cubicBezTo>
                        <a:pt x="369" y="20"/>
                        <a:pt x="369" y="20"/>
                        <a:pt x="369" y="20"/>
                      </a:cubicBezTo>
                      <a:cubicBezTo>
                        <a:pt x="369" y="20"/>
                        <a:pt x="369" y="20"/>
                        <a:pt x="369" y="20"/>
                      </a:cubicBezTo>
                      <a:cubicBezTo>
                        <a:pt x="369" y="19"/>
                        <a:pt x="369" y="19"/>
                        <a:pt x="369" y="19"/>
                      </a:cubicBezTo>
                      <a:cubicBezTo>
                        <a:pt x="369" y="19"/>
                        <a:pt x="369" y="19"/>
                        <a:pt x="369" y="19"/>
                      </a:cubicBezTo>
                      <a:cubicBezTo>
                        <a:pt x="368" y="18"/>
                        <a:pt x="368" y="18"/>
                        <a:pt x="368" y="18"/>
                      </a:cubicBezTo>
                      <a:cubicBezTo>
                        <a:pt x="366" y="18"/>
                        <a:pt x="366" y="18"/>
                        <a:pt x="366" y="18"/>
                      </a:cubicBezTo>
                      <a:cubicBezTo>
                        <a:pt x="365" y="18"/>
                        <a:pt x="365" y="18"/>
                        <a:pt x="365" y="18"/>
                      </a:cubicBezTo>
                      <a:cubicBezTo>
                        <a:pt x="364" y="17"/>
                        <a:pt x="364" y="17"/>
                        <a:pt x="364" y="17"/>
                      </a:cubicBezTo>
                      <a:cubicBezTo>
                        <a:pt x="363" y="17"/>
                        <a:pt x="363" y="17"/>
                        <a:pt x="363" y="17"/>
                      </a:cubicBezTo>
                      <a:cubicBezTo>
                        <a:pt x="362" y="17"/>
                        <a:pt x="362" y="17"/>
                        <a:pt x="362" y="17"/>
                      </a:cubicBezTo>
                      <a:cubicBezTo>
                        <a:pt x="362" y="17"/>
                        <a:pt x="362" y="17"/>
                        <a:pt x="362" y="17"/>
                      </a:cubicBezTo>
                      <a:cubicBezTo>
                        <a:pt x="363" y="19"/>
                        <a:pt x="363" y="19"/>
                        <a:pt x="363" y="19"/>
                      </a:cubicBezTo>
                      <a:cubicBezTo>
                        <a:pt x="364" y="19"/>
                        <a:pt x="364" y="19"/>
                        <a:pt x="364" y="19"/>
                      </a:cubicBezTo>
                      <a:cubicBezTo>
                        <a:pt x="364" y="19"/>
                        <a:pt x="364" y="19"/>
                        <a:pt x="364" y="19"/>
                      </a:cubicBezTo>
                      <a:cubicBezTo>
                        <a:pt x="363" y="19"/>
                        <a:pt x="363" y="19"/>
                        <a:pt x="363" y="19"/>
                      </a:cubicBezTo>
                      <a:cubicBezTo>
                        <a:pt x="363" y="19"/>
                        <a:pt x="363" y="19"/>
                        <a:pt x="363" y="19"/>
                      </a:cubicBezTo>
                      <a:cubicBezTo>
                        <a:pt x="362" y="19"/>
                        <a:pt x="362" y="19"/>
                        <a:pt x="362" y="19"/>
                      </a:cubicBezTo>
                      <a:cubicBezTo>
                        <a:pt x="362" y="20"/>
                        <a:pt x="362" y="20"/>
                        <a:pt x="362" y="20"/>
                      </a:cubicBezTo>
                      <a:cubicBezTo>
                        <a:pt x="362" y="21"/>
                        <a:pt x="362" y="21"/>
                        <a:pt x="362" y="21"/>
                      </a:cubicBezTo>
                      <a:cubicBezTo>
                        <a:pt x="362" y="22"/>
                        <a:pt x="362" y="22"/>
                        <a:pt x="362" y="22"/>
                      </a:cubicBezTo>
                      <a:cubicBezTo>
                        <a:pt x="363" y="23"/>
                        <a:pt x="363" y="23"/>
                        <a:pt x="363" y="23"/>
                      </a:cubicBezTo>
                      <a:cubicBezTo>
                        <a:pt x="364" y="24"/>
                        <a:pt x="364" y="24"/>
                        <a:pt x="364" y="24"/>
                      </a:cubicBezTo>
                      <a:cubicBezTo>
                        <a:pt x="365" y="25"/>
                        <a:pt x="365" y="25"/>
                        <a:pt x="365" y="25"/>
                      </a:cubicBezTo>
                      <a:cubicBezTo>
                        <a:pt x="364" y="25"/>
                        <a:pt x="364" y="25"/>
                        <a:pt x="364" y="25"/>
                      </a:cubicBezTo>
                      <a:cubicBezTo>
                        <a:pt x="363" y="25"/>
                        <a:pt x="363" y="25"/>
                        <a:pt x="363" y="25"/>
                      </a:cubicBezTo>
                      <a:cubicBezTo>
                        <a:pt x="362" y="24"/>
                        <a:pt x="362" y="24"/>
                        <a:pt x="362" y="24"/>
                      </a:cubicBezTo>
                      <a:cubicBezTo>
                        <a:pt x="362" y="23"/>
                        <a:pt x="362" y="23"/>
                        <a:pt x="362" y="23"/>
                      </a:cubicBezTo>
                      <a:cubicBezTo>
                        <a:pt x="361" y="23"/>
                        <a:pt x="361" y="23"/>
                        <a:pt x="361" y="23"/>
                      </a:cubicBezTo>
                      <a:cubicBezTo>
                        <a:pt x="360" y="23"/>
                        <a:pt x="360" y="23"/>
                        <a:pt x="360" y="23"/>
                      </a:cubicBezTo>
                      <a:cubicBezTo>
                        <a:pt x="359" y="23"/>
                        <a:pt x="359" y="23"/>
                        <a:pt x="359" y="23"/>
                      </a:cubicBezTo>
                      <a:cubicBezTo>
                        <a:pt x="359" y="23"/>
                        <a:pt x="359" y="23"/>
                        <a:pt x="359" y="23"/>
                      </a:cubicBezTo>
                      <a:cubicBezTo>
                        <a:pt x="358" y="23"/>
                        <a:pt x="358" y="23"/>
                        <a:pt x="358" y="23"/>
                      </a:cubicBezTo>
                      <a:cubicBezTo>
                        <a:pt x="358" y="22"/>
                        <a:pt x="358" y="22"/>
                        <a:pt x="358" y="22"/>
                      </a:cubicBezTo>
                      <a:cubicBezTo>
                        <a:pt x="358" y="21"/>
                        <a:pt x="358" y="21"/>
                        <a:pt x="358" y="21"/>
                      </a:cubicBezTo>
                      <a:cubicBezTo>
                        <a:pt x="357" y="21"/>
                        <a:pt x="357" y="21"/>
                        <a:pt x="357" y="21"/>
                      </a:cubicBezTo>
                      <a:cubicBezTo>
                        <a:pt x="356" y="20"/>
                        <a:pt x="356" y="20"/>
                        <a:pt x="356" y="20"/>
                      </a:cubicBezTo>
                      <a:cubicBezTo>
                        <a:pt x="354" y="20"/>
                        <a:pt x="354" y="20"/>
                        <a:pt x="354" y="20"/>
                      </a:cubicBezTo>
                      <a:cubicBezTo>
                        <a:pt x="354" y="20"/>
                        <a:pt x="354" y="20"/>
                        <a:pt x="354" y="20"/>
                      </a:cubicBezTo>
                      <a:cubicBezTo>
                        <a:pt x="353" y="19"/>
                        <a:pt x="353" y="19"/>
                        <a:pt x="353" y="19"/>
                      </a:cubicBezTo>
                      <a:cubicBezTo>
                        <a:pt x="352" y="19"/>
                        <a:pt x="352" y="19"/>
                        <a:pt x="352" y="19"/>
                      </a:cubicBezTo>
                      <a:cubicBezTo>
                        <a:pt x="352" y="20"/>
                        <a:pt x="352" y="20"/>
                        <a:pt x="352" y="20"/>
                      </a:cubicBezTo>
                      <a:cubicBezTo>
                        <a:pt x="352" y="21"/>
                        <a:pt x="352" y="21"/>
                        <a:pt x="352" y="21"/>
                      </a:cubicBezTo>
                      <a:cubicBezTo>
                        <a:pt x="351" y="21"/>
                        <a:pt x="351" y="21"/>
                        <a:pt x="351" y="21"/>
                      </a:cubicBezTo>
                      <a:cubicBezTo>
                        <a:pt x="351" y="22"/>
                        <a:pt x="351" y="22"/>
                        <a:pt x="351" y="22"/>
                      </a:cubicBezTo>
                      <a:cubicBezTo>
                        <a:pt x="351" y="23"/>
                        <a:pt x="351" y="23"/>
                        <a:pt x="351" y="23"/>
                      </a:cubicBezTo>
                      <a:cubicBezTo>
                        <a:pt x="350" y="24"/>
                        <a:pt x="350" y="24"/>
                        <a:pt x="350" y="24"/>
                      </a:cubicBezTo>
                      <a:cubicBezTo>
                        <a:pt x="350" y="25"/>
                        <a:pt x="350" y="25"/>
                        <a:pt x="350" y="25"/>
                      </a:cubicBezTo>
                      <a:cubicBezTo>
                        <a:pt x="351" y="26"/>
                        <a:pt x="351" y="26"/>
                        <a:pt x="351" y="26"/>
                      </a:cubicBezTo>
                      <a:cubicBezTo>
                        <a:pt x="352" y="26"/>
                        <a:pt x="352" y="26"/>
                        <a:pt x="352" y="26"/>
                      </a:cubicBezTo>
                      <a:cubicBezTo>
                        <a:pt x="352" y="27"/>
                        <a:pt x="352" y="27"/>
                        <a:pt x="352" y="27"/>
                      </a:cubicBezTo>
                      <a:cubicBezTo>
                        <a:pt x="352" y="27"/>
                        <a:pt x="352" y="27"/>
                        <a:pt x="352" y="27"/>
                      </a:cubicBezTo>
                      <a:cubicBezTo>
                        <a:pt x="351" y="27"/>
                        <a:pt x="351" y="27"/>
                        <a:pt x="351" y="27"/>
                      </a:cubicBezTo>
                      <a:cubicBezTo>
                        <a:pt x="352" y="28"/>
                        <a:pt x="352" y="28"/>
                        <a:pt x="352" y="28"/>
                      </a:cubicBezTo>
                      <a:cubicBezTo>
                        <a:pt x="352" y="28"/>
                        <a:pt x="352" y="28"/>
                        <a:pt x="352" y="28"/>
                      </a:cubicBezTo>
                      <a:cubicBezTo>
                        <a:pt x="353" y="29"/>
                        <a:pt x="353" y="29"/>
                        <a:pt x="353" y="29"/>
                      </a:cubicBezTo>
                      <a:cubicBezTo>
                        <a:pt x="353" y="30"/>
                        <a:pt x="353" y="30"/>
                        <a:pt x="353" y="30"/>
                      </a:cubicBezTo>
                      <a:cubicBezTo>
                        <a:pt x="353" y="30"/>
                        <a:pt x="353" y="30"/>
                        <a:pt x="353" y="30"/>
                      </a:cubicBezTo>
                      <a:cubicBezTo>
                        <a:pt x="354" y="30"/>
                        <a:pt x="354" y="30"/>
                        <a:pt x="354" y="30"/>
                      </a:cubicBezTo>
                      <a:cubicBezTo>
                        <a:pt x="355" y="31"/>
                        <a:pt x="355" y="31"/>
                        <a:pt x="355" y="31"/>
                      </a:cubicBezTo>
                      <a:cubicBezTo>
                        <a:pt x="354" y="31"/>
                        <a:pt x="354" y="31"/>
                        <a:pt x="354" y="31"/>
                      </a:cubicBezTo>
                      <a:cubicBezTo>
                        <a:pt x="355" y="32"/>
                        <a:pt x="355" y="32"/>
                        <a:pt x="355" y="32"/>
                      </a:cubicBezTo>
                      <a:cubicBezTo>
                        <a:pt x="355" y="31"/>
                        <a:pt x="355" y="31"/>
                        <a:pt x="355" y="31"/>
                      </a:cubicBezTo>
                      <a:cubicBezTo>
                        <a:pt x="356" y="31"/>
                        <a:pt x="356" y="31"/>
                        <a:pt x="356" y="31"/>
                      </a:cubicBezTo>
                      <a:cubicBezTo>
                        <a:pt x="356" y="32"/>
                        <a:pt x="356" y="32"/>
                        <a:pt x="356" y="32"/>
                      </a:cubicBezTo>
                      <a:cubicBezTo>
                        <a:pt x="356" y="32"/>
                        <a:pt x="356" y="32"/>
                        <a:pt x="356" y="32"/>
                      </a:cubicBezTo>
                      <a:cubicBezTo>
                        <a:pt x="355" y="32"/>
                        <a:pt x="355" y="32"/>
                        <a:pt x="355" y="32"/>
                      </a:cubicBezTo>
                      <a:cubicBezTo>
                        <a:pt x="355" y="32"/>
                        <a:pt x="355" y="32"/>
                        <a:pt x="355" y="32"/>
                      </a:cubicBezTo>
                      <a:cubicBezTo>
                        <a:pt x="354" y="33"/>
                        <a:pt x="354" y="33"/>
                        <a:pt x="354" y="33"/>
                      </a:cubicBezTo>
                      <a:cubicBezTo>
                        <a:pt x="355" y="33"/>
                        <a:pt x="355" y="33"/>
                        <a:pt x="355" y="33"/>
                      </a:cubicBezTo>
                      <a:cubicBezTo>
                        <a:pt x="358" y="35"/>
                        <a:pt x="358" y="35"/>
                        <a:pt x="358" y="35"/>
                      </a:cubicBezTo>
                      <a:cubicBezTo>
                        <a:pt x="359" y="36"/>
                        <a:pt x="359" y="36"/>
                        <a:pt x="359" y="36"/>
                      </a:cubicBezTo>
                      <a:cubicBezTo>
                        <a:pt x="361" y="36"/>
                        <a:pt x="361" y="36"/>
                        <a:pt x="361" y="36"/>
                      </a:cubicBezTo>
                      <a:cubicBezTo>
                        <a:pt x="361" y="36"/>
                        <a:pt x="361" y="36"/>
                        <a:pt x="361" y="36"/>
                      </a:cubicBezTo>
                      <a:cubicBezTo>
                        <a:pt x="362" y="37"/>
                        <a:pt x="362" y="37"/>
                        <a:pt x="362" y="37"/>
                      </a:cubicBezTo>
                      <a:cubicBezTo>
                        <a:pt x="363" y="38"/>
                        <a:pt x="363" y="38"/>
                        <a:pt x="363" y="38"/>
                      </a:cubicBezTo>
                      <a:cubicBezTo>
                        <a:pt x="363" y="38"/>
                        <a:pt x="363" y="38"/>
                        <a:pt x="363" y="38"/>
                      </a:cubicBezTo>
                      <a:cubicBezTo>
                        <a:pt x="365" y="38"/>
                        <a:pt x="365" y="38"/>
                        <a:pt x="365" y="38"/>
                      </a:cubicBezTo>
                      <a:cubicBezTo>
                        <a:pt x="366" y="38"/>
                        <a:pt x="366" y="38"/>
                        <a:pt x="366" y="38"/>
                      </a:cubicBezTo>
                      <a:cubicBezTo>
                        <a:pt x="367" y="38"/>
                        <a:pt x="367" y="38"/>
                        <a:pt x="367" y="38"/>
                      </a:cubicBezTo>
                      <a:cubicBezTo>
                        <a:pt x="368" y="38"/>
                        <a:pt x="368" y="38"/>
                        <a:pt x="368" y="38"/>
                      </a:cubicBezTo>
                      <a:cubicBezTo>
                        <a:pt x="369" y="38"/>
                        <a:pt x="369" y="38"/>
                        <a:pt x="369" y="38"/>
                      </a:cubicBezTo>
                      <a:cubicBezTo>
                        <a:pt x="370" y="38"/>
                        <a:pt x="370" y="38"/>
                        <a:pt x="370" y="38"/>
                      </a:cubicBezTo>
                      <a:cubicBezTo>
                        <a:pt x="370" y="37"/>
                        <a:pt x="370" y="37"/>
                        <a:pt x="370" y="37"/>
                      </a:cubicBezTo>
                      <a:cubicBezTo>
                        <a:pt x="369" y="36"/>
                        <a:pt x="369" y="36"/>
                        <a:pt x="369" y="36"/>
                      </a:cubicBezTo>
                      <a:cubicBezTo>
                        <a:pt x="369" y="35"/>
                        <a:pt x="369" y="35"/>
                        <a:pt x="369" y="35"/>
                      </a:cubicBezTo>
                      <a:close/>
                      <a:moveTo>
                        <a:pt x="370" y="18"/>
                      </a:moveTo>
                      <a:cubicBezTo>
                        <a:pt x="371" y="18"/>
                        <a:pt x="371" y="18"/>
                        <a:pt x="371" y="18"/>
                      </a:cubicBezTo>
                      <a:cubicBezTo>
                        <a:pt x="373" y="18"/>
                        <a:pt x="373" y="18"/>
                        <a:pt x="373" y="18"/>
                      </a:cubicBezTo>
                      <a:cubicBezTo>
                        <a:pt x="374" y="18"/>
                        <a:pt x="374" y="18"/>
                        <a:pt x="374" y="18"/>
                      </a:cubicBezTo>
                      <a:cubicBezTo>
                        <a:pt x="376" y="19"/>
                        <a:pt x="376" y="19"/>
                        <a:pt x="376" y="19"/>
                      </a:cubicBezTo>
                      <a:cubicBezTo>
                        <a:pt x="377" y="19"/>
                        <a:pt x="377" y="19"/>
                        <a:pt x="377" y="19"/>
                      </a:cubicBezTo>
                      <a:cubicBezTo>
                        <a:pt x="378" y="19"/>
                        <a:pt x="378" y="19"/>
                        <a:pt x="378" y="19"/>
                      </a:cubicBezTo>
                      <a:cubicBezTo>
                        <a:pt x="380" y="20"/>
                        <a:pt x="380" y="20"/>
                        <a:pt x="380" y="20"/>
                      </a:cubicBezTo>
                      <a:cubicBezTo>
                        <a:pt x="382" y="20"/>
                        <a:pt x="382" y="20"/>
                        <a:pt x="382" y="20"/>
                      </a:cubicBezTo>
                      <a:cubicBezTo>
                        <a:pt x="382" y="21"/>
                        <a:pt x="382" y="21"/>
                        <a:pt x="382" y="21"/>
                      </a:cubicBezTo>
                      <a:cubicBezTo>
                        <a:pt x="381" y="21"/>
                        <a:pt x="381" y="21"/>
                        <a:pt x="381" y="21"/>
                      </a:cubicBezTo>
                      <a:cubicBezTo>
                        <a:pt x="381" y="21"/>
                        <a:pt x="381" y="21"/>
                        <a:pt x="381" y="21"/>
                      </a:cubicBezTo>
                      <a:cubicBezTo>
                        <a:pt x="381" y="22"/>
                        <a:pt x="381" y="22"/>
                        <a:pt x="381" y="22"/>
                      </a:cubicBezTo>
                      <a:cubicBezTo>
                        <a:pt x="382" y="23"/>
                        <a:pt x="382" y="23"/>
                        <a:pt x="382" y="23"/>
                      </a:cubicBezTo>
                      <a:cubicBezTo>
                        <a:pt x="383" y="24"/>
                        <a:pt x="383" y="24"/>
                        <a:pt x="383" y="24"/>
                      </a:cubicBezTo>
                      <a:cubicBezTo>
                        <a:pt x="383" y="25"/>
                        <a:pt x="383" y="25"/>
                        <a:pt x="383" y="25"/>
                      </a:cubicBezTo>
                      <a:cubicBezTo>
                        <a:pt x="383" y="25"/>
                        <a:pt x="383" y="25"/>
                        <a:pt x="383" y="25"/>
                      </a:cubicBezTo>
                      <a:cubicBezTo>
                        <a:pt x="383" y="26"/>
                        <a:pt x="383" y="26"/>
                        <a:pt x="383" y="26"/>
                      </a:cubicBezTo>
                      <a:cubicBezTo>
                        <a:pt x="382" y="27"/>
                        <a:pt x="382" y="27"/>
                        <a:pt x="382" y="27"/>
                      </a:cubicBezTo>
                      <a:cubicBezTo>
                        <a:pt x="382" y="28"/>
                        <a:pt x="382" y="28"/>
                        <a:pt x="382" y="28"/>
                      </a:cubicBezTo>
                      <a:cubicBezTo>
                        <a:pt x="381" y="29"/>
                        <a:pt x="381" y="29"/>
                        <a:pt x="381" y="29"/>
                      </a:cubicBezTo>
                      <a:cubicBezTo>
                        <a:pt x="380" y="28"/>
                        <a:pt x="380" y="28"/>
                        <a:pt x="380" y="28"/>
                      </a:cubicBezTo>
                      <a:cubicBezTo>
                        <a:pt x="380" y="28"/>
                        <a:pt x="380" y="28"/>
                        <a:pt x="380" y="28"/>
                      </a:cubicBezTo>
                      <a:cubicBezTo>
                        <a:pt x="379" y="29"/>
                        <a:pt x="379" y="29"/>
                        <a:pt x="379" y="29"/>
                      </a:cubicBezTo>
                      <a:cubicBezTo>
                        <a:pt x="378" y="29"/>
                        <a:pt x="378" y="29"/>
                        <a:pt x="378" y="29"/>
                      </a:cubicBezTo>
                      <a:cubicBezTo>
                        <a:pt x="376" y="28"/>
                        <a:pt x="376" y="28"/>
                        <a:pt x="376" y="28"/>
                      </a:cubicBezTo>
                      <a:cubicBezTo>
                        <a:pt x="375" y="27"/>
                        <a:pt x="375" y="27"/>
                        <a:pt x="375" y="27"/>
                      </a:cubicBezTo>
                      <a:cubicBezTo>
                        <a:pt x="372" y="25"/>
                        <a:pt x="372" y="25"/>
                        <a:pt x="372" y="25"/>
                      </a:cubicBezTo>
                      <a:cubicBezTo>
                        <a:pt x="372" y="24"/>
                        <a:pt x="372" y="24"/>
                        <a:pt x="372" y="24"/>
                      </a:cubicBezTo>
                      <a:cubicBezTo>
                        <a:pt x="372" y="23"/>
                        <a:pt x="372" y="23"/>
                        <a:pt x="372" y="23"/>
                      </a:cubicBezTo>
                      <a:cubicBezTo>
                        <a:pt x="372" y="22"/>
                        <a:pt x="372" y="22"/>
                        <a:pt x="372" y="22"/>
                      </a:cubicBezTo>
                      <a:cubicBezTo>
                        <a:pt x="373" y="22"/>
                        <a:pt x="373" y="22"/>
                        <a:pt x="373" y="22"/>
                      </a:cubicBezTo>
                      <a:cubicBezTo>
                        <a:pt x="372" y="21"/>
                        <a:pt x="372" y="21"/>
                        <a:pt x="372" y="21"/>
                      </a:cubicBezTo>
                      <a:cubicBezTo>
                        <a:pt x="372" y="21"/>
                        <a:pt x="372" y="21"/>
                        <a:pt x="372" y="21"/>
                      </a:cubicBezTo>
                      <a:cubicBezTo>
                        <a:pt x="371" y="20"/>
                        <a:pt x="371" y="20"/>
                        <a:pt x="371" y="20"/>
                      </a:cubicBezTo>
                      <a:cubicBezTo>
                        <a:pt x="371" y="20"/>
                        <a:pt x="371" y="20"/>
                        <a:pt x="371" y="20"/>
                      </a:cubicBezTo>
                      <a:cubicBezTo>
                        <a:pt x="370" y="19"/>
                        <a:pt x="370" y="19"/>
                        <a:pt x="370" y="19"/>
                      </a:cubicBezTo>
                      <a:cubicBezTo>
                        <a:pt x="370" y="18"/>
                        <a:pt x="370" y="18"/>
                        <a:pt x="370" y="18"/>
                      </a:cubicBezTo>
                      <a:close/>
                      <a:moveTo>
                        <a:pt x="211" y="41"/>
                      </a:moveTo>
                      <a:cubicBezTo>
                        <a:pt x="211" y="41"/>
                        <a:pt x="212" y="40"/>
                        <a:pt x="212" y="40"/>
                      </a:cubicBezTo>
                      <a:cubicBezTo>
                        <a:pt x="213" y="39"/>
                        <a:pt x="213" y="39"/>
                        <a:pt x="213" y="39"/>
                      </a:cubicBezTo>
                      <a:cubicBezTo>
                        <a:pt x="214" y="38"/>
                        <a:pt x="214" y="38"/>
                        <a:pt x="214" y="38"/>
                      </a:cubicBezTo>
                      <a:cubicBezTo>
                        <a:pt x="214" y="37"/>
                        <a:pt x="214" y="37"/>
                        <a:pt x="214" y="37"/>
                      </a:cubicBezTo>
                      <a:cubicBezTo>
                        <a:pt x="214" y="37"/>
                        <a:pt x="214" y="37"/>
                        <a:pt x="214" y="37"/>
                      </a:cubicBezTo>
                      <a:cubicBezTo>
                        <a:pt x="214" y="36"/>
                        <a:pt x="214" y="36"/>
                        <a:pt x="214" y="36"/>
                      </a:cubicBezTo>
                      <a:cubicBezTo>
                        <a:pt x="216" y="35"/>
                        <a:pt x="216" y="35"/>
                        <a:pt x="216" y="35"/>
                      </a:cubicBezTo>
                      <a:cubicBezTo>
                        <a:pt x="217" y="35"/>
                        <a:pt x="217" y="35"/>
                        <a:pt x="217" y="35"/>
                      </a:cubicBezTo>
                      <a:cubicBezTo>
                        <a:pt x="218" y="35"/>
                        <a:pt x="218" y="35"/>
                        <a:pt x="218" y="35"/>
                      </a:cubicBezTo>
                      <a:cubicBezTo>
                        <a:pt x="218" y="35"/>
                        <a:pt x="218" y="35"/>
                        <a:pt x="218" y="35"/>
                      </a:cubicBezTo>
                      <a:cubicBezTo>
                        <a:pt x="219" y="34"/>
                        <a:pt x="219" y="34"/>
                        <a:pt x="219" y="34"/>
                      </a:cubicBezTo>
                      <a:cubicBezTo>
                        <a:pt x="219" y="34"/>
                        <a:pt x="219" y="34"/>
                        <a:pt x="219" y="34"/>
                      </a:cubicBezTo>
                      <a:cubicBezTo>
                        <a:pt x="220" y="33"/>
                        <a:pt x="220" y="33"/>
                        <a:pt x="220" y="33"/>
                      </a:cubicBezTo>
                      <a:cubicBezTo>
                        <a:pt x="222" y="32"/>
                        <a:pt x="222" y="32"/>
                        <a:pt x="222" y="32"/>
                      </a:cubicBezTo>
                      <a:cubicBezTo>
                        <a:pt x="222" y="31"/>
                        <a:pt x="222" y="31"/>
                        <a:pt x="222" y="31"/>
                      </a:cubicBezTo>
                      <a:cubicBezTo>
                        <a:pt x="223" y="31"/>
                        <a:pt x="223" y="31"/>
                        <a:pt x="223" y="31"/>
                      </a:cubicBezTo>
                      <a:cubicBezTo>
                        <a:pt x="224" y="29"/>
                        <a:pt x="224" y="29"/>
                        <a:pt x="224" y="29"/>
                      </a:cubicBezTo>
                      <a:cubicBezTo>
                        <a:pt x="223" y="28"/>
                        <a:pt x="223" y="28"/>
                        <a:pt x="223" y="28"/>
                      </a:cubicBezTo>
                      <a:cubicBezTo>
                        <a:pt x="222" y="27"/>
                        <a:pt x="222" y="27"/>
                        <a:pt x="222" y="27"/>
                      </a:cubicBezTo>
                      <a:cubicBezTo>
                        <a:pt x="222" y="26"/>
                        <a:pt x="222" y="26"/>
                        <a:pt x="222" y="26"/>
                      </a:cubicBezTo>
                      <a:cubicBezTo>
                        <a:pt x="221" y="25"/>
                        <a:pt x="221" y="25"/>
                        <a:pt x="221" y="25"/>
                      </a:cubicBezTo>
                      <a:cubicBezTo>
                        <a:pt x="220" y="24"/>
                        <a:pt x="220" y="24"/>
                        <a:pt x="220" y="24"/>
                      </a:cubicBezTo>
                      <a:cubicBezTo>
                        <a:pt x="219" y="24"/>
                        <a:pt x="219" y="24"/>
                        <a:pt x="219" y="24"/>
                      </a:cubicBezTo>
                      <a:cubicBezTo>
                        <a:pt x="219" y="25"/>
                        <a:pt x="219" y="25"/>
                        <a:pt x="219" y="25"/>
                      </a:cubicBezTo>
                      <a:cubicBezTo>
                        <a:pt x="218" y="24"/>
                        <a:pt x="218" y="24"/>
                        <a:pt x="218" y="24"/>
                      </a:cubicBezTo>
                      <a:cubicBezTo>
                        <a:pt x="217" y="24"/>
                        <a:pt x="217" y="24"/>
                        <a:pt x="217" y="24"/>
                      </a:cubicBezTo>
                      <a:cubicBezTo>
                        <a:pt x="216" y="23"/>
                        <a:pt x="216" y="23"/>
                        <a:pt x="216" y="23"/>
                      </a:cubicBezTo>
                      <a:cubicBezTo>
                        <a:pt x="215" y="23"/>
                        <a:pt x="215" y="23"/>
                        <a:pt x="215" y="23"/>
                      </a:cubicBezTo>
                      <a:cubicBezTo>
                        <a:pt x="215" y="23"/>
                        <a:pt x="215" y="23"/>
                        <a:pt x="215" y="23"/>
                      </a:cubicBezTo>
                      <a:cubicBezTo>
                        <a:pt x="214" y="23"/>
                        <a:pt x="214" y="23"/>
                        <a:pt x="214" y="23"/>
                      </a:cubicBezTo>
                      <a:cubicBezTo>
                        <a:pt x="214" y="22"/>
                        <a:pt x="214" y="22"/>
                        <a:pt x="214" y="22"/>
                      </a:cubicBezTo>
                      <a:cubicBezTo>
                        <a:pt x="213" y="21"/>
                        <a:pt x="213" y="21"/>
                        <a:pt x="213" y="21"/>
                      </a:cubicBezTo>
                      <a:cubicBezTo>
                        <a:pt x="213" y="21"/>
                        <a:pt x="213" y="21"/>
                        <a:pt x="213" y="21"/>
                      </a:cubicBezTo>
                      <a:cubicBezTo>
                        <a:pt x="212" y="22"/>
                        <a:pt x="212" y="22"/>
                        <a:pt x="212" y="22"/>
                      </a:cubicBezTo>
                      <a:cubicBezTo>
                        <a:pt x="212" y="22"/>
                        <a:pt x="212" y="22"/>
                        <a:pt x="212" y="22"/>
                      </a:cubicBezTo>
                      <a:cubicBezTo>
                        <a:pt x="211" y="21"/>
                        <a:pt x="211" y="21"/>
                        <a:pt x="211" y="21"/>
                      </a:cubicBezTo>
                      <a:cubicBezTo>
                        <a:pt x="210" y="21"/>
                        <a:pt x="210" y="21"/>
                        <a:pt x="210" y="21"/>
                      </a:cubicBezTo>
                      <a:cubicBezTo>
                        <a:pt x="210" y="21"/>
                        <a:pt x="210" y="21"/>
                        <a:pt x="210" y="21"/>
                      </a:cubicBezTo>
                      <a:cubicBezTo>
                        <a:pt x="211" y="22"/>
                        <a:pt x="211" y="22"/>
                        <a:pt x="211" y="22"/>
                      </a:cubicBezTo>
                      <a:cubicBezTo>
                        <a:pt x="211" y="22"/>
                        <a:pt x="211" y="22"/>
                        <a:pt x="211" y="22"/>
                      </a:cubicBezTo>
                      <a:cubicBezTo>
                        <a:pt x="211" y="23"/>
                        <a:pt x="211" y="23"/>
                        <a:pt x="211" y="23"/>
                      </a:cubicBezTo>
                      <a:cubicBezTo>
                        <a:pt x="211" y="24"/>
                        <a:pt x="211" y="24"/>
                        <a:pt x="211" y="24"/>
                      </a:cubicBezTo>
                      <a:cubicBezTo>
                        <a:pt x="210" y="24"/>
                        <a:pt x="210" y="24"/>
                        <a:pt x="210" y="24"/>
                      </a:cubicBezTo>
                      <a:cubicBezTo>
                        <a:pt x="210" y="23"/>
                        <a:pt x="210" y="23"/>
                        <a:pt x="210" y="23"/>
                      </a:cubicBezTo>
                      <a:cubicBezTo>
                        <a:pt x="210" y="20"/>
                        <a:pt x="210" y="20"/>
                        <a:pt x="210" y="20"/>
                      </a:cubicBezTo>
                      <a:cubicBezTo>
                        <a:pt x="209" y="20"/>
                        <a:pt x="209" y="20"/>
                        <a:pt x="209" y="20"/>
                      </a:cubicBezTo>
                      <a:cubicBezTo>
                        <a:pt x="208" y="20"/>
                        <a:pt x="208" y="20"/>
                        <a:pt x="208" y="20"/>
                      </a:cubicBezTo>
                      <a:cubicBezTo>
                        <a:pt x="206" y="19"/>
                        <a:pt x="206" y="19"/>
                        <a:pt x="206" y="19"/>
                      </a:cubicBezTo>
                      <a:cubicBezTo>
                        <a:pt x="206" y="19"/>
                        <a:pt x="206" y="19"/>
                        <a:pt x="206" y="19"/>
                      </a:cubicBezTo>
                      <a:cubicBezTo>
                        <a:pt x="205" y="20"/>
                        <a:pt x="205" y="20"/>
                        <a:pt x="205" y="20"/>
                      </a:cubicBezTo>
                      <a:cubicBezTo>
                        <a:pt x="205" y="21"/>
                        <a:pt x="205" y="21"/>
                        <a:pt x="205" y="21"/>
                      </a:cubicBezTo>
                      <a:cubicBezTo>
                        <a:pt x="206" y="21"/>
                        <a:pt x="206" y="21"/>
                        <a:pt x="206" y="21"/>
                      </a:cubicBezTo>
                      <a:cubicBezTo>
                        <a:pt x="207" y="22"/>
                        <a:pt x="207" y="22"/>
                        <a:pt x="207" y="22"/>
                      </a:cubicBezTo>
                      <a:cubicBezTo>
                        <a:pt x="207" y="22"/>
                        <a:pt x="207" y="22"/>
                        <a:pt x="207" y="22"/>
                      </a:cubicBezTo>
                      <a:cubicBezTo>
                        <a:pt x="206" y="22"/>
                        <a:pt x="206" y="22"/>
                        <a:pt x="206" y="22"/>
                      </a:cubicBezTo>
                      <a:cubicBezTo>
                        <a:pt x="206" y="22"/>
                        <a:pt x="206" y="22"/>
                        <a:pt x="206" y="22"/>
                      </a:cubicBezTo>
                      <a:cubicBezTo>
                        <a:pt x="205" y="21"/>
                        <a:pt x="205" y="21"/>
                        <a:pt x="205" y="21"/>
                      </a:cubicBezTo>
                      <a:cubicBezTo>
                        <a:pt x="205" y="21"/>
                        <a:pt x="205" y="21"/>
                        <a:pt x="205" y="21"/>
                      </a:cubicBezTo>
                      <a:cubicBezTo>
                        <a:pt x="205" y="22"/>
                        <a:pt x="205" y="22"/>
                        <a:pt x="205" y="22"/>
                      </a:cubicBezTo>
                      <a:cubicBezTo>
                        <a:pt x="205" y="23"/>
                        <a:pt x="205" y="23"/>
                        <a:pt x="205" y="23"/>
                      </a:cubicBezTo>
                      <a:cubicBezTo>
                        <a:pt x="205" y="23"/>
                        <a:pt x="205" y="23"/>
                        <a:pt x="205" y="23"/>
                      </a:cubicBezTo>
                      <a:cubicBezTo>
                        <a:pt x="205" y="24"/>
                        <a:pt x="205" y="24"/>
                        <a:pt x="205" y="24"/>
                      </a:cubicBezTo>
                      <a:cubicBezTo>
                        <a:pt x="205" y="24"/>
                        <a:pt x="205" y="24"/>
                        <a:pt x="205" y="24"/>
                      </a:cubicBezTo>
                      <a:cubicBezTo>
                        <a:pt x="206" y="24"/>
                        <a:pt x="206" y="24"/>
                        <a:pt x="206" y="24"/>
                      </a:cubicBezTo>
                      <a:cubicBezTo>
                        <a:pt x="206" y="25"/>
                        <a:pt x="206" y="25"/>
                        <a:pt x="206" y="25"/>
                      </a:cubicBezTo>
                      <a:cubicBezTo>
                        <a:pt x="206" y="26"/>
                        <a:pt x="206" y="26"/>
                        <a:pt x="206" y="26"/>
                      </a:cubicBezTo>
                      <a:cubicBezTo>
                        <a:pt x="207" y="28"/>
                        <a:pt x="207" y="28"/>
                        <a:pt x="207" y="28"/>
                      </a:cubicBezTo>
                      <a:cubicBezTo>
                        <a:pt x="208" y="29"/>
                        <a:pt x="208" y="29"/>
                        <a:pt x="208" y="29"/>
                      </a:cubicBezTo>
                      <a:cubicBezTo>
                        <a:pt x="209" y="29"/>
                        <a:pt x="209" y="29"/>
                        <a:pt x="209" y="29"/>
                      </a:cubicBezTo>
                      <a:cubicBezTo>
                        <a:pt x="208" y="29"/>
                        <a:pt x="208" y="29"/>
                        <a:pt x="208" y="29"/>
                      </a:cubicBezTo>
                      <a:cubicBezTo>
                        <a:pt x="207" y="29"/>
                        <a:pt x="207" y="29"/>
                        <a:pt x="207" y="29"/>
                      </a:cubicBezTo>
                      <a:cubicBezTo>
                        <a:pt x="207" y="31"/>
                        <a:pt x="207" y="31"/>
                        <a:pt x="207" y="31"/>
                      </a:cubicBezTo>
                      <a:cubicBezTo>
                        <a:pt x="208" y="32"/>
                        <a:pt x="208" y="32"/>
                        <a:pt x="208" y="32"/>
                      </a:cubicBezTo>
                      <a:cubicBezTo>
                        <a:pt x="208" y="33"/>
                        <a:pt x="208" y="33"/>
                        <a:pt x="208" y="33"/>
                      </a:cubicBezTo>
                      <a:cubicBezTo>
                        <a:pt x="208" y="34"/>
                        <a:pt x="208" y="34"/>
                        <a:pt x="208" y="34"/>
                      </a:cubicBezTo>
                      <a:cubicBezTo>
                        <a:pt x="208" y="35"/>
                        <a:pt x="208" y="35"/>
                        <a:pt x="208" y="35"/>
                      </a:cubicBezTo>
                      <a:cubicBezTo>
                        <a:pt x="209" y="36"/>
                        <a:pt x="209" y="36"/>
                        <a:pt x="209" y="36"/>
                      </a:cubicBezTo>
                      <a:cubicBezTo>
                        <a:pt x="208" y="36"/>
                        <a:pt x="208" y="36"/>
                        <a:pt x="208" y="36"/>
                      </a:cubicBezTo>
                      <a:cubicBezTo>
                        <a:pt x="209" y="37"/>
                        <a:pt x="209" y="37"/>
                        <a:pt x="209" y="37"/>
                      </a:cubicBezTo>
                      <a:cubicBezTo>
                        <a:pt x="209" y="39"/>
                        <a:pt x="209" y="39"/>
                        <a:pt x="209" y="39"/>
                      </a:cubicBezTo>
                      <a:cubicBezTo>
                        <a:pt x="210" y="39"/>
                        <a:pt x="210" y="39"/>
                        <a:pt x="210" y="39"/>
                      </a:cubicBezTo>
                      <a:cubicBezTo>
                        <a:pt x="210" y="40"/>
                        <a:pt x="210" y="40"/>
                        <a:pt x="210" y="40"/>
                      </a:cubicBezTo>
                      <a:cubicBezTo>
                        <a:pt x="211" y="41"/>
                        <a:pt x="211" y="41"/>
                        <a:pt x="211" y="41"/>
                      </a:cubicBezTo>
                      <a:close/>
                      <a:moveTo>
                        <a:pt x="229" y="31"/>
                      </a:moveTo>
                      <a:cubicBezTo>
                        <a:pt x="230" y="30"/>
                        <a:pt x="230" y="30"/>
                        <a:pt x="230" y="30"/>
                      </a:cubicBezTo>
                      <a:cubicBezTo>
                        <a:pt x="230" y="30"/>
                        <a:pt x="230" y="30"/>
                        <a:pt x="230" y="30"/>
                      </a:cubicBezTo>
                      <a:cubicBezTo>
                        <a:pt x="230" y="30"/>
                        <a:pt x="230" y="30"/>
                        <a:pt x="230" y="30"/>
                      </a:cubicBezTo>
                      <a:cubicBezTo>
                        <a:pt x="230" y="29"/>
                        <a:pt x="230" y="29"/>
                        <a:pt x="230" y="29"/>
                      </a:cubicBezTo>
                      <a:cubicBezTo>
                        <a:pt x="230" y="29"/>
                        <a:pt x="230" y="29"/>
                        <a:pt x="230" y="29"/>
                      </a:cubicBezTo>
                      <a:cubicBezTo>
                        <a:pt x="230" y="29"/>
                        <a:pt x="230" y="29"/>
                        <a:pt x="230" y="29"/>
                      </a:cubicBezTo>
                      <a:cubicBezTo>
                        <a:pt x="229" y="29"/>
                        <a:pt x="229" y="29"/>
                        <a:pt x="229" y="29"/>
                      </a:cubicBezTo>
                      <a:cubicBezTo>
                        <a:pt x="229" y="30"/>
                        <a:pt x="229" y="30"/>
                        <a:pt x="229" y="30"/>
                      </a:cubicBezTo>
                      <a:cubicBezTo>
                        <a:pt x="229" y="30"/>
                        <a:pt x="229" y="30"/>
                        <a:pt x="229" y="30"/>
                      </a:cubicBezTo>
                      <a:cubicBezTo>
                        <a:pt x="228" y="30"/>
                        <a:pt x="228" y="30"/>
                        <a:pt x="228" y="30"/>
                      </a:cubicBezTo>
                      <a:cubicBezTo>
                        <a:pt x="228" y="31"/>
                        <a:pt x="228" y="31"/>
                        <a:pt x="228" y="31"/>
                      </a:cubicBezTo>
                      <a:cubicBezTo>
                        <a:pt x="229" y="31"/>
                        <a:pt x="229" y="31"/>
                        <a:pt x="229" y="31"/>
                      </a:cubicBezTo>
                      <a:cubicBezTo>
                        <a:pt x="229" y="31"/>
                        <a:pt x="229" y="31"/>
                        <a:pt x="229" y="31"/>
                      </a:cubicBezTo>
                      <a:close/>
                      <a:moveTo>
                        <a:pt x="230" y="31"/>
                      </a:moveTo>
                      <a:cubicBezTo>
                        <a:pt x="231" y="30"/>
                        <a:pt x="231" y="30"/>
                        <a:pt x="231" y="30"/>
                      </a:cubicBezTo>
                      <a:cubicBezTo>
                        <a:pt x="232" y="31"/>
                        <a:pt x="232" y="31"/>
                        <a:pt x="232" y="31"/>
                      </a:cubicBezTo>
                      <a:cubicBezTo>
                        <a:pt x="233" y="30"/>
                        <a:pt x="233" y="30"/>
                        <a:pt x="233" y="30"/>
                      </a:cubicBezTo>
                      <a:cubicBezTo>
                        <a:pt x="233" y="30"/>
                        <a:pt x="233" y="30"/>
                        <a:pt x="233" y="30"/>
                      </a:cubicBezTo>
                      <a:cubicBezTo>
                        <a:pt x="234" y="30"/>
                        <a:pt x="234" y="30"/>
                        <a:pt x="234" y="30"/>
                      </a:cubicBezTo>
                      <a:cubicBezTo>
                        <a:pt x="234" y="30"/>
                        <a:pt x="234" y="30"/>
                        <a:pt x="234" y="30"/>
                      </a:cubicBezTo>
                      <a:cubicBezTo>
                        <a:pt x="235" y="31"/>
                        <a:pt x="235" y="31"/>
                        <a:pt x="235" y="31"/>
                      </a:cubicBezTo>
                      <a:cubicBezTo>
                        <a:pt x="234" y="32"/>
                        <a:pt x="234" y="32"/>
                        <a:pt x="234" y="32"/>
                      </a:cubicBezTo>
                      <a:cubicBezTo>
                        <a:pt x="234" y="31"/>
                        <a:pt x="234" y="31"/>
                        <a:pt x="234" y="31"/>
                      </a:cubicBezTo>
                      <a:cubicBezTo>
                        <a:pt x="233" y="32"/>
                        <a:pt x="233" y="32"/>
                        <a:pt x="233" y="32"/>
                      </a:cubicBezTo>
                      <a:cubicBezTo>
                        <a:pt x="232" y="32"/>
                        <a:pt x="232" y="32"/>
                        <a:pt x="232" y="32"/>
                      </a:cubicBezTo>
                      <a:cubicBezTo>
                        <a:pt x="230" y="32"/>
                        <a:pt x="230" y="32"/>
                        <a:pt x="230" y="32"/>
                      </a:cubicBezTo>
                      <a:cubicBezTo>
                        <a:pt x="230" y="31"/>
                        <a:pt x="230" y="31"/>
                        <a:pt x="230" y="31"/>
                      </a:cubicBezTo>
                      <a:close/>
                      <a:moveTo>
                        <a:pt x="240" y="39"/>
                      </a:moveTo>
                      <a:cubicBezTo>
                        <a:pt x="240" y="40"/>
                        <a:pt x="240" y="40"/>
                        <a:pt x="240" y="40"/>
                      </a:cubicBezTo>
                      <a:cubicBezTo>
                        <a:pt x="241" y="41"/>
                        <a:pt x="241" y="41"/>
                        <a:pt x="241" y="41"/>
                      </a:cubicBezTo>
                      <a:cubicBezTo>
                        <a:pt x="241" y="41"/>
                        <a:pt x="241" y="41"/>
                        <a:pt x="241" y="41"/>
                      </a:cubicBezTo>
                      <a:cubicBezTo>
                        <a:pt x="241" y="42"/>
                        <a:pt x="241" y="42"/>
                        <a:pt x="241" y="42"/>
                      </a:cubicBezTo>
                      <a:cubicBezTo>
                        <a:pt x="242" y="41"/>
                        <a:pt x="242" y="41"/>
                        <a:pt x="242" y="41"/>
                      </a:cubicBezTo>
                      <a:cubicBezTo>
                        <a:pt x="242" y="40"/>
                        <a:pt x="242" y="40"/>
                        <a:pt x="242" y="40"/>
                      </a:cubicBezTo>
                      <a:cubicBezTo>
                        <a:pt x="241" y="39"/>
                        <a:pt x="241" y="39"/>
                        <a:pt x="241" y="39"/>
                      </a:cubicBezTo>
                      <a:cubicBezTo>
                        <a:pt x="240" y="39"/>
                        <a:pt x="240" y="39"/>
                        <a:pt x="240" y="39"/>
                      </a:cubicBezTo>
                      <a:cubicBezTo>
                        <a:pt x="240" y="39"/>
                        <a:pt x="240" y="39"/>
                        <a:pt x="240" y="39"/>
                      </a:cubicBezTo>
                      <a:close/>
                      <a:moveTo>
                        <a:pt x="329" y="65"/>
                      </a:moveTo>
                      <a:cubicBezTo>
                        <a:pt x="330" y="65"/>
                        <a:pt x="330" y="65"/>
                        <a:pt x="330" y="65"/>
                      </a:cubicBezTo>
                      <a:cubicBezTo>
                        <a:pt x="330" y="64"/>
                        <a:pt x="330" y="64"/>
                        <a:pt x="330" y="64"/>
                      </a:cubicBezTo>
                      <a:cubicBezTo>
                        <a:pt x="330" y="64"/>
                        <a:pt x="330" y="64"/>
                        <a:pt x="330" y="64"/>
                      </a:cubicBezTo>
                      <a:cubicBezTo>
                        <a:pt x="328" y="64"/>
                        <a:pt x="328" y="64"/>
                        <a:pt x="328" y="64"/>
                      </a:cubicBezTo>
                      <a:cubicBezTo>
                        <a:pt x="328" y="64"/>
                        <a:pt x="328" y="64"/>
                        <a:pt x="328" y="64"/>
                      </a:cubicBezTo>
                      <a:cubicBezTo>
                        <a:pt x="328" y="65"/>
                        <a:pt x="328" y="65"/>
                        <a:pt x="328" y="65"/>
                      </a:cubicBezTo>
                      <a:cubicBezTo>
                        <a:pt x="329" y="65"/>
                        <a:pt x="329" y="65"/>
                        <a:pt x="329" y="65"/>
                      </a:cubicBezTo>
                      <a:cubicBezTo>
                        <a:pt x="329" y="65"/>
                        <a:pt x="329" y="65"/>
                        <a:pt x="329" y="65"/>
                      </a:cubicBezTo>
                      <a:close/>
                      <a:moveTo>
                        <a:pt x="317" y="77"/>
                      </a:moveTo>
                      <a:cubicBezTo>
                        <a:pt x="318" y="77"/>
                        <a:pt x="318" y="77"/>
                        <a:pt x="318" y="77"/>
                      </a:cubicBezTo>
                      <a:cubicBezTo>
                        <a:pt x="319" y="77"/>
                        <a:pt x="319" y="77"/>
                        <a:pt x="319" y="77"/>
                      </a:cubicBezTo>
                      <a:cubicBezTo>
                        <a:pt x="319" y="77"/>
                        <a:pt x="319" y="77"/>
                        <a:pt x="319" y="77"/>
                      </a:cubicBezTo>
                      <a:cubicBezTo>
                        <a:pt x="319" y="77"/>
                        <a:pt x="319" y="77"/>
                        <a:pt x="319" y="77"/>
                      </a:cubicBezTo>
                      <a:cubicBezTo>
                        <a:pt x="319" y="76"/>
                        <a:pt x="319" y="76"/>
                        <a:pt x="319" y="76"/>
                      </a:cubicBezTo>
                      <a:cubicBezTo>
                        <a:pt x="318" y="76"/>
                        <a:pt x="318" y="76"/>
                        <a:pt x="318" y="76"/>
                      </a:cubicBezTo>
                      <a:cubicBezTo>
                        <a:pt x="317" y="76"/>
                        <a:pt x="317" y="76"/>
                        <a:pt x="317" y="76"/>
                      </a:cubicBezTo>
                      <a:cubicBezTo>
                        <a:pt x="316" y="76"/>
                        <a:pt x="316" y="76"/>
                        <a:pt x="316" y="76"/>
                      </a:cubicBezTo>
                      <a:cubicBezTo>
                        <a:pt x="316" y="76"/>
                        <a:pt x="316" y="76"/>
                        <a:pt x="316" y="76"/>
                      </a:cubicBezTo>
                      <a:cubicBezTo>
                        <a:pt x="317" y="77"/>
                        <a:pt x="317" y="77"/>
                        <a:pt x="317" y="77"/>
                      </a:cubicBezTo>
                      <a:cubicBezTo>
                        <a:pt x="317" y="77"/>
                        <a:pt x="317" y="77"/>
                        <a:pt x="317" y="77"/>
                      </a:cubicBezTo>
                      <a:close/>
                      <a:moveTo>
                        <a:pt x="284" y="72"/>
                      </a:moveTo>
                      <a:cubicBezTo>
                        <a:pt x="285" y="72"/>
                        <a:pt x="285" y="72"/>
                        <a:pt x="285" y="72"/>
                      </a:cubicBezTo>
                      <a:cubicBezTo>
                        <a:pt x="286" y="73"/>
                        <a:pt x="286" y="73"/>
                        <a:pt x="286" y="73"/>
                      </a:cubicBezTo>
                      <a:cubicBezTo>
                        <a:pt x="286" y="72"/>
                        <a:pt x="286" y="72"/>
                        <a:pt x="286" y="72"/>
                      </a:cubicBezTo>
                      <a:cubicBezTo>
                        <a:pt x="286" y="72"/>
                        <a:pt x="286" y="72"/>
                        <a:pt x="286" y="72"/>
                      </a:cubicBezTo>
                      <a:cubicBezTo>
                        <a:pt x="287" y="71"/>
                        <a:pt x="287" y="71"/>
                        <a:pt x="287" y="71"/>
                      </a:cubicBezTo>
                      <a:cubicBezTo>
                        <a:pt x="287" y="71"/>
                        <a:pt x="287" y="71"/>
                        <a:pt x="287" y="71"/>
                      </a:cubicBezTo>
                      <a:cubicBezTo>
                        <a:pt x="286" y="70"/>
                        <a:pt x="286" y="70"/>
                        <a:pt x="286" y="70"/>
                      </a:cubicBezTo>
                      <a:cubicBezTo>
                        <a:pt x="286" y="69"/>
                        <a:pt x="286" y="69"/>
                        <a:pt x="286" y="69"/>
                      </a:cubicBezTo>
                      <a:cubicBezTo>
                        <a:pt x="286" y="68"/>
                        <a:pt x="286" y="68"/>
                        <a:pt x="286" y="68"/>
                      </a:cubicBezTo>
                      <a:cubicBezTo>
                        <a:pt x="285" y="67"/>
                        <a:pt x="285" y="67"/>
                        <a:pt x="285" y="67"/>
                      </a:cubicBezTo>
                      <a:cubicBezTo>
                        <a:pt x="285" y="67"/>
                        <a:pt x="285" y="67"/>
                        <a:pt x="285" y="67"/>
                      </a:cubicBezTo>
                      <a:cubicBezTo>
                        <a:pt x="285" y="67"/>
                        <a:pt x="285" y="67"/>
                        <a:pt x="285" y="67"/>
                      </a:cubicBezTo>
                      <a:cubicBezTo>
                        <a:pt x="283" y="67"/>
                        <a:pt x="283" y="67"/>
                        <a:pt x="283" y="67"/>
                      </a:cubicBezTo>
                      <a:cubicBezTo>
                        <a:pt x="281" y="68"/>
                        <a:pt x="281" y="68"/>
                        <a:pt x="281" y="68"/>
                      </a:cubicBezTo>
                      <a:cubicBezTo>
                        <a:pt x="280" y="68"/>
                        <a:pt x="280" y="68"/>
                        <a:pt x="280" y="68"/>
                      </a:cubicBezTo>
                      <a:cubicBezTo>
                        <a:pt x="280" y="68"/>
                        <a:pt x="280" y="68"/>
                        <a:pt x="280" y="68"/>
                      </a:cubicBezTo>
                      <a:cubicBezTo>
                        <a:pt x="280" y="69"/>
                        <a:pt x="280" y="69"/>
                        <a:pt x="280" y="69"/>
                      </a:cubicBezTo>
                      <a:cubicBezTo>
                        <a:pt x="281" y="70"/>
                        <a:pt x="281" y="70"/>
                        <a:pt x="281" y="70"/>
                      </a:cubicBezTo>
                      <a:cubicBezTo>
                        <a:pt x="281" y="70"/>
                        <a:pt x="281" y="70"/>
                        <a:pt x="281" y="70"/>
                      </a:cubicBezTo>
                      <a:cubicBezTo>
                        <a:pt x="281" y="71"/>
                        <a:pt x="281" y="71"/>
                        <a:pt x="281" y="71"/>
                      </a:cubicBezTo>
                      <a:cubicBezTo>
                        <a:pt x="280" y="71"/>
                        <a:pt x="280" y="71"/>
                        <a:pt x="280" y="71"/>
                      </a:cubicBezTo>
                      <a:cubicBezTo>
                        <a:pt x="280" y="71"/>
                        <a:pt x="280" y="71"/>
                        <a:pt x="280" y="71"/>
                      </a:cubicBezTo>
                      <a:cubicBezTo>
                        <a:pt x="280" y="72"/>
                        <a:pt x="280" y="72"/>
                        <a:pt x="280" y="72"/>
                      </a:cubicBezTo>
                      <a:cubicBezTo>
                        <a:pt x="282" y="72"/>
                        <a:pt x="282" y="72"/>
                        <a:pt x="282" y="72"/>
                      </a:cubicBezTo>
                      <a:cubicBezTo>
                        <a:pt x="284" y="72"/>
                        <a:pt x="284" y="72"/>
                        <a:pt x="284" y="72"/>
                      </a:cubicBezTo>
                      <a:close/>
                      <a:moveTo>
                        <a:pt x="381" y="46"/>
                      </a:moveTo>
                      <a:cubicBezTo>
                        <a:pt x="382" y="46"/>
                        <a:pt x="382" y="46"/>
                        <a:pt x="382" y="46"/>
                      </a:cubicBezTo>
                      <a:cubicBezTo>
                        <a:pt x="381" y="45"/>
                        <a:pt x="381" y="45"/>
                        <a:pt x="381" y="45"/>
                      </a:cubicBezTo>
                      <a:cubicBezTo>
                        <a:pt x="382" y="44"/>
                        <a:pt x="382" y="44"/>
                        <a:pt x="382" y="44"/>
                      </a:cubicBezTo>
                      <a:cubicBezTo>
                        <a:pt x="382" y="44"/>
                        <a:pt x="382" y="44"/>
                        <a:pt x="382" y="44"/>
                      </a:cubicBezTo>
                      <a:cubicBezTo>
                        <a:pt x="382" y="43"/>
                        <a:pt x="382" y="43"/>
                        <a:pt x="382" y="43"/>
                      </a:cubicBezTo>
                      <a:cubicBezTo>
                        <a:pt x="381" y="42"/>
                        <a:pt x="381" y="42"/>
                        <a:pt x="381" y="42"/>
                      </a:cubicBezTo>
                      <a:cubicBezTo>
                        <a:pt x="380" y="41"/>
                        <a:pt x="380" y="41"/>
                        <a:pt x="380" y="41"/>
                      </a:cubicBezTo>
                      <a:cubicBezTo>
                        <a:pt x="380" y="40"/>
                        <a:pt x="380" y="40"/>
                        <a:pt x="380" y="40"/>
                      </a:cubicBezTo>
                      <a:cubicBezTo>
                        <a:pt x="379" y="41"/>
                        <a:pt x="379" y="41"/>
                        <a:pt x="379" y="41"/>
                      </a:cubicBezTo>
                      <a:cubicBezTo>
                        <a:pt x="378" y="42"/>
                        <a:pt x="378" y="42"/>
                        <a:pt x="378" y="42"/>
                      </a:cubicBezTo>
                      <a:cubicBezTo>
                        <a:pt x="378" y="42"/>
                        <a:pt x="378" y="42"/>
                        <a:pt x="378" y="42"/>
                      </a:cubicBezTo>
                      <a:cubicBezTo>
                        <a:pt x="378" y="43"/>
                        <a:pt x="378" y="43"/>
                        <a:pt x="378" y="43"/>
                      </a:cubicBezTo>
                      <a:cubicBezTo>
                        <a:pt x="378" y="44"/>
                        <a:pt x="378" y="44"/>
                        <a:pt x="378" y="44"/>
                      </a:cubicBezTo>
                      <a:cubicBezTo>
                        <a:pt x="379" y="44"/>
                        <a:pt x="379" y="44"/>
                        <a:pt x="379" y="44"/>
                      </a:cubicBezTo>
                      <a:cubicBezTo>
                        <a:pt x="379" y="44"/>
                        <a:pt x="379" y="44"/>
                        <a:pt x="379" y="44"/>
                      </a:cubicBezTo>
                      <a:cubicBezTo>
                        <a:pt x="380" y="46"/>
                        <a:pt x="380" y="46"/>
                        <a:pt x="380" y="46"/>
                      </a:cubicBezTo>
                      <a:cubicBezTo>
                        <a:pt x="381" y="46"/>
                        <a:pt x="381" y="46"/>
                        <a:pt x="381" y="46"/>
                      </a:cubicBezTo>
                      <a:close/>
                      <a:moveTo>
                        <a:pt x="384" y="52"/>
                      </a:moveTo>
                      <a:cubicBezTo>
                        <a:pt x="385" y="52"/>
                        <a:pt x="385" y="52"/>
                        <a:pt x="385" y="52"/>
                      </a:cubicBezTo>
                      <a:cubicBezTo>
                        <a:pt x="385" y="51"/>
                        <a:pt x="385" y="51"/>
                        <a:pt x="385" y="51"/>
                      </a:cubicBezTo>
                      <a:cubicBezTo>
                        <a:pt x="387" y="50"/>
                        <a:pt x="387" y="50"/>
                        <a:pt x="387" y="50"/>
                      </a:cubicBezTo>
                      <a:cubicBezTo>
                        <a:pt x="388" y="51"/>
                        <a:pt x="388" y="51"/>
                        <a:pt x="388" y="51"/>
                      </a:cubicBezTo>
                      <a:cubicBezTo>
                        <a:pt x="390" y="51"/>
                        <a:pt x="390" y="51"/>
                        <a:pt x="390" y="51"/>
                      </a:cubicBezTo>
                      <a:cubicBezTo>
                        <a:pt x="391" y="50"/>
                        <a:pt x="391" y="50"/>
                        <a:pt x="391" y="50"/>
                      </a:cubicBezTo>
                      <a:cubicBezTo>
                        <a:pt x="394" y="50"/>
                        <a:pt x="394" y="50"/>
                        <a:pt x="394" y="50"/>
                      </a:cubicBezTo>
                      <a:cubicBezTo>
                        <a:pt x="395" y="50"/>
                        <a:pt x="395" y="50"/>
                        <a:pt x="395" y="50"/>
                      </a:cubicBezTo>
                      <a:cubicBezTo>
                        <a:pt x="396" y="50"/>
                        <a:pt x="396" y="50"/>
                        <a:pt x="396" y="50"/>
                      </a:cubicBezTo>
                      <a:cubicBezTo>
                        <a:pt x="397" y="50"/>
                        <a:pt x="397" y="50"/>
                        <a:pt x="397" y="50"/>
                      </a:cubicBezTo>
                      <a:cubicBezTo>
                        <a:pt x="398" y="49"/>
                        <a:pt x="398" y="49"/>
                        <a:pt x="398" y="49"/>
                      </a:cubicBezTo>
                      <a:cubicBezTo>
                        <a:pt x="397" y="49"/>
                        <a:pt x="397" y="49"/>
                        <a:pt x="397" y="49"/>
                      </a:cubicBezTo>
                      <a:cubicBezTo>
                        <a:pt x="397" y="48"/>
                        <a:pt x="397" y="48"/>
                        <a:pt x="397" y="48"/>
                      </a:cubicBezTo>
                      <a:cubicBezTo>
                        <a:pt x="396" y="46"/>
                        <a:pt x="396" y="46"/>
                        <a:pt x="396" y="46"/>
                      </a:cubicBezTo>
                      <a:cubicBezTo>
                        <a:pt x="394" y="45"/>
                        <a:pt x="394" y="45"/>
                        <a:pt x="394" y="45"/>
                      </a:cubicBezTo>
                      <a:cubicBezTo>
                        <a:pt x="392" y="45"/>
                        <a:pt x="392" y="45"/>
                        <a:pt x="392" y="45"/>
                      </a:cubicBezTo>
                      <a:cubicBezTo>
                        <a:pt x="391" y="45"/>
                        <a:pt x="391" y="45"/>
                        <a:pt x="391" y="45"/>
                      </a:cubicBezTo>
                      <a:cubicBezTo>
                        <a:pt x="390" y="44"/>
                        <a:pt x="390" y="44"/>
                        <a:pt x="390" y="44"/>
                      </a:cubicBezTo>
                      <a:cubicBezTo>
                        <a:pt x="389" y="44"/>
                        <a:pt x="389" y="44"/>
                        <a:pt x="389" y="44"/>
                      </a:cubicBezTo>
                      <a:cubicBezTo>
                        <a:pt x="389" y="44"/>
                        <a:pt x="389" y="44"/>
                        <a:pt x="389" y="44"/>
                      </a:cubicBezTo>
                      <a:cubicBezTo>
                        <a:pt x="387" y="44"/>
                        <a:pt x="387" y="44"/>
                        <a:pt x="387" y="44"/>
                      </a:cubicBezTo>
                      <a:cubicBezTo>
                        <a:pt x="387" y="44"/>
                        <a:pt x="387" y="44"/>
                        <a:pt x="387" y="44"/>
                      </a:cubicBezTo>
                      <a:cubicBezTo>
                        <a:pt x="386" y="45"/>
                        <a:pt x="386" y="45"/>
                        <a:pt x="386" y="45"/>
                      </a:cubicBezTo>
                      <a:cubicBezTo>
                        <a:pt x="385" y="46"/>
                        <a:pt x="385" y="46"/>
                        <a:pt x="385" y="46"/>
                      </a:cubicBezTo>
                      <a:cubicBezTo>
                        <a:pt x="385" y="47"/>
                        <a:pt x="385" y="47"/>
                        <a:pt x="385" y="47"/>
                      </a:cubicBezTo>
                      <a:cubicBezTo>
                        <a:pt x="385" y="49"/>
                        <a:pt x="385" y="49"/>
                        <a:pt x="385" y="49"/>
                      </a:cubicBezTo>
                      <a:cubicBezTo>
                        <a:pt x="384" y="51"/>
                        <a:pt x="384" y="51"/>
                        <a:pt x="384" y="51"/>
                      </a:cubicBezTo>
                      <a:cubicBezTo>
                        <a:pt x="383" y="51"/>
                        <a:pt x="383" y="51"/>
                        <a:pt x="383" y="51"/>
                      </a:cubicBezTo>
                      <a:cubicBezTo>
                        <a:pt x="383" y="52"/>
                        <a:pt x="383" y="52"/>
                        <a:pt x="383" y="52"/>
                      </a:cubicBezTo>
                      <a:cubicBezTo>
                        <a:pt x="384" y="52"/>
                        <a:pt x="384" y="52"/>
                        <a:pt x="384" y="52"/>
                      </a:cubicBezTo>
                      <a:close/>
                      <a:moveTo>
                        <a:pt x="361" y="48"/>
                      </a:moveTo>
                      <a:cubicBezTo>
                        <a:pt x="362" y="49"/>
                        <a:pt x="362" y="49"/>
                        <a:pt x="362" y="49"/>
                      </a:cubicBezTo>
                      <a:cubicBezTo>
                        <a:pt x="362" y="49"/>
                        <a:pt x="362" y="49"/>
                        <a:pt x="362" y="49"/>
                      </a:cubicBezTo>
                      <a:cubicBezTo>
                        <a:pt x="363" y="49"/>
                        <a:pt x="363" y="49"/>
                        <a:pt x="363" y="49"/>
                      </a:cubicBezTo>
                      <a:cubicBezTo>
                        <a:pt x="364" y="50"/>
                        <a:pt x="364" y="50"/>
                        <a:pt x="364" y="50"/>
                      </a:cubicBezTo>
                      <a:cubicBezTo>
                        <a:pt x="365" y="50"/>
                        <a:pt x="365" y="50"/>
                        <a:pt x="365" y="50"/>
                      </a:cubicBezTo>
                      <a:cubicBezTo>
                        <a:pt x="366" y="51"/>
                        <a:pt x="366" y="51"/>
                        <a:pt x="366" y="51"/>
                      </a:cubicBezTo>
                      <a:cubicBezTo>
                        <a:pt x="367" y="51"/>
                        <a:pt x="367" y="51"/>
                        <a:pt x="367" y="51"/>
                      </a:cubicBezTo>
                      <a:cubicBezTo>
                        <a:pt x="367" y="50"/>
                        <a:pt x="367" y="50"/>
                        <a:pt x="367" y="50"/>
                      </a:cubicBezTo>
                      <a:cubicBezTo>
                        <a:pt x="365" y="49"/>
                        <a:pt x="365" y="49"/>
                        <a:pt x="365" y="49"/>
                      </a:cubicBezTo>
                      <a:cubicBezTo>
                        <a:pt x="364" y="49"/>
                        <a:pt x="364" y="49"/>
                        <a:pt x="364" y="49"/>
                      </a:cubicBezTo>
                      <a:cubicBezTo>
                        <a:pt x="363" y="49"/>
                        <a:pt x="363" y="49"/>
                        <a:pt x="363" y="49"/>
                      </a:cubicBezTo>
                      <a:cubicBezTo>
                        <a:pt x="362" y="48"/>
                        <a:pt x="362" y="48"/>
                        <a:pt x="362" y="48"/>
                      </a:cubicBezTo>
                      <a:cubicBezTo>
                        <a:pt x="361" y="48"/>
                        <a:pt x="361" y="48"/>
                        <a:pt x="361" y="48"/>
                      </a:cubicBezTo>
                      <a:cubicBezTo>
                        <a:pt x="361" y="48"/>
                        <a:pt x="361" y="48"/>
                        <a:pt x="361" y="48"/>
                      </a:cubicBezTo>
                      <a:close/>
                      <a:moveTo>
                        <a:pt x="392" y="75"/>
                      </a:moveTo>
                      <a:cubicBezTo>
                        <a:pt x="392" y="76"/>
                        <a:pt x="392" y="76"/>
                        <a:pt x="392" y="76"/>
                      </a:cubicBezTo>
                      <a:cubicBezTo>
                        <a:pt x="393" y="77"/>
                        <a:pt x="393" y="77"/>
                        <a:pt x="393" y="77"/>
                      </a:cubicBezTo>
                      <a:cubicBezTo>
                        <a:pt x="393" y="76"/>
                        <a:pt x="393" y="76"/>
                        <a:pt x="393" y="76"/>
                      </a:cubicBezTo>
                      <a:cubicBezTo>
                        <a:pt x="395" y="76"/>
                        <a:pt x="395" y="76"/>
                        <a:pt x="395" y="76"/>
                      </a:cubicBezTo>
                      <a:cubicBezTo>
                        <a:pt x="395" y="75"/>
                        <a:pt x="395" y="75"/>
                        <a:pt x="395" y="75"/>
                      </a:cubicBezTo>
                      <a:cubicBezTo>
                        <a:pt x="395" y="75"/>
                        <a:pt x="395" y="75"/>
                        <a:pt x="395" y="75"/>
                      </a:cubicBezTo>
                      <a:cubicBezTo>
                        <a:pt x="394" y="74"/>
                        <a:pt x="394" y="74"/>
                        <a:pt x="394" y="74"/>
                      </a:cubicBezTo>
                      <a:cubicBezTo>
                        <a:pt x="394" y="74"/>
                        <a:pt x="394" y="74"/>
                        <a:pt x="394" y="74"/>
                      </a:cubicBezTo>
                      <a:cubicBezTo>
                        <a:pt x="394" y="75"/>
                        <a:pt x="394" y="75"/>
                        <a:pt x="394" y="75"/>
                      </a:cubicBezTo>
                      <a:cubicBezTo>
                        <a:pt x="393" y="75"/>
                        <a:pt x="393" y="75"/>
                        <a:pt x="393" y="75"/>
                      </a:cubicBezTo>
                      <a:cubicBezTo>
                        <a:pt x="393" y="75"/>
                        <a:pt x="392" y="75"/>
                        <a:pt x="392" y="75"/>
                      </a:cubicBezTo>
                      <a:close/>
                      <a:moveTo>
                        <a:pt x="498" y="68"/>
                      </a:moveTo>
                      <a:cubicBezTo>
                        <a:pt x="499" y="68"/>
                        <a:pt x="499" y="68"/>
                        <a:pt x="499" y="68"/>
                      </a:cubicBezTo>
                      <a:cubicBezTo>
                        <a:pt x="499" y="67"/>
                        <a:pt x="499" y="67"/>
                        <a:pt x="499" y="67"/>
                      </a:cubicBezTo>
                      <a:cubicBezTo>
                        <a:pt x="499" y="66"/>
                        <a:pt x="499" y="66"/>
                        <a:pt x="499" y="66"/>
                      </a:cubicBezTo>
                      <a:cubicBezTo>
                        <a:pt x="498" y="66"/>
                        <a:pt x="498" y="66"/>
                        <a:pt x="498" y="66"/>
                      </a:cubicBezTo>
                      <a:cubicBezTo>
                        <a:pt x="498" y="67"/>
                        <a:pt x="498" y="67"/>
                        <a:pt x="498" y="67"/>
                      </a:cubicBezTo>
                      <a:cubicBezTo>
                        <a:pt x="498" y="68"/>
                        <a:pt x="498" y="68"/>
                        <a:pt x="498" y="68"/>
                      </a:cubicBezTo>
                      <a:close/>
                      <a:moveTo>
                        <a:pt x="498" y="69"/>
                      </a:moveTo>
                      <a:cubicBezTo>
                        <a:pt x="498" y="69"/>
                        <a:pt x="498" y="69"/>
                        <a:pt x="498" y="69"/>
                      </a:cubicBezTo>
                      <a:cubicBezTo>
                        <a:pt x="498" y="68"/>
                        <a:pt x="498" y="68"/>
                        <a:pt x="498" y="68"/>
                      </a:cubicBezTo>
                      <a:cubicBezTo>
                        <a:pt x="498" y="67"/>
                        <a:pt x="498" y="67"/>
                        <a:pt x="498" y="67"/>
                      </a:cubicBezTo>
                      <a:cubicBezTo>
                        <a:pt x="497" y="67"/>
                        <a:pt x="497" y="67"/>
                        <a:pt x="497" y="67"/>
                      </a:cubicBezTo>
                      <a:cubicBezTo>
                        <a:pt x="497" y="68"/>
                        <a:pt x="497" y="68"/>
                        <a:pt x="497" y="68"/>
                      </a:cubicBezTo>
                      <a:cubicBezTo>
                        <a:pt x="498" y="69"/>
                        <a:pt x="498" y="69"/>
                        <a:pt x="498" y="69"/>
                      </a:cubicBezTo>
                      <a:close/>
                      <a:moveTo>
                        <a:pt x="497" y="69"/>
                      </a:moveTo>
                      <a:cubicBezTo>
                        <a:pt x="498" y="70"/>
                        <a:pt x="498" y="70"/>
                        <a:pt x="498" y="70"/>
                      </a:cubicBezTo>
                      <a:cubicBezTo>
                        <a:pt x="498" y="71"/>
                        <a:pt x="498" y="71"/>
                        <a:pt x="498" y="71"/>
                      </a:cubicBezTo>
                      <a:cubicBezTo>
                        <a:pt x="498" y="70"/>
                        <a:pt x="498" y="70"/>
                        <a:pt x="498" y="70"/>
                      </a:cubicBezTo>
                      <a:cubicBezTo>
                        <a:pt x="498" y="69"/>
                        <a:pt x="498" y="69"/>
                        <a:pt x="498" y="69"/>
                      </a:cubicBezTo>
                      <a:cubicBezTo>
                        <a:pt x="497" y="69"/>
                        <a:pt x="497" y="69"/>
                        <a:pt x="497" y="69"/>
                      </a:cubicBezTo>
                      <a:cubicBezTo>
                        <a:pt x="497" y="69"/>
                        <a:pt x="497" y="69"/>
                        <a:pt x="497" y="69"/>
                      </a:cubicBezTo>
                      <a:cubicBezTo>
                        <a:pt x="497" y="69"/>
                        <a:pt x="497" y="69"/>
                        <a:pt x="497" y="69"/>
                      </a:cubicBezTo>
                      <a:close/>
                      <a:moveTo>
                        <a:pt x="494" y="68"/>
                      </a:moveTo>
                      <a:cubicBezTo>
                        <a:pt x="495" y="69"/>
                        <a:pt x="495" y="69"/>
                        <a:pt x="495" y="69"/>
                      </a:cubicBezTo>
                      <a:cubicBezTo>
                        <a:pt x="496" y="70"/>
                        <a:pt x="496" y="70"/>
                        <a:pt x="496" y="70"/>
                      </a:cubicBezTo>
                      <a:cubicBezTo>
                        <a:pt x="496" y="69"/>
                        <a:pt x="496" y="69"/>
                        <a:pt x="496" y="69"/>
                      </a:cubicBezTo>
                      <a:cubicBezTo>
                        <a:pt x="496" y="69"/>
                        <a:pt x="496" y="69"/>
                        <a:pt x="496" y="69"/>
                      </a:cubicBezTo>
                      <a:cubicBezTo>
                        <a:pt x="496" y="68"/>
                        <a:pt x="496" y="68"/>
                        <a:pt x="496" y="68"/>
                      </a:cubicBezTo>
                      <a:cubicBezTo>
                        <a:pt x="495" y="68"/>
                        <a:pt x="495" y="68"/>
                        <a:pt x="495" y="68"/>
                      </a:cubicBezTo>
                      <a:cubicBezTo>
                        <a:pt x="495" y="68"/>
                        <a:pt x="495" y="68"/>
                        <a:pt x="495" y="68"/>
                      </a:cubicBezTo>
                      <a:cubicBezTo>
                        <a:pt x="494" y="68"/>
                        <a:pt x="494" y="68"/>
                        <a:pt x="494" y="68"/>
                      </a:cubicBezTo>
                      <a:close/>
                      <a:moveTo>
                        <a:pt x="521" y="59"/>
                      </a:moveTo>
                      <a:cubicBezTo>
                        <a:pt x="522" y="59"/>
                        <a:pt x="522" y="59"/>
                        <a:pt x="522" y="59"/>
                      </a:cubicBezTo>
                      <a:cubicBezTo>
                        <a:pt x="523" y="59"/>
                        <a:pt x="523" y="59"/>
                        <a:pt x="523" y="59"/>
                      </a:cubicBezTo>
                      <a:cubicBezTo>
                        <a:pt x="524" y="58"/>
                        <a:pt x="524" y="58"/>
                        <a:pt x="524" y="58"/>
                      </a:cubicBezTo>
                      <a:cubicBezTo>
                        <a:pt x="524" y="57"/>
                        <a:pt x="524" y="57"/>
                        <a:pt x="524" y="57"/>
                      </a:cubicBezTo>
                      <a:cubicBezTo>
                        <a:pt x="523" y="56"/>
                        <a:pt x="523" y="56"/>
                        <a:pt x="523" y="56"/>
                      </a:cubicBezTo>
                      <a:cubicBezTo>
                        <a:pt x="523" y="56"/>
                        <a:pt x="523" y="56"/>
                        <a:pt x="523" y="56"/>
                      </a:cubicBezTo>
                      <a:cubicBezTo>
                        <a:pt x="523" y="55"/>
                        <a:pt x="523" y="55"/>
                        <a:pt x="523" y="55"/>
                      </a:cubicBezTo>
                      <a:cubicBezTo>
                        <a:pt x="522" y="55"/>
                        <a:pt x="522" y="55"/>
                        <a:pt x="522" y="55"/>
                      </a:cubicBezTo>
                      <a:cubicBezTo>
                        <a:pt x="521" y="55"/>
                        <a:pt x="521" y="55"/>
                        <a:pt x="521" y="55"/>
                      </a:cubicBezTo>
                      <a:cubicBezTo>
                        <a:pt x="521" y="55"/>
                        <a:pt x="521" y="55"/>
                        <a:pt x="521" y="55"/>
                      </a:cubicBezTo>
                      <a:cubicBezTo>
                        <a:pt x="520" y="54"/>
                        <a:pt x="520" y="54"/>
                        <a:pt x="520" y="54"/>
                      </a:cubicBezTo>
                      <a:cubicBezTo>
                        <a:pt x="519" y="54"/>
                        <a:pt x="519" y="54"/>
                        <a:pt x="519" y="54"/>
                      </a:cubicBezTo>
                      <a:cubicBezTo>
                        <a:pt x="519" y="55"/>
                        <a:pt x="519" y="55"/>
                        <a:pt x="519" y="55"/>
                      </a:cubicBezTo>
                      <a:cubicBezTo>
                        <a:pt x="518" y="55"/>
                        <a:pt x="518" y="55"/>
                        <a:pt x="518" y="55"/>
                      </a:cubicBezTo>
                      <a:cubicBezTo>
                        <a:pt x="518" y="55"/>
                        <a:pt x="518" y="55"/>
                        <a:pt x="518" y="55"/>
                      </a:cubicBezTo>
                      <a:cubicBezTo>
                        <a:pt x="518" y="55"/>
                        <a:pt x="518" y="55"/>
                        <a:pt x="518" y="55"/>
                      </a:cubicBezTo>
                      <a:cubicBezTo>
                        <a:pt x="517" y="56"/>
                        <a:pt x="517" y="56"/>
                        <a:pt x="517" y="56"/>
                      </a:cubicBezTo>
                      <a:cubicBezTo>
                        <a:pt x="517" y="57"/>
                        <a:pt x="517" y="57"/>
                        <a:pt x="517" y="57"/>
                      </a:cubicBezTo>
                      <a:cubicBezTo>
                        <a:pt x="518" y="58"/>
                        <a:pt x="518" y="58"/>
                        <a:pt x="518" y="58"/>
                      </a:cubicBezTo>
                      <a:cubicBezTo>
                        <a:pt x="519" y="58"/>
                        <a:pt x="519" y="58"/>
                        <a:pt x="519" y="58"/>
                      </a:cubicBezTo>
                      <a:cubicBezTo>
                        <a:pt x="520" y="58"/>
                        <a:pt x="520" y="58"/>
                        <a:pt x="520" y="58"/>
                      </a:cubicBezTo>
                      <a:cubicBezTo>
                        <a:pt x="521" y="59"/>
                        <a:pt x="521" y="59"/>
                        <a:pt x="521" y="59"/>
                      </a:cubicBezTo>
                      <a:close/>
                      <a:moveTo>
                        <a:pt x="527" y="57"/>
                      </a:moveTo>
                      <a:cubicBezTo>
                        <a:pt x="528" y="56"/>
                        <a:pt x="528" y="56"/>
                        <a:pt x="528" y="56"/>
                      </a:cubicBezTo>
                      <a:cubicBezTo>
                        <a:pt x="528" y="55"/>
                        <a:pt x="528" y="55"/>
                        <a:pt x="528" y="55"/>
                      </a:cubicBezTo>
                      <a:cubicBezTo>
                        <a:pt x="527" y="56"/>
                        <a:pt x="527" y="56"/>
                        <a:pt x="527" y="56"/>
                      </a:cubicBezTo>
                      <a:cubicBezTo>
                        <a:pt x="527" y="56"/>
                        <a:pt x="527" y="56"/>
                        <a:pt x="527" y="56"/>
                      </a:cubicBezTo>
                      <a:cubicBezTo>
                        <a:pt x="527" y="57"/>
                        <a:pt x="527" y="57"/>
                        <a:pt x="527" y="57"/>
                      </a:cubicBezTo>
                      <a:close/>
                      <a:moveTo>
                        <a:pt x="533" y="288"/>
                      </a:moveTo>
                      <a:cubicBezTo>
                        <a:pt x="533" y="287"/>
                        <a:pt x="533" y="287"/>
                        <a:pt x="533" y="287"/>
                      </a:cubicBezTo>
                      <a:cubicBezTo>
                        <a:pt x="534" y="286"/>
                        <a:pt x="534" y="286"/>
                        <a:pt x="534" y="286"/>
                      </a:cubicBezTo>
                      <a:cubicBezTo>
                        <a:pt x="533" y="286"/>
                        <a:pt x="533" y="286"/>
                        <a:pt x="533" y="286"/>
                      </a:cubicBezTo>
                      <a:cubicBezTo>
                        <a:pt x="533" y="285"/>
                        <a:pt x="533" y="285"/>
                        <a:pt x="533" y="285"/>
                      </a:cubicBezTo>
                      <a:cubicBezTo>
                        <a:pt x="533" y="283"/>
                        <a:pt x="533" y="283"/>
                        <a:pt x="533" y="283"/>
                      </a:cubicBezTo>
                      <a:cubicBezTo>
                        <a:pt x="534" y="283"/>
                        <a:pt x="534" y="283"/>
                        <a:pt x="534" y="283"/>
                      </a:cubicBezTo>
                      <a:cubicBezTo>
                        <a:pt x="534" y="283"/>
                        <a:pt x="534" y="283"/>
                        <a:pt x="534" y="283"/>
                      </a:cubicBezTo>
                      <a:cubicBezTo>
                        <a:pt x="534" y="283"/>
                        <a:pt x="534" y="283"/>
                        <a:pt x="534" y="283"/>
                      </a:cubicBezTo>
                      <a:cubicBezTo>
                        <a:pt x="535" y="284"/>
                        <a:pt x="535" y="284"/>
                        <a:pt x="535" y="284"/>
                      </a:cubicBezTo>
                      <a:cubicBezTo>
                        <a:pt x="537" y="283"/>
                        <a:pt x="537" y="283"/>
                        <a:pt x="537" y="283"/>
                      </a:cubicBezTo>
                      <a:cubicBezTo>
                        <a:pt x="537" y="283"/>
                        <a:pt x="537" y="283"/>
                        <a:pt x="537" y="283"/>
                      </a:cubicBezTo>
                      <a:cubicBezTo>
                        <a:pt x="537" y="283"/>
                        <a:pt x="537" y="283"/>
                        <a:pt x="537" y="283"/>
                      </a:cubicBezTo>
                      <a:cubicBezTo>
                        <a:pt x="538" y="283"/>
                        <a:pt x="538" y="283"/>
                        <a:pt x="538" y="283"/>
                      </a:cubicBezTo>
                      <a:cubicBezTo>
                        <a:pt x="537" y="284"/>
                        <a:pt x="537" y="284"/>
                        <a:pt x="537" y="284"/>
                      </a:cubicBezTo>
                      <a:cubicBezTo>
                        <a:pt x="538" y="284"/>
                        <a:pt x="538" y="284"/>
                        <a:pt x="538" y="284"/>
                      </a:cubicBezTo>
                      <a:cubicBezTo>
                        <a:pt x="539" y="285"/>
                        <a:pt x="539" y="285"/>
                        <a:pt x="539" y="285"/>
                      </a:cubicBezTo>
                      <a:cubicBezTo>
                        <a:pt x="539" y="286"/>
                        <a:pt x="539" y="286"/>
                        <a:pt x="539" y="286"/>
                      </a:cubicBezTo>
                      <a:cubicBezTo>
                        <a:pt x="539" y="287"/>
                        <a:pt x="539" y="287"/>
                        <a:pt x="539" y="287"/>
                      </a:cubicBezTo>
                      <a:cubicBezTo>
                        <a:pt x="539" y="286"/>
                        <a:pt x="539" y="286"/>
                        <a:pt x="539" y="286"/>
                      </a:cubicBezTo>
                      <a:cubicBezTo>
                        <a:pt x="539" y="286"/>
                        <a:pt x="539" y="286"/>
                        <a:pt x="539" y="286"/>
                      </a:cubicBezTo>
                      <a:cubicBezTo>
                        <a:pt x="539" y="285"/>
                        <a:pt x="539" y="285"/>
                        <a:pt x="539" y="285"/>
                      </a:cubicBezTo>
                      <a:cubicBezTo>
                        <a:pt x="539" y="284"/>
                        <a:pt x="539" y="284"/>
                        <a:pt x="539" y="284"/>
                      </a:cubicBezTo>
                      <a:cubicBezTo>
                        <a:pt x="538" y="283"/>
                        <a:pt x="538" y="283"/>
                        <a:pt x="538" y="283"/>
                      </a:cubicBezTo>
                      <a:cubicBezTo>
                        <a:pt x="538" y="282"/>
                        <a:pt x="538" y="282"/>
                        <a:pt x="538" y="282"/>
                      </a:cubicBezTo>
                      <a:cubicBezTo>
                        <a:pt x="538" y="281"/>
                        <a:pt x="538" y="281"/>
                        <a:pt x="538" y="281"/>
                      </a:cubicBezTo>
                      <a:cubicBezTo>
                        <a:pt x="537" y="281"/>
                        <a:pt x="537" y="281"/>
                        <a:pt x="537" y="281"/>
                      </a:cubicBezTo>
                      <a:cubicBezTo>
                        <a:pt x="536" y="281"/>
                        <a:pt x="536" y="281"/>
                        <a:pt x="536" y="281"/>
                      </a:cubicBezTo>
                      <a:cubicBezTo>
                        <a:pt x="535" y="281"/>
                        <a:pt x="535" y="281"/>
                        <a:pt x="535" y="281"/>
                      </a:cubicBezTo>
                      <a:cubicBezTo>
                        <a:pt x="535" y="279"/>
                        <a:pt x="535" y="279"/>
                        <a:pt x="535" y="279"/>
                      </a:cubicBezTo>
                      <a:cubicBezTo>
                        <a:pt x="534" y="278"/>
                        <a:pt x="534" y="278"/>
                        <a:pt x="534" y="278"/>
                      </a:cubicBezTo>
                      <a:cubicBezTo>
                        <a:pt x="533" y="278"/>
                        <a:pt x="533" y="278"/>
                        <a:pt x="533" y="278"/>
                      </a:cubicBezTo>
                      <a:cubicBezTo>
                        <a:pt x="532" y="277"/>
                        <a:pt x="532" y="277"/>
                        <a:pt x="532" y="277"/>
                      </a:cubicBezTo>
                      <a:cubicBezTo>
                        <a:pt x="532" y="277"/>
                        <a:pt x="532" y="277"/>
                        <a:pt x="532" y="277"/>
                      </a:cubicBezTo>
                      <a:cubicBezTo>
                        <a:pt x="531" y="275"/>
                        <a:pt x="531" y="275"/>
                        <a:pt x="531" y="275"/>
                      </a:cubicBezTo>
                      <a:cubicBezTo>
                        <a:pt x="530" y="274"/>
                        <a:pt x="530" y="274"/>
                        <a:pt x="530" y="274"/>
                      </a:cubicBezTo>
                      <a:cubicBezTo>
                        <a:pt x="530" y="273"/>
                        <a:pt x="530" y="273"/>
                        <a:pt x="530" y="273"/>
                      </a:cubicBezTo>
                      <a:cubicBezTo>
                        <a:pt x="530" y="271"/>
                        <a:pt x="530" y="271"/>
                        <a:pt x="530" y="271"/>
                      </a:cubicBezTo>
                      <a:cubicBezTo>
                        <a:pt x="530" y="270"/>
                        <a:pt x="530" y="270"/>
                        <a:pt x="530" y="270"/>
                      </a:cubicBezTo>
                      <a:cubicBezTo>
                        <a:pt x="529" y="269"/>
                        <a:pt x="529" y="269"/>
                        <a:pt x="529" y="269"/>
                      </a:cubicBezTo>
                      <a:cubicBezTo>
                        <a:pt x="530" y="267"/>
                        <a:pt x="530" y="267"/>
                        <a:pt x="530" y="267"/>
                      </a:cubicBezTo>
                      <a:cubicBezTo>
                        <a:pt x="529" y="267"/>
                        <a:pt x="529" y="267"/>
                        <a:pt x="529" y="267"/>
                      </a:cubicBezTo>
                      <a:cubicBezTo>
                        <a:pt x="529" y="266"/>
                        <a:pt x="529" y="266"/>
                        <a:pt x="529" y="266"/>
                      </a:cubicBezTo>
                      <a:cubicBezTo>
                        <a:pt x="529" y="265"/>
                        <a:pt x="529" y="265"/>
                        <a:pt x="529" y="265"/>
                      </a:cubicBezTo>
                      <a:cubicBezTo>
                        <a:pt x="529" y="264"/>
                        <a:pt x="529" y="264"/>
                        <a:pt x="529" y="264"/>
                      </a:cubicBezTo>
                      <a:cubicBezTo>
                        <a:pt x="529" y="264"/>
                        <a:pt x="529" y="264"/>
                        <a:pt x="529" y="264"/>
                      </a:cubicBezTo>
                      <a:cubicBezTo>
                        <a:pt x="530" y="264"/>
                        <a:pt x="530" y="264"/>
                        <a:pt x="530" y="264"/>
                      </a:cubicBezTo>
                      <a:cubicBezTo>
                        <a:pt x="530" y="264"/>
                        <a:pt x="530" y="264"/>
                        <a:pt x="530" y="264"/>
                      </a:cubicBezTo>
                      <a:cubicBezTo>
                        <a:pt x="532" y="264"/>
                        <a:pt x="532" y="264"/>
                        <a:pt x="532" y="264"/>
                      </a:cubicBezTo>
                      <a:cubicBezTo>
                        <a:pt x="533" y="264"/>
                        <a:pt x="533" y="264"/>
                        <a:pt x="533" y="264"/>
                      </a:cubicBezTo>
                      <a:cubicBezTo>
                        <a:pt x="534" y="264"/>
                        <a:pt x="534" y="264"/>
                        <a:pt x="534" y="264"/>
                      </a:cubicBezTo>
                      <a:cubicBezTo>
                        <a:pt x="534" y="266"/>
                        <a:pt x="534" y="266"/>
                        <a:pt x="534" y="266"/>
                      </a:cubicBezTo>
                      <a:cubicBezTo>
                        <a:pt x="535" y="266"/>
                        <a:pt x="535" y="266"/>
                        <a:pt x="535" y="266"/>
                      </a:cubicBezTo>
                      <a:cubicBezTo>
                        <a:pt x="536" y="266"/>
                        <a:pt x="536" y="266"/>
                        <a:pt x="536" y="266"/>
                      </a:cubicBezTo>
                      <a:cubicBezTo>
                        <a:pt x="537" y="268"/>
                        <a:pt x="537" y="268"/>
                        <a:pt x="537" y="268"/>
                      </a:cubicBezTo>
                      <a:cubicBezTo>
                        <a:pt x="538" y="268"/>
                        <a:pt x="538" y="268"/>
                        <a:pt x="538" y="268"/>
                      </a:cubicBezTo>
                      <a:cubicBezTo>
                        <a:pt x="537" y="267"/>
                        <a:pt x="537" y="267"/>
                        <a:pt x="537" y="267"/>
                      </a:cubicBezTo>
                      <a:cubicBezTo>
                        <a:pt x="536" y="266"/>
                        <a:pt x="536" y="266"/>
                        <a:pt x="536" y="266"/>
                      </a:cubicBezTo>
                      <a:cubicBezTo>
                        <a:pt x="535" y="265"/>
                        <a:pt x="535" y="265"/>
                        <a:pt x="535" y="265"/>
                      </a:cubicBezTo>
                      <a:cubicBezTo>
                        <a:pt x="534" y="264"/>
                        <a:pt x="534" y="264"/>
                        <a:pt x="534" y="264"/>
                      </a:cubicBezTo>
                      <a:cubicBezTo>
                        <a:pt x="533" y="263"/>
                        <a:pt x="533" y="263"/>
                        <a:pt x="533" y="263"/>
                      </a:cubicBezTo>
                      <a:cubicBezTo>
                        <a:pt x="533" y="262"/>
                        <a:pt x="533" y="262"/>
                        <a:pt x="533" y="262"/>
                      </a:cubicBezTo>
                      <a:cubicBezTo>
                        <a:pt x="533" y="262"/>
                        <a:pt x="533" y="262"/>
                        <a:pt x="533" y="262"/>
                      </a:cubicBezTo>
                      <a:cubicBezTo>
                        <a:pt x="532" y="260"/>
                        <a:pt x="532" y="260"/>
                        <a:pt x="532" y="260"/>
                      </a:cubicBezTo>
                      <a:cubicBezTo>
                        <a:pt x="531" y="259"/>
                        <a:pt x="531" y="259"/>
                        <a:pt x="531" y="259"/>
                      </a:cubicBezTo>
                      <a:cubicBezTo>
                        <a:pt x="531" y="259"/>
                        <a:pt x="531" y="259"/>
                        <a:pt x="531" y="259"/>
                      </a:cubicBezTo>
                      <a:cubicBezTo>
                        <a:pt x="531" y="258"/>
                        <a:pt x="531" y="258"/>
                        <a:pt x="531" y="258"/>
                      </a:cubicBezTo>
                      <a:cubicBezTo>
                        <a:pt x="529" y="256"/>
                        <a:pt x="529" y="256"/>
                        <a:pt x="529" y="256"/>
                      </a:cubicBezTo>
                      <a:cubicBezTo>
                        <a:pt x="528" y="254"/>
                        <a:pt x="528" y="254"/>
                        <a:pt x="528" y="254"/>
                      </a:cubicBezTo>
                      <a:cubicBezTo>
                        <a:pt x="528" y="253"/>
                        <a:pt x="528" y="253"/>
                        <a:pt x="528" y="253"/>
                      </a:cubicBezTo>
                      <a:cubicBezTo>
                        <a:pt x="526" y="251"/>
                        <a:pt x="526" y="251"/>
                        <a:pt x="526" y="251"/>
                      </a:cubicBezTo>
                      <a:cubicBezTo>
                        <a:pt x="525" y="250"/>
                        <a:pt x="525" y="250"/>
                        <a:pt x="525" y="250"/>
                      </a:cubicBezTo>
                      <a:cubicBezTo>
                        <a:pt x="524" y="249"/>
                        <a:pt x="524" y="249"/>
                        <a:pt x="524" y="249"/>
                      </a:cubicBezTo>
                      <a:cubicBezTo>
                        <a:pt x="524" y="248"/>
                        <a:pt x="524" y="248"/>
                        <a:pt x="524" y="248"/>
                      </a:cubicBezTo>
                      <a:cubicBezTo>
                        <a:pt x="524" y="247"/>
                        <a:pt x="524" y="247"/>
                        <a:pt x="524" y="247"/>
                      </a:cubicBezTo>
                      <a:cubicBezTo>
                        <a:pt x="523" y="247"/>
                        <a:pt x="523" y="247"/>
                        <a:pt x="523" y="247"/>
                      </a:cubicBezTo>
                      <a:cubicBezTo>
                        <a:pt x="523" y="248"/>
                        <a:pt x="523" y="248"/>
                        <a:pt x="523" y="248"/>
                      </a:cubicBezTo>
                      <a:cubicBezTo>
                        <a:pt x="522" y="248"/>
                        <a:pt x="522" y="248"/>
                        <a:pt x="522" y="248"/>
                      </a:cubicBezTo>
                      <a:cubicBezTo>
                        <a:pt x="522" y="247"/>
                        <a:pt x="522" y="247"/>
                        <a:pt x="522" y="247"/>
                      </a:cubicBezTo>
                      <a:cubicBezTo>
                        <a:pt x="522" y="247"/>
                        <a:pt x="522" y="247"/>
                        <a:pt x="522" y="247"/>
                      </a:cubicBezTo>
                      <a:cubicBezTo>
                        <a:pt x="522" y="246"/>
                        <a:pt x="522" y="246"/>
                        <a:pt x="522" y="246"/>
                      </a:cubicBezTo>
                      <a:cubicBezTo>
                        <a:pt x="521" y="245"/>
                        <a:pt x="521" y="245"/>
                        <a:pt x="521" y="245"/>
                      </a:cubicBezTo>
                      <a:cubicBezTo>
                        <a:pt x="520" y="244"/>
                        <a:pt x="520" y="244"/>
                        <a:pt x="520" y="244"/>
                      </a:cubicBezTo>
                      <a:cubicBezTo>
                        <a:pt x="520" y="243"/>
                        <a:pt x="520" y="243"/>
                        <a:pt x="520" y="243"/>
                      </a:cubicBezTo>
                      <a:cubicBezTo>
                        <a:pt x="519" y="243"/>
                        <a:pt x="519" y="243"/>
                        <a:pt x="519" y="243"/>
                      </a:cubicBezTo>
                      <a:cubicBezTo>
                        <a:pt x="519" y="242"/>
                        <a:pt x="519" y="242"/>
                        <a:pt x="519" y="242"/>
                      </a:cubicBezTo>
                      <a:cubicBezTo>
                        <a:pt x="520" y="241"/>
                        <a:pt x="520" y="241"/>
                        <a:pt x="520" y="241"/>
                      </a:cubicBezTo>
                      <a:cubicBezTo>
                        <a:pt x="520" y="241"/>
                        <a:pt x="520" y="241"/>
                        <a:pt x="520" y="241"/>
                      </a:cubicBezTo>
                      <a:cubicBezTo>
                        <a:pt x="520" y="240"/>
                        <a:pt x="520" y="240"/>
                        <a:pt x="520" y="240"/>
                      </a:cubicBezTo>
                      <a:cubicBezTo>
                        <a:pt x="519" y="239"/>
                        <a:pt x="519" y="239"/>
                        <a:pt x="519" y="239"/>
                      </a:cubicBezTo>
                      <a:cubicBezTo>
                        <a:pt x="519" y="238"/>
                        <a:pt x="519" y="238"/>
                        <a:pt x="519" y="238"/>
                      </a:cubicBezTo>
                      <a:cubicBezTo>
                        <a:pt x="518" y="237"/>
                        <a:pt x="518" y="237"/>
                        <a:pt x="518" y="237"/>
                      </a:cubicBezTo>
                      <a:cubicBezTo>
                        <a:pt x="517" y="236"/>
                        <a:pt x="517" y="236"/>
                        <a:pt x="517" y="236"/>
                      </a:cubicBezTo>
                      <a:cubicBezTo>
                        <a:pt x="517" y="236"/>
                        <a:pt x="517" y="236"/>
                        <a:pt x="517" y="236"/>
                      </a:cubicBezTo>
                      <a:cubicBezTo>
                        <a:pt x="517" y="235"/>
                        <a:pt x="517" y="235"/>
                        <a:pt x="517" y="235"/>
                      </a:cubicBezTo>
                      <a:cubicBezTo>
                        <a:pt x="517" y="235"/>
                        <a:pt x="517" y="235"/>
                        <a:pt x="517" y="235"/>
                      </a:cubicBezTo>
                      <a:cubicBezTo>
                        <a:pt x="517" y="235"/>
                        <a:pt x="517" y="235"/>
                        <a:pt x="517" y="235"/>
                      </a:cubicBezTo>
                      <a:cubicBezTo>
                        <a:pt x="518" y="235"/>
                        <a:pt x="518" y="235"/>
                        <a:pt x="518" y="235"/>
                      </a:cubicBezTo>
                      <a:cubicBezTo>
                        <a:pt x="519" y="237"/>
                        <a:pt x="519" y="237"/>
                        <a:pt x="519" y="237"/>
                      </a:cubicBezTo>
                      <a:cubicBezTo>
                        <a:pt x="518" y="236"/>
                        <a:pt x="518" y="236"/>
                        <a:pt x="518" y="236"/>
                      </a:cubicBezTo>
                      <a:cubicBezTo>
                        <a:pt x="517" y="234"/>
                        <a:pt x="517" y="234"/>
                        <a:pt x="517" y="234"/>
                      </a:cubicBezTo>
                      <a:cubicBezTo>
                        <a:pt x="516" y="233"/>
                        <a:pt x="516" y="233"/>
                        <a:pt x="516" y="233"/>
                      </a:cubicBezTo>
                      <a:cubicBezTo>
                        <a:pt x="516" y="233"/>
                        <a:pt x="516" y="233"/>
                        <a:pt x="516" y="233"/>
                      </a:cubicBezTo>
                      <a:cubicBezTo>
                        <a:pt x="515" y="232"/>
                        <a:pt x="515" y="232"/>
                        <a:pt x="515" y="232"/>
                      </a:cubicBezTo>
                      <a:cubicBezTo>
                        <a:pt x="513" y="231"/>
                        <a:pt x="513" y="231"/>
                        <a:pt x="513" y="231"/>
                      </a:cubicBezTo>
                      <a:cubicBezTo>
                        <a:pt x="513" y="230"/>
                        <a:pt x="513" y="230"/>
                        <a:pt x="513" y="230"/>
                      </a:cubicBezTo>
                      <a:cubicBezTo>
                        <a:pt x="513" y="228"/>
                        <a:pt x="513" y="228"/>
                        <a:pt x="513" y="228"/>
                      </a:cubicBezTo>
                      <a:cubicBezTo>
                        <a:pt x="512" y="228"/>
                        <a:pt x="512" y="228"/>
                        <a:pt x="512" y="228"/>
                      </a:cubicBezTo>
                      <a:cubicBezTo>
                        <a:pt x="511" y="227"/>
                        <a:pt x="511" y="227"/>
                        <a:pt x="511" y="227"/>
                      </a:cubicBezTo>
                      <a:cubicBezTo>
                        <a:pt x="510" y="226"/>
                        <a:pt x="510" y="226"/>
                        <a:pt x="510" y="226"/>
                      </a:cubicBezTo>
                      <a:cubicBezTo>
                        <a:pt x="510" y="226"/>
                        <a:pt x="510" y="226"/>
                        <a:pt x="510" y="226"/>
                      </a:cubicBezTo>
                      <a:cubicBezTo>
                        <a:pt x="510" y="226"/>
                        <a:pt x="510" y="226"/>
                        <a:pt x="510" y="226"/>
                      </a:cubicBezTo>
                      <a:cubicBezTo>
                        <a:pt x="510" y="227"/>
                        <a:pt x="510" y="227"/>
                        <a:pt x="510" y="227"/>
                      </a:cubicBezTo>
                      <a:cubicBezTo>
                        <a:pt x="510" y="227"/>
                        <a:pt x="510" y="227"/>
                        <a:pt x="510" y="227"/>
                      </a:cubicBezTo>
                      <a:cubicBezTo>
                        <a:pt x="509" y="227"/>
                        <a:pt x="509" y="227"/>
                        <a:pt x="509" y="227"/>
                      </a:cubicBezTo>
                      <a:cubicBezTo>
                        <a:pt x="509" y="227"/>
                        <a:pt x="509" y="227"/>
                        <a:pt x="509" y="227"/>
                      </a:cubicBezTo>
                      <a:cubicBezTo>
                        <a:pt x="508" y="227"/>
                        <a:pt x="508" y="227"/>
                        <a:pt x="508" y="227"/>
                      </a:cubicBezTo>
                      <a:cubicBezTo>
                        <a:pt x="509" y="228"/>
                        <a:pt x="509" y="228"/>
                        <a:pt x="509" y="228"/>
                      </a:cubicBezTo>
                      <a:cubicBezTo>
                        <a:pt x="511" y="229"/>
                        <a:pt x="511" y="229"/>
                        <a:pt x="511" y="229"/>
                      </a:cubicBezTo>
                      <a:cubicBezTo>
                        <a:pt x="511" y="230"/>
                        <a:pt x="511" y="230"/>
                        <a:pt x="511" y="230"/>
                      </a:cubicBezTo>
                      <a:cubicBezTo>
                        <a:pt x="511" y="231"/>
                        <a:pt x="511" y="231"/>
                        <a:pt x="511" y="231"/>
                      </a:cubicBezTo>
                      <a:cubicBezTo>
                        <a:pt x="512" y="230"/>
                        <a:pt x="512" y="230"/>
                        <a:pt x="512" y="230"/>
                      </a:cubicBezTo>
                      <a:cubicBezTo>
                        <a:pt x="512" y="230"/>
                        <a:pt x="512" y="230"/>
                        <a:pt x="512" y="230"/>
                      </a:cubicBezTo>
                      <a:cubicBezTo>
                        <a:pt x="512" y="231"/>
                        <a:pt x="512" y="231"/>
                        <a:pt x="512" y="231"/>
                      </a:cubicBezTo>
                      <a:cubicBezTo>
                        <a:pt x="512" y="231"/>
                        <a:pt x="512" y="231"/>
                        <a:pt x="512" y="231"/>
                      </a:cubicBezTo>
                      <a:cubicBezTo>
                        <a:pt x="511" y="232"/>
                        <a:pt x="511" y="232"/>
                        <a:pt x="511" y="232"/>
                      </a:cubicBezTo>
                      <a:cubicBezTo>
                        <a:pt x="512" y="232"/>
                        <a:pt x="512" y="232"/>
                        <a:pt x="512" y="232"/>
                      </a:cubicBezTo>
                      <a:cubicBezTo>
                        <a:pt x="512" y="232"/>
                        <a:pt x="512" y="232"/>
                        <a:pt x="512" y="232"/>
                      </a:cubicBezTo>
                      <a:cubicBezTo>
                        <a:pt x="512" y="233"/>
                        <a:pt x="512" y="233"/>
                        <a:pt x="512" y="233"/>
                      </a:cubicBezTo>
                      <a:cubicBezTo>
                        <a:pt x="512" y="233"/>
                        <a:pt x="512" y="233"/>
                        <a:pt x="512" y="233"/>
                      </a:cubicBezTo>
                      <a:cubicBezTo>
                        <a:pt x="511" y="233"/>
                        <a:pt x="511" y="233"/>
                        <a:pt x="511" y="233"/>
                      </a:cubicBezTo>
                      <a:cubicBezTo>
                        <a:pt x="510" y="233"/>
                        <a:pt x="510" y="233"/>
                        <a:pt x="510" y="233"/>
                      </a:cubicBezTo>
                      <a:cubicBezTo>
                        <a:pt x="510" y="233"/>
                        <a:pt x="510" y="233"/>
                        <a:pt x="510" y="233"/>
                      </a:cubicBezTo>
                      <a:cubicBezTo>
                        <a:pt x="509" y="234"/>
                        <a:pt x="509" y="234"/>
                        <a:pt x="509" y="234"/>
                      </a:cubicBezTo>
                      <a:cubicBezTo>
                        <a:pt x="510" y="235"/>
                        <a:pt x="510" y="235"/>
                        <a:pt x="510" y="235"/>
                      </a:cubicBezTo>
                      <a:cubicBezTo>
                        <a:pt x="510" y="236"/>
                        <a:pt x="510" y="236"/>
                        <a:pt x="510" y="236"/>
                      </a:cubicBezTo>
                      <a:cubicBezTo>
                        <a:pt x="511" y="237"/>
                        <a:pt x="511" y="237"/>
                        <a:pt x="511" y="237"/>
                      </a:cubicBezTo>
                      <a:cubicBezTo>
                        <a:pt x="512" y="239"/>
                        <a:pt x="512" y="239"/>
                        <a:pt x="512" y="239"/>
                      </a:cubicBezTo>
                      <a:cubicBezTo>
                        <a:pt x="512" y="240"/>
                        <a:pt x="512" y="240"/>
                        <a:pt x="512" y="240"/>
                      </a:cubicBezTo>
                      <a:cubicBezTo>
                        <a:pt x="513" y="241"/>
                        <a:pt x="513" y="241"/>
                        <a:pt x="513" y="241"/>
                      </a:cubicBezTo>
                      <a:cubicBezTo>
                        <a:pt x="513" y="242"/>
                        <a:pt x="513" y="242"/>
                        <a:pt x="513" y="242"/>
                      </a:cubicBezTo>
                      <a:cubicBezTo>
                        <a:pt x="513" y="244"/>
                        <a:pt x="513" y="244"/>
                        <a:pt x="513" y="244"/>
                      </a:cubicBezTo>
                      <a:cubicBezTo>
                        <a:pt x="514" y="246"/>
                        <a:pt x="514" y="246"/>
                        <a:pt x="514" y="246"/>
                      </a:cubicBezTo>
                      <a:cubicBezTo>
                        <a:pt x="515" y="246"/>
                        <a:pt x="515" y="246"/>
                        <a:pt x="515" y="246"/>
                      </a:cubicBezTo>
                      <a:cubicBezTo>
                        <a:pt x="515" y="247"/>
                        <a:pt x="515" y="247"/>
                        <a:pt x="515" y="247"/>
                      </a:cubicBezTo>
                      <a:cubicBezTo>
                        <a:pt x="515" y="247"/>
                        <a:pt x="515" y="247"/>
                        <a:pt x="515" y="247"/>
                      </a:cubicBezTo>
                      <a:cubicBezTo>
                        <a:pt x="517" y="249"/>
                        <a:pt x="517" y="249"/>
                        <a:pt x="517" y="249"/>
                      </a:cubicBezTo>
                      <a:cubicBezTo>
                        <a:pt x="518" y="249"/>
                        <a:pt x="518" y="249"/>
                        <a:pt x="518" y="249"/>
                      </a:cubicBezTo>
                      <a:cubicBezTo>
                        <a:pt x="519" y="251"/>
                        <a:pt x="519" y="251"/>
                        <a:pt x="519" y="251"/>
                      </a:cubicBezTo>
                      <a:cubicBezTo>
                        <a:pt x="519" y="252"/>
                        <a:pt x="519" y="252"/>
                        <a:pt x="519" y="252"/>
                      </a:cubicBezTo>
                      <a:cubicBezTo>
                        <a:pt x="519" y="253"/>
                        <a:pt x="519" y="253"/>
                        <a:pt x="519" y="253"/>
                      </a:cubicBezTo>
                      <a:cubicBezTo>
                        <a:pt x="520" y="254"/>
                        <a:pt x="520" y="254"/>
                        <a:pt x="520" y="254"/>
                      </a:cubicBezTo>
                      <a:cubicBezTo>
                        <a:pt x="520" y="255"/>
                        <a:pt x="520" y="255"/>
                        <a:pt x="520" y="255"/>
                      </a:cubicBezTo>
                      <a:cubicBezTo>
                        <a:pt x="521" y="256"/>
                        <a:pt x="521" y="256"/>
                        <a:pt x="521" y="256"/>
                      </a:cubicBezTo>
                      <a:cubicBezTo>
                        <a:pt x="522" y="257"/>
                        <a:pt x="522" y="257"/>
                        <a:pt x="522" y="257"/>
                      </a:cubicBezTo>
                      <a:cubicBezTo>
                        <a:pt x="522" y="257"/>
                        <a:pt x="522" y="257"/>
                        <a:pt x="522" y="257"/>
                      </a:cubicBezTo>
                      <a:cubicBezTo>
                        <a:pt x="522" y="257"/>
                        <a:pt x="522" y="257"/>
                        <a:pt x="522" y="257"/>
                      </a:cubicBezTo>
                      <a:cubicBezTo>
                        <a:pt x="523" y="259"/>
                        <a:pt x="523" y="259"/>
                        <a:pt x="523" y="259"/>
                      </a:cubicBezTo>
                      <a:cubicBezTo>
                        <a:pt x="523" y="260"/>
                        <a:pt x="523" y="260"/>
                        <a:pt x="523" y="260"/>
                      </a:cubicBezTo>
                      <a:cubicBezTo>
                        <a:pt x="523" y="261"/>
                        <a:pt x="523" y="261"/>
                        <a:pt x="523" y="261"/>
                      </a:cubicBezTo>
                      <a:cubicBezTo>
                        <a:pt x="524" y="263"/>
                        <a:pt x="524" y="263"/>
                        <a:pt x="524" y="263"/>
                      </a:cubicBezTo>
                      <a:cubicBezTo>
                        <a:pt x="524" y="263"/>
                        <a:pt x="524" y="263"/>
                        <a:pt x="524" y="263"/>
                      </a:cubicBezTo>
                      <a:cubicBezTo>
                        <a:pt x="524" y="264"/>
                        <a:pt x="524" y="264"/>
                        <a:pt x="524" y="264"/>
                      </a:cubicBezTo>
                      <a:cubicBezTo>
                        <a:pt x="524" y="266"/>
                        <a:pt x="524" y="266"/>
                        <a:pt x="524" y="266"/>
                      </a:cubicBezTo>
                      <a:cubicBezTo>
                        <a:pt x="525" y="267"/>
                        <a:pt x="525" y="267"/>
                        <a:pt x="525" y="267"/>
                      </a:cubicBezTo>
                      <a:cubicBezTo>
                        <a:pt x="525" y="268"/>
                        <a:pt x="525" y="268"/>
                        <a:pt x="525" y="268"/>
                      </a:cubicBezTo>
                      <a:cubicBezTo>
                        <a:pt x="525" y="269"/>
                        <a:pt x="525" y="269"/>
                        <a:pt x="525" y="269"/>
                      </a:cubicBezTo>
                      <a:cubicBezTo>
                        <a:pt x="526" y="270"/>
                        <a:pt x="526" y="270"/>
                        <a:pt x="526" y="270"/>
                      </a:cubicBezTo>
                      <a:cubicBezTo>
                        <a:pt x="527" y="272"/>
                        <a:pt x="527" y="272"/>
                        <a:pt x="527" y="272"/>
                      </a:cubicBezTo>
                      <a:cubicBezTo>
                        <a:pt x="527" y="273"/>
                        <a:pt x="527" y="273"/>
                        <a:pt x="527" y="273"/>
                      </a:cubicBezTo>
                      <a:cubicBezTo>
                        <a:pt x="528" y="274"/>
                        <a:pt x="528" y="274"/>
                        <a:pt x="528" y="274"/>
                      </a:cubicBezTo>
                      <a:cubicBezTo>
                        <a:pt x="528" y="276"/>
                        <a:pt x="528" y="276"/>
                        <a:pt x="528" y="276"/>
                      </a:cubicBezTo>
                      <a:cubicBezTo>
                        <a:pt x="528" y="277"/>
                        <a:pt x="528" y="277"/>
                        <a:pt x="528" y="277"/>
                      </a:cubicBezTo>
                      <a:cubicBezTo>
                        <a:pt x="529" y="278"/>
                        <a:pt x="529" y="278"/>
                        <a:pt x="529" y="278"/>
                      </a:cubicBezTo>
                      <a:cubicBezTo>
                        <a:pt x="529" y="279"/>
                        <a:pt x="529" y="279"/>
                        <a:pt x="529" y="279"/>
                      </a:cubicBezTo>
                      <a:cubicBezTo>
                        <a:pt x="530" y="281"/>
                        <a:pt x="530" y="281"/>
                        <a:pt x="530" y="281"/>
                      </a:cubicBezTo>
                      <a:cubicBezTo>
                        <a:pt x="531" y="281"/>
                        <a:pt x="531" y="281"/>
                        <a:pt x="531" y="281"/>
                      </a:cubicBezTo>
                      <a:cubicBezTo>
                        <a:pt x="530" y="283"/>
                        <a:pt x="530" y="283"/>
                        <a:pt x="530" y="283"/>
                      </a:cubicBezTo>
                      <a:cubicBezTo>
                        <a:pt x="530" y="285"/>
                        <a:pt x="530" y="285"/>
                        <a:pt x="530" y="285"/>
                      </a:cubicBezTo>
                      <a:cubicBezTo>
                        <a:pt x="531" y="286"/>
                        <a:pt x="531" y="286"/>
                        <a:pt x="531" y="286"/>
                      </a:cubicBezTo>
                      <a:cubicBezTo>
                        <a:pt x="532" y="286"/>
                        <a:pt x="532" y="286"/>
                        <a:pt x="532" y="286"/>
                      </a:cubicBezTo>
                      <a:cubicBezTo>
                        <a:pt x="532" y="288"/>
                        <a:pt x="532" y="288"/>
                        <a:pt x="532" y="288"/>
                      </a:cubicBezTo>
                      <a:cubicBezTo>
                        <a:pt x="533" y="288"/>
                        <a:pt x="533" y="288"/>
                        <a:pt x="533" y="288"/>
                      </a:cubicBezTo>
                      <a:close/>
                      <a:moveTo>
                        <a:pt x="485" y="227"/>
                      </a:moveTo>
                      <a:cubicBezTo>
                        <a:pt x="485" y="227"/>
                        <a:pt x="485" y="227"/>
                        <a:pt x="485" y="227"/>
                      </a:cubicBezTo>
                      <a:cubicBezTo>
                        <a:pt x="485" y="227"/>
                        <a:pt x="485" y="227"/>
                        <a:pt x="485" y="227"/>
                      </a:cubicBezTo>
                      <a:cubicBezTo>
                        <a:pt x="485" y="226"/>
                        <a:pt x="485" y="226"/>
                        <a:pt x="485" y="226"/>
                      </a:cubicBezTo>
                      <a:cubicBezTo>
                        <a:pt x="486" y="226"/>
                        <a:pt x="486" y="226"/>
                        <a:pt x="486" y="226"/>
                      </a:cubicBezTo>
                      <a:cubicBezTo>
                        <a:pt x="487" y="227"/>
                        <a:pt x="487" y="227"/>
                        <a:pt x="487" y="227"/>
                      </a:cubicBezTo>
                      <a:cubicBezTo>
                        <a:pt x="487" y="227"/>
                        <a:pt x="487" y="227"/>
                        <a:pt x="487" y="227"/>
                      </a:cubicBezTo>
                      <a:cubicBezTo>
                        <a:pt x="488" y="227"/>
                        <a:pt x="488" y="227"/>
                        <a:pt x="488" y="227"/>
                      </a:cubicBezTo>
                      <a:cubicBezTo>
                        <a:pt x="488" y="226"/>
                        <a:pt x="488" y="226"/>
                        <a:pt x="488" y="226"/>
                      </a:cubicBezTo>
                      <a:cubicBezTo>
                        <a:pt x="488" y="226"/>
                        <a:pt x="488" y="226"/>
                        <a:pt x="488" y="226"/>
                      </a:cubicBezTo>
                      <a:cubicBezTo>
                        <a:pt x="488" y="225"/>
                        <a:pt x="488" y="225"/>
                        <a:pt x="488" y="225"/>
                      </a:cubicBezTo>
                      <a:cubicBezTo>
                        <a:pt x="488" y="225"/>
                        <a:pt x="488" y="225"/>
                        <a:pt x="488" y="225"/>
                      </a:cubicBezTo>
                      <a:cubicBezTo>
                        <a:pt x="488" y="224"/>
                        <a:pt x="488" y="224"/>
                        <a:pt x="488" y="224"/>
                      </a:cubicBezTo>
                      <a:cubicBezTo>
                        <a:pt x="488" y="224"/>
                        <a:pt x="488" y="224"/>
                        <a:pt x="488" y="224"/>
                      </a:cubicBezTo>
                      <a:cubicBezTo>
                        <a:pt x="488" y="225"/>
                        <a:pt x="488" y="225"/>
                        <a:pt x="488" y="225"/>
                      </a:cubicBezTo>
                      <a:cubicBezTo>
                        <a:pt x="487" y="225"/>
                        <a:pt x="487" y="225"/>
                        <a:pt x="487" y="225"/>
                      </a:cubicBezTo>
                      <a:cubicBezTo>
                        <a:pt x="487" y="225"/>
                        <a:pt x="487" y="225"/>
                        <a:pt x="487" y="225"/>
                      </a:cubicBezTo>
                      <a:cubicBezTo>
                        <a:pt x="487" y="224"/>
                        <a:pt x="487" y="224"/>
                        <a:pt x="487" y="224"/>
                      </a:cubicBezTo>
                      <a:cubicBezTo>
                        <a:pt x="487" y="224"/>
                        <a:pt x="487" y="224"/>
                        <a:pt x="487" y="224"/>
                      </a:cubicBezTo>
                      <a:cubicBezTo>
                        <a:pt x="487" y="224"/>
                        <a:pt x="487" y="224"/>
                        <a:pt x="487" y="224"/>
                      </a:cubicBezTo>
                      <a:cubicBezTo>
                        <a:pt x="486" y="224"/>
                        <a:pt x="486" y="224"/>
                        <a:pt x="486" y="224"/>
                      </a:cubicBezTo>
                      <a:cubicBezTo>
                        <a:pt x="485" y="224"/>
                        <a:pt x="485" y="224"/>
                        <a:pt x="485" y="224"/>
                      </a:cubicBezTo>
                      <a:cubicBezTo>
                        <a:pt x="485" y="224"/>
                        <a:pt x="485" y="224"/>
                        <a:pt x="485" y="224"/>
                      </a:cubicBezTo>
                      <a:cubicBezTo>
                        <a:pt x="485" y="225"/>
                        <a:pt x="485" y="225"/>
                        <a:pt x="485" y="225"/>
                      </a:cubicBezTo>
                      <a:cubicBezTo>
                        <a:pt x="484" y="225"/>
                        <a:pt x="484" y="225"/>
                        <a:pt x="484" y="225"/>
                      </a:cubicBezTo>
                      <a:cubicBezTo>
                        <a:pt x="484" y="226"/>
                        <a:pt x="484" y="226"/>
                        <a:pt x="484" y="226"/>
                      </a:cubicBezTo>
                      <a:cubicBezTo>
                        <a:pt x="485" y="227"/>
                        <a:pt x="485" y="227"/>
                        <a:pt x="485" y="227"/>
                      </a:cubicBezTo>
                      <a:close/>
                      <a:moveTo>
                        <a:pt x="482" y="226"/>
                      </a:moveTo>
                      <a:cubicBezTo>
                        <a:pt x="482" y="226"/>
                        <a:pt x="482" y="226"/>
                        <a:pt x="482" y="226"/>
                      </a:cubicBezTo>
                      <a:cubicBezTo>
                        <a:pt x="482" y="226"/>
                        <a:pt x="482" y="226"/>
                        <a:pt x="482" y="226"/>
                      </a:cubicBezTo>
                      <a:cubicBezTo>
                        <a:pt x="482" y="226"/>
                        <a:pt x="482" y="226"/>
                        <a:pt x="482" y="226"/>
                      </a:cubicBezTo>
                      <a:cubicBezTo>
                        <a:pt x="483" y="226"/>
                        <a:pt x="483" y="226"/>
                        <a:pt x="483" y="226"/>
                      </a:cubicBezTo>
                      <a:cubicBezTo>
                        <a:pt x="483" y="226"/>
                        <a:pt x="483" y="226"/>
                        <a:pt x="483" y="226"/>
                      </a:cubicBezTo>
                      <a:cubicBezTo>
                        <a:pt x="483" y="225"/>
                        <a:pt x="483" y="225"/>
                        <a:pt x="483" y="225"/>
                      </a:cubicBezTo>
                      <a:cubicBezTo>
                        <a:pt x="483" y="225"/>
                        <a:pt x="483" y="225"/>
                        <a:pt x="483" y="225"/>
                      </a:cubicBezTo>
                      <a:cubicBezTo>
                        <a:pt x="483" y="224"/>
                        <a:pt x="483" y="224"/>
                        <a:pt x="483" y="224"/>
                      </a:cubicBezTo>
                      <a:cubicBezTo>
                        <a:pt x="483" y="224"/>
                        <a:pt x="483" y="224"/>
                        <a:pt x="483" y="224"/>
                      </a:cubicBezTo>
                      <a:cubicBezTo>
                        <a:pt x="482" y="225"/>
                        <a:pt x="482" y="225"/>
                        <a:pt x="482" y="225"/>
                      </a:cubicBezTo>
                      <a:cubicBezTo>
                        <a:pt x="481" y="225"/>
                        <a:pt x="481" y="225"/>
                        <a:pt x="481" y="225"/>
                      </a:cubicBezTo>
                      <a:cubicBezTo>
                        <a:pt x="481" y="226"/>
                        <a:pt x="481" y="226"/>
                        <a:pt x="481" y="226"/>
                      </a:cubicBezTo>
                      <a:cubicBezTo>
                        <a:pt x="482" y="226"/>
                        <a:pt x="482" y="226"/>
                        <a:pt x="482" y="226"/>
                      </a:cubicBezTo>
                      <a:close/>
                      <a:moveTo>
                        <a:pt x="488" y="229"/>
                      </a:moveTo>
                      <a:cubicBezTo>
                        <a:pt x="488" y="230"/>
                        <a:pt x="488" y="230"/>
                        <a:pt x="488" y="230"/>
                      </a:cubicBezTo>
                      <a:cubicBezTo>
                        <a:pt x="489" y="229"/>
                        <a:pt x="489" y="229"/>
                        <a:pt x="489" y="229"/>
                      </a:cubicBezTo>
                      <a:cubicBezTo>
                        <a:pt x="489" y="229"/>
                        <a:pt x="489" y="229"/>
                        <a:pt x="489" y="229"/>
                      </a:cubicBezTo>
                      <a:cubicBezTo>
                        <a:pt x="489" y="228"/>
                        <a:pt x="489" y="228"/>
                        <a:pt x="489" y="228"/>
                      </a:cubicBezTo>
                      <a:cubicBezTo>
                        <a:pt x="488" y="228"/>
                        <a:pt x="488" y="228"/>
                        <a:pt x="488" y="228"/>
                      </a:cubicBezTo>
                      <a:cubicBezTo>
                        <a:pt x="489" y="229"/>
                        <a:pt x="489" y="229"/>
                        <a:pt x="489" y="229"/>
                      </a:cubicBezTo>
                      <a:cubicBezTo>
                        <a:pt x="488" y="229"/>
                        <a:pt x="488" y="229"/>
                        <a:pt x="488" y="229"/>
                      </a:cubicBezTo>
                      <a:close/>
                      <a:moveTo>
                        <a:pt x="487" y="228"/>
                      </a:moveTo>
                      <a:cubicBezTo>
                        <a:pt x="487" y="229"/>
                        <a:pt x="487" y="229"/>
                        <a:pt x="487" y="229"/>
                      </a:cubicBezTo>
                      <a:cubicBezTo>
                        <a:pt x="487" y="229"/>
                        <a:pt x="487" y="229"/>
                        <a:pt x="487" y="229"/>
                      </a:cubicBezTo>
                      <a:cubicBezTo>
                        <a:pt x="488" y="229"/>
                        <a:pt x="488" y="229"/>
                        <a:pt x="488" y="229"/>
                      </a:cubicBezTo>
                      <a:cubicBezTo>
                        <a:pt x="488" y="228"/>
                        <a:pt x="488" y="228"/>
                        <a:pt x="488" y="228"/>
                      </a:cubicBezTo>
                      <a:cubicBezTo>
                        <a:pt x="487" y="228"/>
                        <a:pt x="487" y="228"/>
                        <a:pt x="487" y="228"/>
                      </a:cubicBezTo>
                      <a:cubicBezTo>
                        <a:pt x="487" y="228"/>
                        <a:pt x="487" y="228"/>
                        <a:pt x="487" y="228"/>
                      </a:cubicBezTo>
                      <a:close/>
                      <a:moveTo>
                        <a:pt x="487" y="232"/>
                      </a:moveTo>
                      <a:cubicBezTo>
                        <a:pt x="488" y="231"/>
                        <a:pt x="488" y="231"/>
                        <a:pt x="488" y="231"/>
                      </a:cubicBezTo>
                      <a:cubicBezTo>
                        <a:pt x="488" y="231"/>
                        <a:pt x="488" y="231"/>
                        <a:pt x="488" y="231"/>
                      </a:cubicBezTo>
                      <a:cubicBezTo>
                        <a:pt x="489" y="231"/>
                        <a:pt x="489" y="231"/>
                        <a:pt x="489" y="231"/>
                      </a:cubicBezTo>
                      <a:cubicBezTo>
                        <a:pt x="489" y="230"/>
                        <a:pt x="489" y="230"/>
                        <a:pt x="489" y="230"/>
                      </a:cubicBezTo>
                      <a:cubicBezTo>
                        <a:pt x="489" y="230"/>
                        <a:pt x="489" y="230"/>
                        <a:pt x="489" y="230"/>
                      </a:cubicBezTo>
                      <a:cubicBezTo>
                        <a:pt x="487" y="230"/>
                        <a:pt x="487" y="230"/>
                        <a:pt x="487" y="230"/>
                      </a:cubicBezTo>
                      <a:cubicBezTo>
                        <a:pt x="487" y="231"/>
                        <a:pt x="487" y="231"/>
                        <a:pt x="487" y="231"/>
                      </a:cubicBezTo>
                      <a:cubicBezTo>
                        <a:pt x="487" y="232"/>
                        <a:pt x="487" y="232"/>
                        <a:pt x="487" y="232"/>
                      </a:cubicBezTo>
                      <a:cubicBezTo>
                        <a:pt x="487" y="232"/>
                        <a:pt x="487" y="232"/>
                        <a:pt x="487" y="232"/>
                      </a:cubicBezTo>
                      <a:close/>
                      <a:moveTo>
                        <a:pt x="524" y="182"/>
                      </a:moveTo>
                      <a:cubicBezTo>
                        <a:pt x="524" y="182"/>
                        <a:pt x="524" y="182"/>
                        <a:pt x="524" y="182"/>
                      </a:cubicBezTo>
                      <a:cubicBezTo>
                        <a:pt x="525" y="181"/>
                        <a:pt x="525" y="181"/>
                        <a:pt x="525" y="181"/>
                      </a:cubicBezTo>
                      <a:cubicBezTo>
                        <a:pt x="525" y="180"/>
                        <a:pt x="525" y="180"/>
                        <a:pt x="525" y="180"/>
                      </a:cubicBezTo>
                      <a:cubicBezTo>
                        <a:pt x="525" y="180"/>
                        <a:pt x="525" y="180"/>
                        <a:pt x="525" y="180"/>
                      </a:cubicBezTo>
                      <a:cubicBezTo>
                        <a:pt x="524" y="181"/>
                        <a:pt x="524" y="181"/>
                        <a:pt x="524" y="181"/>
                      </a:cubicBezTo>
                      <a:cubicBezTo>
                        <a:pt x="524" y="182"/>
                        <a:pt x="524" y="182"/>
                        <a:pt x="524" y="182"/>
                      </a:cubicBezTo>
                      <a:close/>
                      <a:moveTo>
                        <a:pt x="582" y="176"/>
                      </a:moveTo>
                      <a:cubicBezTo>
                        <a:pt x="583" y="176"/>
                        <a:pt x="583" y="176"/>
                        <a:pt x="583" y="176"/>
                      </a:cubicBezTo>
                      <a:cubicBezTo>
                        <a:pt x="583" y="175"/>
                        <a:pt x="583" y="175"/>
                        <a:pt x="583" y="175"/>
                      </a:cubicBezTo>
                      <a:cubicBezTo>
                        <a:pt x="582" y="175"/>
                        <a:pt x="582" y="175"/>
                        <a:pt x="582" y="175"/>
                      </a:cubicBezTo>
                      <a:cubicBezTo>
                        <a:pt x="582" y="174"/>
                        <a:pt x="582" y="174"/>
                        <a:pt x="582" y="174"/>
                      </a:cubicBezTo>
                      <a:cubicBezTo>
                        <a:pt x="582" y="174"/>
                        <a:pt x="582" y="174"/>
                        <a:pt x="582" y="174"/>
                      </a:cubicBezTo>
                      <a:cubicBezTo>
                        <a:pt x="583" y="173"/>
                        <a:pt x="583" y="173"/>
                        <a:pt x="583" y="173"/>
                      </a:cubicBezTo>
                      <a:cubicBezTo>
                        <a:pt x="584" y="172"/>
                        <a:pt x="584" y="172"/>
                        <a:pt x="584" y="172"/>
                      </a:cubicBezTo>
                      <a:cubicBezTo>
                        <a:pt x="585" y="171"/>
                        <a:pt x="585" y="171"/>
                        <a:pt x="585" y="171"/>
                      </a:cubicBezTo>
                      <a:cubicBezTo>
                        <a:pt x="585" y="171"/>
                        <a:pt x="585" y="171"/>
                        <a:pt x="585" y="171"/>
                      </a:cubicBezTo>
                      <a:cubicBezTo>
                        <a:pt x="585" y="170"/>
                        <a:pt x="585" y="170"/>
                        <a:pt x="585" y="170"/>
                      </a:cubicBezTo>
                      <a:cubicBezTo>
                        <a:pt x="585" y="169"/>
                        <a:pt x="585" y="169"/>
                        <a:pt x="585" y="169"/>
                      </a:cubicBezTo>
                      <a:cubicBezTo>
                        <a:pt x="583" y="168"/>
                        <a:pt x="583" y="168"/>
                        <a:pt x="583" y="168"/>
                      </a:cubicBezTo>
                      <a:cubicBezTo>
                        <a:pt x="583" y="168"/>
                        <a:pt x="583" y="168"/>
                        <a:pt x="583" y="168"/>
                      </a:cubicBezTo>
                      <a:cubicBezTo>
                        <a:pt x="582" y="168"/>
                        <a:pt x="582" y="168"/>
                        <a:pt x="582" y="168"/>
                      </a:cubicBezTo>
                      <a:cubicBezTo>
                        <a:pt x="582" y="168"/>
                        <a:pt x="582" y="168"/>
                        <a:pt x="582" y="168"/>
                      </a:cubicBezTo>
                      <a:cubicBezTo>
                        <a:pt x="582" y="169"/>
                        <a:pt x="582" y="169"/>
                        <a:pt x="582" y="169"/>
                      </a:cubicBezTo>
                      <a:cubicBezTo>
                        <a:pt x="581" y="170"/>
                        <a:pt x="581" y="170"/>
                        <a:pt x="581" y="170"/>
                      </a:cubicBezTo>
                      <a:cubicBezTo>
                        <a:pt x="580" y="170"/>
                        <a:pt x="580" y="170"/>
                        <a:pt x="580" y="170"/>
                      </a:cubicBezTo>
                      <a:cubicBezTo>
                        <a:pt x="580" y="171"/>
                        <a:pt x="580" y="171"/>
                        <a:pt x="580" y="171"/>
                      </a:cubicBezTo>
                      <a:cubicBezTo>
                        <a:pt x="580" y="171"/>
                        <a:pt x="580" y="171"/>
                        <a:pt x="580" y="171"/>
                      </a:cubicBezTo>
                      <a:cubicBezTo>
                        <a:pt x="581" y="171"/>
                        <a:pt x="581" y="171"/>
                        <a:pt x="581" y="171"/>
                      </a:cubicBezTo>
                      <a:cubicBezTo>
                        <a:pt x="581" y="171"/>
                        <a:pt x="581" y="171"/>
                        <a:pt x="581" y="171"/>
                      </a:cubicBezTo>
                      <a:cubicBezTo>
                        <a:pt x="581" y="171"/>
                        <a:pt x="581" y="171"/>
                        <a:pt x="581" y="171"/>
                      </a:cubicBezTo>
                      <a:cubicBezTo>
                        <a:pt x="581" y="173"/>
                        <a:pt x="581" y="173"/>
                        <a:pt x="581" y="173"/>
                      </a:cubicBezTo>
                      <a:cubicBezTo>
                        <a:pt x="582" y="173"/>
                        <a:pt x="582" y="173"/>
                        <a:pt x="582" y="173"/>
                      </a:cubicBezTo>
                      <a:cubicBezTo>
                        <a:pt x="582" y="174"/>
                        <a:pt x="582" y="174"/>
                        <a:pt x="582" y="174"/>
                      </a:cubicBezTo>
                      <a:cubicBezTo>
                        <a:pt x="581" y="175"/>
                        <a:pt x="581" y="175"/>
                        <a:pt x="581" y="175"/>
                      </a:cubicBezTo>
                      <a:cubicBezTo>
                        <a:pt x="582" y="175"/>
                        <a:pt x="582" y="175"/>
                        <a:pt x="582" y="175"/>
                      </a:cubicBezTo>
                      <a:cubicBezTo>
                        <a:pt x="582" y="176"/>
                        <a:pt x="582" y="176"/>
                        <a:pt x="582" y="176"/>
                      </a:cubicBezTo>
                      <a:close/>
                      <a:moveTo>
                        <a:pt x="617" y="204"/>
                      </a:moveTo>
                      <a:cubicBezTo>
                        <a:pt x="617" y="204"/>
                        <a:pt x="617" y="204"/>
                        <a:pt x="617" y="204"/>
                      </a:cubicBezTo>
                      <a:cubicBezTo>
                        <a:pt x="618" y="204"/>
                        <a:pt x="618" y="204"/>
                        <a:pt x="618" y="204"/>
                      </a:cubicBezTo>
                      <a:cubicBezTo>
                        <a:pt x="619" y="205"/>
                        <a:pt x="619" y="205"/>
                        <a:pt x="619" y="205"/>
                      </a:cubicBezTo>
                      <a:cubicBezTo>
                        <a:pt x="621" y="206"/>
                        <a:pt x="621" y="206"/>
                        <a:pt x="621" y="206"/>
                      </a:cubicBezTo>
                      <a:cubicBezTo>
                        <a:pt x="621" y="206"/>
                        <a:pt x="621" y="206"/>
                        <a:pt x="621" y="206"/>
                      </a:cubicBezTo>
                      <a:cubicBezTo>
                        <a:pt x="622" y="206"/>
                        <a:pt x="622" y="206"/>
                        <a:pt x="622" y="206"/>
                      </a:cubicBezTo>
                      <a:cubicBezTo>
                        <a:pt x="622" y="205"/>
                        <a:pt x="622" y="205"/>
                        <a:pt x="622" y="205"/>
                      </a:cubicBezTo>
                      <a:cubicBezTo>
                        <a:pt x="621" y="205"/>
                        <a:pt x="621" y="205"/>
                        <a:pt x="621" y="205"/>
                      </a:cubicBezTo>
                      <a:cubicBezTo>
                        <a:pt x="620" y="204"/>
                        <a:pt x="620" y="204"/>
                        <a:pt x="620" y="204"/>
                      </a:cubicBezTo>
                      <a:cubicBezTo>
                        <a:pt x="619" y="204"/>
                        <a:pt x="619" y="204"/>
                        <a:pt x="619" y="204"/>
                      </a:cubicBezTo>
                      <a:cubicBezTo>
                        <a:pt x="618" y="204"/>
                        <a:pt x="618" y="204"/>
                        <a:pt x="618" y="204"/>
                      </a:cubicBezTo>
                      <a:cubicBezTo>
                        <a:pt x="617" y="203"/>
                        <a:pt x="617" y="203"/>
                        <a:pt x="617" y="203"/>
                      </a:cubicBezTo>
                      <a:cubicBezTo>
                        <a:pt x="617" y="204"/>
                        <a:pt x="617" y="204"/>
                        <a:pt x="617" y="204"/>
                      </a:cubicBezTo>
                      <a:close/>
                      <a:moveTo>
                        <a:pt x="607" y="201"/>
                      </a:moveTo>
                      <a:cubicBezTo>
                        <a:pt x="608" y="202"/>
                        <a:pt x="608" y="202"/>
                        <a:pt x="608" y="202"/>
                      </a:cubicBezTo>
                      <a:cubicBezTo>
                        <a:pt x="608" y="202"/>
                        <a:pt x="608" y="202"/>
                        <a:pt x="608" y="202"/>
                      </a:cubicBezTo>
                      <a:cubicBezTo>
                        <a:pt x="609" y="202"/>
                        <a:pt x="609" y="202"/>
                        <a:pt x="609" y="202"/>
                      </a:cubicBezTo>
                      <a:cubicBezTo>
                        <a:pt x="609" y="203"/>
                        <a:pt x="609" y="203"/>
                        <a:pt x="609" y="203"/>
                      </a:cubicBezTo>
                      <a:cubicBezTo>
                        <a:pt x="610" y="204"/>
                        <a:pt x="610" y="204"/>
                        <a:pt x="610" y="204"/>
                      </a:cubicBezTo>
                      <a:cubicBezTo>
                        <a:pt x="611" y="204"/>
                        <a:pt x="611" y="204"/>
                        <a:pt x="611" y="204"/>
                      </a:cubicBezTo>
                      <a:cubicBezTo>
                        <a:pt x="611" y="205"/>
                        <a:pt x="611" y="205"/>
                        <a:pt x="611" y="205"/>
                      </a:cubicBezTo>
                      <a:cubicBezTo>
                        <a:pt x="612" y="205"/>
                        <a:pt x="612" y="205"/>
                        <a:pt x="612" y="205"/>
                      </a:cubicBezTo>
                      <a:cubicBezTo>
                        <a:pt x="612" y="204"/>
                        <a:pt x="612" y="204"/>
                        <a:pt x="612" y="204"/>
                      </a:cubicBezTo>
                      <a:cubicBezTo>
                        <a:pt x="613" y="205"/>
                        <a:pt x="613" y="205"/>
                        <a:pt x="613" y="205"/>
                      </a:cubicBezTo>
                      <a:cubicBezTo>
                        <a:pt x="614" y="205"/>
                        <a:pt x="614" y="205"/>
                        <a:pt x="614" y="205"/>
                      </a:cubicBezTo>
                      <a:cubicBezTo>
                        <a:pt x="614" y="205"/>
                        <a:pt x="614" y="205"/>
                        <a:pt x="614" y="205"/>
                      </a:cubicBezTo>
                      <a:cubicBezTo>
                        <a:pt x="614" y="204"/>
                        <a:pt x="614" y="204"/>
                        <a:pt x="614" y="204"/>
                      </a:cubicBezTo>
                      <a:cubicBezTo>
                        <a:pt x="613" y="204"/>
                        <a:pt x="613" y="204"/>
                        <a:pt x="613" y="204"/>
                      </a:cubicBezTo>
                      <a:cubicBezTo>
                        <a:pt x="611" y="203"/>
                        <a:pt x="611" y="203"/>
                        <a:pt x="611" y="203"/>
                      </a:cubicBezTo>
                      <a:cubicBezTo>
                        <a:pt x="611" y="202"/>
                        <a:pt x="611" y="202"/>
                        <a:pt x="611" y="202"/>
                      </a:cubicBezTo>
                      <a:cubicBezTo>
                        <a:pt x="610" y="202"/>
                        <a:pt x="610" y="202"/>
                        <a:pt x="610" y="202"/>
                      </a:cubicBezTo>
                      <a:cubicBezTo>
                        <a:pt x="609" y="201"/>
                        <a:pt x="609" y="201"/>
                        <a:pt x="609" y="201"/>
                      </a:cubicBezTo>
                      <a:cubicBezTo>
                        <a:pt x="609" y="200"/>
                        <a:pt x="609" y="200"/>
                        <a:pt x="609" y="200"/>
                      </a:cubicBezTo>
                      <a:cubicBezTo>
                        <a:pt x="610" y="200"/>
                        <a:pt x="610" y="200"/>
                        <a:pt x="610" y="200"/>
                      </a:cubicBezTo>
                      <a:cubicBezTo>
                        <a:pt x="609" y="200"/>
                        <a:pt x="609" y="200"/>
                        <a:pt x="609" y="200"/>
                      </a:cubicBezTo>
                      <a:cubicBezTo>
                        <a:pt x="608" y="200"/>
                        <a:pt x="608" y="200"/>
                        <a:pt x="608" y="200"/>
                      </a:cubicBezTo>
                      <a:cubicBezTo>
                        <a:pt x="608" y="200"/>
                        <a:pt x="608" y="200"/>
                        <a:pt x="608" y="200"/>
                      </a:cubicBezTo>
                      <a:cubicBezTo>
                        <a:pt x="607" y="201"/>
                        <a:pt x="607" y="201"/>
                        <a:pt x="607" y="201"/>
                      </a:cubicBezTo>
                      <a:cubicBezTo>
                        <a:pt x="607" y="201"/>
                        <a:pt x="607" y="201"/>
                        <a:pt x="607" y="201"/>
                      </a:cubicBezTo>
                      <a:close/>
                      <a:moveTo>
                        <a:pt x="583" y="246"/>
                      </a:moveTo>
                      <a:cubicBezTo>
                        <a:pt x="584" y="246"/>
                        <a:pt x="584" y="246"/>
                        <a:pt x="584" y="246"/>
                      </a:cubicBezTo>
                      <a:cubicBezTo>
                        <a:pt x="584" y="246"/>
                        <a:pt x="584" y="246"/>
                        <a:pt x="584" y="246"/>
                      </a:cubicBezTo>
                      <a:cubicBezTo>
                        <a:pt x="584" y="245"/>
                        <a:pt x="584" y="245"/>
                        <a:pt x="584" y="245"/>
                      </a:cubicBezTo>
                      <a:cubicBezTo>
                        <a:pt x="583" y="244"/>
                        <a:pt x="583" y="244"/>
                        <a:pt x="583" y="244"/>
                      </a:cubicBezTo>
                      <a:cubicBezTo>
                        <a:pt x="583" y="245"/>
                        <a:pt x="583" y="245"/>
                        <a:pt x="583" y="245"/>
                      </a:cubicBezTo>
                      <a:cubicBezTo>
                        <a:pt x="583" y="245"/>
                        <a:pt x="583" y="245"/>
                        <a:pt x="583" y="245"/>
                      </a:cubicBezTo>
                      <a:cubicBezTo>
                        <a:pt x="583" y="246"/>
                        <a:pt x="583" y="246"/>
                        <a:pt x="583" y="246"/>
                      </a:cubicBezTo>
                      <a:close/>
                      <a:moveTo>
                        <a:pt x="578" y="245"/>
                      </a:moveTo>
                      <a:cubicBezTo>
                        <a:pt x="578" y="246"/>
                        <a:pt x="578" y="246"/>
                        <a:pt x="578" y="246"/>
                      </a:cubicBezTo>
                      <a:cubicBezTo>
                        <a:pt x="579" y="246"/>
                        <a:pt x="579" y="246"/>
                        <a:pt x="579" y="246"/>
                      </a:cubicBezTo>
                      <a:cubicBezTo>
                        <a:pt x="580" y="246"/>
                        <a:pt x="580" y="246"/>
                        <a:pt x="580" y="246"/>
                      </a:cubicBezTo>
                      <a:cubicBezTo>
                        <a:pt x="580" y="245"/>
                        <a:pt x="580" y="245"/>
                        <a:pt x="580" y="245"/>
                      </a:cubicBezTo>
                      <a:cubicBezTo>
                        <a:pt x="579" y="245"/>
                        <a:pt x="579" y="245"/>
                        <a:pt x="579" y="245"/>
                      </a:cubicBezTo>
                      <a:cubicBezTo>
                        <a:pt x="578" y="245"/>
                        <a:pt x="578" y="245"/>
                        <a:pt x="578" y="245"/>
                      </a:cubicBezTo>
                      <a:close/>
                      <a:moveTo>
                        <a:pt x="581" y="252"/>
                      </a:moveTo>
                      <a:cubicBezTo>
                        <a:pt x="581" y="252"/>
                        <a:pt x="581" y="252"/>
                        <a:pt x="581" y="252"/>
                      </a:cubicBezTo>
                      <a:cubicBezTo>
                        <a:pt x="581" y="251"/>
                        <a:pt x="581" y="251"/>
                        <a:pt x="581" y="251"/>
                      </a:cubicBezTo>
                      <a:cubicBezTo>
                        <a:pt x="582" y="251"/>
                        <a:pt x="582" y="251"/>
                        <a:pt x="582" y="251"/>
                      </a:cubicBezTo>
                      <a:cubicBezTo>
                        <a:pt x="582" y="250"/>
                        <a:pt x="582" y="250"/>
                        <a:pt x="582" y="250"/>
                      </a:cubicBezTo>
                      <a:cubicBezTo>
                        <a:pt x="583" y="249"/>
                        <a:pt x="583" y="249"/>
                        <a:pt x="583" y="249"/>
                      </a:cubicBezTo>
                      <a:cubicBezTo>
                        <a:pt x="583" y="248"/>
                        <a:pt x="583" y="248"/>
                        <a:pt x="583" y="248"/>
                      </a:cubicBezTo>
                      <a:cubicBezTo>
                        <a:pt x="583" y="248"/>
                        <a:pt x="583" y="248"/>
                        <a:pt x="583" y="248"/>
                      </a:cubicBezTo>
                      <a:cubicBezTo>
                        <a:pt x="583" y="247"/>
                        <a:pt x="583" y="247"/>
                        <a:pt x="583" y="247"/>
                      </a:cubicBezTo>
                      <a:cubicBezTo>
                        <a:pt x="583" y="247"/>
                        <a:pt x="583" y="247"/>
                        <a:pt x="583" y="247"/>
                      </a:cubicBezTo>
                      <a:cubicBezTo>
                        <a:pt x="582" y="245"/>
                        <a:pt x="582" y="245"/>
                        <a:pt x="582" y="245"/>
                      </a:cubicBezTo>
                      <a:cubicBezTo>
                        <a:pt x="581" y="246"/>
                        <a:pt x="581" y="246"/>
                        <a:pt x="581" y="246"/>
                      </a:cubicBezTo>
                      <a:cubicBezTo>
                        <a:pt x="582" y="248"/>
                        <a:pt x="582" y="248"/>
                        <a:pt x="582" y="248"/>
                      </a:cubicBezTo>
                      <a:cubicBezTo>
                        <a:pt x="581" y="248"/>
                        <a:pt x="581" y="248"/>
                        <a:pt x="581" y="248"/>
                      </a:cubicBezTo>
                      <a:cubicBezTo>
                        <a:pt x="581" y="249"/>
                        <a:pt x="581" y="249"/>
                        <a:pt x="581" y="249"/>
                      </a:cubicBezTo>
                      <a:cubicBezTo>
                        <a:pt x="580" y="249"/>
                        <a:pt x="580" y="249"/>
                        <a:pt x="580" y="249"/>
                      </a:cubicBezTo>
                      <a:cubicBezTo>
                        <a:pt x="580" y="250"/>
                        <a:pt x="580" y="250"/>
                        <a:pt x="580" y="250"/>
                      </a:cubicBezTo>
                      <a:cubicBezTo>
                        <a:pt x="579" y="250"/>
                        <a:pt x="579" y="250"/>
                        <a:pt x="579" y="250"/>
                      </a:cubicBezTo>
                      <a:cubicBezTo>
                        <a:pt x="580" y="251"/>
                        <a:pt x="580" y="251"/>
                        <a:pt x="580" y="251"/>
                      </a:cubicBezTo>
                      <a:cubicBezTo>
                        <a:pt x="580" y="251"/>
                        <a:pt x="580" y="251"/>
                        <a:pt x="580" y="251"/>
                      </a:cubicBezTo>
                      <a:cubicBezTo>
                        <a:pt x="580" y="251"/>
                        <a:pt x="580" y="251"/>
                        <a:pt x="580" y="251"/>
                      </a:cubicBezTo>
                      <a:cubicBezTo>
                        <a:pt x="580" y="252"/>
                        <a:pt x="580" y="252"/>
                        <a:pt x="580" y="252"/>
                      </a:cubicBezTo>
                      <a:cubicBezTo>
                        <a:pt x="581" y="252"/>
                        <a:pt x="581" y="252"/>
                        <a:pt x="581" y="252"/>
                      </a:cubicBezTo>
                      <a:cubicBezTo>
                        <a:pt x="581" y="252"/>
                        <a:pt x="581" y="252"/>
                        <a:pt x="581" y="252"/>
                      </a:cubicBezTo>
                      <a:close/>
                      <a:moveTo>
                        <a:pt x="580" y="257"/>
                      </a:moveTo>
                      <a:cubicBezTo>
                        <a:pt x="580" y="257"/>
                        <a:pt x="581" y="257"/>
                        <a:pt x="581" y="257"/>
                      </a:cubicBezTo>
                      <a:cubicBezTo>
                        <a:pt x="580" y="256"/>
                        <a:pt x="580" y="256"/>
                        <a:pt x="580" y="256"/>
                      </a:cubicBezTo>
                      <a:cubicBezTo>
                        <a:pt x="580" y="255"/>
                        <a:pt x="580" y="255"/>
                        <a:pt x="580" y="255"/>
                      </a:cubicBezTo>
                      <a:cubicBezTo>
                        <a:pt x="580" y="255"/>
                        <a:pt x="580" y="255"/>
                        <a:pt x="580" y="255"/>
                      </a:cubicBezTo>
                      <a:cubicBezTo>
                        <a:pt x="580" y="256"/>
                        <a:pt x="580" y="256"/>
                        <a:pt x="580" y="256"/>
                      </a:cubicBezTo>
                      <a:cubicBezTo>
                        <a:pt x="579" y="257"/>
                        <a:pt x="579" y="257"/>
                        <a:pt x="579" y="257"/>
                      </a:cubicBezTo>
                      <a:cubicBezTo>
                        <a:pt x="580" y="257"/>
                        <a:pt x="580" y="257"/>
                        <a:pt x="580" y="257"/>
                      </a:cubicBezTo>
                      <a:close/>
                      <a:moveTo>
                        <a:pt x="580" y="259"/>
                      </a:moveTo>
                      <a:cubicBezTo>
                        <a:pt x="581" y="259"/>
                        <a:pt x="581" y="259"/>
                        <a:pt x="581" y="259"/>
                      </a:cubicBezTo>
                      <a:cubicBezTo>
                        <a:pt x="581" y="258"/>
                        <a:pt x="581" y="258"/>
                        <a:pt x="581" y="258"/>
                      </a:cubicBezTo>
                      <a:cubicBezTo>
                        <a:pt x="580" y="258"/>
                        <a:pt x="580" y="258"/>
                        <a:pt x="580" y="258"/>
                      </a:cubicBezTo>
                      <a:cubicBezTo>
                        <a:pt x="580" y="258"/>
                        <a:pt x="580" y="258"/>
                        <a:pt x="580" y="258"/>
                      </a:cubicBezTo>
                      <a:cubicBezTo>
                        <a:pt x="580" y="259"/>
                        <a:pt x="580" y="259"/>
                        <a:pt x="580" y="259"/>
                      </a:cubicBezTo>
                      <a:cubicBezTo>
                        <a:pt x="580" y="259"/>
                        <a:pt x="580" y="259"/>
                        <a:pt x="580" y="259"/>
                      </a:cubicBezTo>
                      <a:close/>
                      <a:moveTo>
                        <a:pt x="579" y="260"/>
                      </a:moveTo>
                      <a:cubicBezTo>
                        <a:pt x="579" y="260"/>
                        <a:pt x="579" y="260"/>
                        <a:pt x="579" y="260"/>
                      </a:cubicBezTo>
                      <a:cubicBezTo>
                        <a:pt x="579" y="260"/>
                        <a:pt x="579" y="260"/>
                        <a:pt x="579" y="260"/>
                      </a:cubicBezTo>
                      <a:cubicBezTo>
                        <a:pt x="578" y="260"/>
                        <a:pt x="578" y="260"/>
                        <a:pt x="578" y="260"/>
                      </a:cubicBezTo>
                      <a:cubicBezTo>
                        <a:pt x="578" y="260"/>
                        <a:pt x="578" y="260"/>
                        <a:pt x="578" y="260"/>
                      </a:cubicBezTo>
                      <a:cubicBezTo>
                        <a:pt x="579" y="260"/>
                        <a:pt x="579" y="260"/>
                        <a:pt x="579" y="260"/>
                      </a:cubicBezTo>
                      <a:close/>
                      <a:moveTo>
                        <a:pt x="579" y="262"/>
                      </a:moveTo>
                      <a:cubicBezTo>
                        <a:pt x="580" y="262"/>
                        <a:pt x="580" y="262"/>
                        <a:pt x="580" y="262"/>
                      </a:cubicBezTo>
                      <a:cubicBezTo>
                        <a:pt x="580" y="262"/>
                        <a:pt x="580" y="262"/>
                        <a:pt x="580" y="262"/>
                      </a:cubicBezTo>
                      <a:cubicBezTo>
                        <a:pt x="580" y="261"/>
                        <a:pt x="580" y="261"/>
                        <a:pt x="580" y="261"/>
                      </a:cubicBezTo>
                      <a:cubicBezTo>
                        <a:pt x="580" y="261"/>
                        <a:pt x="580" y="261"/>
                        <a:pt x="580" y="261"/>
                      </a:cubicBezTo>
                      <a:cubicBezTo>
                        <a:pt x="579" y="261"/>
                        <a:pt x="579" y="261"/>
                        <a:pt x="579" y="261"/>
                      </a:cubicBezTo>
                      <a:cubicBezTo>
                        <a:pt x="579" y="262"/>
                        <a:pt x="579" y="262"/>
                        <a:pt x="579" y="262"/>
                      </a:cubicBezTo>
                      <a:close/>
                      <a:moveTo>
                        <a:pt x="578" y="268"/>
                      </a:moveTo>
                      <a:cubicBezTo>
                        <a:pt x="578" y="267"/>
                        <a:pt x="578" y="267"/>
                        <a:pt x="578" y="267"/>
                      </a:cubicBezTo>
                      <a:cubicBezTo>
                        <a:pt x="578" y="267"/>
                        <a:pt x="578" y="267"/>
                        <a:pt x="578" y="267"/>
                      </a:cubicBezTo>
                      <a:cubicBezTo>
                        <a:pt x="578" y="267"/>
                        <a:pt x="578" y="267"/>
                        <a:pt x="578" y="267"/>
                      </a:cubicBezTo>
                      <a:cubicBezTo>
                        <a:pt x="578" y="268"/>
                        <a:pt x="578" y="268"/>
                        <a:pt x="578" y="268"/>
                      </a:cubicBezTo>
                      <a:close/>
                      <a:moveTo>
                        <a:pt x="578" y="271"/>
                      </a:moveTo>
                      <a:cubicBezTo>
                        <a:pt x="578" y="270"/>
                        <a:pt x="578" y="270"/>
                        <a:pt x="578" y="270"/>
                      </a:cubicBezTo>
                      <a:cubicBezTo>
                        <a:pt x="578" y="270"/>
                        <a:pt x="578" y="270"/>
                        <a:pt x="578" y="270"/>
                      </a:cubicBezTo>
                      <a:cubicBezTo>
                        <a:pt x="577" y="270"/>
                        <a:pt x="577" y="270"/>
                        <a:pt x="577" y="270"/>
                      </a:cubicBezTo>
                      <a:cubicBezTo>
                        <a:pt x="578" y="271"/>
                        <a:pt x="578" y="271"/>
                        <a:pt x="578" y="271"/>
                      </a:cubicBezTo>
                      <a:close/>
                      <a:moveTo>
                        <a:pt x="577" y="271"/>
                      </a:moveTo>
                      <a:cubicBezTo>
                        <a:pt x="578" y="272"/>
                        <a:pt x="578" y="272"/>
                        <a:pt x="578" y="272"/>
                      </a:cubicBezTo>
                      <a:cubicBezTo>
                        <a:pt x="578" y="271"/>
                        <a:pt x="578" y="271"/>
                        <a:pt x="578" y="271"/>
                      </a:cubicBezTo>
                      <a:cubicBezTo>
                        <a:pt x="577" y="271"/>
                        <a:pt x="577" y="271"/>
                        <a:pt x="577" y="271"/>
                      </a:cubicBezTo>
                      <a:close/>
                      <a:moveTo>
                        <a:pt x="577" y="273"/>
                      </a:moveTo>
                      <a:cubicBezTo>
                        <a:pt x="577" y="273"/>
                        <a:pt x="577" y="273"/>
                        <a:pt x="577" y="273"/>
                      </a:cubicBezTo>
                      <a:cubicBezTo>
                        <a:pt x="577" y="273"/>
                        <a:pt x="577" y="273"/>
                        <a:pt x="577" y="273"/>
                      </a:cubicBezTo>
                      <a:cubicBezTo>
                        <a:pt x="577" y="273"/>
                        <a:pt x="577" y="273"/>
                        <a:pt x="577" y="273"/>
                      </a:cubicBezTo>
                      <a:cubicBezTo>
                        <a:pt x="577" y="273"/>
                        <a:pt x="577" y="273"/>
                        <a:pt x="577" y="273"/>
                      </a:cubicBezTo>
                      <a:cubicBezTo>
                        <a:pt x="577" y="273"/>
                        <a:pt x="577" y="273"/>
                        <a:pt x="577" y="273"/>
                      </a:cubicBezTo>
                      <a:close/>
                      <a:moveTo>
                        <a:pt x="576" y="277"/>
                      </a:moveTo>
                      <a:cubicBezTo>
                        <a:pt x="576" y="276"/>
                        <a:pt x="576" y="276"/>
                        <a:pt x="576" y="276"/>
                      </a:cubicBezTo>
                      <a:cubicBezTo>
                        <a:pt x="576" y="275"/>
                        <a:pt x="576" y="275"/>
                        <a:pt x="576" y="275"/>
                      </a:cubicBezTo>
                      <a:cubicBezTo>
                        <a:pt x="576" y="275"/>
                        <a:pt x="576" y="275"/>
                        <a:pt x="576" y="275"/>
                      </a:cubicBezTo>
                      <a:cubicBezTo>
                        <a:pt x="576" y="275"/>
                        <a:pt x="576" y="275"/>
                        <a:pt x="576" y="275"/>
                      </a:cubicBezTo>
                      <a:cubicBezTo>
                        <a:pt x="576" y="276"/>
                        <a:pt x="576" y="276"/>
                        <a:pt x="576" y="276"/>
                      </a:cubicBezTo>
                      <a:cubicBezTo>
                        <a:pt x="576" y="277"/>
                        <a:pt x="576" y="277"/>
                        <a:pt x="576" y="277"/>
                      </a:cubicBezTo>
                      <a:close/>
                      <a:moveTo>
                        <a:pt x="568" y="286"/>
                      </a:moveTo>
                      <a:cubicBezTo>
                        <a:pt x="568" y="286"/>
                        <a:pt x="568" y="286"/>
                        <a:pt x="568" y="286"/>
                      </a:cubicBezTo>
                      <a:cubicBezTo>
                        <a:pt x="569" y="286"/>
                        <a:pt x="569" y="286"/>
                        <a:pt x="569" y="286"/>
                      </a:cubicBezTo>
                      <a:cubicBezTo>
                        <a:pt x="570" y="285"/>
                        <a:pt x="570" y="285"/>
                        <a:pt x="570" y="285"/>
                      </a:cubicBezTo>
                      <a:cubicBezTo>
                        <a:pt x="570" y="284"/>
                        <a:pt x="570" y="284"/>
                        <a:pt x="570" y="284"/>
                      </a:cubicBezTo>
                      <a:cubicBezTo>
                        <a:pt x="570" y="283"/>
                        <a:pt x="570" y="283"/>
                        <a:pt x="570" y="283"/>
                      </a:cubicBezTo>
                      <a:cubicBezTo>
                        <a:pt x="571" y="282"/>
                        <a:pt x="571" y="282"/>
                        <a:pt x="571" y="282"/>
                      </a:cubicBezTo>
                      <a:cubicBezTo>
                        <a:pt x="572" y="281"/>
                        <a:pt x="572" y="281"/>
                        <a:pt x="572" y="281"/>
                      </a:cubicBezTo>
                      <a:cubicBezTo>
                        <a:pt x="571" y="281"/>
                        <a:pt x="571" y="281"/>
                        <a:pt x="571" y="281"/>
                      </a:cubicBezTo>
                      <a:cubicBezTo>
                        <a:pt x="570" y="282"/>
                        <a:pt x="570" y="282"/>
                        <a:pt x="570" y="282"/>
                      </a:cubicBezTo>
                      <a:cubicBezTo>
                        <a:pt x="570" y="282"/>
                        <a:pt x="570" y="282"/>
                        <a:pt x="570" y="282"/>
                      </a:cubicBezTo>
                      <a:cubicBezTo>
                        <a:pt x="569" y="283"/>
                        <a:pt x="569" y="283"/>
                        <a:pt x="569" y="283"/>
                      </a:cubicBezTo>
                      <a:cubicBezTo>
                        <a:pt x="569" y="283"/>
                        <a:pt x="569" y="283"/>
                        <a:pt x="569" y="283"/>
                      </a:cubicBezTo>
                      <a:cubicBezTo>
                        <a:pt x="569" y="284"/>
                        <a:pt x="569" y="284"/>
                        <a:pt x="569" y="284"/>
                      </a:cubicBezTo>
                      <a:cubicBezTo>
                        <a:pt x="569" y="284"/>
                        <a:pt x="569" y="284"/>
                        <a:pt x="569" y="284"/>
                      </a:cubicBezTo>
                      <a:cubicBezTo>
                        <a:pt x="568" y="285"/>
                        <a:pt x="568" y="285"/>
                        <a:pt x="568" y="285"/>
                      </a:cubicBezTo>
                      <a:cubicBezTo>
                        <a:pt x="568" y="286"/>
                        <a:pt x="568" y="286"/>
                        <a:pt x="568" y="286"/>
                      </a:cubicBezTo>
                      <a:close/>
                      <a:moveTo>
                        <a:pt x="559" y="296"/>
                      </a:moveTo>
                      <a:cubicBezTo>
                        <a:pt x="559" y="296"/>
                        <a:pt x="559" y="296"/>
                        <a:pt x="559" y="296"/>
                      </a:cubicBezTo>
                      <a:cubicBezTo>
                        <a:pt x="559" y="295"/>
                        <a:pt x="559" y="295"/>
                        <a:pt x="559" y="295"/>
                      </a:cubicBezTo>
                      <a:cubicBezTo>
                        <a:pt x="560" y="294"/>
                        <a:pt x="560" y="294"/>
                        <a:pt x="560" y="294"/>
                      </a:cubicBezTo>
                      <a:cubicBezTo>
                        <a:pt x="560" y="293"/>
                        <a:pt x="560" y="293"/>
                        <a:pt x="560" y="293"/>
                      </a:cubicBezTo>
                      <a:cubicBezTo>
                        <a:pt x="560" y="293"/>
                        <a:pt x="560" y="293"/>
                        <a:pt x="560" y="293"/>
                      </a:cubicBezTo>
                      <a:cubicBezTo>
                        <a:pt x="560" y="292"/>
                        <a:pt x="560" y="292"/>
                        <a:pt x="560" y="292"/>
                      </a:cubicBezTo>
                      <a:cubicBezTo>
                        <a:pt x="561" y="292"/>
                        <a:pt x="561" y="292"/>
                        <a:pt x="561" y="292"/>
                      </a:cubicBezTo>
                      <a:cubicBezTo>
                        <a:pt x="561" y="292"/>
                        <a:pt x="561" y="292"/>
                        <a:pt x="561" y="292"/>
                      </a:cubicBezTo>
                      <a:cubicBezTo>
                        <a:pt x="562" y="292"/>
                        <a:pt x="562" y="292"/>
                        <a:pt x="562" y="292"/>
                      </a:cubicBezTo>
                      <a:cubicBezTo>
                        <a:pt x="563" y="290"/>
                        <a:pt x="563" y="290"/>
                        <a:pt x="563" y="290"/>
                      </a:cubicBezTo>
                      <a:cubicBezTo>
                        <a:pt x="564" y="289"/>
                        <a:pt x="564" y="289"/>
                        <a:pt x="564" y="289"/>
                      </a:cubicBezTo>
                      <a:cubicBezTo>
                        <a:pt x="565" y="289"/>
                        <a:pt x="565" y="289"/>
                        <a:pt x="565" y="289"/>
                      </a:cubicBezTo>
                      <a:cubicBezTo>
                        <a:pt x="565" y="289"/>
                        <a:pt x="565" y="289"/>
                        <a:pt x="565" y="289"/>
                      </a:cubicBezTo>
                      <a:cubicBezTo>
                        <a:pt x="565" y="288"/>
                        <a:pt x="565" y="288"/>
                        <a:pt x="565" y="288"/>
                      </a:cubicBezTo>
                      <a:cubicBezTo>
                        <a:pt x="565" y="287"/>
                        <a:pt x="565" y="287"/>
                        <a:pt x="565" y="287"/>
                      </a:cubicBezTo>
                      <a:cubicBezTo>
                        <a:pt x="564" y="287"/>
                        <a:pt x="564" y="287"/>
                        <a:pt x="564" y="287"/>
                      </a:cubicBezTo>
                      <a:cubicBezTo>
                        <a:pt x="563" y="288"/>
                        <a:pt x="563" y="288"/>
                        <a:pt x="563" y="288"/>
                      </a:cubicBezTo>
                      <a:cubicBezTo>
                        <a:pt x="563" y="289"/>
                        <a:pt x="563" y="289"/>
                        <a:pt x="563" y="289"/>
                      </a:cubicBezTo>
                      <a:cubicBezTo>
                        <a:pt x="563" y="289"/>
                        <a:pt x="563" y="289"/>
                        <a:pt x="563" y="289"/>
                      </a:cubicBezTo>
                      <a:cubicBezTo>
                        <a:pt x="562" y="289"/>
                        <a:pt x="562" y="289"/>
                        <a:pt x="562" y="289"/>
                      </a:cubicBezTo>
                      <a:cubicBezTo>
                        <a:pt x="561" y="289"/>
                        <a:pt x="561" y="289"/>
                        <a:pt x="561" y="289"/>
                      </a:cubicBezTo>
                      <a:cubicBezTo>
                        <a:pt x="561" y="289"/>
                        <a:pt x="561" y="289"/>
                        <a:pt x="561" y="289"/>
                      </a:cubicBezTo>
                      <a:cubicBezTo>
                        <a:pt x="561" y="289"/>
                        <a:pt x="561" y="289"/>
                        <a:pt x="561" y="289"/>
                      </a:cubicBezTo>
                      <a:cubicBezTo>
                        <a:pt x="561" y="289"/>
                        <a:pt x="561" y="289"/>
                        <a:pt x="561" y="289"/>
                      </a:cubicBezTo>
                      <a:cubicBezTo>
                        <a:pt x="561" y="290"/>
                        <a:pt x="561" y="290"/>
                        <a:pt x="561" y="290"/>
                      </a:cubicBezTo>
                      <a:cubicBezTo>
                        <a:pt x="561" y="290"/>
                        <a:pt x="561" y="290"/>
                        <a:pt x="561" y="290"/>
                      </a:cubicBezTo>
                      <a:cubicBezTo>
                        <a:pt x="560" y="291"/>
                        <a:pt x="560" y="291"/>
                        <a:pt x="560" y="291"/>
                      </a:cubicBezTo>
                      <a:cubicBezTo>
                        <a:pt x="560" y="291"/>
                        <a:pt x="560" y="291"/>
                        <a:pt x="560" y="291"/>
                      </a:cubicBezTo>
                      <a:cubicBezTo>
                        <a:pt x="560" y="292"/>
                        <a:pt x="560" y="292"/>
                        <a:pt x="560" y="292"/>
                      </a:cubicBezTo>
                      <a:cubicBezTo>
                        <a:pt x="559" y="293"/>
                        <a:pt x="559" y="293"/>
                        <a:pt x="559" y="293"/>
                      </a:cubicBezTo>
                      <a:cubicBezTo>
                        <a:pt x="559" y="293"/>
                        <a:pt x="559" y="293"/>
                        <a:pt x="559" y="293"/>
                      </a:cubicBezTo>
                      <a:cubicBezTo>
                        <a:pt x="559" y="293"/>
                        <a:pt x="559" y="293"/>
                        <a:pt x="559" y="293"/>
                      </a:cubicBezTo>
                      <a:cubicBezTo>
                        <a:pt x="559" y="294"/>
                        <a:pt x="559" y="294"/>
                        <a:pt x="559" y="294"/>
                      </a:cubicBezTo>
                      <a:cubicBezTo>
                        <a:pt x="559" y="294"/>
                        <a:pt x="559" y="294"/>
                        <a:pt x="559" y="294"/>
                      </a:cubicBezTo>
                      <a:cubicBezTo>
                        <a:pt x="558" y="295"/>
                        <a:pt x="558" y="295"/>
                        <a:pt x="558" y="295"/>
                      </a:cubicBezTo>
                      <a:cubicBezTo>
                        <a:pt x="559" y="296"/>
                        <a:pt x="559" y="296"/>
                        <a:pt x="559" y="296"/>
                      </a:cubicBezTo>
                      <a:close/>
                      <a:moveTo>
                        <a:pt x="555" y="302"/>
                      </a:moveTo>
                      <a:cubicBezTo>
                        <a:pt x="555" y="301"/>
                        <a:pt x="555" y="300"/>
                        <a:pt x="555" y="300"/>
                      </a:cubicBezTo>
                      <a:cubicBezTo>
                        <a:pt x="555" y="298"/>
                        <a:pt x="555" y="298"/>
                        <a:pt x="555" y="298"/>
                      </a:cubicBezTo>
                      <a:cubicBezTo>
                        <a:pt x="556" y="298"/>
                        <a:pt x="556" y="298"/>
                        <a:pt x="556" y="298"/>
                      </a:cubicBezTo>
                      <a:cubicBezTo>
                        <a:pt x="557" y="297"/>
                        <a:pt x="557" y="297"/>
                        <a:pt x="557" y="297"/>
                      </a:cubicBezTo>
                      <a:cubicBezTo>
                        <a:pt x="557" y="296"/>
                        <a:pt x="557" y="296"/>
                        <a:pt x="557" y="296"/>
                      </a:cubicBezTo>
                      <a:cubicBezTo>
                        <a:pt x="557" y="296"/>
                        <a:pt x="557" y="296"/>
                        <a:pt x="557" y="296"/>
                      </a:cubicBezTo>
                      <a:cubicBezTo>
                        <a:pt x="556" y="296"/>
                        <a:pt x="556" y="296"/>
                        <a:pt x="556" y="296"/>
                      </a:cubicBezTo>
                      <a:cubicBezTo>
                        <a:pt x="555" y="296"/>
                        <a:pt x="555" y="296"/>
                        <a:pt x="555" y="296"/>
                      </a:cubicBezTo>
                      <a:cubicBezTo>
                        <a:pt x="555" y="296"/>
                        <a:pt x="555" y="296"/>
                        <a:pt x="555" y="296"/>
                      </a:cubicBezTo>
                      <a:cubicBezTo>
                        <a:pt x="555" y="296"/>
                        <a:pt x="555" y="296"/>
                        <a:pt x="555" y="296"/>
                      </a:cubicBezTo>
                      <a:cubicBezTo>
                        <a:pt x="555" y="297"/>
                        <a:pt x="555" y="297"/>
                        <a:pt x="555" y="297"/>
                      </a:cubicBezTo>
                      <a:cubicBezTo>
                        <a:pt x="554" y="298"/>
                        <a:pt x="554" y="298"/>
                        <a:pt x="554" y="298"/>
                      </a:cubicBezTo>
                      <a:cubicBezTo>
                        <a:pt x="554" y="299"/>
                        <a:pt x="554" y="299"/>
                        <a:pt x="554" y="299"/>
                      </a:cubicBezTo>
                      <a:cubicBezTo>
                        <a:pt x="554" y="300"/>
                        <a:pt x="554" y="300"/>
                        <a:pt x="554" y="300"/>
                      </a:cubicBezTo>
                      <a:cubicBezTo>
                        <a:pt x="554" y="301"/>
                        <a:pt x="554" y="301"/>
                        <a:pt x="554" y="301"/>
                      </a:cubicBezTo>
                      <a:cubicBezTo>
                        <a:pt x="555" y="302"/>
                        <a:pt x="555" y="302"/>
                        <a:pt x="555" y="302"/>
                      </a:cubicBezTo>
                      <a:close/>
                      <a:moveTo>
                        <a:pt x="10" y="232"/>
                      </a:moveTo>
                      <a:cubicBezTo>
                        <a:pt x="10" y="232"/>
                        <a:pt x="9" y="233"/>
                        <a:pt x="9" y="233"/>
                      </a:cubicBezTo>
                      <a:cubicBezTo>
                        <a:pt x="10" y="233"/>
                        <a:pt x="10" y="233"/>
                        <a:pt x="10" y="233"/>
                      </a:cubicBezTo>
                      <a:cubicBezTo>
                        <a:pt x="11" y="233"/>
                        <a:pt x="11" y="233"/>
                        <a:pt x="11" y="233"/>
                      </a:cubicBezTo>
                      <a:lnTo>
                        <a:pt x="10" y="232"/>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Freeform 5">
                  <a:extLst>
                    <a:ext uri="{FF2B5EF4-FFF2-40B4-BE49-F238E27FC236}">
                      <a16:creationId xmlns:a16="http://schemas.microsoft.com/office/drawing/2014/main" id="{027B6B8D-94D5-A583-87CB-0D4F158466D2}"/>
                    </a:ext>
                  </a:extLst>
                </p:cNvPr>
                <p:cNvSpPr>
                  <a:spLocks noEditPoints="1"/>
                </p:cNvSpPr>
                <p:nvPr/>
              </p:nvSpPr>
              <p:spPr bwMode="auto">
                <a:xfrm>
                  <a:off x="1045" y="2166"/>
                  <a:ext cx="55" cy="40"/>
                </a:xfrm>
                <a:custGeom>
                  <a:avLst/>
                  <a:gdLst>
                    <a:gd name="T0" fmla="*/ 0 w 55"/>
                    <a:gd name="T1" fmla="*/ 5 h 40"/>
                    <a:gd name="T2" fmla="*/ 0 w 55"/>
                    <a:gd name="T3" fmla="*/ 5 h 40"/>
                    <a:gd name="T4" fmla="*/ 0 w 55"/>
                    <a:gd name="T5" fmla="*/ 5 h 40"/>
                    <a:gd name="T6" fmla="*/ 0 w 55"/>
                    <a:gd name="T7" fmla="*/ 5 h 40"/>
                    <a:gd name="T8" fmla="*/ 0 w 55"/>
                    <a:gd name="T9" fmla="*/ 5 h 40"/>
                    <a:gd name="T10" fmla="*/ 0 w 55"/>
                    <a:gd name="T11" fmla="*/ 5 h 40"/>
                    <a:gd name="T12" fmla="*/ 10 w 55"/>
                    <a:gd name="T13" fmla="*/ 5 h 40"/>
                    <a:gd name="T14" fmla="*/ 10 w 55"/>
                    <a:gd name="T15" fmla="*/ 2 h 40"/>
                    <a:gd name="T16" fmla="*/ 10 w 55"/>
                    <a:gd name="T17" fmla="*/ 0 h 40"/>
                    <a:gd name="T18" fmla="*/ 7 w 55"/>
                    <a:gd name="T19" fmla="*/ 0 h 40"/>
                    <a:gd name="T20" fmla="*/ 5 w 55"/>
                    <a:gd name="T21" fmla="*/ 2 h 40"/>
                    <a:gd name="T22" fmla="*/ 7 w 55"/>
                    <a:gd name="T23" fmla="*/ 5 h 40"/>
                    <a:gd name="T24" fmla="*/ 10 w 55"/>
                    <a:gd name="T25" fmla="*/ 5 h 40"/>
                    <a:gd name="T26" fmla="*/ 10 w 55"/>
                    <a:gd name="T27" fmla="*/ 5 h 40"/>
                    <a:gd name="T28" fmla="*/ 26 w 55"/>
                    <a:gd name="T29" fmla="*/ 12 h 40"/>
                    <a:gd name="T30" fmla="*/ 24 w 55"/>
                    <a:gd name="T31" fmla="*/ 9 h 40"/>
                    <a:gd name="T32" fmla="*/ 24 w 55"/>
                    <a:gd name="T33" fmla="*/ 7 h 40"/>
                    <a:gd name="T34" fmla="*/ 21 w 55"/>
                    <a:gd name="T35" fmla="*/ 7 h 40"/>
                    <a:gd name="T36" fmla="*/ 21 w 55"/>
                    <a:gd name="T37" fmla="*/ 9 h 40"/>
                    <a:gd name="T38" fmla="*/ 24 w 55"/>
                    <a:gd name="T39" fmla="*/ 12 h 40"/>
                    <a:gd name="T40" fmla="*/ 26 w 55"/>
                    <a:gd name="T41" fmla="*/ 12 h 40"/>
                    <a:gd name="T42" fmla="*/ 26 w 55"/>
                    <a:gd name="T43" fmla="*/ 12 h 40"/>
                    <a:gd name="T44" fmla="*/ 26 w 55"/>
                    <a:gd name="T45" fmla="*/ 12 h 40"/>
                    <a:gd name="T46" fmla="*/ 36 w 55"/>
                    <a:gd name="T47" fmla="*/ 14 h 40"/>
                    <a:gd name="T48" fmla="*/ 33 w 55"/>
                    <a:gd name="T49" fmla="*/ 14 h 40"/>
                    <a:gd name="T50" fmla="*/ 31 w 55"/>
                    <a:gd name="T51" fmla="*/ 14 h 40"/>
                    <a:gd name="T52" fmla="*/ 31 w 55"/>
                    <a:gd name="T53" fmla="*/ 14 h 40"/>
                    <a:gd name="T54" fmla="*/ 33 w 55"/>
                    <a:gd name="T55" fmla="*/ 14 h 40"/>
                    <a:gd name="T56" fmla="*/ 36 w 55"/>
                    <a:gd name="T57" fmla="*/ 14 h 40"/>
                    <a:gd name="T58" fmla="*/ 36 w 55"/>
                    <a:gd name="T59" fmla="*/ 14 h 40"/>
                    <a:gd name="T60" fmla="*/ 36 w 55"/>
                    <a:gd name="T61" fmla="*/ 14 h 40"/>
                    <a:gd name="T62" fmla="*/ 38 w 55"/>
                    <a:gd name="T63" fmla="*/ 19 h 40"/>
                    <a:gd name="T64" fmla="*/ 38 w 55"/>
                    <a:gd name="T65" fmla="*/ 19 h 40"/>
                    <a:gd name="T66" fmla="*/ 36 w 55"/>
                    <a:gd name="T67" fmla="*/ 17 h 40"/>
                    <a:gd name="T68" fmla="*/ 36 w 55"/>
                    <a:gd name="T69" fmla="*/ 17 h 40"/>
                    <a:gd name="T70" fmla="*/ 36 w 55"/>
                    <a:gd name="T71" fmla="*/ 17 h 40"/>
                    <a:gd name="T72" fmla="*/ 38 w 55"/>
                    <a:gd name="T73" fmla="*/ 17 h 40"/>
                    <a:gd name="T74" fmla="*/ 40 w 55"/>
                    <a:gd name="T75" fmla="*/ 17 h 40"/>
                    <a:gd name="T76" fmla="*/ 43 w 55"/>
                    <a:gd name="T77" fmla="*/ 19 h 40"/>
                    <a:gd name="T78" fmla="*/ 40 w 55"/>
                    <a:gd name="T79" fmla="*/ 19 h 40"/>
                    <a:gd name="T80" fmla="*/ 38 w 55"/>
                    <a:gd name="T81" fmla="*/ 19 h 40"/>
                    <a:gd name="T82" fmla="*/ 38 w 55"/>
                    <a:gd name="T83" fmla="*/ 19 h 40"/>
                    <a:gd name="T84" fmla="*/ 40 w 55"/>
                    <a:gd name="T85" fmla="*/ 33 h 40"/>
                    <a:gd name="T86" fmla="*/ 43 w 55"/>
                    <a:gd name="T87" fmla="*/ 35 h 40"/>
                    <a:gd name="T88" fmla="*/ 43 w 55"/>
                    <a:gd name="T89" fmla="*/ 40 h 40"/>
                    <a:gd name="T90" fmla="*/ 45 w 55"/>
                    <a:gd name="T91" fmla="*/ 40 h 40"/>
                    <a:gd name="T92" fmla="*/ 47 w 55"/>
                    <a:gd name="T93" fmla="*/ 38 h 40"/>
                    <a:gd name="T94" fmla="*/ 52 w 55"/>
                    <a:gd name="T95" fmla="*/ 35 h 40"/>
                    <a:gd name="T96" fmla="*/ 55 w 55"/>
                    <a:gd name="T97" fmla="*/ 33 h 40"/>
                    <a:gd name="T98" fmla="*/ 52 w 55"/>
                    <a:gd name="T99" fmla="*/ 33 h 40"/>
                    <a:gd name="T100" fmla="*/ 50 w 55"/>
                    <a:gd name="T101" fmla="*/ 33 h 40"/>
                    <a:gd name="T102" fmla="*/ 52 w 55"/>
                    <a:gd name="T103" fmla="*/ 31 h 40"/>
                    <a:gd name="T104" fmla="*/ 50 w 55"/>
                    <a:gd name="T105" fmla="*/ 28 h 40"/>
                    <a:gd name="T106" fmla="*/ 47 w 55"/>
                    <a:gd name="T107" fmla="*/ 28 h 40"/>
                    <a:gd name="T108" fmla="*/ 45 w 55"/>
                    <a:gd name="T109" fmla="*/ 26 h 40"/>
                    <a:gd name="T110" fmla="*/ 43 w 55"/>
                    <a:gd name="T111" fmla="*/ 26 h 40"/>
                    <a:gd name="T112" fmla="*/ 43 w 55"/>
                    <a:gd name="T113" fmla="*/ 26 h 40"/>
                    <a:gd name="T114" fmla="*/ 43 w 55"/>
                    <a:gd name="T115" fmla="*/ 26 h 40"/>
                    <a:gd name="T116" fmla="*/ 43 w 55"/>
                    <a:gd name="T117" fmla="*/ 31 h 40"/>
                    <a:gd name="T118" fmla="*/ 40 w 55"/>
                    <a:gd name="T119" fmla="*/ 31 h 40"/>
                    <a:gd name="T120" fmla="*/ 40 w 55"/>
                    <a:gd name="T121" fmla="*/ 3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5" h="40">
                      <a:moveTo>
                        <a:pt x="0" y="5"/>
                      </a:moveTo>
                      <a:lnTo>
                        <a:pt x="0" y="5"/>
                      </a:lnTo>
                      <a:lnTo>
                        <a:pt x="0" y="5"/>
                      </a:lnTo>
                      <a:lnTo>
                        <a:pt x="0" y="5"/>
                      </a:lnTo>
                      <a:lnTo>
                        <a:pt x="0" y="5"/>
                      </a:lnTo>
                      <a:lnTo>
                        <a:pt x="0" y="5"/>
                      </a:lnTo>
                      <a:close/>
                      <a:moveTo>
                        <a:pt x="10" y="5"/>
                      </a:moveTo>
                      <a:lnTo>
                        <a:pt x="10" y="2"/>
                      </a:lnTo>
                      <a:lnTo>
                        <a:pt x="10" y="0"/>
                      </a:lnTo>
                      <a:lnTo>
                        <a:pt x="7" y="0"/>
                      </a:lnTo>
                      <a:lnTo>
                        <a:pt x="5" y="2"/>
                      </a:lnTo>
                      <a:lnTo>
                        <a:pt x="7" y="5"/>
                      </a:lnTo>
                      <a:lnTo>
                        <a:pt x="10" y="5"/>
                      </a:lnTo>
                      <a:lnTo>
                        <a:pt x="10" y="5"/>
                      </a:lnTo>
                      <a:close/>
                      <a:moveTo>
                        <a:pt x="26" y="12"/>
                      </a:moveTo>
                      <a:lnTo>
                        <a:pt x="24" y="9"/>
                      </a:lnTo>
                      <a:lnTo>
                        <a:pt x="24" y="7"/>
                      </a:lnTo>
                      <a:lnTo>
                        <a:pt x="21" y="7"/>
                      </a:lnTo>
                      <a:lnTo>
                        <a:pt x="21" y="9"/>
                      </a:lnTo>
                      <a:lnTo>
                        <a:pt x="24" y="12"/>
                      </a:lnTo>
                      <a:lnTo>
                        <a:pt x="26" y="12"/>
                      </a:lnTo>
                      <a:lnTo>
                        <a:pt x="26" y="12"/>
                      </a:lnTo>
                      <a:lnTo>
                        <a:pt x="26" y="12"/>
                      </a:lnTo>
                      <a:close/>
                      <a:moveTo>
                        <a:pt x="36" y="14"/>
                      </a:moveTo>
                      <a:lnTo>
                        <a:pt x="33" y="14"/>
                      </a:lnTo>
                      <a:lnTo>
                        <a:pt x="31" y="14"/>
                      </a:lnTo>
                      <a:lnTo>
                        <a:pt x="31" y="14"/>
                      </a:lnTo>
                      <a:lnTo>
                        <a:pt x="33" y="14"/>
                      </a:lnTo>
                      <a:lnTo>
                        <a:pt x="36" y="14"/>
                      </a:lnTo>
                      <a:lnTo>
                        <a:pt x="36" y="14"/>
                      </a:lnTo>
                      <a:lnTo>
                        <a:pt x="36" y="14"/>
                      </a:lnTo>
                      <a:close/>
                      <a:moveTo>
                        <a:pt x="38" y="19"/>
                      </a:moveTo>
                      <a:lnTo>
                        <a:pt x="38" y="19"/>
                      </a:lnTo>
                      <a:lnTo>
                        <a:pt x="36" y="17"/>
                      </a:lnTo>
                      <a:lnTo>
                        <a:pt x="36" y="17"/>
                      </a:lnTo>
                      <a:lnTo>
                        <a:pt x="36" y="17"/>
                      </a:lnTo>
                      <a:lnTo>
                        <a:pt x="38" y="17"/>
                      </a:lnTo>
                      <a:lnTo>
                        <a:pt x="40" y="17"/>
                      </a:lnTo>
                      <a:lnTo>
                        <a:pt x="43" y="19"/>
                      </a:lnTo>
                      <a:lnTo>
                        <a:pt x="40" y="19"/>
                      </a:lnTo>
                      <a:lnTo>
                        <a:pt x="38" y="19"/>
                      </a:lnTo>
                      <a:lnTo>
                        <a:pt x="38" y="19"/>
                      </a:lnTo>
                      <a:close/>
                      <a:moveTo>
                        <a:pt x="40" y="33"/>
                      </a:moveTo>
                      <a:lnTo>
                        <a:pt x="43" y="35"/>
                      </a:lnTo>
                      <a:lnTo>
                        <a:pt x="43" y="40"/>
                      </a:lnTo>
                      <a:lnTo>
                        <a:pt x="45" y="40"/>
                      </a:lnTo>
                      <a:lnTo>
                        <a:pt x="47" y="38"/>
                      </a:lnTo>
                      <a:lnTo>
                        <a:pt x="52" y="35"/>
                      </a:lnTo>
                      <a:lnTo>
                        <a:pt x="55" y="33"/>
                      </a:lnTo>
                      <a:lnTo>
                        <a:pt x="52" y="33"/>
                      </a:lnTo>
                      <a:lnTo>
                        <a:pt x="50" y="33"/>
                      </a:lnTo>
                      <a:lnTo>
                        <a:pt x="52" y="31"/>
                      </a:lnTo>
                      <a:lnTo>
                        <a:pt x="50" y="28"/>
                      </a:lnTo>
                      <a:lnTo>
                        <a:pt x="47" y="28"/>
                      </a:lnTo>
                      <a:lnTo>
                        <a:pt x="45" y="26"/>
                      </a:lnTo>
                      <a:lnTo>
                        <a:pt x="43" y="26"/>
                      </a:lnTo>
                      <a:lnTo>
                        <a:pt x="43" y="26"/>
                      </a:lnTo>
                      <a:lnTo>
                        <a:pt x="43" y="26"/>
                      </a:lnTo>
                      <a:lnTo>
                        <a:pt x="43" y="31"/>
                      </a:lnTo>
                      <a:lnTo>
                        <a:pt x="40" y="31"/>
                      </a:lnTo>
                      <a:lnTo>
                        <a:pt x="40" y="33"/>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6">
                  <a:extLst>
                    <a:ext uri="{FF2B5EF4-FFF2-40B4-BE49-F238E27FC236}">
                      <a16:creationId xmlns:a16="http://schemas.microsoft.com/office/drawing/2014/main" id="{12B4B2E6-4CDE-8079-16A9-390FA1306000}"/>
                    </a:ext>
                  </a:extLst>
                </p:cNvPr>
                <p:cNvSpPr>
                  <a:spLocks/>
                </p:cNvSpPr>
                <p:nvPr/>
              </p:nvSpPr>
              <p:spPr bwMode="auto">
                <a:xfrm>
                  <a:off x="3160" y="2732"/>
                  <a:ext cx="5" cy="5"/>
                </a:xfrm>
                <a:custGeom>
                  <a:avLst/>
                  <a:gdLst>
                    <a:gd name="T0" fmla="*/ 0 w 5"/>
                    <a:gd name="T1" fmla="*/ 5 h 5"/>
                    <a:gd name="T2" fmla="*/ 3 w 5"/>
                    <a:gd name="T3" fmla="*/ 3 h 5"/>
                    <a:gd name="T4" fmla="*/ 3 w 5"/>
                    <a:gd name="T5" fmla="*/ 0 h 5"/>
                    <a:gd name="T6" fmla="*/ 3 w 5"/>
                    <a:gd name="T7" fmla="*/ 0 h 5"/>
                    <a:gd name="T8" fmla="*/ 5 w 5"/>
                    <a:gd name="T9" fmla="*/ 3 h 5"/>
                    <a:gd name="T10" fmla="*/ 3 w 5"/>
                    <a:gd name="T11" fmla="*/ 5 h 5"/>
                    <a:gd name="T12" fmla="*/ 0 w 5"/>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5" h="5">
                      <a:moveTo>
                        <a:pt x="0" y="5"/>
                      </a:moveTo>
                      <a:lnTo>
                        <a:pt x="3" y="3"/>
                      </a:lnTo>
                      <a:lnTo>
                        <a:pt x="3" y="0"/>
                      </a:lnTo>
                      <a:lnTo>
                        <a:pt x="3" y="0"/>
                      </a:lnTo>
                      <a:lnTo>
                        <a:pt x="5" y="3"/>
                      </a:lnTo>
                      <a:lnTo>
                        <a:pt x="3" y="5"/>
                      </a:lnTo>
                      <a:lnTo>
                        <a:pt x="0" y="5"/>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Freeform 7">
                  <a:extLst>
                    <a:ext uri="{FF2B5EF4-FFF2-40B4-BE49-F238E27FC236}">
                      <a16:creationId xmlns:a16="http://schemas.microsoft.com/office/drawing/2014/main" id="{C64D909F-8D93-0A38-0FA4-8AF26A0C8269}"/>
                    </a:ext>
                  </a:extLst>
                </p:cNvPr>
                <p:cNvSpPr>
                  <a:spLocks noEditPoints="1"/>
                </p:cNvSpPr>
                <p:nvPr/>
              </p:nvSpPr>
              <p:spPr bwMode="auto">
                <a:xfrm>
                  <a:off x="3139" y="2718"/>
                  <a:ext cx="17" cy="12"/>
                </a:xfrm>
                <a:custGeom>
                  <a:avLst/>
                  <a:gdLst>
                    <a:gd name="T0" fmla="*/ 5 w 17"/>
                    <a:gd name="T1" fmla="*/ 7 h 12"/>
                    <a:gd name="T2" fmla="*/ 5 w 17"/>
                    <a:gd name="T3" fmla="*/ 5 h 12"/>
                    <a:gd name="T4" fmla="*/ 5 w 17"/>
                    <a:gd name="T5" fmla="*/ 5 h 12"/>
                    <a:gd name="T6" fmla="*/ 5 w 17"/>
                    <a:gd name="T7" fmla="*/ 3 h 12"/>
                    <a:gd name="T8" fmla="*/ 5 w 17"/>
                    <a:gd name="T9" fmla="*/ 0 h 12"/>
                    <a:gd name="T10" fmla="*/ 2 w 17"/>
                    <a:gd name="T11" fmla="*/ 0 h 12"/>
                    <a:gd name="T12" fmla="*/ 0 w 17"/>
                    <a:gd name="T13" fmla="*/ 3 h 12"/>
                    <a:gd name="T14" fmla="*/ 0 w 17"/>
                    <a:gd name="T15" fmla="*/ 5 h 12"/>
                    <a:gd name="T16" fmla="*/ 2 w 17"/>
                    <a:gd name="T17" fmla="*/ 7 h 12"/>
                    <a:gd name="T18" fmla="*/ 2 w 17"/>
                    <a:gd name="T19" fmla="*/ 7 h 12"/>
                    <a:gd name="T20" fmla="*/ 5 w 17"/>
                    <a:gd name="T21" fmla="*/ 7 h 12"/>
                    <a:gd name="T22" fmla="*/ 5 w 17"/>
                    <a:gd name="T23" fmla="*/ 7 h 12"/>
                    <a:gd name="T24" fmla="*/ 5 w 17"/>
                    <a:gd name="T25" fmla="*/ 12 h 12"/>
                    <a:gd name="T26" fmla="*/ 7 w 17"/>
                    <a:gd name="T27" fmla="*/ 12 h 12"/>
                    <a:gd name="T28" fmla="*/ 7 w 17"/>
                    <a:gd name="T29" fmla="*/ 12 h 12"/>
                    <a:gd name="T30" fmla="*/ 5 w 17"/>
                    <a:gd name="T31" fmla="*/ 12 h 12"/>
                    <a:gd name="T32" fmla="*/ 5 w 17"/>
                    <a:gd name="T33" fmla="*/ 12 h 12"/>
                    <a:gd name="T34" fmla="*/ 5 w 17"/>
                    <a:gd name="T35" fmla="*/ 12 h 12"/>
                    <a:gd name="T36" fmla="*/ 5 w 17"/>
                    <a:gd name="T37" fmla="*/ 12 h 12"/>
                    <a:gd name="T38" fmla="*/ 17 w 17"/>
                    <a:gd name="T39" fmla="*/ 12 h 12"/>
                    <a:gd name="T40" fmla="*/ 17 w 17"/>
                    <a:gd name="T41" fmla="*/ 12 h 12"/>
                    <a:gd name="T42" fmla="*/ 17 w 17"/>
                    <a:gd name="T43" fmla="*/ 10 h 12"/>
                    <a:gd name="T44" fmla="*/ 17 w 17"/>
                    <a:gd name="T45" fmla="*/ 10 h 12"/>
                    <a:gd name="T46" fmla="*/ 14 w 17"/>
                    <a:gd name="T47" fmla="*/ 10 h 12"/>
                    <a:gd name="T48" fmla="*/ 14 w 17"/>
                    <a:gd name="T49" fmla="*/ 12 h 12"/>
                    <a:gd name="T50" fmla="*/ 17 w 17"/>
                    <a:gd name="T51"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 h="12">
                      <a:moveTo>
                        <a:pt x="5" y="7"/>
                      </a:moveTo>
                      <a:lnTo>
                        <a:pt x="5" y="5"/>
                      </a:lnTo>
                      <a:lnTo>
                        <a:pt x="5" y="5"/>
                      </a:lnTo>
                      <a:lnTo>
                        <a:pt x="5" y="3"/>
                      </a:lnTo>
                      <a:lnTo>
                        <a:pt x="5" y="0"/>
                      </a:lnTo>
                      <a:lnTo>
                        <a:pt x="2" y="0"/>
                      </a:lnTo>
                      <a:lnTo>
                        <a:pt x="0" y="3"/>
                      </a:lnTo>
                      <a:lnTo>
                        <a:pt x="0" y="5"/>
                      </a:lnTo>
                      <a:lnTo>
                        <a:pt x="2" y="7"/>
                      </a:lnTo>
                      <a:lnTo>
                        <a:pt x="2" y="7"/>
                      </a:lnTo>
                      <a:lnTo>
                        <a:pt x="5" y="7"/>
                      </a:lnTo>
                      <a:lnTo>
                        <a:pt x="5" y="7"/>
                      </a:lnTo>
                      <a:close/>
                      <a:moveTo>
                        <a:pt x="5" y="12"/>
                      </a:moveTo>
                      <a:lnTo>
                        <a:pt x="7" y="12"/>
                      </a:lnTo>
                      <a:lnTo>
                        <a:pt x="7" y="12"/>
                      </a:lnTo>
                      <a:lnTo>
                        <a:pt x="5" y="12"/>
                      </a:lnTo>
                      <a:lnTo>
                        <a:pt x="5" y="12"/>
                      </a:lnTo>
                      <a:lnTo>
                        <a:pt x="5" y="12"/>
                      </a:lnTo>
                      <a:lnTo>
                        <a:pt x="5" y="12"/>
                      </a:lnTo>
                      <a:close/>
                      <a:moveTo>
                        <a:pt x="17" y="12"/>
                      </a:moveTo>
                      <a:lnTo>
                        <a:pt x="17" y="12"/>
                      </a:lnTo>
                      <a:lnTo>
                        <a:pt x="17" y="10"/>
                      </a:lnTo>
                      <a:lnTo>
                        <a:pt x="17" y="10"/>
                      </a:lnTo>
                      <a:lnTo>
                        <a:pt x="14" y="10"/>
                      </a:lnTo>
                      <a:lnTo>
                        <a:pt x="14" y="12"/>
                      </a:lnTo>
                      <a:lnTo>
                        <a:pt x="17" y="12"/>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Freeform 8">
                  <a:extLst>
                    <a:ext uri="{FF2B5EF4-FFF2-40B4-BE49-F238E27FC236}">
                      <a16:creationId xmlns:a16="http://schemas.microsoft.com/office/drawing/2014/main" id="{729528B8-90E7-B3C7-4BA4-17A6771D653B}"/>
                    </a:ext>
                  </a:extLst>
                </p:cNvPr>
                <p:cNvSpPr>
                  <a:spLocks noEditPoints="1"/>
                </p:cNvSpPr>
                <p:nvPr/>
              </p:nvSpPr>
              <p:spPr bwMode="auto">
                <a:xfrm>
                  <a:off x="3177" y="2649"/>
                  <a:ext cx="106" cy="55"/>
                </a:xfrm>
                <a:custGeom>
                  <a:avLst/>
                  <a:gdLst>
                    <a:gd name="T0" fmla="*/ 104 w 106"/>
                    <a:gd name="T1" fmla="*/ 3 h 55"/>
                    <a:gd name="T2" fmla="*/ 106 w 106"/>
                    <a:gd name="T3" fmla="*/ 3 h 55"/>
                    <a:gd name="T4" fmla="*/ 106 w 106"/>
                    <a:gd name="T5" fmla="*/ 3 h 55"/>
                    <a:gd name="T6" fmla="*/ 104 w 106"/>
                    <a:gd name="T7" fmla="*/ 0 h 55"/>
                    <a:gd name="T8" fmla="*/ 104 w 106"/>
                    <a:gd name="T9" fmla="*/ 3 h 55"/>
                    <a:gd name="T10" fmla="*/ 104 w 106"/>
                    <a:gd name="T11" fmla="*/ 3 h 55"/>
                    <a:gd name="T12" fmla="*/ 104 w 106"/>
                    <a:gd name="T13" fmla="*/ 3 h 55"/>
                    <a:gd name="T14" fmla="*/ 2 w 106"/>
                    <a:gd name="T15" fmla="*/ 53 h 55"/>
                    <a:gd name="T16" fmla="*/ 2 w 106"/>
                    <a:gd name="T17" fmla="*/ 53 h 55"/>
                    <a:gd name="T18" fmla="*/ 2 w 106"/>
                    <a:gd name="T19" fmla="*/ 55 h 55"/>
                    <a:gd name="T20" fmla="*/ 2 w 106"/>
                    <a:gd name="T21" fmla="*/ 53 h 55"/>
                    <a:gd name="T22" fmla="*/ 2 w 106"/>
                    <a:gd name="T23" fmla="*/ 53 h 55"/>
                    <a:gd name="T24" fmla="*/ 0 w 106"/>
                    <a:gd name="T25" fmla="*/ 50 h 55"/>
                    <a:gd name="T26" fmla="*/ 0 w 106"/>
                    <a:gd name="T27" fmla="*/ 48 h 55"/>
                    <a:gd name="T28" fmla="*/ 2 w 106"/>
                    <a:gd name="T29" fmla="*/ 50 h 55"/>
                    <a:gd name="T30" fmla="*/ 2 w 106"/>
                    <a:gd name="T31" fmla="*/ 50 h 55"/>
                    <a:gd name="T32" fmla="*/ 2 w 106"/>
                    <a:gd name="T33" fmla="*/ 50 h 55"/>
                    <a:gd name="T34" fmla="*/ 0 w 106"/>
                    <a:gd name="T35" fmla="*/ 50 h 55"/>
                    <a:gd name="T36" fmla="*/ 0 w 106"/>
                    <a:gd name="T37" fmla="*/ 5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6" h="55">
                      <a:moveTo>
                        <a:pt x="104" y="3"/>
                      </a:moveTo>
                      <a:lnTo>
                        <a:pt x="106" y="3"/>
                      </a:lnTo>
                      <a:lnTo>
                        <a:pt x="106" y="3"/>
                      </a:lnTo>
                      <a:lnTo>
                        <a:pt x="104" y="0"/>
                      </a:lnTo>
                      <a:lnTo>
                        <a:pt x="104" y="3"/>
                      </a:lnTo>
                      <a:lnTo>
                        <a:pt x="104" y="3"/>
                      </a:lnTo>
                      <a:lnTo>
                        <a:pt x="104" y="3"/>
                      </a:lnTo>
                      <a:close/>
                      <a:moveTo>
                        <a:pt x="2" y="53"/>
                      </a:moveTo>
                      <a:lnTo>
                        <a:pt x="2" y="53"/>
                      </a:lnTo>
                      <a:lnTo>
                        <a:pt x="2" y="55"/>
                      </a:lnTo>
                      <a:lnTo>
                        <a:pt x="2" y="53"/>
                      </a:lnTo>
                      <a:lnTo>
                        <a:pt x="2" y="53"/>
                      </a:lnTo>
                      <a:close/>
                      <a:moveTo>
                        <a:pt x="0" y="50"/>
                      </a:moveTo>
                      <a:lnTo>
                        <a:pt x="0" y="48"/>
                      </a:lnTo>
                      <a:lnTo>
                        <a:pt x="2" y="50"/>
                      </a:lnTo>
                      <a:lnTo>
                        <a:pt x="2" y="50"/>
                      </a:lnTo>
                      <a:lnTo>
                        <a:pt x="2" y="50"/>
                      </a:lnTo>
                      <a:lnTo>
                        <a:pt x="0" y="50"/>
                      </a:lnTo>
                      <a:lnTo>
                        <a:pt x="0" y="50"/>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Freeform 9">
                  <a:extLst>
                    <a:ext uri="{FF2B5EF4-FFF2-40B4-BE49-F238E27FC236}">
                      <a16:creationId xmlns:a16="http://schemas.microsoft.com/office/drawing/2014/main" id="{6F0DA75B-37CB-DA7B-651E-6D4CAA9C7B47}"/>
                    </a:ext>
                  </a:extLst>
                </p:cNvPr>
                <p:cNvSpPr>
                  <a:spLocks noEditPoints="1"/>
                </p:cNvSpPr>
                <p:nvPr/>
              </p:nvSpPr>
              <p:spPr bwMode="auto">
                <a:xfrm>
                  <a:off x="3697" y="2457"/>
                  <a:ext cx="24" cy="76"/>
                </a:xfrm>
                <a:custGeom>
                  <a:avLst/>
                  <a:gdLst>
                    <a:gd name="T0" fmla="*/ 4 w 10"/>
                    <a:gd name="T1" fmla="*/ 5 h 32"/>
                    <a:gd name="T2" fmla="*/ 3 w 10"/>
                    <a:gd name="T3" fmla="*/ 4 h 32"/>
                    <a:gd name="T4" fmla="*/ 4 w 10"/>
                    <a:gd name="T5" fmla="*/ 2 h 32"/>
                    <a:gd name="T6" fmla="*/ 4 w 10"/>
                    <a:gd name="T7" fmla="*/ 1 h 32"/>
                    <a:gd name="T8" fmla="*/ 3 w 10"/>
                    <a:gd name="T9" fmla="*/ 1 h 32"/>
                    <a:gd name="T10" fmla="*/ 3 w 10"/>
                    <a:gd name="T11" fmla="*/ 3 h 32"/>
                    <a:gd name="T12" fmla="*/ 3 w 10"/>
                    <a:gd name="T13" fmla="*/ 6 h 32"/>
                    <a:gd name="T14" fmla="*/ 2 w 10"/>
                    <a:gd name="T15" fmla="*/ 11 h 32"/>
                    <a:gd name="T16" fmla="*/ 3 w 10"/>
                    <a:gd name="T17" fmla="*/ 9 h 32"/>
                    <a:gd name="T18" fmla="*/ 3 w 10"/>
                    <a:gd name="T19" fmla="*/ 7 h 32"/>
                    <a:gd name="T20" fmla="*/ 4 w 10"/>
                    <a:gd name="T21" fmla="*/ 7 h 32"/>
                    <a:gd name="T22" fmla="*/ 2 w 10"/>
                    <a:gd name="T23" fmla="*/ 8 h 32"/>
                    <a:gd name="T24" fmla="*/ 2 w 10"/>
                    <a:gd name="T25" fmla="*/ 10 h 32"/>
                    <a:gd name="T26" fmla="*/ 2 w 10"/>
                    <a:gd name="T27" fmla="*/ 11 h 32"/>
                    <a:gd name="T28" fmla="*/ 1 w 10"/>
                    <a:gd name="T29" fmla="*/ 10 h 32"/>
                    <a:gd name="T30" fmla="*/ 0 w 10"/>
                    <a:gd name="T31" fmla="*/ 10 h 32"/>
                    <a:gd name="T32" fmla="*/ 3 w 10"/>
                    <a:gd name="T33" fmla="*/ 15 h 32"/>
                    <a:gd name="T34" fmla="*/ 3 w 10"/>
                    <a:gd name="T35" fmla="*/ 13 h 32"/>
                    <a:gd name="T36" fmla="*/ 2 w 10"/>
                    <a:gd name="T37" fmla="*/ 14 h 32"/>
                    <a:gd name="T38" fmla="*/ 4 w 10"/>
                    <a:gd name="T39" fmla="*/ 20 h 32"/>
                    <a:gd name="T40" fmla="*/ 4 w 10"/>
                    <a:gd name="T41" fmla="*/ 21 h 32"/>
                    <a:gd name="T42" fmla="*/ 6 w 10"/>
                    <a:gd name="T43" fmla="*/ 24 h 32"/>
                    <a:gd name="T44" fmla="*/ 7 w 10"/>
                    <a:gd name="T45" fmla="*/ 25 h 32"/>
                    <a:gd name="T46" fmla="*/ 6 w 10"/>
                    <a:gd name="T47" fmla="*/ 24 h 32"/>
                    <a:gd name="T48" fmla="*/ 8 w 10"/>
                    <a:gd name="T49" fmla="*/ 25 h 32"/>
                    <a:gd name="T50" fmla="*/ 8 w 10"/>
                    <a:gd name="T51" fmla="*/ 25 h 32"/>
                    <a:gd name="T52" fmla="*/ 8 w 10"/>
                    <a:gd name="T53" fmla="*/ 24 h 32"/>
                    <a:gd name="T54" fmla="*/ 8 w 10"/>
                    <a:gd name="T55" fmla="*/ 27 h 32"/>
                    <a:gd name="T56" fmla="*/ 8 w 10"/>
                    <a:gd name="T57" fmla="*/ 26 h 32"/>
                    <a:gd name="T58" fmla="*/ 7 w 10"/>
                    <a:gd name="T59" fmla="*/ 27 h 32"/>
                    <a:gd name="T60" fmla="*/ 9 w 10"/>
                    <a:gd name="T61" fmla="*/ 28 h 32"/>
                    <a:gd name="T62" fmla="*/ 8 w 10"/>
                    <a:gd name="T63" fmla="*/ 29 h 32"/>
                    <a:gd name="T64" fmla="*/ 9 w 10"/>
                    <a:gd name="T65" fmla="*/ 29 h 32"/>
                    <a:gd name="T66" fmla="*/ 9 w 10"/>
                    <a:gd name="T67" fmla="*/ 30 h 32"/>
                    <a:gd name="T68" fmla="*/ 10 w 10"/>
                    <a:gd name="T69" fmla="*/ 32 h 32"/>
                    <a:gd name="T70" fmla="*/ 10 w 10"/>
                    <a:gd name="T71" fmla="*/ 30 h 32"/>
                    <a:gd name="T72" fmla="*/ 9 w 10"/>
                    <a:gd name="T73" fmla="*/ 2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 h="32">
                      <a:moveTo>
                        <a:pt x="3" y="6"/>
                      </a:moveTo>
                      <a:cubicBezTo>
                        <a:pt x="4" y="5"/>
                        <a:pt x="4" y="5"/>
                        <a:pt x="4" y="5"/>
                      </a:cubicBezTo>
                      <a:cubicBezTo>
                        <a:pt x="4" y="4"/>
                        <a:pt x="4" y="4"/>
                        <a:pt x="4" y="4"/>
                      </a:cubicBezTo>
                      <a:cubicBezTo>
                        <a:pt x="3" y="4"/>
                        <a:pt x="3" y="4"/>
                        <a:pt x="3" y="4"/>
                      </a:cubicBezTo>
                      <a:cubicBezTo>
                        <a:pt x="4" y="3"/>
                        <a:pt x="4" y="3"/>
                        <a:pt x="4" y="3"/>
                      </a:cubicBezTo>
                      <a:cubicBezTo>
                        <a:pt x="4" y="2"/>
                        <a:pt x="4" y="2"/>
                        <a:pt x="4" y="2"/>
                      </a:cubicBezTo>
                      <a:cubicBezTo>
                        <a:pt x="4" y="2"/>
                        <a:pt x="4" y="2"/>
                        <a:pt x="4" y="2"/>
                      </a:cubicBezTo>
                      <a:cubicBezTo>
                        <a:pt x="4" y="1"/>
                        <a:pt x="4" y="1"/>
                        <a:pt x="4" y="1"/>
                      </a:cubicBezTo>
                      <a:cubicBezTo>
                        <a:pt x="4" y="0"/>
                        <a:pt x="4" y="0"/>
                        <a:pt x="4" y="0"/>
                      </a:cubicBezTo>
                      <a:cubicBezTo>
                        <a:pt x="3" y="1"/>
                        <a:pt x="3" y="1"/>
                        <a:pt x="3" y="1"/>
                      </a:cubicBezTo>
                      <a:cubicBezTo>
                        <a:pt x="3" y="3"/>
                        <a:pt x="3" y="3"/>
                        <a:pt x="3" y="3"/>
                      </a:cubicBezTo>
                      <a:cubicBezTo>
                        <a:pt x="3" y="3"/>
                        <a:pt x="3" y="3"/>
                        <a:pt x="3" y="3"/>
                      </a:cubicBezTo>
                      <a:cubicBezTo>
                        <a:pt x="3" y="4"/>
                        <a:pt x="3" y="4"/>
                        <a:pt x="3" y="4"/>
                      </a:cubicBezTo>
                      <a:cubicBezTo>
                        <a:pt x="3" y="6"/>
                        <a:pt x="3" y="6"/>
                        <a:pt x="3" y="6"/>
                      </a:cubicBezTo>
                      <a:cubicBezTo>
                        <a:pt x="3" y="6"/>
                        <a:pt x="3" y="6"/>
                        <a:pt x="3" y="6"/>
                      </a:cubicBezTo>
                      <a:close/>
                      <a:moveTo>
                        <a:pt x="2" y="11"/>
                      </a:moveTo>
                      <a:cubicBezTo>
                        <a:pt x="3" y="10"/>
                        <a:pt x="3" y="10"/>
                        <a:pt x="3" y="10"/>
                      </a:cubicBezTo>
                      <a:cubicBezTo>
                        <a:pt x="3" y="9"/>
                        <a:pt x="3" y="9"/>
                        <a:pt x="3" y="9"/>
                      </a:cubicBezTo>
                      <a:cubicBezTo>
                        <a:pt x="3" y="8"/>
                        <a:pt x="3" y="8"/>
                        <a:pt x="3" y="8"/>
                      </a:cubicBezTo>
                      <a:cubicBezTo>
                        <a:pt x="3" y="7"/>
                        <a:pt x="3" y="7"/>
                        <a:pt x="3" y="7"/>
                      </a:cubicBezTo>
                      <a:cubicBezTo>
                        <a:pt x="4" y="7"/>
                        <a:pt x="4" y="7"/>
                        <a:pt x="4" y="7"/>
                      </a:cubicBezTo>
                      <a:cubicBezTo>
                        <a:pt x="4" y="7"/>
                        <a:pt x="4" y="7"/>
                        <a:pt x="4" y="7"/>
                      </a:cubicBezTo>
                      <a:cubicBezTo>
                        <a:pt x="2" y="7"/>
                        <a:pt x="2" y="7"/>
                        <a:pt x="2" y="7"/>
                      </a:cubicBezTo>
                      <a:cubicBezTo>
                        <a:pt x="2" y="8"/>
                        <a:pt x="2" y="8"/>
                        <a:pt x="2" y="8"/>
                      </a:cubicBezTo>
                      <a:cubicBezTo>
                        <a:pt x="2" y="9"/>
                        <a:pt x="2" y="9"/>
                        <a:pt x="2" y="9"/>
                      </a:cubicBezTo>
                      <a:cubicBezTo>
                        <a:pt x="2" y="10"/>
                        <a:pt x="2" y="10"/>
                        <a:pt x="2" y="10"/>
                      </a:cubicBezTo>
                      <a:cubicBezTo>
                        <a:pt x="2" y="11"/>
                        <a:pt x="2" y="11"/>
                        <a:pt x="2" y="11"/>
                      </a:cubicBezTo>
                      <a:cubicBezTo>
                        <a:pt x="2" y="11"/>
                        <a:pt x="2" y="11"/>
                        <a:pt x="2" y="11"/>
                      </a:cubicBezTo>
                      <a:close/>
                      <a:moveTo>
                        <a:pt x="0" y="10"/>
                      </a:moveTo>
                      <a:cubicBezTo>
                        <a:pt x="1" y="10"/>
                        <a:pt x="1" y="10"/>
                        <a:pt x="1" y="10"/>
                      </a:cubicBezTo>
                      <a:cubicBezTo>
                        <a:pt x="1" y="10"/>
                        <a:pt x="1" y="10"/>
                        <a:pt x="1" y="10"/>
                      </a:cubicBezTo>
                      <a:cubicBezTo>
                        <a:pt x="0" y="10"/>
                        <a:pt x="0" y="10"/>
                        <a:pt x="0" y="10"/>
                      </a:cubicBezTo>
                      <a:close/>
                      <a:moveTo>
                        <a:pt x="2" y="15"/>
                      </a:moveTo>
                      <a:cubicBezTo>
                        <a:pt x="3" y="15"/>
                        <a:pt x="3" y="15"/>
                        <a:pt x="3" y="15"/>
                      </a:cubicBezTo>
                      <a:cubicBezTo>
                        <a:pt x="3" y="14"/>
                        <a:pt x="3" y="14"/>
                        <a:pt x="3" y="14"/>
                      </a:cubicBezTo>
                      <a:cubicBezTo>
                        <a:pt x="3" y="13"/>
                        <a:pt x="3" y="13"/>
                        <a:pt x="3" y="13"/>
                      </a:cubicBezTo>
                      <a:cubicBezTo>
                        <a:pt x="2" y="13"/>
                        <a:pt x="2" y="13"/>
                        <a:pt x="2" y="13"/>
                      </a:cubicBezTo>
                      <a:cubicBezTo>
                        <a:pt x="2" y="14"/>
                        <a:pt x="2" y="14"/>
                        <a:pt x="2" y="14"/>
                      </a:cubicBezTo>
                      <a:cubicBezTo>
                        <a:pt x="2" y="14"/>
                        <a:pt x="2" y="15"/>
                        <a:pt x="2" y="15"/>
                      </a:cubicBezTo>
                      <a:close/>
                      <a:moveTo>
                        <a:pt x="4" y="20"/>
                      </a:moveTo>
                      <a:cubicBezTo>
                        <a:pt x="3" y="21"/>
                        <a:pt x="3" y="21"/>
                        <a:pt x="3" y="21"/>
                      </a:cubicBezTo>
                      <a:cubicBezTo>
                        <a:pt x="4" y="21"/>
                        <a:pt x="4" y="21"/>
                        <a:pt x="4" y="21"/>
                      </a:cubicBezTo>
                      <a:cubicBezTo>
                        <a:pt x="4" y="20"/>
                        <a:pt x="4" y="20"/>
                        <a:pt x="4" y="20"/>
                      </a:cubicBezTo>
                      <a:close/>
                      <a:moveTo>
                        <a:pt x="6" y="24"/>
                      </a:moveTo>
                      <a:cubicBezTo>
                        <a:pt x="6" y="24"/>
                        <a:pt x="6" y="24"/>
                        <a:pt x="6" y="24"/>
                      </a:cubicBezTo>
                      <a:cubicBezTo>
                        <a:pt x="7" y="25"/>
                        <a:pt x="7" y="25"/>
                        <a:pt x="7" y="25"/>
                      </a:cubicBezTo>
                      <a:cubicBezTo>
                        <a:pt x="6" y="24"/>
                        <a:pt x="6" y="24"/>
                        <a:pt x="6" y="24"/>
                      </a:cubicBezTo>
                      <a:cubicBezTo>
                        <a:pt x="6" y="24"/>
                        <a:pt x="6" y="24"/>
                        <a:pt x="6" y="24"/>
                      </a:cubicBezTo>
                      <a:close/>
                      <a:moveTo>
                        <a:pt x="8" y="24"/>
                      </a:moveTo>
                      <a:cubicBezTo>
                        <a:pt x="8" y="25"/>
                        <a:pt x="8" y="25"/>
                        <a:pt x="8" y="25"/>
                      </a:cubicBezTo>
                      <a:cubicBezTo>
                        <a:pt x="8" y="26"/>
                        <a:pt x="8" y="26"/>
                        <a:pt x="8" y="26"/>
                      </a:cubicBezTo>
                      <a:cubicBezTo>
                        <a:pt x="8" y="25"/>
                        <a:pt x="8" y="25"/>
                        <a:pt x="8" y="25"/>
                      </a:cubicBezTo>
                      <a:cubicBezTo>
                        <a:pt x="8" y="25"/>
                        <a:pt x="8" y="25"/>
                        <a:pt x="8" y="25"/>
                      </a:cubicBezTo>
                      <a:cubicBezTo>
                        <a:pt x="8" y="24"/>
                        <a:pt x="8" y="24"/>
                        <a:pt x="8" y="24"/>
                      </a:cubicBezTo>
                      <a:close/>
                      <a:moveTo>
                        <a:pt x="7" y="27"/>
                      </a:moveTo>
                      <a:cubicBezTo>
                        <a:pt x="8" y="27"/>
                        <a:pt x="8" y="27"/>
                        <a:pt x="8" y="27"/>
                      </a:cubicBezTo>
                      <a:cubicBezTo>
                        <a:pt x="8" y="27"/>
                        <a:pt x="8" y="27"/>
                        <a:pt x="8" y="27"/>
                      </a:cubicBezTo>
                      <a:cubicBezTo>
                        <a:pt x="8" y="26"/>
                        <a:pt x="8" y="26"/>
                        <a:pt x="8" y="26"/>
                      </a:cubicBezTo>
                      <a:cubicBezTo>
                        <a:pt x="7" y="26"/>
                        <a:pt x="7" y="26"/>
                        <a:pt x="7" y="26"/>
                      </a:cubicBezTo>
                      <a:cubicBezTo>
                        <a:pt x="7" y="27"/>
                        <a:pt x="7" y="27"/>
                        <a:pt x="7" y="27"/>
                      </a:cubicBezTo>
                      <a:close/>
                      <a:moveTo>
                        <a:pt x="9" y="29"/>
                      </a:moveTo>
                      <a:cubicBezTo>
                        <a:pt x="9" y="28"/>
                        <a:pt x="9" y="28"/>
                        <a:pt x="9" y="28"/>
                      </a:cubicBezTo>
                      <a:cubicBezTo>
                        <a:pt x="9" y="28"/>
                        <a:pt x="9" y="28"/>
                        <a:pt x="9" y="28"/>
                      </a:cubicBezTo>
                      <a:cubicBezTo>
                        <a:pt x="8" y="29"/>
                        <a:pt x="8" y="29"/>
                        <a:pt x="8" y="29"/>
                      </a:cubicBezTo>
                      <a:cubicBezTo>
                        <a:pt x="9" y="29"/>
                        <a:pt x="9" y="29"/>
                        <a:pt x="9" y="29"/>
                      </a:cubicBezTo>
                      <a:close/>
                      <a:moveTo>
                        <a:pt x="9" y="29"/>
                      </a:moveTo>
                      <a:cubicBezTo>
                        <a:pt x="9" y="30"/>
                        <a:pt x="9" y="30"/>
                        <a:pt x="9" y="30"/>
                      </a:cubicBezTo>
                      <a:cubicBezTo>
                        <a:pt x="9" y="30"/>
                        <a:pt x="9" y="30"/>
                        <a:pt x="9" y="30"/>
                      </a:cubicBezTo>
                      <a:cubicBezTo>
                        <a:pt x="9" y="30"/>
                        <a:pt x="9" y="31"/>
                        <a:pt x="9" y="31"/>
                      </a:cubicBezTo>
                      <a:cubicBezTo>
                        <a:pt x="9" y="31"/>
                        <a:pt x="10" y="32"/>
                        <a:pt x="10" y="32"/>
                      </a:cubicBezTo>
                      <a:cubicBezTo>
                        <a:pt x="10" y="31"/>
                        <a:pt x="10" y="31"/>
                        <a:pt x="10" y="31"/>
                      </a:cubicBezTo>
                      <a:cubicBezTo>
                        <a:pt x="10" y="30"/>
                        <a:pt x="10" y="30"/>
                        <a:pt x="10" y="30"/>
                      </a:cubicBezTo>
                      <a:cubicBezTo>
                        <a:pt x="10" y="29"/>
                        <a:pt x="10" y="29"/>
                        <a:pt x="10" y="29"/>
                      </a:cubicBezTo>
                      <a:lnTo>
                        <a:pt x="9" y="29"/>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Freeform 10">
                  <a:extLst>
                    <a:ext uri="{FF2B5EF4-FFF2-40B4-BE49-F238E27FC236}">
                      <a16:creationId xmlns:a16="http://schemas.microsoft.com/office/drawing/2014/main" id="{47B91117-FA37-4743-31BF-169EF1102376}"/>
                    </a:ext>
                  </a:extLst>
                </p:cNvPr>
                <p:cNvSpPr>
                  <a:spLocks noEditPoints="1"/>
                </p:cNvSpPr>
                <p:nvPr/>
              </p:nvSpPr>
              <p:spPr bwMode="auto">
                <a:xfrm>
                  <a:off x="4289" y="2436"/>
                  <a:ext cx="14" cy="24"/>
                </a:xfrm>
                <a:custGeom>
                  <a:avLst/>
                  <a:gdLst>
                    <a:gd name="T0" fmla="*/ 14 w 14"/>
                    <a:gd name="T1" fmla="*/ 0 h 24"/>
                    <a:gd name="T2" fmla="*/ 12 w 14"/>
                    <a:gd name="T3" fmla="*/ 3 h 24"/>
                    <a:gd name="T4" fmla="*/ 14 w 14"/>
                    <a:gd name="T5" fmla="*/ 5 h 24"/>
                    <a:gd name="T6" fmla="*/ 14 w 14"/>
                    <a:gd name="T7" fmla="*/ 3 h 24"/>
                    <a:gd name="T8" fmla="*/ 14 w 14"/>
                    <a:gd name="T9" fmla="*/ 0 h 24"/>
                    <a:gd name="T10" fmla="*/ 14 w 14"/>
                    <a:gd name="T11" fmla="*/ 0 h 24"/>
                    <a:gd name="T12" fmla="*/ 14 w 14"/>
                    <a:gd name="T13" fmla="*/ 0 h 24"/>
                    <a:gd name="T14" fmla="*/ 7 w 14"/>
                    <a:gd name="T15" fmla="*/ 14 h 24"/>
                    <a:gd name="T16" fmla="*/ 9 w 14"/>
                    <a:gd name="T17" fmla="*/ 14 h 24"/>
                    <a:gd name="T18" fmla="*/ 9 w 14"/>
                    <a:gd name="T19" fmla="*/ 14 h 24"/>
                    <a:gd name="T20" fmla="*/ 9 w 14"/>
                    <a:gd name="T21" fmla="*/ 14 h 24"/>
                    <a:gd name="T22" fmla="*/ 7 w 14"/>
                    <a:gd name="T23" fmla="*/ 14 h 24"/>
                    <a:gd name="T24" fmla="*/ 7 w 14"/>
                    <a:gd name="T25" fmla="*/ 14 h 24"/>
                    <a:gd name="T26" fmla="*/ 2 w 14"/>
                    <a:gd name="T27" fmla="*/ 21 h 24"/>
                    <a:gd name="T28" fmla="*/ 2 w 14"/>
                    <a:gd name="T29" fmla="*/ 21 h 24"/>
                    <a:gd name="T30" fmla="*/ 5 w 14"/>
                    <a:gd name="T31" fmla="*/ 21 h 24"/>
                    <a:gd name="T32" fmla="*/ 5 w 14"/>
                    <a:gd name="T33" fmla="*/ 21 h 24"/>
                    <a:gd name="T34" fmla="*/ 2 w 14"/>
                    <a:gd name="T35" fmla="*/ 24 h 24"/>
                    <a:gd name="T36" fmla="*/ 2 w 14"/>
                    <a:gd name="T37" fmla="*/ 24 h 24"/>
                    <a:gd name="T38" fmla="*/ 0 w 14"/>
                    <a:gd name="T39" fmla="*/ 24 h 24"/>
                    <a:gd name="T40" fmla="*/ 2 w 14"/>
                    <a:gd name="T41" fmla="*/ 21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4">
                      <a:moveTo>
                        <a:pt x="14" y="0"/>
                      </a:moveTo>
                      <a:lnTo>
                        <a:pt x="12" y="3"/>
                      </a:lnTo>
                      <a:lnTo>
                        <a:pt x="14" y="5"/>
                      </a:lnTo>
                      <a:lnTo>
                        <a:pt x="14" y="3"/>
                      </a:lnTo>
                      <a:lnTo>
                        <a:pt x="14" y="0"/>
                      </a:lnTo>
                      <a:lnTo>
                        <a:pt x="14" y="0"/>
                      </a:lnTo>
                      <a:lnTo>
                        <a:pt x="14" y="0"/>
                      </a:lnTo>
                      <a:close/>
                      <a:moveTo>
                        <a:pt x="7" y="14"/>
                      </a:moveTo>
                      <a:lnTo>
                        <a:pt x="9" y="14"/>
                      </a:lnTo>
                      <a:lnTo>
                        <a:pt x="9" y="14"/>
                      </a:lnTo>
                      <a:lnTo>
                        <a:pt x="9" y="14"/>
                      </a:lnTo>
                      <a:lnTo>
                        <a:pt x="7" y="14"/>
                      </a:lnTo>
                      <a:lnTo>
                        <a:pt x="7" y="14"/>
                      </a:lnTo>
                      <a:close/>
                      <a:moveTo>
                        <a:pt x="2" y="21"/>
                      </a:moveTo>
                      <a:lnTo>
                        <a:pt x="2" y="21"/>
                      </a:lnTo>
                      <a:lnTo>
                        <a:pt x="5" y="21"/>
                      </a:lnTo>
                      <a:lnTo>
                        <a:pt x="5" y="21"/>
                      </a:lnTo>
                      <a:lnTo>
                        <a:pt x="2" y="24"/>
                      </a:lnTo>
                      <a:lnTo>
                        <a:pt x="2" y="24"/>
                      </a:lnTo>
                      <a:lnTo>
                        <a:pt x="0" y="24"/>
                      </a:lnTo>
                      <a:lnTo>
                        <a:pt x="2" y="21"/>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Freeform 12">
                  <a:extLst>
                    <a:ext uri="{FF2B5EF4-FFF2-40B4-BE49-F238E27FC236}">
                      <a16:creationId xmlns:a16="http://schemas.microsoft.com/office/drawing/2014/main" id="{0C615EA0-AE12-F796-BE5B-8E0B172085E8}"/>
                    </a:ext>
                  </a:extLst>
                </p:cNvPr>
                <p:cNvSpPr>
                  <a:spLocks noEditPoints="1"/>
                </p:cNvSpPr>
                <p:nvPr/>
              </p:nvSpPr>
              <p:spPr bwMode="auto">
                <a:xfrm>
                  <a:off x="2725" y="1443"/>
                  <a:ext cx="161" cy="178"/>
                </a:xfrm>
                <a:custGeom>
                  <a:avLst/>
                  <a:gdLst>
                    <a:gd name="T0" fmla="*/ 65 w 68"/>
                    <a:gd name="T1" fmla="*/ 7 h 75"/>
                    <a:gd name="T2" fmla="*/ 28 w 68"/>
                    <a:gd name="T3" fmla="*/ 1 h 75"/>
                    <a:gd name="T4" fmla="*/ 23 w 68"/>
                    <a:gd name="T5" fmla="*/ 8 h 75"/>
                    <a:gd name="T6" fmla="*/ 30 w 68"/>
                    <a:gd name="T7" fmla="*/ 14 h 75"/>
                    <a:gd name="T8" fmla="*/ 30 w 68"/>
                    <a:gd name="T9" fmla="*/ 15 h 75"/>
                    <a:gd name="T10" fmla="*/ 27 w 68"/>
                    <a:gd name="T11" fmla="*/ 16 h 75"/>
                    <a:gd name="T12" fmla="*/ 36 w 68"/>
                    <a:gd name="T13" fmla="*/ 19 h 75"/>
                    <a:gd name="T14" fmla="*/ 42 w 68"/>
                    <a:gd name="T15" fmla="*/ 19 h 75"/>
                    <a:gd name="T16" fmla="*/ 49 w 68"/>
                    <a:gd name="T17" fmla="*/ 14 h 75"/>
                    <a:gd name="T18" fmla="*/ 48 w 68"/>
                    <a:gd name="T19" fmla="*/ 8 h 75"/>
                    <a:gd name="T20" fmla="*/ 41 w 68"/>
                    <a:gd name="T21" fmla="*/ 6 h 75"/>
                    <a:gd name="T22" fmla="*/ 38 w 68"/>
                    <a:gd name="T23" fmla="*/ 8 h 75"/>
                    <a:gd name="T24" fmla="*/ 35 w 68"/>
                    <a:gd name="T25" fmla="*/ 4 h 75"/>
                    <a:gd name="T26" fmla="*/ 35 w 68"/>
                    <a:gd name="T27" fmla="*/ 11 h 75"/>
                    <a:gd name="T28" fmla="*/ 30 w 68"/>
                    <a:gd name="T29" fmla="*/ 8 h 75"/>
                    <a:gd name="T30" fmla="*/ 26 w 68"/>
                    <a:gd name="T31" fmla="*/ 4 h 75"/>
                    <a:gd name="T32" fmla="*/ 26 w 68"/>
                    <a:gd name="T33" fmla="*/ 9 h 75"/>
                    <a:gd name="T34" fmla="*/ 23 w 68"/>
                    <a:gd name="T35" fmla="*/ 11 h 75"/>
                    <a:gd name="T36" fmla="*/ 55 w 68"/>
                    <a:gd name="T37" fmla="*/ 25 h 75"/>
                    <a:gd name="T38" fmla="*/ 56 w 68"/>
                    <a:gd name="T39" fmla="*/ 24 h 75"/>
                    <a:gd name="T40" fmla="*/ 52 w 68"/>
                    <a:gd name="T41" fmla="*/ 26 h 75"/>
                    <a:gd name="T42" fmla="*/ 42 w 68"/>
                    <a:gd name="T43" fmla="*/ 33 h 75"/>
                    <a:gd name="T44" fmla="*/ 47 w 68"/>
                    <a:gd name="T45" fmla="*/ 37 h 75"/>
                    <a:gd name="T46" fmla="*/ 41 w 68"/>
                    <a:gd name="T47" fmla="*/ 42 h 75"/>
                    <a:gd name="T48" fmla="*/ 35 w 68"/>
                    <a:gd name="T49" fmla="*/ 42 h 75"/>
                    <a:gd name="T50" fmla="*/ 35 w 68"/>
                    <a:gd name="T51" fmla="*/ 35 h 75"/>
                    <a:gd name="T52" fmla="*/ 32 w 68"/>
                    <a:gd name="T53" fmla="*/ 30 h 75"/>
                    <a:gd name="T54" fmla="*/ 37 w 68"/>
                    <a:gd name="T55" fmla="*/ 32 h 75"/>
                    <a:gd name="T56" fmla="*/ 35 w 68"/>
                    <a:gd name="T57" fmla="*/ 28 h 75"/>
                    <a:gd name="T58" fmla="*/ 3 w 68"/>
                    <a:gd name="T59" fmla="*/ 31 h 75"/>
                    <a:gd name="T60" fmla="*/ 3 w 68"/>
                    <a:gd name="T61" fmla="*/ 30 h 75"/>
                    <a:gd name="T62" fmla="*/ 22 w 68"/>
                    <a:gd name="T63" fmla="*/ 53 h 75"/>
                    <a:gd name="T64" fmla="*/ 21 w 68"/>
                    <a:gd name="T65" fmla="*/ 48 h 75"/>
                    <a:gd name="T66" fmla="*/ 15 w 68"/>
                    <a:gd name="T67" fmla="*/ 46 h 75"/>
                    <a:gd name="T68" fmla="*/ 13 w 68"/>
                    <a:gd name="T69" fmla="*/ 42 h 75"/>
                    <a:gd name="T70" fmla="*/ 17 w 68"/>
                    <a:gd name="T71" fmla="*/ 41 h 75"/>
                    <a:gd name="T72" fmla="*/ 20 w 68"/>
                    <a:gd name="T73" fmla="*/ 38 h 75"/>
                    <a:gd name="T74" fmla="*/ 18 w 68"/>
                    <a:gd name="T75" fmla="*/ 37 h 75"/>
                    <a:gd name="T76" fmla="*/ 11 w 68"/>
                    <a:gd name="T77" fmla="*/ 38 h 75"/>
                    <a:gd name="T78" fmla="*/ 15 w 68"/>
                    <a:gd name="T79" fmla="*/ 34 h 75"/>
                    <a:gd name="T80" fmla="*/ 21 w 68"/>
                    <a:gd name="T81" fmla="*/ 30 h 75"/>
                    <a:gd name="T82" fmla="*/ 16 w 68"/>
                    <a:gd name="T83" fmla="*/ 31 h 75"/>
                    <a:gd name="T84" fmla="*/ 15 w 68"/>
                    <a:gd name="T85" fmla="*/ 29 h 75"/>
                    <a:gd name="T86" fmla="*/ 14 w 68"/>
                    <a:gd name="T87" fmla="*/ 32 h 75"/>
                    <a:gd name="T88" fmla="*/ 7 w 68"/>
                    <a:gd name="T89" fmla="*/ 31 h 75"/>
                    <a:gd name="T90" fmla="*/ 5 w 68"/>
                    <a:gd name="T91" fmla="*/ 28 h 75"/>
                    <a:gd name="T92" fmla="*/ 5 w 68"/>
                    <a:gd name="T93" fmla="*/ 26 h 75"/>
                    <a:gd name="T94" fmla="*/ 4 w 68"/>
                    <a:gd name="T95" fmla="*/ 21 h 75"/>
                    <a:gd name="T96" fmla="*/ 0 w 68"/>
                    <a:gd name="T97" fmla="*/ 18 h 75"/>
                    <a:gd name="T98" fmla="*/ 5 w 68"/>
                    <a:gd name="T99" fmla="*/ 16 h 75"/>
                    <a:gd name="T100" fmla="*/ 10 w 68"/>
                    <a:gd name="T101" fmla="*/ 15 h 75"/>
                    <a:gd name="T102" fmla="*/ 9 w 68"/>
                    <a:gd name="T103" fmla="*/ 17 h 75"/>
                    <a:gd name="T104" fmla="*/ 11 w 68"/>
                    <a:gd name="T105" fmla="*/ 21 h 75"/>
                    <a:gd name="T106" fmla="*/ 14 w 68"/>
                    <a:gd name="T107" fmla="*/ 19 h 75"/>
                    <a:gd name="T108" fmla="*/ 18 w 68"/>
                    <a:gd name="T109" fmla="*/ 25 h 75"/>
                    <a:gd name="T110" fmla="*/ 16 w 68"/>
                    <a:gd name="T111" fmla="*/ 13 h 75"/>
                    <a:gd name="T112" fmla="*/ 22 w 68"/>
                    <a:gd name="T113" fmla="*/ 15 h 75"/>
                    <a:gd name="T114" fmla="*/ 24 w 68"/>
                    <a:gd name="T115" fmla="*/ 16 h 75"/>
                    <a:gd name="T116" fmla="*/ 34 w 68"/>
                    <a:gd name="T117" fmla="*/ 25 h 75"/>
                    <a:gd name="T118" fmla="*/ 29 w 68"/>
                    <a:gd name="T119" fmla="*/ 29 h 75"/>
                    <a:gd name="T120" fmla="*/ 27 w 68"/>
                    <a:gd name="T121" fmla="*/ 38 h 75"/>
                    <a:gd name="T122" fmla="*/ 25 w 68"/>
                    <a:gd name="T123" fmla="*/ 45 h 75"/>
                    <a:gd name="T124" fmla="*/ 34 w 68"/>
                    <a:gd name="T1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8" h="75">
                      <a:moveTo>
                        <a:pt x="63" y="7"/>
                      </a:moveTo>
                      <a:cubicBezTo>
                        <a:pt x="63" y="7"/>
                        <a:pt x="63" y="6"/>
                        <a:pt x="63" y="6"/>
                      </a:cubicBezTo>
                      <a:cubicBezTo>
                        <a:pt x="64" y="6"/>
                        <a:pt x="64" y="6"/>
                        <a:pt x="64" y="6"/>
                      </a:cubicBezTo>
                      <a:cubicBezTo>
                        <a:pt x="65" y="5"/>
                        <a:pt x="65" y="5"/>
                        <a:pt x="65" y="5"/>
                      </a:cubicBezTo>
                      <a:cubicBezTo>
                        <a:pt x="66" y="5"/>
                        <a:pt x="66" y="5"/>
                        <a:pt x="66" y="5"/>
                      </a:cubicBezTo>
                      <a:cubicBezTo>
                        <a:pt x="67" y="4"/>
                        <a:pt x="67" y="4"/>
                        <a:pt x="67" y="4"/>
                      </a:cubicBezTo>
                      <a:cubicBezTo>
                        <a:pt x="68" y="4"/>
                        <a:pt x="68" y="4"/>
                        <a:pt x="68" y="4"/>
                      </a:cubicBezTo>
                      <a:cubicBezTo>
                        <a:pt x="68" y="4"/>
                        <a:pt x="68" y="4"/>
                        <a:pt x="68" y="4"/>
                      </a:cubicBezTo>
                      <a:cubicBezTo>
                        <a:pt x="68" y="5"/>
                        <a:pt x="68" y="5"/>
                        <a:pt x="68" y="5"/>
                      </a:cubicBezTo>
                      <a:cubicBezTo>
                        <a:pt x="67" y="6"/>
                        <a:pt x="67" y="6"/>
                        <a:pt x="67" y="6"/>
                      </a:cubicBezTo>
                      <a:cubicBezTo>
                        <a:pt x="66" y="6"/>
                        <a:pt x="66" y="6"/>
                        <a:pt x="66" y="6"/>
                      </a:cubicBezTo>
                      <a:cubicBezTo>
                        <a:pt x="65" y="7"/>
                        <a:pt x="65" y="7"/>
                        <a:pt x="65" y="7"/>
                      </a:cubicBezTo>
                      <a:cubicBezTo>
                        <a:pt x="64" y="7"/>
                        <a:pt x="64" y="7"/>
                        <a:pt x="64" y="7"/>
                      </a:cubicBezTo>
                      <a:cubicBezTo>
                        <a:pt x="63" y="7"/>
                        <a:pt x="63" y="7"/>
                        <a:pt x="63" y="7"/>
                      </a:cubicBezTo>
                      <a:cubicBezTo>
                        <a:pt x="63" y="7"/>
                        <a:pt x="63" y="7"/>
                        <a:pt x="63" y="7"/>
                      </a:cubicBezTo>
                      <a:close/>
                      <a:moveTo>
                        <a:pt x="51" y="8"/>
                      </a:moveTo>
                      <a:cubicBezTo>
                        <a:pt x="51" y="8"/>
                        <a:pt x="51" y="8"/>
                        <a:pt x="51" y="8"/>
                      </a:cubicBezTo>
                      <a:cubicBezTo>
                        <a:pt x="52" y="8"/>
                        <a:pt x="52" y="8"/>
                        <a:pt x="52" y="8"/>
                      </a:cubicBezTo>
                      <a:cubicBezTo>
                        <a:pt x="52" y="8"/>
                        <a:pt x="52" y="8"/>
                        <a:pt x="52" y="8"/>
                      </a:cubicBezTo>
                      <a:cubicBezTo>
                        <a:pt x="52" y="7"/>
                        <a:pt x="52" y="7"/>
                        <a:pt x="52" y="7"/>
                      </a:cubicBezTo>
                      <a:cubicBezTo>
                        <a:pt x="51" y="7"/>
                        <a:pt x="51" y="7"/>
                        <a:pt x="51" y="7"/>
                      </a:cubicBezTo>
                      <a:cubicBezTo>
                        <a:pt x="51" y="7"/>
                        <a:pt x="51" y="7"/>
                        <a:pt x="51" y="7"/>
                      </a:cubicBezTo>
                      <a:cubicBezTo>
                        <a:pt x="51" y="8"/>
                        <a:pt x="51" y="8"/>
                        <a:pt x="51" y="8"/>
                      </a:cubicBezTo>
                      <a:close/>
                      <a:moveTo>
                        <a:pt x="28" y="1"/>
                      </a:moveTo>
                      <a:cubicBezTo>
                        <a:pt x="30" y="2"/>
                        <a:pt x="30" y="2"/>
                        <a:pt x="30" y="2"/>
                      </a:cubicBezTo>
                      <a:cubicBezTo>
                        <a:pt x="30" y="2"/>
                        <a:pt x="30" y="2"/>
                        <a:pt x="30" y="2"/>
                      </a:cubicBezTo>
                      <a:cubicBezTo>
                        <a:pt x="31" y="2"/>
                        <a:pt x="31" y="2"/>
                        <a:pt x="31" y="2"/>
                      </a:cubicBezTo>
                      <a:cubicBezTo>
                        <a:pt x="31" y="1"/>
                        <a:pt x="31" y="1"/>
                        <a:pt x="31" y="1"/>
                      </a:cubicBezTo>
                      <a:cubicBezTo>
                        <a:pt x="31" y="1"/>
                        <a:pt x="31" y="1"/>
                        <a:pt x="31" y="1"/>
                      </a:cubicBezTo>
                      <a:cubicBezTo>
                        <a:pt x="30" y="1"/>
                        <a:pt x="30" y="1"/>
                        <a:pt x="30" y="1"/>
                      </a:cubicBezTo>
                      <a:cubicBezTo>
                        <a:pt x="29" y="1"/>
                        <a:pt x="29" y="1"/>
                        <a:pt x="29" y="1"/>
                      </a:cubicBezTo>
                      <a:cubicBezTo>
                        <a:pt x="28" y="0"/>
                        <a:pt x="28" y="0"/>
                        <a:pt x="28" y="0"/>
                      </a:cubicBezTo>
                      <a:cubicBezTo>
                        <a:pt x="28" y="1"/>
                        <a:pt x="28" y="1"/>
                        <a:pt x="28" y="1"/>
                      </a:cubicBezTo>
                      <a:cubicBezTo>
                        <a:pt x="28" y="1"/>
                        <a:pt x="28" y="1"/>
                        <a:pt x="28" y="1"/>
                      </a:cubicBezTo>
                      <a:close/>
                      <a:moveTo>
                        <a:pt x="23" y="8"/>
                      </a:moveTo>
                      <a:cubicBezTo>
                        <a:pt x="23" y="8"/>
                        <a:pt x="23" y="8"/>
                        <a:pt x="23" y="8"/>
                      </a:cubicBezTo>
                      <a:cubicBezTo>
                        <a:pt x="23" y="7"/>
                        <a:pt x="23" y="7"/>
                        <a:pt x="23" y="7"/>
                      </a:cubicBezTo>
                      <a:cubicBezTo>
                        <a:pt x="23" y="7"/>
                        <a:pt x="23" y="7"/>
                        <a:pt x="23" y="7"/>
                      </a:cubicBezTo>
                      <a:cubicBezTo>
                        <a:pt x="23" y="7"/>
                        <a:pt x="23" y="7"/>
                        <a:pt x="23" y="7"/>
                      </a:cubicBezTo>
                      <a:cubicBezTo>
                        <a:pt x="24" y="7"/>
                        <a:pt x="24" y="7"/>
                        <a:pt x="24" y="7"/>
                      </a:cubicBezTo>
                      <a:cubicBezTo>
                        <a:pt x="24" y="7"/>
                        <a:pt x="24" y="7"/>
                        <a:pt x="24" y="7"/>
                      </a:cubicBezTo>
                      <a:cubicBezTo>
                        <a:pt x="24" y="8"/>
                        <a:pt x="24" y="8"/>
                        <a:pt x="24" y="8"/>
                      </a:cubicBezTo>
                      <a:cubicBezTo>
                        <a:pt x="24" y="8"/>
                        <a:pt x="24" y="8"/>
                        <a:pt x="24" y="8"/>
                      </a:cubicBezTo>
                      <a:cubicBezTo>
                        <a:pt x="23" y="8"/>
                        <a:pt x="23" y="8"/>
                        <a:pt x="23" y="8"/>
                      </a:cubicBezTo>
                      <a:close/>
                      <a:moveTo>
                        <a:pt x="28" y="15"/>
                      </a:moveTo>
                      <a:cubicBezTo>
                        <a:pt x="28" y="15"/>
                        <a:pt x="28" y="15"/>
                        <a:pt x="28" y="15"/>
                      </a:cubicBezTo>
                      <a:cubicBezTo>
                        <a:pt x="29" y="14"/>
                        <a:pt x="29" y="14"/>
                        <a:pt x="29" y="14"/>
                      </a:cubicBezTo>
                      <a:cubicBezTo>
                        <a:pt x="30" y="14"/>
                        <a:pt x="30" y="14"/>
                        <a:pt x="30" y="14"/>
                      </a:cubicBezTo>
                      <a:cubicBezTo>
                        <a:pt x="32" y="14"/>
                        <a:pt x="32" y="14"/>
                        <a:pt x="32" y="14"/>
                      </a:cubicBezTo>
                      <a:cubicBezTo>
                        <a:pt x="33" y="14"/>
                        <a:pt x="33" y="14"/>
                        <a:pt x="33" y="14"/>
                      </a:cubicBezTo>
                      <a:cubicBezTo>
                        <a:pt x="34" y="13"/>
                        <a:pt x="34" y="13"/>
                        <a:pt x="34" y="13"/>
                      </a:cubicBezTo>
                      <a:cubicBezTo>
                        <a:pt x="34" y="13"/>
                        <a:pt x="34" y="13"/>
                        <a:pt x="34" y="13"/>
                      </a:cubicBezTo>
                      <a:cubicBezTo>
                        <a:pt x="34" y="14"/>
                        <a:pt x="34" y="14"/>
                        <a:pt x="34" y="14"/>
                      </a:cubicBezTo>
                      <a:cubicBezTo>
                        <a:pt x="34" y="14"/>
                        <a:pt x="34" y="14"/>
                        <a:pt x="34" y="14"/>
                      </a:cubicBezTo>
                      <a:cubicBezTo>
                        <a:pt x="34" y="14"/>
                        <a:pt x="34" y="14"/>
                        <a:pt x="34" y="14"/>
                      </a:cubicBezTo>
                      <a:cubicBezTo>
                        <a:pt x="34" y="15"/>
                        <a:pt x="34" y="15"/>
                        <a:pt x="34" y="15"/>
                      </a:cubicBezTo>
                      <a:cubicBezTo>
                        <a:pt x="33" y="15"/>
                        <a:pt x="33" y="15"/>
                        <a:pt x="33" y="15"/>
                      </a:cubicBezTo>
                      <a:cubicBezTo>
                        <a:pt x="32" y="15"/>
                        <a:pt x="32" y="15"/>
                        <a:pt x="32" y="15"/>
                      </a:cubicBezTo>
                      <a:cubicBezTo>
                        <a:pt x="31" y="15"/>
                        <a:pt x="31" y="15"/>
                        <a:pt x="31" y="15"/>
                      </a:cubicBezTo>
                      <a:cubicBezTo>
                        <a:pt x="30" y="15"/>
                        <a:pt x="30" y="15"/>
                        <a:pt x="30" y="15"/>
                      </a:cubicBezTo>
                      <a:cubicBezTo>
                        <a:pt x="30" y="15"/>
                        <a:pt x="30" y="15"/>
                        <a:pt x="30" y="15"/>
                      </a:cubicBezTo>
                      <a:cubicBezTo>
                        <a:pt x="31" y="15"/>
                        <a:pt x="31" y="15"/>
                        <a:pt x="31" y="15"/>
                      </a:cubicBezTo>
                      <a:cubicBezTo>
                        <a:pt x="32" y="16"/>
                        <a:pt x="32" y="16"/>
                        <a:pt x="32" y="16"/>
                      </a:cubicBezTo>
                      <a:cubicBezTo>
                        <a:pt x="32" y="16"/>
                        <a:pt x="32" y="16"/>
                        <a:pt x="32" y="16"/>
                      </a:cubicBezTo>
                      <a:cubicBezTo>
                        <a:pt x="32" y="16"/>
                        <a:pt x="32" y="16"/>
                        <a:pt x="32" y="16"/>
                      </a:cubicBezTo>
                      <a:cubicBezTo>
                        <a:pt x="32" y="16"/>
                        <a:pt x="32" y="16"/>
                        <a:pt x="32" y="16"/>
                      </a:cubicBezTo>
                      <a:cubicBezTo>
                        <a:pt x="31" y="16"/>
                        <a:pt x="31" y="16"/>
                        <a:pt x="31" y="16"/>
                      </a:cubicBezTo>
                      <a:cubicBezTo>
                        <a:pt x="31" y="16"/>
                        <a:pt x="31" y="16"/>
                        <a:pt x="31" y="16"/>
                      </a:cubicBezTo>
                      <a:cubicBezTo>
                        <a:pt x="30" y="16"/>
                        <a:pt x="30" y="16"/>
                        <a:pt x="30" y="16"/>
                      </a:cubicBezTo>
                      <a:cubicBezTo>
                        <a:pt x="29" y="16"/>
                        <a:pt x="29" y="16"/>
                        <a:pt x="29" y="16"/>
                      </a:cubicBezTo>
                      <a:cubicBezTo>
                        <a:pt x="28" y="16"/>
                        <a:pt x="28" y="16"/>
                        <a:pt x="28" y="16"/>
                      </a:cubicBezTo>
                      <a:cubicBezTo>
                        <a:pt x="27" y="16"/>
                        <a:pt x="27" y="16"/>
                        <a:pt x="27" y="16"/>
                      </a:cubicBezTo>
                      <a:cubicBezTo>
                        <a:pt x="27" y="16"/>
                        <a:pt x="27" y="16"/>
                        <a:pt x="27" y="16"/>
                      </a:cubicBezTo>
                      <a:cubicBezTo>
                        <a:pt x="28" y="17"/>
                        <a:pt x="28" y="17"/>
                        <a:pt x="28" y="17"/>
                      </a:cubicBezTo>
                      <a:cubicBezTo>
                        <a:pt x="30" y="18"/>
                        <a:pt x="30" y="18"/>
                        <a:pt x="30" y="18"/>
                      </a:cubicBezTo>
                      <a:cubicBezTo>
                        <a:pt x="30" y="18"/>
                        <a:pt x="30" y="18"/>
                        <a:pt x="30" y="18"/>
                      </a:cubicBezTo>
                      <a:cubicBezTo>
                        <a:pt x="31" y="18"/>
                        <a:pt x="31" y="18"/>
                        <a:pt x="31" y="18"/>
                      </a:cubicBezTo>
                      <a:cubicBezTo>
                        <a:pt x="31" y="18"/>
                        <a:pt x="31" y="18"/>
                        <a:pt x="31" y="18"/>
                      </a:cubicBezTo>
                      <a:cubicBezTo>
                        <a:pt x="32" y="19"/>
                        <a:pt x="32" y="19"/>
                        <a:pt x="32" y="19"/>
                      </a:cubicBezTo>
                      <a:cubicBezTo>
                        <a:pt x="32" y="19"/>
                        <a:pt x="32" y="19"/>
                        <a:pt x="32" y="19"/>
                      </a:cubicBezTo>
                      <a:cubicBezTo>
                        <a:pt x="32" y="20"/>
                        <a:pt x="32" y="20"/>
                        <a:pt x="32" y="20"/>
                      </a:cubicBezTo>
                      <a:cubicBezTo>
                        <a:pt x="33" y="19"/>
                        <a:pt x="33" y="19"/>
                        <a:pt x="33" y="19"/>
                      </a:cubicBezTo>
                      <a:cubicBezTo>
                        <a:pt x="35" y="19"/>
                        <a:pt x="35" y="19"/>
                        <a:pt x="35" y="19"/>
                      </a:cubicBezTo>
                      <a:cubicBezTo>
                        <a:pt x="36" y="19"/>
                        <a:pt x="36" y="19"/>
                        <a:pt x="36" y="19"/>
                      </a:cubicBezTo>
                      <a:cubicBezTo>
                        <a:pt x="37" y="19"/>
                        <a:pt x="37" y="19"/>
                        <a:pt x="37" y="19"/>
                      </a:cubicBezTo>
                      <a:cubicBezTo>
                        <a:pt x="38" y="19"/>
                        <a:pt x="38" y="19"/>
                        <a:pt x="38" y="19"/>
                      </a:cubicBezTo>
                      <a:cubicBezTo>
                        <a:pt x="38" y="19"/>
                        <a:pt x="38" y="19"/>
                        <a:pt x="38" y="19"/>
                      </a:cubicBezTo>
                      <a:cubicBezTo>
                        <a:pt x="38" y="20"/>
                        <a:pt x="38" y="20"/>
                        <a:pt x="38" y="20"/>
                      </a:cubicBezTo>
                      <a:cubicBezTo>
                        <a:pt x="38" y="21"/>
                        <a:pt x="38" y="21"/>
                        <a:pt x="38" y="21"/>
                      </a:cubicBezTo>
                      <a:cubicBezTo>
                        <a:pt x="39" y="21"/>
                        <a:pt x="39" y="21"/>
                        <a:pt x="39" y="21"/>
                      </a:cubicBezTo>
                      <a:cubicBezTo>
                        <a:pt x="40" y="21"/>
                        <a:pt x="40" y="21"/>
                        <a:pt x="40" y="21"/>
                      </a:cubicBezTo>
                      <a:cubicBezTo>
                        <a:pt x="42" y="21"/>
                        <a:pt x="42" y="21"/>
                        <a:pt x="42" y="21"/>
                      </a:cubicBezTo>
                      <a:cubicBezTo>
                        <a:pt x="42" y="21"/>
                        <a:pt x="42" y="21"/>
                        <a:pt x="42" y="21"/>
                      </a:cubicBezTo>
                      <a:cubicBezTo>
                        <a:pt x="42" y="20"/>
                        <a:pt x="42" y="20"/>
                        <a:pt x="42" y="20"/>
                      </a:cubicBezTo>
                      <a:cubicBezTo>
                        <a:pt x="42" y="20"/>
                        <a:pt x="42" y="20"/>
                        <a:pt x="42" y="20"/>
                      </a:cubicBezTo>
                      <a:cubicBezTo>
                        <a:pt x="42" y="19"/>
                        <a:pt x="42" y="19"/>
                        <a:pt x="42" y="19"/>
                      </a:cubicBezTo>
                      <a:cubicBezTo>
                        <a:pt x="43" y="18"/>
                        <a:pt x="43" y="18"/>
                        <a:pt x="43" y="18"/>
                      </a:cubicBezTo>
                      <a:cubicBezTo>
                        <a:pt x="44" y="18"/>
                        <a:pt x="44" y="18"/>
                        <a:pt x="44" y="18"/>
                      </a:cubicBezTo>
                      <a:cubicBezTo>
                        <a:pt x="44" y="19"/>
                        <a:pt x="44" y="19"/>
                        <a:pt x="44" y="19"/>
                      </a:cubicBezTo>
                      <a:cubicBezTo>
                        <a:pt x="45" y="19"/>
                        <a:pt x="45" y="19"/>
                        <a:pt x="45" y="19"/>
                      </a:cubicBezTo>
                      <a:cubicBezTo>
                        <a:pt x="46" y="19"/>
                        <a:pt x="46" y="19"/>
                        <a:pt x="46" y="19"/>
                      </a:cubicBezTo>
                      <a:cubicBezTo>
                        <a:pt x="47" y="18"/>
                        <a:pt x="47" y="18"/>
                        <a:pt x="47" y="18"/>
                      </a:cubicBezTo>
                      <a:cubicBezTo>
                        <a:pt x="47" y="18"/>
                        <a:pt x="47" y="18"/>
                        <a:pt x="47" y="18"/>
                      </a:cubicBezTo>
                      <a:cubicBezTo>
                        <a:pt x="47" y="17"/>
                        <a:pt x="47" y="17"/>
                        <a:pt x="47" y="17"/>
                      </a:cubicBezTo>
                      <a:cubicBezTo>
                        <a:pt x="47" y="16"/>
                        <a:pt x="47" y="16"/>
                        <a:pt x="47" y="16"/>
                      </a:cubicBezTo>
                      <a:cubicBezTo>
                        <a:pt x="47" y="16"/>
                        <a:pt x="47" y="16"/>
                        <a:pt x="47" y="16"/>
                      </a:cubicBezTo>
                      <a:cubicBezTo>
                        <a:pt x="48" y="15"/>
                        <a:pt x="48" y="15"/>
                        <a:pt x="48" y="15"/>
                      </a:cubicBezTo>
                      <a:cubicBezTo>
                        <a:pt x="49" y="14"/>
                        <a:pt x="49" y="14"/>
                        <a:pt x="49" y="14"/>
                      </a:cubicBezTo>
                      <a:cubicBezTo>
                        <a:pt x="49" y="13"/>
                        <a:pt x="49" y="13"/>
                        <a:pt x="49" y="13"/>
                      </a:cubicBezTo>
                      <a:cubicBezTo>
                        <a:pt x="50" y="12"/>
                        <a:pt x="50" y="12"/>
                        <a:pt x="50" y="12"/>
                      </a:cubicBezTo>
                      <a:cubicBezTo>
                        <a:pt x="51" y="11"/>
                        <a:pt x="51" y="11"/>
                        <a:pt x="51" y="11"/>
                      </a:cubicBezTo>
                      <a:cubicBezTo>
                        <a:pt x="51" y="11"/>
                        <a:pt x="51" y="11"/>
                        <a:pt x="51" y="11"/>
                      </a:cubicBezTo>
                      <a:cubicBezTo>
                        <a:pt x="50" y="10"/>
                        <a:pt x="50" y="10"/>
                        <a:pt x="50" y="10"/>
                      </a:cubicBezTo>
                      <a:cubicBezTo>
                        <a:pt x="50" y="9"/>
                        <a:pt x="50" y="9"/>
                        <a:pt x="50" y="9"/>
                      </a:cubicBezTo>
                      <a:cubicBezTo>
                        <a:pt x="50" y="9"/>
                        <a:pt x="50" y="9"/>
                        <a:pt x="50" y="9"/>
                      </a:cubicBezTo>
                      <a:cubicBezTo>
                        <a:pt x="50" y="8"/>
                        <a:pt x="50" y="8"/>
                        <a:pt x="50" y="8"/>
                      </a:cubicBezTo>
                      <a:cubicBezTo>
                        <a:pt x="50" y="8"/>
                        <a:pt x="50" y="8"/>
                        <a:pt x="50" y="8"/>
                      </a:cubicBezTo>
                      <a:cubicBezTo>
                        <a:pt x="49" y="8"/>
                        <a:pt x="49" y="8"/>
                        <a:pt x="49" y="8"/>
                      </a:cubicBezTo>
                      <a:cubicBezTo>
                        <a:pt x="48" y="8"/>
                        <a:pt x="48" y="8"/>
                        <a:pt x="48" y="8"/>
                      </a:cubicBezTo>
                      <a:cubicBezTo>
                        <a:pt x="48" y="8"/>
                        <a:pt x="48" y="8"/>
                        <a:pt x="48" y="8"/>
                      </a:cubicBezTo>
                      <a:cubicBezTo>
                        <a:pt x="46" y="8"/>
                        <a:pt x="46" y="8"/>
                        <a:pt x="46" y="8"/>
                      </a:cubicBezTo>
                      <a:cubicBezTo>
                        <a:pt x="45" y="7"/>
                        <a:pt x="45" y="7"/>
                        <a:pt x="45" y="7"/>
                      </a:cubicBezTo>
                      <a:cubicBezTo>
                        <a:pt x="44" y="7"/>
                        <a:pt x="44" y="7"/>
                        <a:pt x="44" y="7"/>
                      </a:cubicBezTo>
                      <a:cubicBezTo>
                        <a:pt x="43" y="7"/>
                        <a:pt x="43" y="7"/>
                        <a:pt x="43" y="7"/>
                      </a:cubicBezTo>
                      <a:cubicBezTo>
                        <a:pt x="43" y="7"/>
                        <a:pt x="43" y="7"/>
                        <a:pt x="43" y="7"/>
                      </a:cubicBezTo>
                      <a:cubicBezTo>
                        <a:pt x="43" y="6"/>
                        <a:pt x="43" y="6"/>
                        <a:pt x="43" y="6"/>
                      </a:cubicBezTo>
                      <a:cubicBezTo>
                        <a:pt x="42" y="6"/>
                        <a:pt x="42" y="6"/>
                        <a:pt x="42" y="6"/>
                      </a:cubicBezTo>
                      <a:cubicBezTo>
                        <a:pt x="42" y="7"/>
                        <a:pt x="42" y="7"/>
                        <a:pt x="42" y="7"/>
                      </a:cubicBezTo>
                      <a:cubicBezTo>
                        <a:pt x="42" y="6"/>
                        <a:pt x="42" y="6"/>
                        <a:pt x="42" y="6"/>
                      </a:cubicBezTo>
                      <a:cubicBezTo>
                        <a:pt x="42" y="6"/>
                        <a:pt x="42" y="6"/>
                        <a:pt x="42" y="6"/>
                      </a:cubicBezTo>
                      <a:cubicBezTo>
                        <a:pt x="42" y="5"/>
                        <a:pt x="42" y="5"/>
                        <a:pt x="42" y="5"/>
                      </a:cubicBezTo>
                      <a:cubicBezTo>
                        <a:pt x="41" y="6"/>
                        <a:pt x="41" y="6"/>
                        <a:pt x="41" y="6"/>
                      </a:cubicBezTo>
                      <a:cubicBezTo>
                        <a:pt x="41" y="6"/>
                        <a:pt x="41" y="6"/>
                        <a:pt x="41" y="6"/>
                      </a:cubicBezTo>
                      <a:cubicBezTo>
                        <a:pt x="40" y="6"/>
                        <a:pt x="40" y="6"/>
                        <a:pt x="40" y="6"/>
                      </a:cubicBezTo>
                      <a:cubicBezTo>
                        <a:pt x="40" y="5"/>
                        <a:pt x="40" y="5"/>
                        <a:pt x="40" y="5"/>
                      </a:cubicBezTo>
                      <a:cubicBezTo>
                        <a:pt x="40" y="5"/>
                        <a:pt x="40" y="5"/>
                        <a:pt x="40" y="5"/>
                      </a:cubicBezTo>
                      <a:cubicBezTo>
                        <a:pt x="40" y="6"/>
                        <a:pt x="40" y="6"/>
                        <a:pt x="40" y="6"/>
                      </a:cubicBezTo>
                      <a:cubicBezTo>
                        <a:pt x="40" y="6"/>
                        <a:pt x="40" y="6"/>
                        <a:pt x="40" y="6"/>
                      </a:cubicBezTo>
                      <a:cubicBezTo>
                        <a:pt x="40" y="7"/>
                        <a:pt x="40" y="7"/>
                        <a:pt x="40" y="7"/>
                      </a:cubicBezTo>
                      <a:cubicBezTo>
                        <a:pt x="39" y="7"/>
                        <a:pt x="39" y="7"/>
                        <a:pt x="39" y="7"/>
                      </a:cubicBezTo>
                      <a:cubicBezTo>
                        <a:pt x="39" y="8"/>
                        <a:pt x="39" y="8"/>
                        <a:pt x="39" y="8"/>
                      </a:cubicBezTo>
                      <a:cubicBezTo>
                        <a:pt x="39" y="8"/>
                        <a:pt x="39" y="8"/>
                        <a:pt x="39" y="8"/>
                      </a:cubicBezTo>
                      <a:cubicBezTo>
                        <a:pt x="38" y="8"/>
                        <a:pt x="38" y="8"/>
                        <a:pt x="38" y="8"/>
                      </a:cubicBezTo>
                      <a:cubicBezTo>
                        <a:pt x="38" y="8"/>
                        <a:pt x="38" y="8"/>
                        <a:pt x="38" y="8"/>
                      </a:cubicBezTo>
                      <a:cubicBezTo>
                        <a:pt x="38" y="8"/>
                        <a:pt x="38" y="8"/>
                        <a:pt x="38" y="8"/>
                      </a:cubicBezTo>
                      <a:cubicBezTo>
                        <a:pt x="38" y="8"/>
                        <a:pt x="38" y="8"/>
                        <a:pt x="38" y="8"/>
                      </a:cubicBezTo>
                      <a:cubicBezTo>
                        <a:pt x="37" y="9"/>
                        <a:pt x="37" y="9"/>
                        <a:pt x="37" y="9"/>
                      </a:cubicBezTo>
                      <a:cubicBezTo>
                        <a:pt x="37" y="8"/>
                        <a:pt x="37" y="8"/>
                        <a:pt x="37" y="8"/>
                      </a:cubicBezTo>
                      <a:cubicBezTo>
                        <a:pt x="37" y="7"/>
                        <a:pt x="37" y="7"/>
                        <a:pt x="37" y="7"/>
                      </a:cubicBezTo>
                      <a:cubicBezTo>
                        <a:pt x="37" y="7"/>
                        <a:pt x="37" y="7"/>
                        <a:pt x="37" y="7"/>
                      </a:cubicBezTo>
                      <a:cubicBezTo>
                        <a:pt x="37" y="5"/>
                        <a:pt x="37" y="5"/>
                        <a:pt x="37" y="5"/>
                      </a:cubicBezTo>
                      <a:cubicBezTo>
                        <a:pt x="37" y="5"/>
                        <a:pt x="37" y="5"/>
                        <a:pt x="37" y="5"/>
                      </a:cubicBezTo>
                      <a:cubicBezTo>
                        <a:pt x="36" y="4"/>
                        <a:pt x="36" y="4"/>
                        <a:pt x="36" y="4"/>
                      </a:cubicBezTo>
                      <a:cubicBezTo>
                        <a:pt x="36" y="4"/>
                        <a:pt x="36" y="4"/>
                        <a:pt x="36" y="4"/>
                      </a:cubicBezTo>
                      <a:cubicBezTo>
                        <a:pt x="35" y="4"/>
                        <a:pt x="35" y="4"/>
                        <a:pt x="35" y="4"/>
                      </a:cubicBezTo>
                      <a:cubicBezTo>
                        <a:pt x="35" y="4"/>
                        <a:pt x="35" y="4"/>
                        <a:pt x="35" y="4"/>
                      </a:cubicBezTo>
                      <a:cubicBezTo>
                        <a:pt x="36" y="5"/>
                        <a:pt x="36" y="5"/>
                        <a:pt x="36" y="5"/>
                      </a:cubicBezTo>
                      <a:cubicBezTo>
                        <a:pt x="36" y="5"/>
                        <a:pt x="36" y="5"/>
                        <a:pt x="36" y="5"/>
                      </a:cubicBezTo>
                      <a:cubicBezTo>
                        <a:pt x="35" y="5"/>
                        <a:pt x="35" y="5"/>
                        <a:pt x="35" y="5"/>
                      </a:cubicBezTo>
                      <a:cubicBezTo>
                        <a:pt x="35" y="5"/>
                        <a:pt x="35" y="5"/>
                        <a:pt x="35" y="5"/>
                      </a:cubicBezTo>
                      <a:cubicBezTo>
                        <a:pt x="35" y="5"/>
                        <a:pt x="35" y="5"/>
                        <a:pt x="35" y="5"/>
                      </a:cubicBezTo>
                      <a:cubicBezTo>
                        <a:pt x="35" y="6"/>
                        <a:pt x="35" y="6"/>
                        <a:pt x="35" y="6"/>
                      </a:cubicBezTo>
                      <a:cubicBezTo>
                        <a:pt x="35" y="6"/>
                        <a:pt x="35" y="6"/>
                        <a:pt x="35" y="6"/>
                      </a:cubicBezTo>
                      <a:cubicBezTo>
                        <a:pt x="35" y="7"/>
                        <a:pt x="35" y="7"/>
                        <a:pt x="35" y="7"/>
                      </a:cubicBezTo>
                      <a:cubicBezTo>
                        <a:pt x="35" y="8"/>
                        <a:pt x="35" y="8"/>
                        <a:pt x="35" y="8"/>
                      </a:cubicBezTo>
                      <a:cubicBezTo>
                        <a:pt x="35" y="9"/>
                        <a:pt x="35" y="9"/>
                        <a:pt x="35" y="9"/>
                      </a:cubicBezTo>
                      <a:cubicBezTo>
                        <a:pt x="36" y="10"/>
                        <a:pt x="36" y="10"/>
                        <a:pt x="36" y="10"/>
                      </a:cubicBezTo>
                      <a:cubicBezTo>
                        <a:pt x="35" y="11"/>
                        <a:pt x="35" y="11"/>
                        <a:pt x="35" y="11"/>
                      </a:cubicBezTo>
                      <a:cubicBezTo>
                        <a:pt x="35" y="11"/>
                        <a:pt x="35" y="11"/>
                        <a:pt x="35" y="11"/>
                      </a:cubicBezTo>
                      <a:cubicBezTo>
                        <a:pt x="35" y="10"/>
                        <a:pt x="35" y="10"/>
                        <a:pt x="35" y="10"/>
                      </a:cubicBezTo>
                      <a:cubicBezTo>
                        <a:pt x="34" y="9"/>
                        <a:pt x="34" y="9"/>
                        <a:pt x="34" y="9"/>
                      </a:cubicBezTo>
                      <a:cubicBezTo>
                        <a:pt x="33" y="9"/>
                        <a:pt x="33" y="9"/>
                        <a:pt x="33" y="9"/>
                      </a:cubicBezTo>
                      <a:cubicBezTo>
                        <a:pt x="33" y="8"/>
                        <a:pt x="33" y="8"/>
                        <a:pt x="33" y="8"/>
                      </a:cubicBezTo>
                      <a:cubicBezTo>
                        <a:pt x="33" y="8"/>
                        <a:pt x="33" y="8"/>
                        <a:pt x="33" y="8"/>
                      </a:cubicBezTo>
                      <a:cubicBezTo>
                        <a:pt x="33" y="7"/>
                        <a:pt x="33" y="7"/>
                        <a:pt x="33" y="7"/>
                      </a:cubicBezTo>
                      <a:cubicBezTo>
                        <a:pt x="33" y="7"/>
                        <a:pt x="33" y="7"/>
                        <a:pt x="33" y="7"/>
                      </a:cubicBezTo>
                      <a:cubicBezTo>
                        <a:pt x="32" y="8"/>
                        <a:pt x="32" y="8"/>
                        <a:pt x="32" y="8"/>
                      </a:cubicBezTo>
                      <a:cubicBezTo>
                        <a:pt x="31" y="8"/>
                        <a:pt x="31" y="8"/>
                        <a:pt x="31" y="8"/>
                      </a:cubicBezTo>
                      <a:cubicBezTo>
                        <a:pt x="31" y="8"/>
                        <a:pt x="31" y="8"/>
                        <a:pt x="31" y="8"/>
                      </a:cubicBezTo>
                      <a:cubicBezTo>
                        <a:pt x="30" y="8"/>
                        <a:pt x="30" y="8"/>
                        <a:pt x="30" y="8"/>
                      </a:cubicBezTo>
                      <a:cubicBezTo>
                        <a:pt x="30" y="8"/>
                        <a:pt x="30" y="8"/>
                        <a:pt x="30" y="8"/>
                      </a:cubicBezTo>
                      <a:cubicBezTo>
                        <a:pt x="30" y="8"/>
                        <a:pt x="30" y="8"/>
                        <a:pt x="30" y="8"/>
                      </a:cubicBezTo>
                      <a:cubicBezTo>
                        <a:pt x="30" y="7"/>
                        <a:pt x="30" y="7"/>
                        <a:pt x="30" y="7"/>
                      </a:cubicBezTo>
                      <a:cubicBezTo>
                        <a:pt x="29" y="7"/>
                        <a:pt x="29" y="7"/>
                        <a:pt x="29" y="7"/>
                      </a:cubicBezTo>
                      <a:cubicBezTo>
                        <a:pt x="29" y="7"/>
                        <a:pt x="29" y="7"/>
                        <a:pt x="29" y="7"/>
                      </a:cubicBezTo>
                      <a:cubicBezTo>
                        <a:pt x="28" y="6"/>
                        <a:pt x="28" y="6"/>
                        <a:pt x="28" y="6"/>
                      </a:cubicBezTo>
                      <a:cubicBezTo>
                        <a:pt x="28" y="6"/>
                        <a:pt x="28" y="6"/>
                        <a:pt x="28" y="6"/>
                      </a:cubicBezTo>
                      <a:cubicBezTo>
                        <a:pt x="27" y="6"/>
                        <a:pt x="27" y="6"/>
                        <a:pt x="27" y="6"/>
                      </a:cubicBezTo>
                      <a:cubicBezTo>
                        <a:pt x="27" y="5"/>
                        <a:pt x="27" y="5"/>
                        <a:pt x="27" y="5"/>
                      </a:cubicBezTo>
                      <a:cubicBezTo>
                        <a:pt x="27" y="5"/>
                        <a:pt x="27" y="5"/>
                        <a:pt x="27" y="5"/>
                      </a:cubicBezTo>
                      <a:cubicBezTo>
                        <a:pt x="27" y="4"/>
                        <a:pt x="27" y="4"/>
                        <a:pt x="27" y="4"/>
                      </a:cubicBezTo>
                      <a:cubicBezTo>
                        <a:pt x="26" y="4"/>
                        <a:pt x="26" y="4"/>
                        <a:pt x="26" y="4"/>
                      </a:cubicBezTo>
                      <a:cubicBezTo>
                        <a:pt x="26" y="4"/>
                        <a:pt x="26" y="4"/>
                        <a:pt x="26" y="4"/>
                      </a:cubicBezTo>
                      <a:cubicBezTo>
                        <a:pt x="26" y="5"/>
                        <a:pt x="26" y="5"/>
                        <a:pt x="26" y="5"/>
                      </a:cubicBezTo>
                      <a:cubicBezTo>
                        <a:pt x="26" y="6"/>
                        <a:pt x="26" y="6"/>
                        <a:pt x="26" y="6"/>
                      </a:cubicBezTo>
                      <a:cubicBezTo>
                        <a:pt x="26" y="7"/>
                        <a:pt x="26" y="7"/>
                        <a:pt x="26" y="7"/>
                      </a:cubicBezTo>
                      <a:cubicBezTo>
                        <a:pt x="27" y="8"/>
                        <a:pt x="27" y="8"/>
                        <a:pt x="27" y="8"/>
                      </a:cubicBezTo>
                      <a:cubicBezTo>
                        <a:pt x="26" y="9"/>
                        <a:pt x="26" y="9"/>
                        <a:pt x="26" y="9"/>
                      </a:cubicBezTo>
                      <a:cubicBezTo>
                        <a:pt x="26" y="8"/>
                        <a:pt x="26" y="8"/>
                        <a:pt x="26" y="8"/>
                      </a:cubicBezTo>
                      <a:cubicBezTo>
                        <a:pt x="25" y="7"/>
                        <a:pt x="25" y="7"/>
                        <a:pt x="25" y="7"/>
                      </a:cubicBezTo>
                      <a:cubicBezTo>
                        <a:pt x="25" y="7"/>
                        <a:pt x="25" y="7"/>
                        <a:pt x="25" y="7"/>
                      </a:cubicBezTo>
                      <a:cubicBezTo>
                        <a:pt x="25" y="8"/>
                        <a:pt x="25" y="8"/>
                        <a:pt x="25" y="8"/>
                      </a:cubicBezTo>
                      <a:cubicBezTo>
                        <a:pt x="25" y="9"/>
                        <a:pt x="25" y="9"/>
                        <a:pt x="25" y="9"/>
                      </a:cubicBezTo>
                      <a:cubicBezTo>
                        <a:pt x="26" y="9"/>
                        <a:pt x="26" y="9"/>
                        <a:pt x="26" y="9"/>
                      </a:cubicBezTo>
                      <a:cubicBezTo>
                        <a:pt x="26" y="10"/>
                        <a:pt x="26" y="10"/>
                        <a:pt x="26" y="10"/>
                      </a:cubicBezTo>
                      <a:cubicBezTo>
                        <a:pt x="25" y="10"/>
                        <a:pt x="25" y="10"/>
                        <a:pt x="25" y="10"/>
                      </a:cubicBezTo>
                      <a:cubicBezTo>
                        <a:pt x="25" y="10"/>
                        <a:pt x="25" y="10"/>
                        <a:pt x="25" y="10"/>
                      </a:cubicBezTo>
                      <a:cubicBezTo>
                        <a:pt x="25" y="9"/>
                        <a:pt x="25" y="9"/>
                        <a:pt x="25" y="9"/>
                      </a:cubicBezTo>
                      <a:cubicBezTo>
                        <a:pt x="24" y="9"/>
                        <a:pt x="24" y="9"/>
                        <a:pt x="24" y="9"/>
                      </a:cubicBezTo>
                      <a:cubicBezTo>
                        <a:pt x="23" y="9"/>
                        <a:pt x="23" y="9"/>
                        <a:pt x="23" y="9"/>
                      </a:cubicBezTo>
                      <a:cubicBezTo>
                        <a:pt x="22" y="9"/>
                        <a:pt x="22" y="9"/>
                        <a:pt x="22" y="9"/>
                      </a:cubicBezTo>
                      <a:cubicBezTo>
                        <a:pt x="22" y="9"/>
                        <a:pt x="22" y="9"/>
                        <a:pt x="22" y="9"/>
                      </a:cubicBezTo>
                      <a:cubicBezTo>
                        <a:pt x="22" y="10"/>
                        <a:pt x="22" y="10"/>
                        <a:pt x="22" y="10"/>
                      </a:cubicBezTo>
                      <a:cubicBezTo>
                        <a:pt x="23" y="10"/>
                        <a:pt x="23" y="10"/>
                        <a:pt x="23" y="10"/>
                      </a:cubicBezTo>
                      <a:cubicBezTo>
                        <a:pt x="23" y="10"/>
                        <a:pt x="23" y="10"/>
                        <a:pt x="23" y="10"/>
                      </a:cubicBezTo>
                      <a:cubicBezTo>
                        <a:pt x="23" y="11"/>
                        <a:pt x="23" y="11"/>
                        <a:pt x="23" y="11"/>
                      </a:cubicBezTo>
                      <a:cubicBezTo>
                        <a:pt x="23" y="11"/>
                        <a:pt x="23" y="11"/>
                        <a:pt x="23" y="11"/>
                      </a:cubicBezTo>
                      <a:cubicBezTo>
                        <a:pt x="24" y="11"/>
                        <a:pt x="24" y="11"/>
                        <a:pt x="24" y="11"/>
                      </a:cubicBezTo>
                      <a:cubicBezTo>
                        <a:pt x="24" y="11"/>
                        <a:pt x="24" y="11"/>
                        <a:pt x="24" y="11"/>
                      </a:cubicBezTo>
                      <a:cubicBezTo>
                        <a:pt x="23" y="12"/>
                        <a:pt x="23" y="12"/>
                        <a:pt x="23" y="12"/>
                      </a:cubicBezTo>
                      <a:cubicBezTo>
                        <a:pt x="23" y="13"/>
                        <a:pt x="23" y="13"/>
                        <a:pt x="23" y="13"/>
                      </a:cubicBezTo>
                      <a:cubicBezTo>
                        <a:pt x="24" y="14"/>
                        <a:pt x="24" y="14"/>
                        <a:pt x="24" y="14"/>
                      </a:cubicBezTo>
                      <a:cubicBezTo>
                        <a:pt x="24" y="14"/>
                        <a:pt x="24" y="14"/>
                        <a:pt x="24" y="14"/>
                      </a:cubicBezTo>
                      <a:cubicBezTo>
                        <a:pt x="25" y="15"/>
                        <a:pt x="25" y="15"/>
                        <a:pt x="25" y="15"/>
                      </a:cubicBezTo>
                      <a:cubicBezTo>
                        <a:pt x="26" y="15"/>
                        <a:pt x="26" y="15"/>
                        <a:pt x="26" y="15"/>
                      </a:cubicBezTo>
                      <a:cubicBezTo>
                        <a:pt x="27" y="15"/>
                        <a:pt x="27" y="15"/>
                        <a:pt x="27" y="15"/>
                      </a:cubicBezTo>
                      <a:cubicBezTo>
                        <a:pt x="28" y="15"/>
                        <a:pt x="28" y="15"/>
                        <a:pt x="28" y="15"/>
                      </a:cubicBezTo>
                      <a:close/>
                      <a:moveTo>
                        <a:pt x="55" y="25"/>
                      </a:moveTo>
                      <a:cubicBezTo>
                        <a:pt x="56" y="23"/>
                        <a:pt x="56" y="23"/>
                        <a:pt x="56" y="23"/>
                      </a:cubicBezTo>
                      <a:cubicBezTo>
                        <a:pt x="56" y="23"/>
                        <a:pt x="56" y="23"/>
                        <a:pt x="56" y="23"/>
                      </a:cubicBezTo>
                      <a:cubicBezTo>
                        <a:pt x="57" y="23"/>
                        <a:pt x="57" y="23"/>
                        <a:pt x="57" y="23"/>
                      </a:cubicBezTo>
                      <a:cubicBezTo>
                        <a:pt x="58" y="22"/>
                        <a:pt x="58" y="22"/>
                        <a:pt x="58" y="22"/>
                      </a:cubicBezTo>
                      <a:cubicBezTo>
                        <a:pt x="58" y="23"/>
                        <a:pt x="58" y="23"/>
                        <a:pt x="58" y="23"/>
                      </a:cubicBezTo>
                      <a:cubicBezTo>
                        <a:pt x="59" y="23"/>
                        <a:pt x="59" y="23"/>
                        <a:pt x="59" y="23"/>
                      </a:cubicBezTo>
                      <a:cubicBezTo>
                        <a:pt x="60" y="23"/>
                        <a:pt x="60" y="23"/>
                        <a:pt x="60" y="23"/>
                      </a:cubicBezTo>
                      <a:cubicBezTo>
                        <a:pt x="59" y="24"/>
                        <a:pt x="59" y="24"/>
                        <a:pt x="59" y="24"/>
                      </a:cubicBezTo>
                      <a:cubicBezTo>
                        <a:pt x="59" y="24"/>
                        <a:pt x="59" y="24"/>
                        <a:pt x="59" y="24"/>
                      </a:cubicBezTo>
                      <a:cubicBezTo>
                        <a:pt x="58" y="23"/>
                        <a:pt x="58" y="23"/>
                        <a:pt x="58" y="23"/>
                      </a:cubicBezTo>
                      <a:cubicBezTo>
                        <a:pt x="57" y="23"/>
                        <a:pt x="57" y="23"/>
                        <a:pt x="57" y="23"/>
                      </a:cubicBezTo>
                      <a:cubicBezTo>
                        <a:pt x="56" y="24"/>
                        <a:pt x="56" y="24"/>
                        <a:pt x="56" y="24"/>
                      </a:cubicBezTo>
                      <a:cubicBezTo>
                        <a:pt x="56" y="24"/>
                        <a:pt x="56" y="24"/>
                        <a:pt x="56" y="24"/>
                      </a:cubicBezTo>
                      <a:cubicBezTo>
                        <a:pt x="55" y="25"/>
                        <a:pt x="55" y="25"/>
                        <a:pt x="55" y="25"/>
                      </a:cubicBezTo>
                      <a:cubicBezTo>
                        <a:pt x="55" y="25"/>
                        <a:pt x="55" y="25"/>
                        <a:pt x="55" y="25"/>
                      </a:cubicBezTo>
                      <a:close/>
                      <a:moveTo>
                        <a:pt x="51" y="27"/>
                      </a:moveTo>
                      <a:cubicBezTo>
                        <a:pt x="51" y="27"/>
                        <a:pt x="51" y="27"/>
                        <a:pt x="51" y="27"/>
                      </a:cubicBezTo>
                      <a:cubicBezTo>
                        <a:pt x="51" y="26"/>
                        <a:pt x="51" y="26"/>
                        <a:pt x="51" y="26"/>
                      </a:cubicBezTo>
                      <a:cubicBezTo>
                        <a:pt x="51" y="25"/>
                        <a:pt x="51" y="25"/>
                        <a:pt x="51" y="25"/>
                      </a:cubicBezTo>
                      <a:cubicBezTo>
                        <a:pt x="51" y="25"/>
                        <a:pt x="51" y="25"/>
                        <a:pt x="51" y="25"/>
                      </a:cubicBezTo>
                      <a:cubicBezTo>
                        <a:pt x="51" y="25"/>
                        <a:pt x="51" y="25"/>
                        <a:pt x="51" y="25"/>
                      </a:cubicBezTo>
                      <a:cubicBezTo>
                        <a:pt x="51" y="25"/>
                        <a:pt x="51" y="25"/>
                        <a:pt x="51" y="25"/>
                      </a:cubicBezTo>
                      <a:cubicBezTo>
                        <a:pt x="52" y="26"/>
                        <a:pt x="52" y="26"/>
                        <a:pt x="52" y="26"/>
                      </a:cubicBezTo>
                      <a:cubicBezTo>
                        <a:pt x="52" y="26"/>
                        <a:pt x="52" y="26"/>
                        <a:pt x="52" y="26"/>
                      </a:cubicBezTo>
                      <a:cubicBezTo>
                        <a:pt x="52" y="27"/>
                        <a:pt x="52" y="27"/>
                        <a:pt x="52" y="27"/>
                      </a:cubicBezTo>
                      <a:cubicBezTo>
                        <a:pt x="52" y="27"/>
                        <a:pt x="52" y="27"/>
                        <a:pt x="52" y="27"/>
                      </a:cubicBezTo>
                      <a:cubicBezTo>
                        <a:pt x="51" y="27"/>
                        <a:pt x="51" y="27"/>
                        <a:pt x="51" y="27"/>
                      </a:cubicBezTo>
                      <a:close/>
                      <a:moveTo>
                        <a:pt x="34" y="35"/>
                      </a:moveTo>
                      <a:cubicBezTo>
                        <a:pt x="35" y="34"/>
                        <a:pt x="35" y="34"/>
                        <a:pt x="35" y="34"/>
                      </a:cubicBezTo>
                      <a:cubicBezTo>
                        <a:pt x="35" y="33"/>
                        <a:pt x="35" y="33"/>
                        <a:pt x="35" y="33"/>
                      </a:cubicBezTo>
                      <a:cubicBezTo>
                        <a:pt x="37" y="33"/>
                        <a:pt x="37" y="33"/>
                        <a:pt x="37" y="33"/>
                      </a:cubicBezTo>
                      <a:cubicBezTo>
                        <a:pt x="38" y="33"/>
                        <a:pt x="38" y="33"/>
                        <a:pt x="38" y="33"/>
                      </a:cubicBezTo>
                      <a:cubicBezTo>
                        <a:pt x="40" y="32"/>
                        <a:pt x="40" y="32"/>
                        <a:pt x="40" y="32"/>
                      </a:cubicBezTo>
                      <a:cubicBezTo>
                        <a:pt x="41" y="31"/>
                        <a:pt x="41" y="31"/>
                        <a:pt x="41" y="31"/>
                      </a:cubicBezTo>
                      <a:cubicBezTo>
                        <a:pt x="41" y="32"/>
                        <a:pt x="41" y="32"/>
                        <a:pt x="41" y="32"/>
                      </a:cubicBezTo>
                      <a:cubicBezTo>
                        <a:pt x="42" y="33"/>
                        <a:pt x="42" y="33"/>
                        <a:pt x="42" y="33"/>
                      </a:cubicBezTo>
                      <a:cubicBezTo>
                        <a:pt x="42" y="33"/>
                        <a:pt x="42" y="33"/>
                        <a:pt x="42" y="33"/>
                      </a:cubicBezTo>
                      <a:cubicBezTo>
                        <a:pt x="41" y="33"/>
                        <a:pt x="41" y="33"/>
                        <a:pt x="41" y="33"/>
                      </a:cubicBezTo>
                      <a:cubicBezTo>
                        <a:pt x="41" y="34"/>
                        <a:pt x="41" y="34"/>
                        <a:pt x="41" y="34"/>
                      </a:cubicBezTo>
                      <a:cubicBezTo>
                        <a:pt x="41" y="35"/>
                        <a:pt x="41" y="35"/>
                        <a:pt x="41" y="35"/>
                      </a:cubicBezTo>
                      <a:cubicBezTo>
                        <a:pt x="42" y="36"/>
                        <a:pt x="42" y="36"/>
                        <a:pt x="42" y="36"/>
                      </a:cubicBezTo>
                      <a:cubicBezTo>
                        <a:pt x="43" y="37"/>
                        <a:pt x="43" y="37"/>
                        <a:pt x="43" y="37"/>
                      </a:cubicBezTo>
                      <a:cubicBezTo>
                        <a:pt x="44" y="36"/>
                        <a:pt x="44" y="36"/>
                        <a:pt x="44" y="36"/>
                      </a:cubicBezTo>
                      <a:cubicBezTo>
                        <a:pt x="45" y="36"/>
                        <a:pt x="45" y="36"/>
                        <a:pt x="45" y="36"/>
                      </a:cubicBezTo>
                      <a:cubicBezTo>
                        <a:pt x="46" y="36"/>
                        <a:pt x="46" y="36"/>
                        <a:pt x="46" y="36"/>
                      </a:cubicBezTo>
                      <a:cubicBezTo>
                        <a:pt x="46" y="36"/>
                        <a:pt x="46" y="36"/>
                        <a:pt x="46" y="36"/>
                      </a:cubicBezTo>
                      <a:cubicBezTo>
                        <a:pt x="47" y="37"/>
                        <a:pt x="47" y="37"/>
                        <a:pt x="47" y="37"/>
                      </a:cubicBezTo>
                      <a:cubicBezTo>
                        <a:pt x="47" y="37"/>
                        <a:pt x="47" y="37"/>
                        <a:pt x="47" y="37"/>
                      </a:cubicBezTo>
                      <a:cubicBezTo>
                        <a:pt x="46" y="38"/>
                        <a:pt x="46" y="38"/>
                        <a:pt x="46" y="38"/>
                      </a:cubicBezTo>
                      <a:cubicBezTo>
                        <a:pt x="45" y="39"/>
                        <a:pt x="45" y="39"/>
                        <a:pt x="45" y="39"/>
                      </a:cubicBezTo>
                      <a:cubicBezTo>
                        <a:pt x="45" y="40"/>
                        <a:pt x="45" y="40"/>
                        <a:pt x="45" y="40"/>
                      </a:cubicBezTo>
                      <a:cubicBezTo>
                        <a:pt x="44" y="41"/>
                        <a:pt x="44" y="41"/>
                        <a:pt x="44" y="41"/>
                      </a:cubicBezTo>
                      <a:cubicBezTo>
                        <a:pt x="43" y="41"/>
                        <a:pt x="43" y="41"/>
                        <a:pt x="43" y="41"/>
                      </a:cubicBezTo>
                      <a:cubicBezTo>
                        <a:pt x="43" y="42"/>
                        <a:pt x="43" y="42"/>
                        <a:pt x="43" y="42"/>
                      </a:cubicBezTo>
                      <a:cubicBezTo>
                        <a:pt x="42" y="43"/>
                        <a:pt x="42" y="43"/>
                        <a:pt x="42" y="43"/>
                      </a:cubicBezTo>
                      <a:cubicBezTo>
                        <a:pt x="42" y="43"/>
                        <a:pt x="42" y="43"/>
                        <a:pt x="42" y="43"/>
                      </a:cubicBezTo>
                      <a:cubicBezTo>
                        <a:pt x="41" y="44"/>
                        <a:pt x="41" y="44"/>
                        <a:pt x="41" y="44"/>
                      </a:cubicBezTo>
                      <a:cubicBezTo>
                        <a:pt x="41" y="44"/>
                        <a:pt x="41" y="44"/>
                        <a:pt x="41" y="44"/>
                      </a:cubicBezTo>
                      <a:cubicBezTo>
                        <a:pt x="40" y="43"/>
                        <a:pt x="40" y="43"/>
                        <a:pt x="40" y="43"/>
                      </a:cubicBezTo>
                      <a:cubicBezTo>
                        <a:pt x="41" y="42"/>
                        <a:pt x="41" y="42"/>
                        <a:pt x="41" y="42"/>
                      </a:cubicBezTo>
                      <a:cubicBezTo>
                        <a:pt x="41" y="41"/>
                        <a:pt x="41" y="41"/>
                        <a:pt x="41" y="41"/>
                      </a:cubicBezTo>
                      <a:cubicBezTo>
                        <a:pt x="41" y="40"/>
                        <a:pt x="41" y="40"/>
                        <a:pt x="41" y="40"/>
                      </a:cubicBezTo>
                      <a:cubicBezTo>
                        <a:pt x="41" y="39"/>
                        <a:pt x="41" y="39"/>
                        <a:pt x="41" y="39"/>
                      </a:cubicBezTo>
                      <a:cubicBezTo>
                        <a:pt x="41" y="40"/>
                        <a:pt x="41" y="40"/>
                        <a:pt x="41" y="40"/>
                      </a:cubicBezTo>
                      <a:cubicBezTo>
                        <a:pt x="40" y="39"/>
                        <a:pt x="40" y="39"/>
                        <a:pt x="40" y="39"/>
                      </a:cubicBezTo>
                      <a:cubicBezTo>
                        <a:pt x="40" y="40"/>
                        <a:pt x="40" y="40"/>
                        <a:pt x="40" y="40"/>
                      </a:cubicBezTo>
                      <a:cubicBezTo>
                        <a:pt x="39" y="41"/>
                        <a:pt x="39" y="41"/>
                        <a:pt x="39" y="41"/>
                      </a:cubicBezTo>
                      <a:cubicBezTo>
                        <a:pt x="38" y="41"/>
                        <a:pt x="38" y="41"/>
                        <a:pt x="38" y="41"/>
                      </a:cubicBezTo>
                      <a:cubicBezTo>
                        <a:pt x="38" y="41"/>
                        <a:pt x="38" y="41"/>
                        <a:pt x="38" y="41"/>
                      </a:cubicBezTo>
                      <a:cubicBezTo>
                        <a:pt x="37" y="42"/>
                        <a:pt x="37" y="42"/>
                        <a:pt x="37" y="42"/>
                      </a:cubicBezTo>
                      <a:cubicBezTo>
                        <a:pt x="36" y="42"/>
                        <a:pt x="36" y="42"/>
                        <a:pt x="36" y="42"/>
                      </a:cubicBezTo>
                      <a:cubicBezTo>
                        <a:pt x="35" y="42"/>
                        <a:pt x="35" y="42"/>
                        <a:pt x="35" y="42"/>
                      </a:cubicBezTo>
                      <a:cubicBezTo>
                        <a:pt x="35" y="42"/>
                        <a:pt x="35" y="42"/>
                        <a:pt x="35" y="42"/>
                      </a:cubicBezTo>
                      <a:cubicBezTo>
                        <a:pt x="35" y="42"/>
                        <a:pt x="35" y="42"/>
                        <a:pt x="35" y="42"/>
                      </a:cubicBezTo>
                      <a:cubicBezTo>
                        <a:pt x="35" y="41"/>
                        <a:pt x="35" y="41"/>
                        <a:pt x="35" y="41"/>
                      </a:cubicBezTo>
                      <a:cubicBezTo>
                        <a:pt x="35" y="40"/>
                        <a:pt x="35" y="40"/>
                        <a:pt x="35" y="40"/>
                      </a:cubicBezTo>
                      <a:cubicBezTo>
                        <a:pt x="36" y="40"/>
                        <a:pt x="36" y="40"/>
                        <a:pt x="36" y="40"/>
                      </a:cubicBezTo>
                      <a:cubicBezTo>
                        <a:pt x="36" y="39"/>
                        <a:pt x="36" y="39"/>
                        <a:pt x="36" y="39"/>
                      </a:cubicBezTo>
                      <a:cubicBezTo>
                        <a:pt x="36" y="38"/>
                        <a:pt x="36" y="38"/>
                        <a:pt x="36" y="38"/>
                      </a:cubicBezTo>
                      <a:cubicBezTo>
                        <a:pt x="37" y="37"/>
                        <a:pt x="37" y="37"/>
                        <a:pt x="37" y="37"/>
                      </a:cubicBezTo>
                      <a:cubicBezTo>
                        <a:pt x="37" y="36"/>
                        <a:pt x="37" y="36"/>
                        <a:pt x="37" y="36"/>
                      </a:cubicBezTo>
                      <a:cubicBezTo>
                        <a:pt x="37" y="36"/>
                        <a:pt x="37" y="36"/>
                        <a:pt x="37" y="36"/>
                      </a:cubicBezTo>
                      <a:cubicBezTo>
                        <a:pt x="36" y="36"/>
                        <a:pt x="36" y="36"/>
                        <a:pt x="36" y="36"/>
                      </a:cubicBezTo>
                      <a:cubicBezTo>
                        <a:pt x="35" y="35"/>
                        <a:pt x="35" y="35"/>
                        <a:pt x="35" y="35"/>
                      </a:cubicBezTo>
                      <a:cubicBezTo>
                        <a:pt x="34" y="35"/>
                        <a:pt x="34" y="35"/>
                        <a:pt x="34" y="35"/>
                      </a:cubicBezTo>
                      <a:close/>
                      <a:moveTo>
                        <a:pt x="30" y="22"/>
                      </a:moveTo>
                      <a:cubicBezTo>
                        <a:pt x="30" y="23"/>
                        <a:pt x="30" y="23"/>
                        <a:pt x="30" y="23"/>
                      </a:cubicBezTo>
                      <a:cubicBezTo>
                        <a:pt x="31" y="24"/>
                        <a:pt x="31" y="24"/>
                        <a:pt x="31" y="24"/>
                      </a:cubicBezTo>
                      <a:cubicBezTo>
                        <a:pt x="31" y="24"/>
                        <a:pt x="31" y="24"/>
                        <a:pt x="31" y="24"/>
                      </a:cubicBezTo>
                      <a:cubicBezTo>
                        <a:pt x="32" y="23"/>
                        <a:pt x="32" y="23"/>
                        <a:pt x="32" y="23"/>
                      </a:cubicBezTo>
                      <a:cubicBezTo>
                        <a:pt x="32" y="23"/>
                        <a:pt x="32" y="23"/>
                        <a:pt x="32" y="23"/>
                      </a:cubicBezTo>
                      <a:cubicBezTo>
                        <a:pt x="32" y="22"/>
                        <a:pt x="32" y="22"/>
                        <a:pt x="32" y="22"/>
                      </a:cubicBezTo>
                      <a:cubicBezTo>
                        <a:pt x="30" y="22"/>
                        <a:pt x="30" y="22"/>
                        <a:pt x="30" y="22"/>
                      </a:cubicBezTo>
                      <a:cubicBezTo>
                        <a:pt x="30" y="22"/>
                        <a:pt x="30" y="22"/>
                        <a:pt x="30" y="22"/>
                      </a:cubicBezTo>
                      <a:cubicBezTo>
                        <a:pt x="30" y="22"/>
                        <a:pt x="30" y="22"/>
                        <a:pt x="30" y="22"/>
                      </a:cubicBezTo>
                      <a:close/>
                      <a:moveTo>
                        <a:pt x="32" y="30"/>
                      </a:moveTo>
                      <a:cubicBezTo>
                        <a:pt x="32" y="30"/>
                        <a:pt x="32" y="30"/>
                        <a:pt x="32" y="30"/>
                      </a:cubicBezTo>
                      <a:cubicBezTo>
                        <a:pt x="33" y="30"/>
                        <a:pt x="33" y="30"/>
                        <a:pt x="33" y="30"/>
                      </a:cubicBezTo>
                      <a:cubicBezTo>
                        <a:pt x="34" y="31"/>
                        <a:pt x="34" y="31"/>
                        <a:pt x="34" y="31"/>
                      </a:cubicBezTo>
                      <a:cubicBezTo>
                        <a:pt x="34" y="31"/>
                        <a:pt x="34" y="31"/>
                        <a:pt x="34" y="31"/>
                      </a:cubicBezTo>
                      <a:cubicBezTo>
                        <a:pt x="34" y="32"/>
                        <a:pt x="34" y="32"/>
                        <a:pt x="34" y="32"/>
                      </a:cubicBezTo>
                      <a:cubicBezTo>
                        <a:pt x="34" y="32"/>
                        <a:pt x="34" y="32"/>
                        <a:pt x="34" y="32"/>
                      </a:cubicBezTo>
                      <a:cubicBezTo>
                        <a:pt x="34" y="33"/>
                        <a:pt x="34" y="33"/>
                        <a:pt x="34" y="33"/>
                      </a:cubicBezTo>
                      <a:cubicBezTo>
                        <a:pt x="35" y="33"/>
                        <a:pt x="35" y="33"/>
                        <a:pt x="35" y="33"/>
                      </a:cubicBezTo>
                      <a:cubicBezTo>
                        <a:pt x="35" y="33"/>
                        <a:pt x="35" y="33"/>
                        <a:pt x="35" y="33"/>
                      </a:cubicBezTo>
                      <a:cubicBezTo>
                        <a:pt x="35" y="32"/>
                        <a:pt x="35" y="32"/>
                        <a:pt x="35" y="32"/>
                      </a:cubicBezTo>
                      <a:cubicBezTo>
                        <a:pt x="37" y="32"/>
                        <a:pt x="37" y="32"/>
                        <a:pt x="37" y="32"/>
                      </a:cubicBezTo>
                      <a:cubicBezTo>
                        <a:pt x="37" y="32"/>
                        <a:pt x="37" y="32"/>
                        <a:pt x="37" y="32"/>
                      </a:cubicBezTo>
                      <a:cubicBezTo>
                        <a:pt x="38" y="31"/>
                        <a:pt x="38" y="31"/>
                        <a:pt x="38" y="31"/>
                      </a:cubicBezTo>
                      <a:cubicBezTo>
                        <a:pt x="38" y="31"/>
                        <a:pt x="38" y="31"/>
                        <a:pt x="38" y="31"/>
                      </a:cubicBezTo>
                      <a:cubicBezTo>
                        <a:pt x="38" y="30"/>
                        <a:pt x="38" y="30"/>
                        <a:pt x="38" y="30"/>
                      </a:cubicBezTo>
                      <a:cubicBezTo>
                        <a:pt x="38" y="29"/>
                        <a:pt x="38" y="29"/>
                        <a:pt x="38" y="29"/>
                      </a:cubicBezTo>
                      <a:cubicBezTo>
                        <a:pt x="39" y="29"/>
                        <a:pt x="39" y="29"/>
                        <a:pt x="39" y="29"/>
                      </a:cubicBezTo>
                      <a:cubicBezTo>
                        <a:pt x="38" y="28"/>
                        <a:pt x="38" y="28"/>
                        <a:pt x="38" y="28"/>
                      </a:cubicBezTo>
                      <a:cubicBezTo>
                        <a:pt x="38" y="28"/>
                        <a:pt x="38" y="28"/>
                        <a:pt x="38" y="28"/>
                      </a:cubicBezTo>
                      <a:cubicBezTo>
                        <a:pt x="37" y="27"/>
                        <a:pt x="37" y="27"/>
                        <a:pt x="37" y="27"/>
                      </a:cubicBezTo>
                      <a:cubicBezTo>
                        <a:pt x="37" y="27"/>
                        <a:pt x="37" y="27"/>
                        <a:pt x="37" y="27"/>
                      </a:cubicBezTo>
                      <a:cubicBezTo>
                        <a:pt x="37" y="28"/>
                        <a:pt x="37" y="28"/>
                        <a:pt x="37" y="28"/>
                      </a:cubicBezTo>
                      <a:cubicBezTo>
                        <a:pt x="35" y="28"/>
                        <a:pt x="35" y="28"/>
                        <a:pt x="35" y="28"/>
                      </a:cubicBezTo>
                      <a:cubicBezTo>
                        <a:pt x="35" y="28"/>
                        <a:pt x="35" y="28"/>
                        <a:pt x="35" y="28"/>
                      </a:cubicBezTo>
                      <a:cubicBezTo>
                        <a:pt x="35" y="28"/>
                        <a:pt x="35" y="28"/>
                        <a:pt x="35" y="28"/>
                      </a:cubicBezTo>
                      <a:cubicBezTo>
                        <a:pt x="34" y="28"/>
                        <a:pt x="34" y="28"/>
                        <a:pt x="34" y="28"/>
                      </a:cubicBezTo>
                      <a:cubicBezTo>
                        <a:pt x="34" y="29"/>
                        <a:pt x="34" y="29"/>
                        <a:pt x="34" y="29"/>
                      </a:cubicBezTo>
                      <a:cubicBezTo>
                        <a:pt x="33" y="29"/>
                        <a:pt x="33" y="29"/>
                        <a:pt x="33" y="29"/>
                      </a:cubicBezTo>
                      <a:cubicBezTo>
                        <a:pt x="33" y="29"/>
                        <a:pt x="33" y="29"/>
                        <a:pt x="33" y="29"/>
                      </a:cubicBezTo>
                      <a:cubicBezTo>
                        <a:pt x="32" y="29"/>
                        <a:pt x="32" y="29"/>
                        <a:pt x="32" y="29"/>
                      </a:cubicBezTo>
                      <a:cubicBezTo>
                        <a:pt x="32" y="30"/>
                        <a:pt x="32" y="30"/>
                        <a:pt x="32" y="30"/>
                      </a:cubicBezTo>
                      <a:close/>
                      <a:moveTo>
                        <a:pt x="5" y="34"/>
                      </a:moveTo>
                      <a:cubicBezTo>
                        <a:pt x="5" y="33"/>
                        <a:pt x="5" y="33"/>
                        <a:pt x="5" y="33"/>
                      </a:cubicBezTo>
                      <a:cubicBezTo>
                        <a:pt x="4" y="32"/>
                        <a:pt x="4" y="32"/>
                        <a:pt x="4" y="32"/>
                      </a:cubicBezTo>
                      <a:cubicBezTo>
                        <a:pt x="4" y="32"/>
                        <a:pt x="4" y="32"/>
                        <a:pt x="4" y="32"/>
                      </a:cubicBezTo>
                      <a:cubicBezTo>
                        <a:pt x="3" y="31"/>
                        <a:pt x="3" y="31"/>
                        <a:pt x="3" y="31"/>
                      </a:cubicBezTo>
                      <a:cubicBezTo>
                        <a:pt x="2" y="31"/>
                        <a:pt x="2" y="31"/>
                        <a:pt x="2" y="31"/>
                      </a:cubicBezTo>
                      <a:cubicBezTo>
                        <a:pt x="2" y="30"/>
                        <a:pt x="2" y="30"/>
                        <a:pt x="2" y="30"/>
                      </a:cubicBezTo>
                      <a:cubicBezTo>
                        <a:pt x="2" y="29"/>
                        <a:pt x="2" y="29"/>
                        <a:pt x="2" y="29"/>
                      </a:cubicBezTo>
                      <a:cubicBezTo>
                        <a:pt x="1" y="28"/>
                        <a:pt x="1" y="28"/>
                        <a:pt x="1" y="28"/>
                      </a:cubicBezTo>
                      <a:cubicBezTo>
                        <a:pt x="1" y="27"/>
                        <a:pt x="1" y="27"/>
                        <a:pt x="1" y="27"/>
                      </a:cubicBezTo>
                      <a:cubicBezTo>
                        <a:pt x="1" y="26"/>
                        <a:pt x="1" y="26"/>
                        <a:pt x="1" y="26"/>
                      </a:cubicBezTo>
                      <a:cubicBezTo>
                        <a:pt x="1" y="26"/>
                        <a:pt x="1" y="26"/>
                        <a:pt x="1" y="26"/>
                      </a:cubicBezTo>
                      <a:cubicBezTo>
                        <a:pt x="2" y="26"/>
                        <a:pt x="2" y="26"/>
                        <a:pt x="2" y="26"/>
                      </a:cubicBezTo>
                      <a:cubicBezTo>
                        <a:pt x="3" y="27"/>
                        <a:pt x="3" y="27"/>
                        <a:pt x="3" y="27"/>
                      </a:cubicBezTo>
                      <a:cubicBezTo>
                        <a:pt x="3" y="28"/>
                        <a:pt x="3" y="28"/>
                        <a:pt x="3" y="28"/>
                      </a:cubicBezTo>
                      <a:cubicBezTo>
                        <a:pt x="2" y="29"/>
                        <a:pt x="2" y="29"/>
                        <a:pt x="2" y="29"/>
                      </a:cubicBezTo>
                      <a:cubicBezTo>
                        <a:pt x="3" y="30"/>
                        <a:pt x="3" y="30"/>
                        <a:pt x="3" y="30"/>
                      </a:cubicBezTo>
                      <a:cubicBezTo>
                        <a:pt x="4" y="30"/>
                        <a:pt x="4" y="30"/>
                        <a:pt x="4" y="30"/>
                      </a:cubicBezTo>
                      <a:cubicBezTo>
                        <a:pt x="4" y="30"/>
                        <a:pt x="4" y="30"/>
                        <a:pt x="4" y="30"/>
                      </a:cubicBezTo>
                      <a:cubicBezTo>
                        <a:pt x="4" y="30"/>
                        <a:pt x="4" y="30"/>
                        <a:pt x="4" y="30"/>
                      </a:cubicBezTo>
                      <a:cubicBezTo>
                        <a:pt x="5" y="30"/>
                        <a:pt x="5" y="30"/>
                        <a:pt x="5" y="30"/>
                      </a:cubicBezTo>
                      <a:cubicBezTo>
                        <a:pt x="5" y="31"/>
                        <a:pt x="5" y="31"/>
                        <a:pt x="5" y="31"/>
                      </a:cubicBezTo>
                      <a:cubicBezTo>
                        <a:pt x="6" y="32"/>
                        <a:pt x="6" y="32"/>
                        <a:pt x="6" y="32"/>
                      </a:cubicBezTo>
                      <a:cubicBezTo>
                        <a:pt x="6" y="33"/>
                        <a:pt x="6" y="33"/>
                        <a:pt x="6" y="33"/>
                      </a:cubicBezTo>
                      <a:cubicBezTo>
                        <a:pt x="6" y="34"/>
                        <a:pt x="6" y="34"/>
                        <a:pt x="6" y="34"/>
                      </a:cubicBezTo>
                      <a:cubicBezTo>
                        <a:pt x="5" y="34"/>
                        <a:pt x="5" y="34"/>
                        <a:pt x="5" y="34"/>
                      </a:cubicBezTo>
                      <a:cubicBezTo>
                        <a:pt x="5" y="34"/>
                        <a:pt x="5" y="34"/>
                        <a:pt x="5" y="34"/>
                      </a:cubicBezTo>
                      <a:close/>
                      <a:moveTo>
                        <a:pt x="23" y="53"/>
                      </a:moveTo>
                      <a:cubicBezTo>
                        <a:pt x="22" y="53"/>
                        <a:pt x="22" y="53"/>
                        <a:pt x="22" y="53"/>
                      </a:cubicBezTo>
                      <a:cubicBezTo>
                        <a:pt x="22" y="53"/>
                        <a:pt x="22" y="53"/>
                        <a:pt x="22" y="53"/>
                      </a:cubicBezTo>
                      <a:cubicBezTo>
                        <a:pt x="22" y="53"/>
                        <a:pt x="22" y="53"/>
                        <a:pt x="22" y="53"/>
                      </a:cubicBezTo>
                      <a:cubicBezTo>
                        <a:pt x="21" y="53"/>
                        <a:pt x="21" y="53"/>
                        <a:pt x="21" y="53"/>
                      </a:cubicBezTo>
                      <a:cubicBezTo>
                        <a:pt x="21" y="53"/>
                        <a:pt x="21" y="53"/>
                        <a:pt x="21" y="53"/>
                      </a:cubicBezTo>
                      <a:cubicBezTo>
                        <a:pt x="21" y="51"/>
                        <a:pt x="21" y="51"/>
                        <a:pt x="21" y="51"/>
                      </a:cubicBezTo>
                      <a:cubicBezTo>
                        <a:pt x="21" y="51"/>
                        <a:pt x="21" y="51"/>
                        <a:pt x="21" y="51"/>
                      </a:cubicBezTo>
                      <a:cubicBezTo>
                        <a:pt x="21" y="51"/>
                        <a:pt x="21" y="51"/>
                        <a:pt x="21" y="51"/>
                      </a:cubicBezTo>
                      <a:cubicBezTo>
                        <a:pt x="19" y="50"/>
                        <a:pt x="19" y="50"/>
                        <a:pt x="19" y="50"/>
                      </a:cubicBezTo>
                      <a:cubicBezTo>
                        <a:pt x="19" y="49"/>
                        <a:pt x="19" y="49"/>
                        <a:pt x="19" y="49"/>
                      </a:cubicBezTo>
                      <a:cubicBezTo>
                        <a:pt x="20" y="48"/>
                        <a:pt x="20" y="48"/>
                        <a:pt x="20" y="48"/>
                      </a:cubicBezTo>
                      <a:cubicBezTo>
                        <a:pt x="20" y="48"/>
                        <a:pt x="20" y="48"/>
                        <a:pt x="20" y="48"/>
                      </a:cubicBezTo>
                      <a:cubicBezTo>
                        <a:pt x="21" y="48"/>
                        <a:pt x="21" y="48"/>
                        <a:pt x="21" y="48"/>
                      </a:cubicBezTo>
                      <a:cubicBezTo>
                        <a:pt x="21" y="48"/>
                        <a:pt x="21" y="48"/>
                        <a:pt x="21" y="48"/>
                      </a:cubicBezTo>
                      <a:cubicBezTo>
                        <a:pt x="20" y="47"/>
                        <a:pt x="20" y="47"/>
                        <a:pt x="20" y="47"/>
                      </a:cubicBezTo>
                      <a:cubicBezTo>
                        <a:pt x="20" y="47"/>
                        <a:pt x="20" y="47"/>
                        <a:pt x="20" y="47"/>
                      </a:cubicBezTo>
                      <a:cubicBezTo>
                        <a:pt x="20" y="47"/>
                        <a:pt x="20" y="47"/>
                        <a:pt x="20" y="47"/>
                      </a:cubicBezTo>
                      <a:cubicBezTo>
                        <a:pt x="19" y="47"/>
                        <a:pt x="19" y="47"/>
                        <a:pt x="19" y="47"/>
                      </a:cubicBezTo>
                      <a:cubicBezTo>
                        <a:pt x="19" y="48"/>
                        <a:pt x="19" y="48"/>
                        <a:pt x="19" y="48"/>
                      </a:cubicBezTo>
                      <a:cubicBezTo>
                        <a:pt x="18" y="48"/>
                        <a:pt x="18" y="48"/>
                        <a:pt x="18" y="48"/>
                      </a:cubicBezTo>
                      <a:cubicBezTo>
                        <a:pt x="17" y="47"/>
                        <a:pt x="17" y="47"/>
                        <a:pt x="17" y="47"/>
                      </a:cubicBezTo>
                      <a:cubicBezTo>
                        <a:pt x="17" y="47"/>
                        <a:pt x="17" y="47"/>
                        <a:pt x="17" y="47"/>
                      </a:cubicBezTo>
                      <a:cubicBezTo>
                        <a:pt x="17" y="47"/>
                        <a:pt x="17" y="47"/>
                        <a:pt x="17" y="47"/>
                      </a:cubicBezTo>
                      <a:cubicBezTo>
                        <a:pt x="16" y="46"/>
                        <a:pt x="16" y="46"/>
                        <a:pt x="16" y="46"/>
                      </a:cubicBezTo>
                      <a:cubicBezTo>
                        <a:pt x="15" y="46"/>
                        <a:pt x="15" y="46"/>
                        <a:pt x="15" y="46"/>
                      </a:cubicBezTo>
                      <a:cubicBezTo>
                        <a:pt x="15" y="46"/>
                        <a:pt x="15" y="46"/>
                        <a:pt x="15" y="46"/>
                      </a:cubicBezTo>
                      <a:cubicBezTo>
                        <a:pt x="15" y="45"/>
                        <a:pt x="15" y="45"/>
                        <a:pt x="15" y="45"/>
                      </a:cubicBezTo>
                      <a:cubicBezTo>
                        <a:pt x="15" y="45"/>
                        <a:pt x="15" y="45"/>
                        <a:pt x="15" y="45"/>
                      </a:cubicBezTo>
                      <a:cubicBezTo>
                        <a:pt x="14" y="44"/>
                        <a:pt x="14" y="44"/>
                        <a:pt x="14" y="44"/>
                      </a:cubicBezTo>
                      <a:cubicBezTo>
                        <a:pt x="14" y="45"/>
                        <a:pt x="14" y="45"/>
                        <a:pt x="14" y="45"/>
                      </a:cubicBezTo>
                      <a:cubicBezTo>
                        <a:pt x="14" y="44"/>
                        <a:pt x="14" y="44"/>
                        <a:pt x="14" y="44"/>
                      </a:cubicBezTo>
                      <a:cubicBezTo>
                        <a:pt x="14" y="44"/>
                        <a:pt x="14" y="44"/>
                        <a:pt x="14" y="44"/>
                      </a:cubicBezTo>
                      <a:cubicBezTo>
                        <a:pt x="13" y="43"/>
                        <a:pt x="13" y="43"/>
                        <a:pt x="13" y="43"/>
                      </a:cubicBezTo>
                      <a:cubicBezTo>
                        <a:pt x="13" y="43"/>
                        <a:pt x="13" y="43"/>
                        <a:pt x="13" y="43"/>
                      </a:cubicBezTo>
                      <a:cubicBezTo>
                        <a:pt x="13" y="43"/>
                        <a:pt x="13" y="43"/>
                        <a:pt x="13" y="43"/>
                      </a:cubicBezTo>
                      <a:cubicBezTo>
                        <a:pt x="13" y="43"/>
                        <a:pt x="13" y="43"/>
                        <a:pt x="13" y="43"/>
                      </a:cubicBezTo>
                      <a:cubicBezTo>
                        <a:pt x="13" y="42"/>
                        <a:pt x="13" y="42"/>
                        <a:pt x="13" y="42"/>
                      </a:cubicBezTo>
                      <a:cubicBezTo>
                        <a:pt x="13" y="42"/>
                        <a:pt x="13" y="42"/>
                        <a:pt x="13" y="42"/>
                      </a:cubicBezTo>
                      <a:cubicBezTo>
                        <a:pt x="12" y="41"/>
                        <a:pt x="12" y="41"/>
                        <a:pt x="12" y="41"/>
                      </a:cubicBezTo>
                      <a:cubicBezTo>
                        <a:pt x="12" y="41"/>
                        <a:pt x="12" y="41"/>
                        <a:pt x="12" y="41"/>
                      </a:cubicBezTo>
                      <a:cubicBezTo>
                        <a:pt x="13" y="40"/>
                        <a:pt x="13" y="40"/>
                        <a:pt x="13" y="40"/>
                      </a:cubicBezTo>
                      <a:cubicBezTo>
                        <a:pt x="14" y="40"/>
                        <a:pt x="14" y="40"/>
                        <a:pt x="14" y="40"/>
                      </a:cubicBezTo>
                      <a:cubicBezTo>
                        <a:pt x="14" y="41"/>
                        <a:pt x="14" y="41"/>
                        <a:pt x="14" y="41"/>
                      </a:cubicBezTo>
                      <a:cubicBezTo>
                        <a:pt x="15" y="41"/>
                        <a:pt x="15" y="41"/>
                        <a:pt x="15" y="41"/>
                      </a:cubicBezTo>
                      <a:cubicBezTo>
                        <a:pt x="15" y="41"/>
                        <a:pt x="15" y="41"/>
                        <a:pt x="15" y="41"/>
                      </a:cubicBezTo>
                      <a:cubicBezTo>
                        <a:pt x="15" y="41"/>
                        <a:pt x="15" y="41"/>
                        <a:pt x="15" y="41"/>
                      </a:cubicBezTo>
                      <a:cubicBezTo>
                        <a:pt x="16" y="41"/>
                        <a:pt x="16" y="41"/>
                        <a:pt x="16" y="41"/>
                      </a:cubicBezTo>
                      <a:cubicBezTo>
                        <a:pt x="17" y="41"/>
                        <a:pt x="17" y="41"/>
                        <a:pt x="17" y="41"/>
                      </a:cubicBezTo>
                      <a:cubicBezTo>
                        <a:pt x="17" y="41"/>
                        <a:pt x="17" y="41"/>
                        <a:pt x="17" y="41"/>
                      </a:cubicBezTo>
                      <a:cubicBezTo>
                        <a:pt x="19" y="41"/>
                        <a:pt x="19" y="41"/>
                        <a:pt x="19" y="41"/>
                      </a:cubicBezTo>
                      <a:cubicBezTo>
                        <a:pt x="19" y="41"/>
                        <a:pt x="19" y="41"/>
                        <a:pt x="19" y="41"/>
                      </a:cubicBezTo>
                      <a:cubicBezTo>
                        <a:pt x="18" y="40"/>
                        <a:pt x="18" y="40"/>
                        <a:pt x="18" y="40"/>
                      </a:cubicBezTo>
                      <a:cubicBezTo>
                        <a:pt x="17" y="40"/>
                        <a:pt x="17" y="40"/>
                        <a:pt x="17" y="40"/>
                      </a:cubicBezTo>
                      <a:cubicBezTo>
                        <a:pt x="16" y="40"/>
                        <a:pt x="16" y="40"/>
                        <a:pt x="16" y="40"/>
                      </a:cubicBezTo>
                      <a:cubicBezTo>
                        <a:pt x="15" y="40"/>
                        <a:pt x="15" y="40"/>
                        <a:pt x="15" y="40"/>
                      </a:cubicBezTo>
                      <a:cubicBezTo>
                        <a:pt x="15" y="39"/>
                        <a:pt x="15" y="39"/>
                        <a:pt x="15" y="39"/>
                      </a:cubicBezTo>
                      <a:cubicBezTo>
                        <a:pt x="16" y="39"/>
                        <a:pt x="16" y="39"/>
                        <a:pt x="16" y="39"/>
                      </a:cubicBezTo>
                      <a:cubicBezTo>
                        <a:pt x="17" y="39"/>
                        <a:pt x="17" y="39"/>
                        <a:pt x="17" y="39"/>
                      </a:cubicBezTo>
                      <a:cubicBezTo>
                        <a:pt x="18" y="39"/>
                        <a:pt x="18" y="39"/>
                        <a:pt x="18" y="39"/>
                      </a:cubicBezTo>
                      <a:cubicBezTo>
                        <a:pt x="19" y="38"/>
                        <a:pt x="19" y="38"/>
                        <a:pt x="19" y="38"/>
                      </a:cubicBezTo>
                      <a:cubicBezTo>
                        <a:pt x="20" y="38"/>
                        <a:pt x="20" y="38"/>
                        <a:pt x="20" y="38"/>
                      </a:cubicBezTo>
                      <a:cubicBezTo>
                        <a:pt x="21" y="38"/>
                        <a:pt x="21" y="38"/>
                        <a:pt x="21" y="38"/>
                      </a:cubicBezTo>
                      <a:cubicBezTo>
                        <a:pt x="21" y="38"/>
                        <a:pt x="21" y="38"/>
                        <a:pt x="21" y="38"/>
                      </a:cubicBezTo>
                      <a:cubicBezTo>
                        <a:pt x="21" y="38"/>
                        <a:pt x="21" y="38"/>
                        <a:pt x="21" y="38"/>
                      </a:cubicBezTo>
                      <a:cubicBezTo>
                        <a:pt x="22" y="37"/>
                        <a:pt x="22" y="37"/>
                        <a:pt x="22" y="37"/>
                      </a:cubicBezTo>
                      <a:cubicBezTo>
                        <a:pt x="22" y="37"/>
                        <a:pt x="22" y="37"/>
                        <a:pt x="22" y="37"/>
                      </a:cubicBezTo>
                      <a:cubicBezTo>
                        <a:pt x="22" y="37"/>
                        <a:pt x="22" y="37"/>
                        <a:pt x="22" y="37"/>
                      </a:cubicBezTo>
                      <a:cubicBezTo>
                        <a:pt x="22" y="37"/>
                        <a:pt x="22" y="37"/>
                        <a:pt x="22" y="37"/>
                      </a:cubicBezTo>
                      <a:cubicBezTo>
                        <a:pt x="21" y="37"/>
                        <a:pt x="21" y="37"/>
                        <a:pt x="21" y="37"/>
                      </a:cubicBezTo>
                      <a:cubicBezTo>
                        <a:pt x="20" y="37"/>
                        <a:pt x="20" y="37"/>
                        <a:pt x="20" y="37"/>
                      </a:cubicBezTo>
                      <a:cubicBezTo>
                        <a:pt x="19" y="37"/>
                        <a:pt x="19" y="37"/>
                        <a:pt x="19" y="37"/>
                      </a:cubicBezTo>
                      <a:cubicBezTo>
                        <a:pt x="18" y="37"/>
                        <a:pt x="18" y="37"/>
                        <a:pt x="18" y="37"/>
                      </a:cubicBezTo>
                      <a:cubicBezTo>
                        <a:pt x="18" y="37"/>
                        <a:pt x="18" y="37"/>
                        <a:pt x="18" y="37"/>
                      </a:cubicBezTo>
                      <a:cubicBezTo>
                        <a:pt x="17" y="37"/>
                        <a:pt x="17" y="37"/>
                        <a:pt x="17" y="37"/>
                      </a:cubicBezTo>
                      <a:cubicBezTo>
                        <a:pt x="17" y="37"/>
                        <a:pt x="17" y="37"/>
                        <a:pt x="17" y="37"/>
                      </a:cubicBezTo>
                      <a:cubicBezTo>
                        <a:pt x="16" y="37"/>
                        <a:pt x="16" y="37"/>
                        <a:pt x="16" y="37"/>
                      </a:cubicBezTo>
                      <a:cubicBezTo>
                        <a:pt x="16" y="38"/>
                        <a:pt x="16" y="38"/>
                        <a:pt x="16" y="38"/>
                      </a:cubicBezTo>
                      <a:cubicBezTo>
                        <a:pt x="15" y="38"/>
                        <a:pt x="15" y="38"/>
                        <a:pt x="15" y="38"/>
                      </a:cubicBezTo>
                      <a:cubicBezTo>
                        <a:pt x="14" y="38"/>
                        <a:pt x="14" y="38"/>
                        <a:pt x="14" y="38"/>
                      </a:cubicBezTo>
                      <a:cubicBezTo>
                        <a:pt x="14" y="39"/>
                        <a:pt x="14" y="39"/>
                        <a:pt x="14" y="39"/>
                      </a:cubicBezTo>
                      <a:cubicBezTo>
                        <a:pt x="13" y="39"/>
                        <a:pt x="13" y="39"/>
                        <a:pt x="13" y="39"/>
                      </a:cubicBezTo>
                      <a:cubicBezTo>
                        <a:pt x="12" y="39"/>
                        <a:pt x="12" y="39"/>
                        <a:pt x="12" y="39"/>
                      </a:cubicBezTo>
                      <a:cubicBezTo>
                        <a:pt x="12" y="39"/>
                        <a:pt x="12" y="39"/>
                        <a:pt x="12" y="39"/>
                      </a:cubicBezTo>
                      <a:cubicBezTo>
                        <a:pt x="11" y="39"/>
                        <a:pt x="11" y="39"/>
                        <a:pt x="11" y="39"/>
                      </a:cubicBezTo>
                      <a:cubicBezTo>
                        <a:pt x="11" y="38"/>
                        <a:pt x="11" y="38"/>
                        <a:pt x="11" y="38"/>
                      </a:cubicBezTo>
                      <a:cubicBezTo>
                        <a:pt x="11" y="36"/>
                        <a:pt x="11" y="36"/>
                        <a:pt x="11" y="36"/>
                      </a:cubicBezTo>
                      <a:cubicBezTo>
                        <a:pt x="11" y="36"/>
                        <a:pt x="11" y="36"/>
                        <a:pt x="11" y="36"/>
                      </a:cubicBezTo>
                      <a:cubicBezTo>
                        <a:pt x="11" y="36"/>
                        <a:pt x="11" y="36"/>
                        <a:pt x="11" y="36"/>
                      </a:cubicBezTo>
                      <a:cubicBezTo>
                        <a:pt x="12" y="35"/>
                        <a:pt x="12" y="35"/>
                        <a:pt x="12" y="35"/>
                      </a:cubicBezTo>
                      <a:cubicBezTo>
                        <a:pt x="12" y="35"/>
                        <a:pt x="12" y="35"/>
                        <a:pt x="12" y="35"/>
                      </a:cubicBezTo>
                      <a:cubicBezTo>
                        <a:pt x="13" y="35"/>
                        <a:pt x="13" y="35"/>
                        <a:pt x="13" y="35"/>
                      </a:cubicBezTo>
                      <a:cubicBezTo>
                        <a:pt x="13" y="36"/>
                        <a:pt x="13" y="36"/>
                        <a:pt x="13" y="36"/>
                      </a:cubicBezTo>
                      <a:cubicBezTo>
                        <a:pt x="13" y="36"/>
                        <a:pt x="13" y="36"/>
                        <a:pt x="13" y="36"/>
                      </a:cubicBezTo>
                      <a:cubicBezTo>
                        <a:pt x="13" y="35"/>
                        <a:pt x="13" y="35"/>
                        <a:pt x="13" y="35"/>
                      </a:cubicBezTo>
                      <a:cubicBezTo>
                        <a:pt x="14" y="35"/>
                        <a:pt x="14" y="35"/>
                        <a:pt x="14" y="35"/>
                      </a:cubicBezTo>
                      <a:cubicBezTo>
                        <a:pt x="15" y="35"/>
                        <a:pt x="15" y="35"/>
                        <a:pt x="15" y="35"/>
                      </a:cubicBezTo>
                      <a:cubicBezTo>
                        <a:pt x="15" y="34"/>
                        <a:pt x="15" y="34"/>
                        <a:pt x="15" y="34"/>
                      </a:cubicBezTo>
                      <a:cubicBezTo>
                        <a:pt x="16" y="33"/>
                        <a:pt x="16" y="33"/>
                        <a:pt x="16" y="33"/>
                      </a:cubicBezTo>
                      <a:cubicBezTo>
                        <a:pt x="17" y="33"/>
                        <a:pt x="17" y="33"/>
                        <a:pt x="17" y="33"/>
                      </a:cubicBezTo>
                      <a:cubicBezTo>
                        <a:pt x="17" y="33"/>
                        <a:pt x="17" y="33"/>
                        <a:pt x="17" y="33"/>
                      </a:cubicBezTo>
                      <a:cubicBezTo>
                        <a:pt x="17" y="32"/>
                        <a:pt x="17" y="32"/>
                        <a:pt x="17" y="32"/>
                      </a:cubicBezTo>
                      <a:cubicBezTo>
                        <a:pt x="18" y="32"/>
                        <a:pt x="18" y="32"/>
                        <a:pt x="18" y="32"/>
                      </a:cubicBezTo>
                      <a:cubicBezTo>
                        <a:pt x="20" y="32"/>
                        <a:pt x="20" y="32"/>
                        <a:pt x="20" y="32"/>
                      </a:cubicBezTo>
                      <a:cubicBezTo>
                        <a:pt x="21" y="31"/>
                        <a:pt x="21" y="31"/>
                        <a:pt x="21" y="31"/>
                      </a:cubicBezTo>
                      <a:cubicBezTo>
                        <a:pt x="21" y="31"/>
                        <a:pt x="21" y="31"/>
                        <a:pt x="21" y="31"/>
                      </a:cubicBezTo>
                      <a:cubicBezTo>
                        <a:pt x="22" y="30"/>
                        <a:pt x="22" y="30"/>
                        <a:pt x="22" y="30"/>
                      </a:cubicBezTo>
                      <a:cubicBezTo>
                        <a:pt x="22" y="30"/>
                        <a:pt x="22" y="30"/>
                        <a:pt x="22" y="30"/>
                      </a:cubicBezTo>
                      <a:cubicBezTo>
                        <a:pt x="21" y="30"/>
                        <a:pt x="21" y="30"/>
                        <a:pt x="21" y="30"/>
                      </a:cubicBezTo>
                      <a:cubicBezTo>
                        <a:pt x="21" y="30"/>
                        <a:pt x="21" y="30"/>
                        <a:pt x="21" y="30"/>
                      </a:cubicBezTo>
                      <a:cubicBezTo>
                        <a:pt x="20" y="31"/>
                        <a:pt x="20" y="31"/>
                        <a:pt x="20" y="31"/>
                      </a:cubicBezTo>
                      <a:cubicBezTo>
                        <a:pt x="19" y="30"/>
                        <a:pt x="19" y="30"/>
                        <a:pt x="19" y="30"/>
                      </a:cubicBezTo>
                      <a:cubicBezTo>
                        <a:pt x="19" y="30"/>
                        <a:pt x="19" y="30"/>
                        <a:pt x="19" y="30"/>
                      </a:cubicBezTo>
                      <a:cubicBezTo>
                        <a:pt x="20" y="29"/>
                        <a:pt x="20" y="29"/>
                        <a:pt x="20" y="29"/>
                      </a:cubicBezTo>
                      <a:cubicBezTo>
                        <a:pt x="20" y="28"/>
                        <a:pt x="20" y="28"/>
                        <a:pt x="20" y="28"/>
                      </a:cubicBezTo>
                      <a:cubicBezTo>
                        <a:pt x="19" y="27"/>
                        <a:pt x="19" y="27"/>
                        <a:pt x="19" y="27"/>
                      </a:cubicBezTo>
                      <a:cubicBezTo>
                        <a:pt x="19" y="27"/>
                        <a:pt x="19" y="27"/>
                        <a:pt x="19" y="27"/>
                      </a:cubicBezTo>
                      <a:cubicBezTo>
                        <a:pt x="19" y="28"/>
                        <a:pt x="19" y="28"/>
                        <a:pt x="19" y="28"/>
                      </a:cubicBezTo>
                      <a:cubicBezTo>
                        <a:pt x="19" y="29"/>
                        <a:pt x="19" y="29"/>
                        <a:pt x="19" y="29"/>
                      </a:cubicBezTo>
                      <a:cubicBezTo>
                        <a:pt x="18" y="29"/>
                        <a:pt x="18" y="29"/>
                        <a:pt x="18" y="29"/>
                      </a:cubicBezTo>
                      <a:cubicBezTo>
                        <a:pt x="17" y="31"/>
                        <a:pt x="17" y="31"/>
                        <a:pt x="17" y="31"/>
                      </a:cubicBezTo>
                      <a:cubicBezTo>
                        <a:pt x="16" y="31"/>
                        <a:pt x="16" y="31"/>
                        <a:pt x="16" y="31"/>
                      </a:cubicBezTo>
                      <a:cubicBezTo>
                        <a:pt x="16" y="31"/>
                        <a:pt x="16" y="31"/>
                        <a:pt x="16" y="31"/>
                      </a:cubicBezTo>
                      <a:cubicBezTo>
                        <a:pt x="16" y="29"/>
                        <a:pt x="16" y="29"/>
                        <a:pt x="16" y="29"/>
                      </a:cubicBezTo>
                      <a:cubicBezTo>
                        <a:pt x="16" y="29"/>
                        <a:pt x="16" y="29"/>
                        <a:pt x="16" y="29"/>
                      </a:cubicBezTo>
                      <a:cubicBezTo>
                        <a:pt x="16" y="29"/>
                        <a:pt x="16" y="29"/>
                        <a:pt x="16" y="29"/>
                      </a:cubicBezTo>
                      <a:cubicBezTo>
                        <a:pt x="16" y="28"/>
                        <a:pt x="16" y="28"/>
                        <a:pt x="16" y="28"/>
                      </a:cubicBezTo>
                      <a:cubicBezTo>
                        <a:pt x="16" y="28"/>
                        <a:pt x="16" y="28"/>
                        <a:pt x="16" y="28"/>
                      </a:cubicBezTo>
                      <a:cubicBezTo>
                        <a:pt x="16" y="27"/>
                        <a:pt x="16" y="27"/>
                        <a:pt x="16" y="27"/>
                      </a:cubicBezTo>
                      <a:cubicBezTo>
                        <a:pt x="16" y="26"/>
                        <a:pt x="16" y="26"/>
                        <a:pt x="16" y="26"/>
                      </a:cubicBezTo>
                      <a:cubicBezTo>
                        <a:pt x="15" y="26"/>
                        <a:pt x="15" y="26"/>
                        <a:pt x="15" y="26"/>
                      </a:cubicBezTo>
                      <a:cubicBezTo>
                        <a:pt x="15" y="27"/>
                        <a:pt x="15" y="27"/>
                        <a:pt x="15" y="27"/>
                      </a:cubicBezTo>
                      <a:cubicBezTo>
                        <a:pt x="15" y="28"/>
                        <a:pt x="15" y="28"/>
                        <a:pt x="15" y="28"/>
                      </a:cubicBezTo>
                      <a:cubicBezTo>
                        <a:pt x="15" y="29"/>
                        <a:pt x="15" y="29"/>
                        <a:pt x="15" y="29"/>
                      </a:cubicBezTo>
                      <a:cubicBezTo>
                        <a:pt x="14" y="29"/>
                        <a:pt x="14" y="29"/>
                        <a:pt x="14" y="29"/>
                      </a:cubicBezTo>
                      <a:cubicBezTo>
                        <a:pt x="14" y="29"/>
                        <a:pt x="14" y="29"/>
                        <a:pt x="14" y="29"/>
                      </a:cubicBezTo>
                      <a:cubicBezTo>
                        <a:pt x="14" y="28"/>
                        <a:pt x="14" y="28"/>
                        <a:pt x="14" y="28"/>
                      </a:cubicBezTo>
                      <a:cubicBezTo>
                        <a:pt x="14" y="28"/>
                        <a:pt x="14" y="28"/>
                        <a:pt x="14" y="28"/>
                      </a:cubicBezTo>
                      <a:cubicBezTo>
                        <a:pt x="14" y="27"/>
                        <a:pt x="14" y="27"/>
                        <a:pt x="14" y="27"/>
                      </a:cubicBezTo>
                      <a:cubicBezTo>
                        <a:pt x="13" y="28"/>
                        <a:pt x="13" y="28"/>
                        <a:pt x="13" y="28"/>
                      </a:cubicBezTo>
                      <a:cubicBezTo>
                        <a:pt x="13" y="28"/>
                        <a:pt x="13" y="28"/>
                        <a:pt x="13" y="28"/>
                      </a:cubicBezTo>
                      <a:cubicBezTo>
                        <a:pt x="13" y="29"/>
                        <a:pt x="13" y="29"/>
                        <a:pt x="13" y="29"/>
                      </a:cubicBezTo>
                      <a:cubicBezTo>
                        <a:pt x="13" y="30"/>
                        <a:pt x="13" y="30"/>
                        <a:pt x="13" y="30"/>
                      </a:cubicBezTo>
                      <a:cubicBezTo>
                        <a:pt x="14" y="30"/>
                        <a:pt x="14" y="30"/>
                        <a:pt x="14" y="30"/>
                      </a:cubicBezTo>
                      <a:cubicBezTo>
                        <a:pt x="14" y="31"/>
                        <a:pt x="14" y="31"/>
                        <a:pt x="14" y="31"/>
                      </a:cubicBezTo>
                      <a:cubicBezTo>
                        <a:pt x="14" y="32"/>
                        <a:pt x="14" y="32"/>
                        <a:pt x="14" y="32"/>
                      </a:cubicBezTo>
                      <a:cubicBezTo>
                        <a:pt x="14" y="32"/>
                        <a:pt x="14" y="32"/>
                        <a:pt x="14" y="32"/>
                      </a:cubicBezTo>
                      <a:cubicBezTo>
                        <a:pt x="13" y="32"/>
                        <a:pt x="13" y="32"/>
                        <a:pt x="13" y="32"/>
                      </a:cubicBezTo>
                      <a:cubicBezTo>
                        <a:pt x="13" y="33"/>
                        <a:pt x="13" y="33"/>
                        <a:pt x="13" y="33"/>
                      </a:cubicBezTo>
                      <a:cubicBezTo>
                        <a:pt x="13" y="33"/>
                        <a:pt x="13" y="33"/>
                        <a:pt x="13" y="33"/>
                      </a:cubicBezTo>
                      <a:cubicBezTo>
                        <a:pt x="12" y="34"/>
                        <a:pt x="12" y="34"/>
                        <a:pt x="12" y="34"/>
                      </a:cubicBezTo>
                      <a:cubicBezTo>
                        <a:pt x="10" y="34"/>
                        <a:pt x="10" y="34"/>
                        <a:pt x="10" y="34"/>
                      </a:cubicBezTo>
                      <a:cubicBezTo>
                        <a:pt x="9" y="34"/>
                        <a:pt x="9" y="34"/>
                        <a:pt x="9" y="34"/>
                      </a:cubicBezTo>
                      <a:cubicBezTo>
                        <a:pt x="9" y="34"/>
                        <a:pt x="9" y="34"/>
                        <a:pt x="9" y="34"/>
                      </a:cubicBezTo>
                      <a:cubicBezTo>
                        <a:pt x="10" y="33"/>
                        <a:pt x="10" y="33"/>
                        <a:pt x="10" y="33"/>
                      </a:cubicBezTo>
                      <a:cubicBezTo>
                        <a:pt x="9" y="33"/>
                        <a:pt x="9" y="33"/>
                        <a:pt x="9" y="33"/>
                      </a:cubicBezTo>
                      <a:cubicBezTo>
                        <a:pt x="8" y="32"/>
                        <a:pt x="8" y="32"/>
                        <a:pt x="8" y="32"/>
                      </a:cubicBezTo>
                      <a:cubicBezTo>
                        <a:pt x="7" y="31"/>
                        <a:pt x="7" y="31"/>
                        <a:pt x="7" y="31"/>
                      </a:cubicBezTo>
                      <a:cubicBezTo>
                        <a:pt x="7" y="31"/>
                        <a:pt x="7" y="31"/>
                        <a:pt x="7" y="31"/>
                      </a:cubicBezTo>
                      <a:cubicBezTo>
                        <a:pt x="7" y="31"/>
                        <a:pt x="7" y="31"/>
                        <a:pt x="7" y="31"/>
                      </a:cubicBezTo>
                      <a:cubicBezTo>
                        <a:pt x="7" y="30"/>
                        <a:pt x="7" y="30"/>
                        <a:pt x="7" y="30"/>
                      </a:cubicBezTo>
                      <a:cubicBezTo>
                        <a:pt x="8" y="30"/>
                        <a:pt x="8" y="30"/>
                        <a:pt x="8" y="30"/>
                      </a:cubicBezTo>
                      <a:cubicBezTo>
                        <a:pt x="8" y="30"/>
                        <a:pt x="8" y="30"/>
                        <a:pt x="8" y="30"/>
                      </a:cubicBezTo>
                      <a:cubicBezTo>
                        <a:pt x="8" y="29"/>
                        <a:pt x="8" y="29"/>
                        <a:pt x="8" y="29"/>
                      </a:cubicBezTo>
                      <a:cubicBezTo>
                        <a:pt x="7" y="29"/>
                        <a:pt x="7" y="29"/>
                        <a:pt x="7" y="29"/>
                      </a:cubicBezTo>
                      <a:cubicBezTo>
                        <a:pt x="7" y="29"/>
                        <a:pt x="7" y="29"/>
                        <a:pt x="7" y="29"/>
                      </a:cubicBezTo>
                      <a:cubicBezTo>
                        <a:pt x="6" y="29"/>
                        <a:pt x="6" y="29"/>
                        <a:pt x="6" y="29"/>
                      </a:cubicBezTo>
                      <a:cubicBezTo>
                        <a:pt x="6" y="29"/>
                        <a:pt x="6" y="29"/>
                        <a:pt x="6" y="29"/>
                      </a:cubicBezTo>
                      <a:cubicBezTo>
                        <a:pt x="5" y="28"/>
                        <a:pt x="5" y="28"/>
                        <a:pt x="5" y="28"/>
                      </a:cubicBezTo>
                      <a:cubicBezTo>
                        <a:pt x="5" y="28"/>
                        <a:pt x="5" y="28"/>
                        <a:pt x="5" y="28"/>
                      </a:cubicBezTo>
                      <a:cubicBezTo>
                        <a:pt x="4" y="27"/>
                        <a:pt x="4" y="27"/>
                        <a:pt x="4" y="27"/>
                      </a:cubicBezTo>
                      <a:cubicBezTo>
                        <a:pt x="4" y="27"/>
                        <a:pt x="4" y="27"/>
                        <a:pt x="4" y="27"/>
                      </a:cubicBezTo>
                      <a:cubicBezTo>
                        <a:pt x="4" y="27"/>
                        <a:pt x="4" y="27"/>
                        <a:pt x="4" y="27"/>
                      </a:cubicBezTo>
                      <a:cubicBezTo>
                        <a:pt x="4" y="26"/>
                        <a:pt x="4" y="26"/>
                        <a:pt x="4" y="26"/>
                      </a:cubicBezTo>
                      <a:cubicBezTo>
                        <a:pt x="3" y="26"/>
                        <a:pt x="3" y="26"/>
                        <a:pt x="3" y="26"/>
                      </a:cubicBezTo>
                      <a:cubicBezTo>
                        <a:pt x="3" y="25"/>
                        <a:pt x="3" y="25"/>
                        <a:pt x="3" y="25"/>
                      </a:cubicBezTo>
                      <a:cubicBezTo>
                        <a:pt x="3" y="25"/>
                        <a:pt x="3" y="25"/>
                        <a:pt x="3" y="25"/>
                      </a:cubicBezTo>
                      <a:cubicBezTo>
                        <a:pt x="3" y="24"/>
                        <a:pt x="3" y="24"/>
                        <a:pt x="3" y="24"/>
                      </a:cubicBezTo>
                      <a:cubicBezTo>
                        <a:pt x="4" y="25"/>
                        <a:pt x="4" y="25"/>
                        <a:pt x="4" y="25"/>
                      </a:cubicBezTo>
                      <a:cubicBezTo>
                        <a:pt x="5" y="26"/>
                        <a:pt x="5" y="26"/>
                        <a:pt x="5" y="26"/>
                      </a:cubicBezTo>
                      <a:cubicBezTo>
                        <a:pt x="5" y="26"/>
                        <a:pt x="5" y="26"/>
                        <a:pt x="5" y="26"/>
                      </a:cubicBezTo>
                      <a:cubicBezTo>
                        <a:pt x="5" y="26"/>
                        <a:pt x="5" y="26"/>
                        <a:pt x="5" y="26"/>
                      </a:cubicBezTo>
                      <a:cubicBezTo>
                        <a:pt x="6" y="25"/>
                        <a:pt x="6" y="25"/>
                        <a:pt x="6" y="25"/>
                      </a:cubicBezTo>
                      <a:cubicBezTo>
                        <a:pt x="6" y="25"/>
                        <a:pt x="6" y="25"/>
                        <a:pt x="6" y="25"/>
                      </a:cubicBezTo>
                      <a:cubicBezTo>
                        <a:pt x="5" y="25"/>
                        <a:pt x="5" y="25"/>
                        <a:pt x="5" y="25"/>
                      </a:cubicBezTo>
                      <a:cubicBezTo>
                        <a:pt x="5" y="25"/>
                        <a:pt x="5" y="25"/>
                        <a:pt x="5" y="25"/>
                      </a:cubicBezTo>
                      <a:cubicBezTo>
                        <a:pt x="4" y="24"/>
                        <a:pt x="4" y="24"/>
                        <a:pt x="4" y="24"/>
                      </a:cubicBezTo>
                      <a:cubicBezTo>
                        <a:pt x="4" y="24"/>
                        <a:pt x="4" y="24"/>
                        <a:pt x="4" y="24"/>
                      </a:cubicBezTo>
                      <a:cubicBezTo>
                        <a:pt x="4" y="24"/>
                        <a:pt x="4" y="24"/>
                        <a:pt x="4" y="24"/>
                      </a:cubicBezTo>
                      <a:cubicBezTo>
                        <a:pt x="4" y="23"/>
                        <a:pt x="4" y="23"/>
                        <a:pt x="4" y="23"/>
                      </a:cubicBezTo>
                      <a:cubicBezTo>
                        <a:pt x="4" y="23"/>
                        <a:pt x="4" y="23"/>
                        <a:pt x="4" y="23"/>
                      </a:cubicBezTo>
                      <a:cubicBezTo>
                        <a:pt x="4" y="22"/>
                        <a:pt x="4" y="22"/>
                        <a:pt x="4" y="22"/>
                      </a:cubicBezTo>
                      <a:cubicBezTo>
                        <a:pt x="5" y="21"/>
                        <a:pt x="5" y="21"/>
                        <a:pt x="5" y="21"/>
                      </a:cubicBezTo>
                      <a:cubicBezTo>
                        <a:pt x="4" y="21"/>
                        <a:pt x="4" y="21"/>
                        <a:pt x="4" y="21"/>
                      </a:cubicBezTo>
                      <a:cubicBezTo>
                        <a:pt x="4" y="21"/>
                        <a:pt x="4" y="21"/>
                        <a:pt x="4" y="21"/>
                      </a:cubicBezTo>
                      <a:cubicBezTo>
                        <a:pt x="3" y="21"/>
                        <a:pt x="3" y="21"/>
                        <a:pt x="3" y="21"/>
                      </a:cubicBezTo>
                      <a:cubicBezTo>
                        <a:pt x="3" y="21"/>
                        <a:pt x="3" y="21"/>
                        <a:pt x="3" y="21"/>
                      </a:cubicBezTo>
                      <a:cubicBezTo>
                        <a:pt x="3" y="22"/>
                        <a:pt x="3" y="22"/>
                        <a:pt x="3" y="22"/>
                      </a:cubicBezTo>
                      <a:cubicBezTo>
                        <a:pt x="3" y="22"/>
                        <a:pt x="3" y="22"/>
                        <a:pt x="3" y="22"/>
                      </a:cubicBezTo>
                      <a:cubicBezTo>
                        <a:pt x="2" y="23"/>
                        <a:pt x="2" y="23"/>
                        <a:pt x="2" y="23"/>
                      </a:cubicBezTo>
                      <a:cubicBezTo>
                        <a:pt x="2" y="23"/>
                        <a:pt x="2" y="23"/>
                        <a:pt x="2" y="23"/>
                      </a:cubicBezTo>
                      <a:cubicBezTo>
                        <a:pt x="2" y="22"/>
                        <a:pt x="2" y="22"/>
                        <a:pt x="2" y="22"/>
                      </a:cubicBezTo>
                      <a:cubicBezTo>
                        <a:pt x="1" y="21"/>
                        <a:pt x="1" y="21"/>
                        <a:pt x="1" y="21"/>
                      </a:cubicBezTo>
                      <a:cubicBezTo>
                        <a:pt x="1" y="20"/>
                        <a:pt x="1" y="20"/>
                        <a:pt x="1" y="20"/>
                      </a:cubicBezTo>
                      <a:cubicBezTo>
                        <a:pt x="0" y="19"/>
                        <a:pt x="0" y="19"/>
                        <a:pt x="0" y="19"/>
                      </a:cubicBezTo>
                      <a:cubicBezTo>
                        <a:pt x="0" y="18"/>
                        <a:pt x="0" y="18"/>
                        <a:pt x="0" y="18"/>
                      </a:cubicBezTo>
                      <a:cubicBezTo>
                        <a:pt x="1" y="18"/>
                        <a:pt x="1" y="18"/>
                        <a:pt x="1" y="18"/>
                      </a:cubicBezTo>
                      <a:cubicBezTo>
                        <a:pt x="2" y="18"/>
                        <a:pt x="2" y="18"/>
                        <a:pt x="2" y="18"/>
                      </a:cubicBezTo>
                      <a:cubicBezTo>
                        <a:pt x="2" y="17"/>
                        <a:pt x="2" y="17"/>
                        <a:pt x="2" y="17"/>
                      </a:cubicBezTo>
                      <a:cubicBezTo>
                        <a:pt x="2" y="17"/>
                        <a:pt x="2" y="17"/>
                        <a:pt x="2" y="17"/>
                      </a:cubicBezTo>
                      <a:cubicBezTo>
                        <a:pt x="2" y="16"/>
                        <a:pt x="2" y="16"/>
                        <a:pt x="2" y="16"/>
                      </a:cubicBezTo>
                      <a:cubicBezTo>
                        <a:pt x="2" y="15"/>
                        <a:pt x="2" y="15"/>
                        <a:pt x="2" y="15"/>
                      </a:cubicBezTo>
                      <a:cubicBezTo>
                        <a:pt x="2" y="15"/>
                        <a:pt x="2" y="15"/>
                        <a:pt x="2" y="15"/>
                      </a:cubicBezTo>
                      <a:cubicBezTo>
                        <a:pt x="3" y="15"/>
                        <a:pt x="3" y="15"/>
                        <a:pt x="3" y="15"/>
                      </a:cubicBezTo>
                      <a:cubicBezTo>
                        <a:pt x="4" y="16"/>
                        <a:pt x="4" y="16"/>
                        <a:pt x="4" y="16"/>
                      </a:cubicBezTo>
                      <a:cubicBezTo>
                        <a:pt x="4" y="17"/>
                        <a:pt x="4" y="17"/>
                        <a:pt x="4" y="17"/>
                      </a:cubicBezTo>
                      <a:cubicBezTo>
                        <a:pt x="5" y="17"/>
                        <a:pt x="5" y="17"/>
                        <a:pt x="5" y="17"/>
                      </a:cubicBezTo>
                      <a:cubicBezTo>
                        <a:pt x="5" y="16"/>
                        <a:pt x="5" y="16"/>
                        <a:pt x="5" y="16"/>
                      </a:cubicBezTo>
                      <a:cubicBezTo>
                        <a:pt x="4" y="15"/>
                        <a:pt x="4" y="15"/>
                        <a:pt x="4" y="15"/>
                      </a:cubicBezTo>
                      <a:cubicBezTo>
                        <a:pt x="4" y="14"/>
                        <a:pt x="4" y="14"/>
                        <a:pt x="4" y="14"/>
                      </a:cubicBezTo>
                      <a:cubicBezTo>
                        <a:pt x="4" y="14"/>
                        <a:pt x="4" y="14"/>
                        <a:pt x="4" y="14"/>
                      </a:cubicBezTo>
                      <a:cubicBezTo>
                        <a:pt x="5" y="14"/>
                        <a:pt x="5" y="14"/>
                        <a:pt x="5" y="14"/>
                      </a:cubicBezTo>
                      <a:cubicBezTo>
                        <a:pt x="5" y="15"/>
                        <a:pt x="5" y="15"/>
                        <a:pt x="5" y="15"/>
                      </a:cubicBezTo>
                      <a:cubicBezTo>
                        <a:pt x="5" y="15"/>
                        <a:pt x="5" y="15"/>
                        <a:pt x="5" y="15"/>
                      </a:cubicBezTo>
                      <a:cubicBezTo>
                        <a:pt x="6" y="15"/>
                        <a:pt x="6" y="15"/>
                        <a:pt x="6" y="15"/>
                      </a:cubicBezTo>
                      <a:cubicBezTo>
                        <a:pt x="8" y="14"/>
                        <a:pt x="8" y="14"/>
                        <a:pt x="8" y="14"/>
                      </a:cubicBezTo>
                      <a:cubicBezTo>
                        <a:pt x="9" y="13"/>
                        <a:pt x="9" y="13"/>
                        <a:pt x="9" y="13"/>
                      </a:cubicBezTo>
                      <a:cubicBezTo>
                        <a:pt x="9" y="14"/>
                        <a:pt x="9" y="14"/>
                        <a:pt x="9" y="14"/>
                      </a:cubicBezTo>
                      <a:cubicBezTo>
                        <a:pt x="10" y="15"/>
                        <a:pt x="10" y="15"/>
                        <a:pt x="10" y="15"/>
                      </a:cubicBezTo>
                      <a:cubicBezTo>
                        <a:pt x="10" y="15"/>
                        <a:pt x="10" y="15"/>
                        <a:pt x="10" y="15"/>
                      </a:cubicBezTo>
                      <a:cubicBezTo>
                        <a:pt x="9" y="16"/>
                        <a:pt x="9" y="16"/>
                        <a:pt x="9" y="16"/>
                      </a:cubicBezTo>
                      <a:cubicBezTo>
                        <a:pt x="9" y="16"/>
                        <a:pt x="9" y="16"/>
                        <a:pt x="9" y="16"/>
                      </a:cubicBezTo>
                      <a:cubicBezTo>
                        <a:pt x="9" y="16"/>
                        <a:pt x="9" y="16"/>
                        <a:pt x="9" y="16"/>
                      </a:cubicBezTo>
                      <a:cubicBezTo>
                        <a:pt x="8" y="16"/>
                        <a:pt x="8" y="16"/>
                        <a:pt x="8" y="16"/>
                      </a:cubicBezTo>
                      <a:cubicBezTo>
                        <a:pt x="7" y="16"/>
                        <a:pt x="7" y="16"/>
                        <a:pt x="7" y="16"/>
                      </a:cubicBezTo>
                      <a:cubicBezTo>
                        <a:pt x="7" y="17"/>
                        <a:pt x="7" y="17"/>
                        <a:pt x="7" y="17"/>
                      </a:cubicBezTo>
                      <a:cubicBezTo>
                        <a:pt x="7" y="17"/>
                        <a:pt x="7" y="17"/>
                        <a:pt x="7" y="17"/>
                      </a:cubicBezTo>
                      <a:cubicBezTo>
                        <a:pt x="6" y="17"/>
                        <a:pt x="6" y="17"/>
                        <a:pt x="6" y="17"/>
                      </a:cubicBezTo>
                      <a:cubicBezTo>
                        <a:pt x="7" y="18"/>
                        <a:pt x="7" y="18"/>
                        <a:pt x="7" y="18"/>
                      </a:cubicBezTo>
                      <a:cubicBezTo>
                        <a:pt x="8" y="17"/>
                        <a:pt x="8" y="17"/>
                        <a:pt x="8" y="17"/>
                      </a:cubicBezTo>
                      <a:cubicBezTo>
                        <a:pt x="9" y="17"/>
                        <a:pt x="9" y="17"/>
                        <a:pt x="9" y="17"/>
                      </a:cubicBezTo>
                      <a:cubicBezTo>
                        <a:pt x="9" y="17"/>
                        <a:pt x="9" y="17"/>
                        <a:pt x="9" y="17"/>
                      </a:cubicBezTo>
                      <a:cubicBezTo>
                        <a:pt x="9" y="17"/>
                        <a:pt x="9" y="17"/>
                        <a:pt x="9" y="17"/>
                      </a:cubicBezTo>
                      <a:cubicBezTo>
                        <a:pt x="8" y="18"/>
                        <a:pt x="8" y="18"/>
                        <a:pt x="8" y="18"/>
                      </a:cubicBezTo>
                      <a:cubicBezTo>
                        <a:pt x="8" y="18"/>
                        <a:pt x="8" y="18"/>
                        <a:pt x="8" y="18"/>
                      </a:cubicBezTo>
                      <a:cubicBezTo>
                        <a:pt x="9" y="19"/>
                        <a:pt x="9" y="19"/>
                        <a:pt x="9" y="19"/>
                      </a:cubicBezTo>
                      <a:cubicBezTo>
                        <a:pt x="9" y="18"/>
                        <a:pt x="9" y="18"/>
                        <a:pt x="9" y="18"/>
                      </a:cubicBezTo>
                      <a:cubicBezTo>
                        <a:pt x="9" y="18"/>
                        <a:pt x="9" y="18"/>
                        <a:pt x="9" y="18"/>
                      </a:cubicBezTo>
                      <a:cubicBezTo>
                        <a:pt x="10" y="19"/>
                        <a:pt x="10" y="19"/>
                        <a:pt x="10" y="19"/>
                      </a:cubicBezTo>
                      <a:cubicBezTo>
                        <a:pt x="10" y="19"/>
                        <a:pt x="10" y="19"/>
                        <a:pt x="10" y="19"/>
                      </a:cubicBezTo>
                      <a:cubicBezTo>
                        <a:pt x="10" y="20"/>
                        <a:pt x="10" y="20"/>
                        <a:pt x="10" y="20"/>
                      </a:cubicBezTo>
                      <a:cubicBezTo>
                        <a:pt x="10" y="21"/>
                        <a:pt x="10" y="21"/>
                        <a:pt x="10" y="21"/>
                      </a:cubicBezTo>
                      <a:cubicBezTo>
                        <a:pt x="11" y="21"/>
                        <a:pt x="11" y="21"/>
                        <a:pt x="11" y="21"/>
                      </a:cubicBezTo>
                      <a:cubicBezTo>
                        <a:pt x="11" y="21"/>
                        <a:pt x="11" y="21"/>
                        <a:pt x="11" y="21"/>
                      </a:cubicBezTo>
                      <a:cubicBezTo>
                        <a:pt x="11" y="20"/>
                        <a:pt x="11" y="20"/>
                        <a:pt x="11" y="20"/>
                      </a:cubicBezTo>
                      <a:cubicBezTo>
                        <a:pt x="10" y="19"/>
                        <a:pt x="10" y="19"/>
                        <a:pt x="10" y="19"/>
                      </a:cubicBezTo>
                      <a:cubicBezTo>
                        <a:pt x="10" y="18"/>
                        <a:pt x="10" y="18"/>
                        <a:pt x="10" y="18"/>
                      </a:cubicBezTo>
                      <a:cubicBezTo>
                        <a:pt x="10" y="17"/>
                        <a:pt x="10" y="17"/>
                        <a:pt x="10" y="17"/>
                      </a:cubicBezTo>
                      <a:cubicBezTo>
                        <a:pt x="11" y="16"/>
                        <a:pt x="11" y="16"/>
                        <a:pt x="11" y="16"/>
                      </a:cubicBezTo>
                      <a:cubicBezTo>
                        <a:pt x="12" y="15"/>
                        <a:pt x="12" y="15"/>
                        <a:pt x="12" y="15"/>
                      </a:cubicBezTo>
                      <a:cubicBezTo>
                        <a:pt x="12" y="15"/>
                        <a:pt x="12" y="15"/>
                        <a:pt x="12" y="15"/>
                      </a:cubicBezTo>
                      <a:cubicBezTo>
                        <a:pt x="12" y="15"/>
                        <a:pt x="12" y="15"/>
                        <a:pt x="12" y="15"/>
                      </a:cubicBezTo>
                      <a:cubicBezTo>
                        <a:pt x="13" y="16"/>
                        <a:pt x="13" y="16"/>
                        <a:pt x="13" y="16"/>
                      </a:cubicBezTo>
                      <a:cubicBezTo>
                        <a:pt x="14" y="16"/>
                        <a:pt x="14" y="16"/>
                        <a:pt x="14" y="16"/>
                      </a:cubicBezTo>
                      <a:cubicBezTo>
                        <a:pt x="14" y="17"/>
                        <a:pt x="14" y="17"/>
                        <a:pt x="14" y="17"/>
                      </a:cubicBezTo>
                      <a:cubicBezTo>
                        <a:pt x="14" y="19"/>
                        <a:pt x="14" y="19"/>
                        <a:pt x="14" y="19"/>
                      </a:cubicBezTo>
                      <a:cubicBezTo>
                        <a:pt x="15" y="20"/>
                        <a:pt x="15" y="20"/>
                        <a:pt x="15" y="20"/>
                      </a:cubicBezTo>
                      <a:cubicBezTo>
                        <a:pt x="15" y="21"/>
                        <a:pt x="15" y="21"/>
                        <a:pt x="15" y="21"/>
                      </a:cubicBezTo>
                      <a:cubicBezTo>
                        <a:pt x="15" y="22"/>
                        <a:pt x="15" y="22"/>
                        <a:pt x="15" y="22"/>
                      </a:cubicBezTo>
                      <a:cubicBezTo>
                        <a:pt x="14" y="22"/>
                        <a:pt x="14" y="22"/>
                        <a:pt x="14" y="22"/>
                      </a:cubicBezTo>
                      <a:cubicBezTo>
                        <a:pt x="14" y="23"/>
                        <a:pt x="14" y="23"/>
                        <a:pt x="14" y="23"/>
                      </a:cubicBezTo>
                      <a:cubicBezTo>
                        <a:pt x="15" y="23"/>
                        <a:pt x="15" y="23"/>
                        <a:pt x="15" y="23"/>
                      </a:cubicBezTo>
                      <a:cubicBezTo>
                        <a:pt x="15" y="22"/>
                        <a:pt x="15" y="22"/>
                        <a:pt x="15" y="22"/>
                      </a:cubicBezTo>
                      <a:cubicBezTo>
                        <a:pt x="16" y="22"/>
                        <a:pt x="16" y="22"/>
                        <a:pt x="16" y="22"/>
                      </a:cubicBezTo>
                      <a:cubicBezTo>
                        <a:pt x="16" y="23"/>
                        <a:pt x="16" y="23"/>
                        <a:pt x="16" y="23"/>
                      </a:cubicBezTo>
                      <a:cubicBezTo>
                        <a:pt x="17" y="25"/>
                        <a:pt x="17" y="25"/>
                        <a:pt x="17" y="25"/>
                      </a:cubicBezTo>
                      <a:cubicBezTo>
                        <a:pt x="17" y="25"/>
                        <a:pt x="17" y="25"/>
                        <a:pt x="17" y="25"/>
                      </a:cubicBezTo>
                      <a:cubicBezTo>
                        <a:pt x="18" y="25"/>
                        <a:pt x="18" y="25"/>
                        <a:pt x="18" y="25"/>
                      </a:cubicBezTo>
                      <a:cubicBezTo>
                        <a:pt x="18" y="24"/>
                        <a:pt x="18" y="24"/>
                        <a:pt x="18" y="24"/>
                      </a:cubicBezTo>
                      <a:cubicBezTo>
                        <a:pt x="17" y="23"/>
                        <a:pt x="17" y="23"/>
                        <a:pt x="17" y="23"/>
                      </a:cubicBezTo>
                      <a:cubicBezTo>
                        <a:pt x="17" y="22"/>
                        <a:pt x="17" y="22"/>
                        <a:pt x="17" y="22"/>
                      </a:cubicBezTo>
                      <a:cubicBezTo>
                        <a:pt x="16" y="21"/>
                        <a:pt x="16" y="21"/>
                        <a:pt x="16" y="21"/>
                      </a:cubicBezTo>
                      <a:cubicBezTo>
                        <a:pt x="16" y="20"/>
                        <a:pt x="16" y="20"/>
                        <a:pt x="16" y="20"/>
                      </a:cubicBezTo>
                      <a:cubicBezTo>
                        <a:pt x="16" y="19"/>
                        <a:pt x="16" y="19"/>
                        <a:pt x="16" y="19"/>
                      </a:cubicBezTo>
                      <a:cubicBezTo>
                        <a:pt x="16" y="16"/>
                        <a:pt x="16" y="16"/>
                        <a:pt x="16" y="16"/>
                      </a:cubicBezTo>
                      <a:cubicBezTo>
                        <a:pt x="16" y="16"/>
                        <a:pt x="16" y="16"/>
                        <a:pt x="16" y="16"/>
                      </a:cubicBezTo>
                      <a:cubicBezTo>
                        <a:pt x="15" y="16"/>
                        <a:pt x="15" y="16"/>
                        <a:pt x="15" y="16"/>
                      </a:cubicBezTo>
                      <a:cubicBezTo>
                        <a:pt x="16" y="15"/>
                        <a:pt x="16" y="15"/>
                        <a:pt x="16" y="15"/>
                      </a:cubicBezTo>
                      <a:cubicBezTo>
                        <a:pt x="16" y="14"/>
                        <a:pt x="16" y="14"/>
                        <a:pt x="16" y="14"/>
                      </a:cubicBezTo>
                      <a:cubicBezTo>
                        <a:pt x="16" y="13"/>
                        <a:pt x="16" y="13"/>
                        <a:pt x="16" y="13"/>
                      </a:cubicBezTo>
                      <a:cubicBezTo>
                        <a:pt x="16" y="12"/>
                        <a:pt x="16" y="12"/>
                        <a:pt x="16" y="12"/>
                      </a:cubicBezTo>
                      <a:cubicBezTo>
                        <a:pt x="16" y="11"/>
                        <a:pt x="16" y="11"/>
                        <a:pt x="16" y="11"/>
                      </a:cubicBezTo>
                      <a:cubicBezTo>
                        <a:pt x="17" y="11"/>
                        <a:pt x="17" y="11"/>
                        <a:pt x="17" y="11"/>
                      </a:cubicBezTo>
                      <a:cubicBezTo>
                        <a:pt x="17" y="11"/>
                        <a:pt x="17" y="11"/>
                        <a:pt x="17" y="11"/>
                      </a:cubicBezTo>
                      <a:cubicBezTo>
                        <a:pt x="18" y="12"/>
                        <a:pt x="18" y="12"/>
                        <a:pt x="18" y="12"/>
                      </a:cubicBezTo>
                      <a:cubicBezTo>
                        <a:pt x="18" y="13"/>
                        <a:pt x="18" y="13"/>
                        <a:pt x="18" y="13"/>
                      </a:cubicBezTo>
                      <a:cubicBezTo>
                        <a:pt x="19" y="13"/>
                        <a:pt x="19" y="13"/>
                        <a:pt x="19" y="13"/>
                      </a:cubicBezTo>
                      <a:cubicBezTo>
                        <a:pt x="19" y="13"/>
                        <a:pt x="19" y="13"/>
                        <a:pt x="19" y="13"/>
                      </a:cubicBezTo>
                      <a:cubicBezTo>
                        <a:pt x="20" y="12"/>
                        <a:pt x="20" y="12"/>
                        <a:pt x="20" y="12"/>
                      </a:cubicBezTo>
                      <a:cubicBezTo>
                        <a:pt x="21" y="13"/>
                        <a:pt x="21" y="13"/>
                        <a:pt x="21" y="13"/>
                      </a:cubicBezTo>
                      <a:cubicBezTo>
                        <a:pt x="22" y="14"/>
                        <a:pt x="22" y="14"/>
                        <a:pt x="22" y="14"/>
                      </a:cubicBezTo>
                      <a:cubicBezTo>
                        <a:pt x="22" y="15"/>
                        <a:pt x="22" y="15"/>
                        <a:pt x="22" y="15"/>
                      </a:cubicBezTo>
                      <a:cubicBezTo>
                        <a:pt x="22" y="16"/>
                        <a:pt x="22" y="16"/>
                        <a:pt x="22" y="16"/>
                      </a:cubicBezTo>
                      <a:cubicBezTo>
                        <a:pt x="22" y="16"/>
                        <a:pt x="22" y="16"/>
                        <a:pt x="22" y="16"/>
                      </a:cubicBezTo>
                      <a:cubicBezTo>
                        <a:pt x="22" y="18"/>
                        <a:pt x="22" y="18"/>
                        <a:pt x="22" y="18"/>
                      </a:cubicBezTo>
                      <a:cubicBezTo>
                        <a:pt x="22" y="19"/>
                        <a:pt x="22" y="19"/>
                        <a:pt x="22" y="19"/>
                      </a:cubicBezTo>
                      <a:cubicBezTo>
                        <a:pt x="22" y="20"/>
                        <a:pt x="22" y="20"/>
                        <a:pt x="22" y="20"/>
                      </a:cubicBezTo>
                      <a:cubicBezTo>
                        <a:pt x="22" y="20"/>
                        <a:pt x="22" y="20"/>
                        <a:pt x="22" y="20"/>
                      </a:cubicBezTo>
                      <a:cubicBezTo>
                        <a:pt x="22" y="19"/>
                        <a:pt x="22" y="19"/>
                        <a:pt x="22" y="19"/>
                      </a:cubicBezTo>
                      <a:cubicBezTo>
                        <a:pt x="22" y="18"/>
                        <a:pt x="22" y="18"/>
                        <a:pt x="22" y="18"/>
                      </a:cubicBezTo>
                      <a:cubicBezTo>
                        <a:pt x="22" y="17"/>
                        <a:pt x="22" y="17"/>
                        <a:pt x="22" y="17"/>
                      </a:cubicBezTo>
                      <a:cubicBezTo>
                        <a:pt x="23" y="16"/>
                        <a:pt x="23" y="16"/>
                        <a:pt x="23" y="16"/>
                      </a:cubicBezTo>
                      <a:cubicBezTo>
                        <a:pt x="23" y="15"/>
                        <a:pt x="23" y="15"/>
                        <a:pt x="23" y="15"/>
                      </a:cubicBezTo>
                      <a:cubicBezTo>
                        <a:pt x="24" y="16"/>
                        <a:pt x="24" y="16"/>
                        <a:pt x="24" y="16"/>
                      </a:cubicBezTo>
                      <a:cubicBezTo>
                        <a:pt x="25" y="18"/>
                        <a:pt x="25" y="18"/>
                        <a:pt x="25" y="18"/>
                      </a:cubicBezTo>
                      <a:cubicBezTo>
                        <a:pt x="26" y="20"/>
                        <a:pt x="26" y="20"/>
                        <a:pt x="26" y="20"/>
                      </a:cubicBezTo>
                      <a:cubicBezTo>
                        <a:pt x="26" y="21"/>
                        <a:pt x="26" y="21"/>
                        <a:pt x="26" y="21"/>
                      </a:cubicBezTo>
                      <a:cubicBezTo>
                        <a:pt x="26" y="21"/>
                        <a:pt x="26" y="21"/>
                        <a:pt x="26" y="21"/>
                      </a:cubicBezTo>
                      <a:cubicBezTo>
                        <a:pt x="27" y="21"/>
                        <a:pt x="27" y="21"/>
                        <a:pt x="27" y="21"/>
                      </a:cubicBezTo>
                      <a:cubicBezTo>
                        <a:pt x="28" y="21"/>
                        <a:pt x="28" y="21"/>
                        <a:pt x="28" y="21"/>
                      </a:cubicBezTo>
                      <a:cubicBezTo>
                        <a:pt x="29" y="23"/>
                        <a:pt x="29" y="23"/>
                        <a:pt x="29" y="23"/>
                      </a:cubicBezTo>
                      <a:cubicBezTo>
                        <a:pt x="29" y="23"/>
                        <a:pt x="29" y="23"/>
                        <a:pt x="29" y="23"/>
                      </a:cubicBezTo>
                      <a:cubicBezTo>
                        <a:pt x="31" y="24"/>
                        <a:pt x="31" y="24"/>
                        <a:pt x="31" y="24"/>
                      </a:cubicBezTo>
                      <a:cubicBezTo>
                        <a:pt x="32" y="25"/>
                        <a:pt x="32" y="25"/>
                        <a:pt x="32" y="25"/>
                      </a:cubicBezTo>
                      <a:cubicBezTo>
                        <a:pt x="34" y="25"/>
                        <a:pt x="34" y="25"/>
                        <a:pt x="34" y="25"/>
                      </a:cubicBezTo>
                      <a:cubicBezTo>
                        <a:pt x="34" y="25"/>
                        <a:pt x="34" y="25"/>
                        <a:pt x="34" y="25"/>
                      </a:cubicBezTo>
                      <a:cubicBezTo>
                        <a:pt x="34" y="26"/>
                        <a:pt x="34" y="26"/>
                        <a:pt x="34" y="26"/>
                      </a:cubicBezTo>
                      <a:cubicBezTo>
                        <a:pt x="34" y="27"/>
                        <a:pt x="34" y="27"/>
                        <a:pt x="34" y="27"/>
                      </a:cubicBezTo>
                      <a:cubicBezTo>
                        <a:pt x="34" y="27"/>
                        <a:pt x="34" y="27"/>
                        <a:pt x="34" y="27"/>
                      </a:cubicBezTo>
                      <a:cubicBezTo>
                        <a:pt x="34" y="27"/>
                        <a:pt x="34" y="27"/>
                        <a:pt x="34" y="27"/>
                      </a:cubicBezTo>
                      <a:cubicBezTo>
                        <a:pt x="33" y="27"/>
                        <a:pt x="33" y="27"/>
                        <a:pt x="33" y="27"/>
                      </a:cubicBezTo>
                      <a:cubicBezTo>
                        <a:pt x="32" y="27"/>
                        <a:pt x="32" y="27"/>
                        <a:pt x="32" y="27"/>
                      </a:cubicBezTo>
                      <a:cubicBezTo>
                        <a:pt x="31" y="27"/>
                        <a:pt x="31" y="27"/>
                        <a:pt x="31" y="27"/>
                      </a:cubicBezTo>
                      <a:cubicBezTo>
                        <a:pt x="30" y="28"/>
                        <a:pt x="30" y="28"/>
                        <a:pt x="30" y="28"/>
                      </a:cubicBezTo>
                      <a:cubicBezTo>
                        <a:pt x="29" y="28"/>
                        <a:pt x="29" y="28"/>
                        <a:pt x="29" y="28"/>
                      </a:cubicBezTo>
                      <a:cubicBezTo>
                        <a:pt x="29" y="28"/>
                        <a:pt x="29" y="28"/>
                        <a:pt x="29" y="28"/>
                      </a:cubicBezTo>
                      <a:cubicBezTo>
                        <a:pt x="29" y="29"/>
                        <a:pt x="29" y="29"/>
                        <a:pt x="29" y="29"/>
                      </a:cubicBezTo>
                      <a:cubicBezTo>
                        <a:pt x="29" y="29"/>
                        <a:pt x="29" y="29"/>
                        <a:pt x="29" y="29"/>
                      </a:cubicBezTo>
                      <a:cubicBezTo>
                        <a:pt x="28" y="30"/>
                        <a:pt x="28" y="30"/>
                        <a:pt x="28" y="30"/>
                      </a:cubicBezTo>
                      <a:cubicBezTo>
                        <a:pt x="28" y="30"/>
                        <a:pt x="28" y="30"/>
                        <a:pt x="28" y="30"/>
                      </a:cubicBezTo>
                      <a:cubicBezTo>
                        <a:pt x="28" y="32"/>
                        <a:pt x="28" y="32"/>
                        <a:pt x="28" y="32"/>
                      </a:cubicBezTo>
                      <a:cubicBezTo>
                        <a:pt x="28" y="33"/>
                        <a:pt x="28" y="33"/>
                        <a:pt x="28" y="33"/>
                      </a:cubicBezTo>
                      <a:cubicBezTo>
                        <a:pt x="28" y="34"/>
                        <a:pt x="28" y="34"/>
                        <a:pt x="28" y="34"/>
                      </a:cubicBezTo>
                      <a:cubicBezTo>
                        <a:pt x="28" y="35"/>
                        <a:pt x="28" y="35"/>
                        <a:pt x="28" y="35"/>
                      </a:cubicBezTo>
                      <a:cubicBezTo>
                        <a:pt x="29" y="35"/>
                        <a:pt x="29" y="35"/>
                        <a:pt x="29" y="35"/>
                      </a:cubicBezTo>
                      <a:cubicBezTo>
                        <a:pt x="28" y="36"/>
                        <a:pt x="28" y="36"/>
                        <a:pt x="28" y="36"/>
                      </a:cubicBezTo>
                      <a:cubicBezTo>
                        <a:pt x="27" y="35"/>
                        <a:pt x="27" y="35"/>
                        <a:pt x="27" y="35"/>
                      </a:cubicBezTo>
                      <a:cubicBezTo>
                        <a:pt x="27" y="36"/>
                        <a:pt x="27" y="36"/>
                        <a:pt x="27" y="36"/>
                      </a:cubicBezTo>
                      <a:cubicBezTo>
                        <a:pt x="27" y="37"/>
                        <a:pt x="27" y="37"/>
                        <a:pt x="27" y="37"/>
                      </a:cubicBezTo>
                      <a:cubicBezTo>
                        <a:pt x="27" y="38"/>
                        <a:pt x="27" y="38"/>
                        <a:pt x="27" y="38"/>
                      </a:cubicBezTo>
                      <a:cubicBezTo>
                        <a:pt x="27" y="39"/>
                        <a:pt x="27" y="39"/>
                        <a:pt x="27" y="39"/>
                      </a:cubicBezTo>
                      <a:cubicBezTo>
                        <a:pt x="27" y="39"/>
                        <a:pt x="27" y="39"/>
                        <a:pt x="27" y="39"/>
                      </a:cubicBezTo>
                      <a:cubicBezTo>
                        <a:pt x="27" y="41"/>
                        <a:pt x="27" y="41"/>
                        <a:pt x="27" y="41"/>
                      </a:cubicBezTo>
                      <a:cubicBezTo>
                        <a:pt x="27" y="41"/>
                        <a:pt x="27" y="41"/>
                        <a:pt x="27" y="41"/>
                      </a:cubicBezTo>
                      <a:cubicBezTo>
                        <a:pt x="27" y="41"/>
                        <a:pt x="27" y="41"/>
                        <a:pt x="27" y="41"/>
                      </a:cubicBezTo>
                      <a:cubicBezTo>
                        <a:pt x="26" y="41"/>
                        <a:pt x="26" y="41"/>
                        <a:pt x="26" y="41"/>
                      </a:cubicBezTo>
                      <a:cubicBezTo>
                        <a:pt x="25" y="42"/>
                        <a:pt x="25" y="42"/>
                        <a:pt x="25" y="42"/>
                      </a:cubicBezTo>
                      <a:cubicBezTo>
                        <a:pt x="26" y="42"/>
                        <a:pt x="26" y="42"/>
                        <a:pt x="26" y="42"/>
                      </a:cubicBezTo>
                      <a:cubicBezTo>
                        <a:pt x="26" y="43"/>
                        <a:pt x="26" y="43"/>
                        <a:pt x="26" y="43"/>
                      </a:cubicBezTo>
                      <a:cubicBezTo>
                        <a:pt x="25" y="43"/>
                        <a:pt x="25" y="43"/>
                        <a:pt x="25" y="43"/>
                      </a:cubicBezTo>
                      <a:cubicBezTo>
                        <a:pt x="25" y="44"/>
                        <a:pt x="25" y="44"/>
                        <a:pt x="25" y="44"/>
                      </a:cubicBezTo>
                      <a:cubicBezTo>
                        <a:pt x="25" y="45"/>
                        <a:pt x="25" y="45"/>
                        <a:pt x="25" y="45"/>
                      </a:cubicBezTo>
                      <a:cubicBezTo>
                        <a:pt x="25" y="47"/>
                        <a:pt x="25" y="47"/>
                        <a:pt x="25" y="47"/>
                      </a:cubicBezTo>
                      <a:cubicBezTo>
                        <a:pt x="24" y="48"/>
                        <a:pt x="24" y="48"/>
                        <a:pt x="24" y="48"/>
                      </a:cubicBezTo>
                      <a:cubicBezTo>
                        <a:pt x="24" y="49"/>
                        <a:pt x="24" y="49"/>
                        <a:pt x="24" y="49"/>
                      </a:cubicBezTo>
                      <a:cubicBezTo>
                        <a:pt x="24" y="50"/>
                        <a:pt x="24" y="50"/>
                        <a:pt x="24" y="50"/>
                      </a:cubicBezTo>
                      <a:cubicBezTo>
                        <a:pt x="25" y="51"/>
                        <a:pt x="25" y="51"/>
                        <a:pt x="25" y="51"/>
                      </a:cubicBezTo>
                      <a:cubicBezTo>
                        <a:pt x="25" y="51"/>
                        <a:pt x="25" y="51"/>
                        <a:pt x="25" y="51"/>
                      </a:cubicBezTo>
                      <a:cubicBezTo>
                        <a:pt x="24" y="51"/>
                        <a:pt x="24" y="51"/>
                        <a:pt x="24" y="51"/>
                      </a:cubicBezTo>
                      <a:cubicBezTo>
                        <a:pt x="24" y="52"/>
                        <a:pt x="24" y="52"/>
                        <a:pt x="24" y="52"/>
                      </a:cubicBezTo>
                      <a:cubicBezTo>
                        <a:pt x="24" y="53"/>
                        <a:pt x="24" y="53"/>
                        <a:pt x="24" y="53"/>
                      </a:cubicBezTo>
                      <a:cubicBezTo>
                        <a:pt x="23" y="53"/>
                        <a:pt x="23" y="53"/>
                        <a:pt x="23" y="53"/>
                      </a:cubicBezTo>
                      <a:close/>
                      <a:moveTo>
                        <a:pt x="34" y="75"/>
                      </a:moveTo>
                      <a:cubicBezTo>
                        <a:pt x="34" y="75"/>
                        <a:pt x="34" y="75"/>
                        <a:pt x="34" y="75"/>
                      </a:cubicBezTo>
                      <a:cubicBezTo>
                        <a:pt x="34" y="74"/>
                        <a:pt x="34" y="74"/>
                        <a:pt x="34" y="74"/>
                      </a:cubicBezTo>
                      <a:cubicBezTo>
                        <a:pt x="33" y="73"/>
                        <a:pt x="33" y="73"/>
                        <a:pt x="33" y="73"/>
                      </a:cubicBezTo>
                      <a:cubicBezTo>
                        <a:pt x="33" y="73"/>
                        <a:pt x="33" y="73"/>
                        <a:pt x="33" y="73"/>
                      </a:cubicBezTo>
                      <a:cubicBezTo>
                        <a:pt x="32" y="73"/>
                        <a:pt x="32" y="73"/>
                        <a:pt x="32" y="73"/>
                      </a:cubicBezTo>
                      <a:cubicBezTo>
                        <a:pt x="33" y="74"/>
                        <a:pt x="33" y="74"/>
                        <a:pt x="33" y="74"/>
                      </a:cubicBezTo>
                      <a:cubicBezTo>
                        <a:pt x="33" y="74"/>
                        <a:pt x="33" y="74"/>
                        <a:pt x="33" y="74"/>
                      </a:cubicBezTo>
                      <a:cubicBezTo>
                        <a:pt x="33" y="75"/>
                        <a:pt x="33" y="75"/>
                        <a:pt x="33" y="75"/>
                      </a:cubicBezTo>
                      <a:lnTo>
                        <a:pt x="34" y="75"/>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Freeform 13">
                  <a:extLst>
                    <a:ext uri="{FF2B5EF4-FFF2-40B4-BE49-F238E27FC236}">
                      <a16:creationId xmlns:a16="http://schemas.microsoft.com/office/drawing/2014/main" id="{0304712B-10E9-D956-5547-9110037E4C6C}"/>
                    </a:ext>
                  </a:extLst>
                </p:cNvPr>
                <p:cNvSpPr>
                  <a:spLocks noEditPoints="1"/>
                </p:cNvSpPr>
                <p:nvPr/>
              </p:nvSpPr>
              <p:spPr bwMode="auto">
                <a:xfrm>
                  <a:off x="4041" y="2024"/>
                  <a:ext cx="179" cy="310"/>
                </a:xfrm>
                <a:custGeom>
                  <a:avLst/>
                  <a:gdLst>
                    <a:gd name="T0" fmla="*/ 75 w 179"/>
                    <a:gd name="T1" fmla="*/ 149 h 310"/>
                    <a:gd name="T2" fmla="*/ 7 w 179"/>
                    <a:gd name="T3" fmla="*/ 308 h 310"/>
                    <a:gd name="T4" fmla="*/ 40 w 179"/>
                    <a:gd name="T5" fmla="*/ 284 h 310"/>
                    <a:gd name="T6" fmla="*/ 40 w 179"/>
                    <a:gd name="T7" fmla="*/ 284 h 310"/>
                    <a:gd name="T8" fmla="*/ 52 w 179"/>
                    <a:gd name="T9" fmla="*/ 258 h 310"/>
                    <a:gd name="T10" fmla="*/ 54 w 179"/>
                    <a:gd name="T11" fmla="*/ 260 h 310"/>
                    <a:gd name="T12" fmla="*/ 125 w 179"/>
                    <a:gd name="T13" fmla="*/ 66 h 310"/>
                    <a:gd name="T14" fmla="*/ 118 w 179"/>
                    <a:gd name="T15" fmla="*/ 45 h 310"/>
                    <a:gd name="T16" fmla="*/ 127 w 179"/>
                    <a:gd name="T17" fmla="*/ 38 h 310"/>
                    <a:gd name="T18" fmla="*/ 127 w 179"/>
                    <a:gd name="T19" fmla="*/ 23 h 310"/>
                    <a:gd name="T20" fmla="*/ 125 w 179"/>
                    <a:gd name="T21" fmla="*/ 0 h 310"/>
                    <a:gd name="T22" fmla="*/ 156 w 179"/>
                    <a:gd name="T23" fmla="*/ 21 h 310"/>
                    <a:gd name="T24" fmla="*/ 167 w 179"/>
                    <a:gd name="T25" fmla="*/ 23 h 310"/>
                    <a:gd name="T26" fmla="*/ 175 w 179"/>
                    <a:gd name="T27" fmla="*/ 33 h 310"/>
                    <a:gd name="T28" fmla="*/ 158 w 179"/>
                    <a:gd name="T29" fmla="*/ 45 h 310"/>
                    <a:gd name="T30" fmla="*/ 139 w 179"/>
                    <a:gd name="T31" fmla="*/ 45 h 310"/>
                    <a:gd name="T32" fmla="*/ 130 w 179"/>
                    <a:gd name="T33" fmla="*/ 52 h 310"/>
                    <a:gd name="T34" fmla="*/ 127 w 179"/>
                    <a:gd name="T35" fmla="*/ 66 h 310"/>
                    <a:gd name="T36" fmla="*/ 125 w 179"/>
                    <a:gd name="T37" fmla="*/ 118 h 310"/>
                    <a:gd name="T38" fmla="*/ 40 w 179"/>
                    <a:gd name="T39" fmla="*/ 192 h 310"/>
                    <a:gd name="T40" fmla="*/ 37 w 179"/>
                    <a:gd name="T41" fmla="*/ 196 h 310"/>
                    <a:gd name="T42" fmla="*/ 35 w 179"/>
                    <a:gd name="T43" fmla="*/ 201 h 310"/>
                    <a:gd name="T44" fmla="*/ 49 w 179"/>
                    <a:gd name="T45" fmla="*/ 206 h 310"/>
                    <a:gd name="T46" fmla="*/ 49 w 179"/>
                    <a:gd name="T47" fmla="*/ 199 h 310"/>
                    <a:gd name="T48" fmla="*/ 89 w 179"/>
                    <a:gd name="T49" fmla="*/ 173 h 310"/>
                    <a:gd name="T50" fmla="*/ 82 w 179"/>
                    <a:gd name="T51" fmla="*/ 194 h 310"/>
                    <a:gd name="T52" fmla="*/ 99 w 179"/>
                    <a:gd name="T53" fmla="*/ 180 h 310"/>
                    <a:gd name="T54" fmla="*/ 80 w 179"/>
                    <a:gd name="T55" fmla="*/ 180 h 310"/>
                    <a:gd name="T56" fmla="*/ 80 w 179"/>
                    <a:gd name="T57" fmla="*/ 194 h 310"/>
                    <a:gd name="T58" fmla="*/ 66 w 179"/>
                    <a:gd name="T59" fmla="*/ 227 h 310"/>
                    <a:gd name="T60" fmla="*/ 63 w 179"/>
                    <a:gd name="T61" fmla="*/ 215 h 310"/>
                    <a:gd name="T62" fmla="*/ 70 w 179"/>
                    <a:gd name="T63" fmla="*/ 194 h 310"/>
                    <a:gd name="T64" fmla="*/ 61 w 179"/>
                    <a:gd name="T65" fmla="*/ 187 h 310"/>
                    <a:gd name="T66" fmla="*/ 70 w 179"/>
                    <a:gd name="T67" fmla="*/ 175 h 310"/>
                    <a:gd name="T68" fmla="*/ 89 w 179"/>
                    <a:gd name="T69" fmla="*/ 170 h 310"/>
                    <a:gd name="T70" fmla="*/ 101 w 179"/>
                    <a:gd name="T71" fmla="*/ 180 h 310"/>
                    <a:gd name="T72" fmla="*/ 118 w 179"/>
                    <a:gd name="T73" fmla="*/ 173 h 310"/>
                    <a:gd name="T74" fmla="*/ 118 w 179"/>
                    <a:gd name="T75" fmla="*/ 166 h 310"/>
                    <a:gd name="T76" fmla="*/ 127 w 179"/>
                    <a:gd name="T77" fmla="*/ 166 h 310"/>
                    <a:gd name="T78" fmla="*/ 144 w 179"/>
                    <a:gd name="T79" fmla="*/ 163 h 310"/>
                    <a:gd name="T80" fmla="*/ 149 w 179"/>
                    <a:gd name="T81" fmla="*/ 156 h 310"/>
                    <a:gd name="T82" fmla="*/ 156 w 179"/>
                    <a:gd name="T83" fmla="*/ 147 h 310"/>
                    <a:gd name="T84" fmla="*/ 158 w 179"/>
                    <a:gd name="T85" fmla="*/ 111 h 310"/>
                    <a:gd name="T86" fmla="*/ 156 w 179"/>
                    <a:gd name="T87" fmla="*/ 95 h 310"/>
                    <a:gd name="T88" fmla="*/ 141 w 179"/>
                    <a:gd name="T89" fmla="*/ 64 h 310"/>
                    <a:gd name="T90" fmla="*/ 139 w 179"/>
                    <a:gd name="T91" fmla="*/ 68 h 310"/>
                    <a:gd name="T92" fmla="*/ 130 w 179"/>
                    <a:gd name="T93" fmla="*/ 68 h 310"/>
                    <a:gd name="T94" fmla="*/ 127 w 179"/>
                    <a:gd name="T95" fmla="*/ 87 h 310"/>
                    <a:gd name="T96" fmla="*/ 127 w 179"/>
                    <a:gd name="T97" fmla="*/ 123 h 310"/>
                    <a:gd name="T98" fmla="*/ 111 w 179"/>
                    <a:gd name="T99" fmla="*/ 130 h 310"/>
                    <a:gd name="T100" fmla="*/ 104 w 179"/>
                    <a:gd name="T101" fmla="*/ 144 h 310"/>
                    <a:gd name="T102" fmla="*/ 99 w 179"/>
                    <a:gd name="T103" fmla="*/ 156 h 310"/>
                    <a:gd name="T104" fmla="*/ 75 w 179"/>
                    <a:gd name="T105" fmla="*/ 159 h 310"/>
                    <a:gd name="T106" fmla="*/ 54 w 179"/>
                    <a:gd name="T107" fmla="*/ 175 h 310"/>
                    <a:gd name="T108" fmla="*/ 42 w 179"/>
                    <a:gd name="T109" fmla="*/ 192 h 310"/>
                    <a:gd name="T110" fmla="*/ 44 w 179"/>
                    <a:gd name="T111" fmla="*/ 199 h 310"/>
                    <a:gd name="T112" fmla="*/ 49 w 179"/>
                    <a:gd name="T113" fmla="*/ 194 h 310"/>
                    <a:gd name="T114" fmla="*/ 54 w 179"/>
                    <a:gd name="T115" fmla="*/ 213 h 310"/>
                    <a:gd name="T116" fmla="*/ 61 w 179"/>
                    <a:gd name="T117" fmla="*/ 21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79" h="310">
                      <a:moveTo>
                        <a:pt x="70" y="149"/>
                      </a:moveTo>
                      <a:lnTo>
                        <a:pt x="73" y="151"/>
                      </a:lnTo>
                      <a:lnTo>
                        <a:pt x="70" y="151"/>
                      </a:lnTo>
                      <a:lnTo>
                        <a:pt x="70" y="151"/>
                      </a:lnTo>
                      <a:lnTo>
                        <a:pt x="70" y="149"/>
                      </a:lnTo>
                      <a:lnTo>
                        <a:pt x="70" y="149"/>
                      </a:lnTo>
                      <a:close/>
                      <a:moveTo>
                        <a:pt x="73" y="149"/>
                      </a:moveTo>
                      <a:lnTo>
                        <a:pt x="73" y="149"/>
                      </a:lnTo>
                      <a:lnTo>
                        <a:pt x="73" y="147"/>
                      </a:lnTo>
                      <a:lnTo>
                        <a:pt x="75" y="147"/>
                      </a:lnTo>
                      <a:lnTo>
                        <a:pt x="75" y="149"/>
                      </a:lnTo>
                      <a:lnTo>
                        <a:pt x="75" y="149"/>
                      </a:lnTo>
                      <a:lnTo>
                        <a:pt x="73" y="149"/>
                      </a:lnTo>
                      <a:lnTo>
                        <a:pt x="73" y="149"/>
                      </a:lnTo>
                      <a:close/>
                      <a:moveTo>
                        <a:pt x="2" y="310"/>
                      </a:moveTo>
                      <a:lnTo>
                        <a:pt x="2" y="310"/>
                      </a:lnTo>
                      <a:lnTo>
                        <a:pt x="0" y="310"/>
                      </a:lnTo>
                      <a:lnTo>
                        <a:pt x="0" y="310"/>
                      </a:lnTo>
                      <a:lnTo>
                        <a:pt x="2" y="310"/>
                      </a:lnTo>
                      <a:lnTo>
                        <a:pt x="2" y="310"/>
                      </a:lnTo>
                      <a:lnTo>
                        <a:pt x="2" y="310"/>
                      </a:lnTo>
                      <a:close/>
                      <a:moveTo>
                        <a:pt x="4" y="308"/>
                      </a:moveTo>
                      <a:lnTo>
                        <a:pt x="4" y="308"/>
                      </a:lnTo>
                      <a:lnTo>
                        <a:pt x="7" y="308"/>
                      </a:lnTo>
                      <a:lnTo>
                        <a:pt x="7" y="310"/>
                      </a:lnTo>
                      <a:lnTo>
                        <a:pt x="4" y="310"/>
                      </a:lnTo>
                      <a:lnTo>
                        <a:pt x="4" y="308"/>
                      </a:lnTo>
                      <a:lnTo>
                        <a:pt x="4" y="308"/>
                      </a:lnTo>
                      <a:close/>
                      <a:moveTo>
                        <a:pt x="14" y="301"/>
                      </a:moveTo>
                      <a:lnTo>
                        <a:pt x="14" y="303"/>
                      </a:lnTo>
                      <a:lnTo>
                        <a:pt x="16" y="305"/>
                      </a:lnTo>
                      <a:lnTo>
                        <a:pt x="16" y="305"/>
                      </a:lnTo>
                      <a:lnTo>
                        <a:pt x="16" y="303"/>
                      </a:lnTo>
                      <a:lnTo>
                        <a:pt x="14" y="301"/>
                      </a:lnTo>
                      <a:lnTo>
                        <a:pt x="14" y="301"/>
                      </a:lnTo>
                      <a:close/>
                      <a:moveTo>
                        <a:pt x="40" y="284"/>
                      </a:moveTo>
                      <a:lnTo>
                        <a:pt x="37" y="282"/>
                      </a:lnTo>
                      <a:lnTo>
                        <a:pt x="40" y="279"/>
                      </a:lnTo>
                      <a:lnTo>
                        <a:pt x="40" y="279"/>
                      </a:lnTo>
                      <a:lnTo>
                        <a:pt x="40" y="277"/>
                      </a:lnTo>
                      <a:lnTo>
                        <a:pt x="42" y="277"/>
                      </a:lnTo>
                      <a:lnTo>
                        <a:pt x="42" y="275"/>
                      </a:lnTo>
                      <a:lnTo>
                        <a:pt x="44" y="277"/>
                      </a:lnTo>
                      <a:lnTo>
                        <a:pt x="42" y="279"/>
                      </a:lnTo>
                      <a:lnTo>
                        <a:pt x="42" y="279"/>
                      </a:lnTo>
                      <a:lnTo>
                        <a:pt x="40" y="282"/>
                      </a:lnTo>
                      <a:lnTo>
                        <a:pt x="40" y="284"/>
                      </a:lnTo>
                      <a:lnTo>
                        <a:pt x="40" y="284"/>
                      </a:lnTo>
                      <a:lnTo>
                        <a:pt x="40" y="284"/>
                      </a:lnTo>
                      <a:close/>
                      <a:moveTo>
                        <a:pt x="49" y="263"/>
                      </a:moveTo>
                      <a:lnTo>
                        <a:pt x="52" y="265"/>
                      </a:lnTo>
                      <a:lnTo>
                        <a:pt x="52" y="265"/>
                      </a:lnTo>
                      <a:lnTo>
                        <a:pt x="52" y="265"/>
                      </a:lnTo>
                      <a:lnTo>
                        <a:pt x="49" y="265"/>
                      </a:lnTo>
                      <a:lnTo>
                        <a:pt x="49" y="263"/>
                      </a:lnTo>
                      <a:lnTo>
                        <a:pt x="49" y="263"/>
                      </a:lnTo>
                      <a:lnTo>
                        <a:pt x="49" y="263"/>
                      </a:lnTo>
                      <a:close/>
                      <a:moveTo>
                        <a:pt x="54" y="260"/>
                      </a:moveTo>
                      <a:lnTo>
                        <a:pt x="54" y="258"/>
                      </a:lnTo>
                      <a:lnTo>
                        <a:pt x="52" y="258"/>
                      </a:lnTo>
                      <a:lnTo>
                        <a:pt x="52" y="258"/>
                      </a:lnTo>
                      <a:lnTo>
                        <a:pt x="52" y="256"/>
                      </a:lnTo>
                      <a:lnTo>
                        <a:pt x="54" y="256"/>
                      </a:lnTo>
                      <a:lnTo>
                        <a:pt x="54" y="256"/>
                      </a:lnTo>
                      <a:lnTo>
                        <a:pt x="54" y="256"/>
                      </a:lnTo>
                      <a:lnTo>
                        <a:pt x="56" y="256"/>
                      </a:lnTo>
                      <a:lnTo>
                        <a:pt x="56" y="256"/>
                      </a:lnTo>
                      <a:lnTo>
                        <a:pt x="59" y="253"/>
                      </a:lnTo>
                      <a:lnTo>
                        <a:pt x="56" y="256"/>
                      </a:lnTo>
                      <a:lnTo>
                        <a:pt x="54" y="258"/>
                      </a:lnTo>
                      <a:lnTo>
                        <a:pt x="54" y="258"/>
                      </a:lnTo>
                      <a:lnTo>
                        <a:pt x="54" y="260"/>
                      </a:lnTo>
                      <a:lnTo>
                        <a:pt x="54" y="260"/>
                      </a:lnTo>
                      <a:close/>
                      <a:moveTo>
                        <a:pt x="113" y="57"/>
                      </a:moveTo>
                      <a:lnTo>
                        <a:pt x="111" y="54"/>
                      </a:lnTo>
                      <a:lnTo>
                        <a:pt x="111" y="54"/>
                      </a:lnTo>
                      <a:lnTo>
                        <a:pt x="113" y="52"/>
                      </a:lnTo>
                      <a:lnTo>
                        <a:pt x="115" y="52"/>
                      </a:lnTo>
                      <a:lnTo>
                        <a:pt x="113" y="54"/>
                      </a:lnTo>
                      <a:lnTo>
                        <a:pt x="113" y="54"/>
                      </a:lnTo>
                      <a:lnTo>
                        <a:pt x="113" y="57"/>
                      </a:lnTo>
                      <a:lnTo>
                        <a:pt x="113" y="57"/>
                      </a:lnTo>
                      <a:close/>
                      <a:moveTo>
                        <a:pt x="127" y="66"/>
                      </a:moveTo>
                      <a:lnTo>
                        <a:pt x="125" y="66"/>
                      </a:lnTo>
                      <a:lnTo>
                        <a:pt x="123" y="64"/>
                      </a:lnTo>
                      <a:lnTo>
                        <a:pt x="125" y="64"/>
                      </a:lnTo>
                      <a:lnTo>
                        <a:pt x="123" y="59"/>
                      </a:lnTo>
                      <a:lnTo>
                        <a:pt x="123" y="57"/>
                      </a:lnTo>
                      <a:lnTo>
                        <a:pt x="120" y="54"/>
                      </a:lnTo>
                      <a:lnTo>
                        <a:pt x="118" y="52"/>
                      </a:lnTo>
                      <a:lnTo>
                        <a:pt x="118" y="52"/>
                      </a:lnTo>
                      <a:lnTo>
                        <a:pt x="118" y="52"/>
                      </a:lnTo>
                      <a:lnTo>
                        <a:pt x="118" y="49"/>
                      </a:lnTo>
                      <a:lnTo>
                        <a:pt x="115" y="47"/>
                      </a:lnTo>
                      <a:lnTo>
                        <a:pt x="118" y="45"/>
                      </a:lnTo>
                      <a:lnTo>
                        <a:pt x="118" y="45"/>
                      </a:lnTo>
                      <a:lnTo>
                        <a:pt x="120" y="42"/>
                      </a:lnTo>
                      <a:lnTo>
                        <a:pt x="120" y="42"/>
                      </a:lnTo>
                      <a:lnTo>
                        <a:pt x="123" y="42"/>
                      </a:lnTo>
                      <a:lnTo>
                        <a:pt x="123" y="40"/>
                      </a:lnTo>
                      <a:lnTo>
                        <a:pt x="123" y="40"/>
                      </a:lnTo>
                      <a:lnTo>
                        <a:pt x="120" y="38"/>
                      </a:lnTo>
                      <a:lnTo>
                        <a:pt x="118" y="38"/>
                      </a:lnTo>
                      <a:lnTo>
                        <a:pt x="118" y="38"/>
                      </a:lnTo>
                      <a:lnTo>
                        <a:pt x="120" y="35"/>
                      </a:lnTo>
                      <a:lnTo>
                        <a:pt x="120" y="35"/>
                      </a:lnTo>
                      <a:lnTo>
                        <a:pt x="125" y="38"/>
                      </a:lnTo>
                      <a:lnTo>
                        <a:pt x="127" y="38"/>
                      </a:lnTo>
                      <a:lnTo>
                        <a:pt x="130" y="38"/>
                      </a:lnTo>
                      <a:lnTo>
                        <a:pt x="130" y="35"/>
                      </a:lnTo>
                      <a:lnTo>
                        <a:pt x="130" y="35"/>
                      </a:lnTo>
                      <a:lnTo>
                        <a:pt x="130" y="33"/>
                      </a:lnTo>
                      <a:lnTo>
                        <a:pt x="130" y="33"/>
                      </a:lnTo>
                      <a:lnTo>
                        <a:pt x="127" y="31"/>
                      </a:lnTo>
                      <a:lnTo>
                        <a:pt x="127" y="31"/>
                      </a:lnTo>
                      <a:lnTo>
                        <a:pt x="127" y="28"/>
                      </a:lnTo>
                      <a:lnTo>
                        <a:pt x="127" y="26"/>
                      </a:lnTo>
                      <a:lnTo>
                        <a:pt x="130" y="26"/>
                      </a:lnTo>
                      <a:lnTo>
                        <a:pt x="130" y="26"/>
                      </a:lnTo>
                      <a:lnTo>
                        <a:pt x="127" y="23"/>
                      </a:lnTo>
                      <a:lnTo>
                        <a:pt x="127" y="19"/>
                      </a:lnTo>
                      <a:lnTo>
                        <a:pt x="127" y="19"/>
                      </a:lnTo>
                      <a:lnTo>
                        <a:pt x="127" y="14"/>
                      </a:lnTo>
                      <a:lnTo>
                        <a:pt x="127" y="12"/>
                      </a:lnTo>
                      <a:lnTo>
                        <a:pt x="123" y="7"/>
                      </a:lnTo>
                      <a:lnTo>
                        <a:pt x="123" y="4"/>
                      </a:lnTo>
                      <a:lnTo>
                        <a:pt x="120" y="2"/>
                      </a:lnTo>
                      <a:lnTo>
                        <a:pt x="123" y="2"/>
                      </a:lnTo>
                      <a:lnTo>
                        <a:pt x="123" y="2"/>
                      </a:lnTo>
                      <a:lnTo>
                        <a:pt x="123" y="2"/>
                      </a:lnTo>
                      <a:lnTo>
                        <a:pt x="123" y="0"/>
                      </a:lnTo>
                      <a:lnTo>
                        <a:pt x="125" y="0"/>
                      </a:lnTo>
                      <a:lnTo>
                        <a:pt x="127" y="2"/>
                      </a:lnTo>
                      <a:lnTo>
                        <a:pt x="130" y="4"/>
                      </a:lnTo>
                      <a:lnTo>
                        <a:pt x="134" y="4"/>
                      </a:lnTo>
                      <a:lnTo>
                        <a:pt x="134" y="7"/>
                      </a:lnTo>
                      <a:lnTo>
                        <a:pt x="139" y="12"/>
                      </a:lnTo>
                      <a:lnTo>
                        <a:pt x="144" y="14"/>
                      </a:lnTo>
                      <a:lnTo>
                        <a:pt x="144" y="16"/>
                      </a:lnTo>
                      <a:lnTo>
                        <a:pt x="146" y="16"/>
                      </a:lnTo>
                      <a:lnTo>
                        <a:pt x="149" y="19"/>
                      </a:lnTo>
                      <a:lnTo>
                        <a:pt x="151" y="19"/>
                      </a:lnTo>
                      <a:lnTo>
                        <a:pt x="153" y="19"/>
                      </a:lnTo>
                      <a:lnTo>
                        <a:pt x="156" y="21"/>
                      </a:lnTo>
                      <a:lnTo>
                        <a:pt x="158" y="21"/>
                      </a:lnTo>
                      <a:lnTo>
                        <a:pt x="158" y="21"/>
                      </a:lnTo>
                      <a:lnTo>
                        <a:pt x="163" y="21"/>
                      </a:lnTo>
                      <a:lnTo>
                        <a:pt x="165" y="19"/>
                      </a:lnTo>
                      <a:lnTo>
                        <a:pt x="167" y="16"/>
                      </a:lnTo>
                      <a:lnTo>
                        <a:pt x="167" y="16"/>
                      </a:lnTo>
                      <a:lnTo>
                        <a:pt x="167" y="14"/>
                      </a:lnTo>
                      <a:lnTo>
                        <a:pt x="170" y="16"/>
                      </a:lnTo>
                      <a:lnTo>
                        <a:pt x="170" y="16"/>
                      </a:lnTo>
                      <a:lnTo>
                        <a:pt x="167" y="21"/>
                      </a:lnTo>
                      <a:lnTo>
                        <a:pt x="167" y="23"/>
                      </a:lnTo>
                      <a:lnTo>
                        <a:pt x="167" y="23"/>
                      </a:lnTo>
                      <a:lnTo>
                        <a:pt x="172" y="26"/>
                      </a:lnTo>
                      <a:lnTo>
                        <a:pt x="172" y="28"/>
                      </a:lnTo>
                      <a:lnTo>
                        <a:pt x="172" y="28"/>
                      </a:lnTo>
                      <a:lnTo>
                        <a:pt x="172" y="31"/>
                      </a:lnTo>
                      <a:lnTo>
                        <a:pt x="175" y="31"/>
                      </a:lnTo>
                      <a:lnTo>
                        <a:pt x="175" y="28"/>
                      </a:lnTo>
                      <a:lnTo>
                        <a:pt x="177" y="28"/>
                      </a:lnTo>
                      <a:lnTo>
                        <a:pt x="179" y="28"/>
                      </a:lnTo>
                      <a:lnTo>
                        <a:pt x="177" y="28"/>
                      </a:lnTo>
                      <a:lnTo>
                        <a:pt x="177" y="28"/>
                      </a:lnTo>
                      <a:lnTo>
                        <a:pt x="177" y="31"/>
                      </a:lnTo>
                      <a:lnTo>
                        <a:pt x="175" y="33"/>
                      </a:lnTo>
                      <a:lnTo>
                        <a:pt x="172" y="33"/>
                      </a:lnTo>
                      <a:lnTo>
                        <a:pt x="172" y="35"/>
                      </a:lnTo>
                      <a:lnTo>
                        <a:pt x="172" y="35"/>
                      </a:lnTo>
                      <a:lnTo>
                        <a:pt x="170" y="35"/>
                      </a:lnTo>
                      <a:lnTo>
                        <a:pt x="170" y="35"/>
                      </a:lnTo>
                      <a:lnTo>
                        <a:pt x="167" y="35"/>
                      </a:lnTo>
                      <a:lnTo>
                        <a:pt x="167" y="38"/>
                      </a:lnTo>
                      <a:lnTo>
                        <a:pt x="165" y="38"/>
                      </a:lnTo>
                      <a:lnTo>
                        <a:pt x="163" y="38"/>
                      </a:lnTo>
                      <a:lnTo>
                        <a:pt x="160" y="38"/>
                      </a:lnTo>
                      <a:lnTo>
                        <a:pt x="158" y="40"/>
                      </a:lnTo>
                      <a:lnTo>
                        <a:pt x="158" y="45"/>
                      </a:lnTo>
                      <a:lnTo>
                        <a:pt x="156" y="49"/>
                      </a:lnTo>
                      <a:lnTo>
                        <a:pt x="158" y="52"/>
                      </a:lnTo>
                      <a:lnTo>
                        <a:pt x="158" y="52"/>
                      </a:lnTo>
                      <a:lnTo>
                        <a:pt x="158" y="54"/>
                      </a:lnTo>
                      <a:lnTo>
                        <a:pt x="156" y="54"/>
                      </a:lnTo>
                      <a:lnTo>
                        <a:pt x="153" y="52"/>
                      </a:lnTo>
                      <a:lnTo>
                        <a:pt x="151" y="52"/>
                      </a:lnTo>
                      <a:lnTo>
                        <a:pt x="146" y="49"/>
                      </a:lnTo>
                      <a:lnTo>
                        <a:pt x="144" y="47"/>
                      </a:lnTo>
                      <a:lnTo>
                        <a:pt x="141" y="45"/>
                      </a:lnTo>
                      <a:lnTo>
                        <a:pt x="139" y="45"/>
                      </a:lnTo>
                      <a:lnTo>
                        <a:pt x="139" y="45"/>
                      </a:lnTo>
                      <a:lnTo>
                        <a:pt x="137" y="45"/>
                      </a:lnTo>
                      <a:lnTo>
                        <a:pt x="134" y="45"/>
                      </a:lnTo>
                      <a:lnTo>
                        <a:pt x="132" y="45"/>
                      </a:lnTo>
                      <a:lnTo>
                        <a:pt x="130" y="49"/>
                      </a:lnTo>
                      <a:lnTo>
                        <a:pt x="130" y="49"/>
                      </a:lnTo>
                      <a:lnTo>
                        <a:pt x="127" y="47"/>
                      </a:lnTo>
                      <a:lnTo>
                        <a:pt x="125" y="47"/>
                      </a:lnTo>
                      <a:lnTo>
                        <a:pt x="123" y="47"/>
                      </a:lnTo>
                      <a:lnTo>
                        <a:pt x="123" y="49"/>
                      </a:lnTo>
                      <a:lnTo>
                        <a:pt x="125" y="52"/>
                      </a:lnTo>
                      <a:lnTo>
                        <a:pt x="127" y="52"/>
                      </a:lnTo>
                      <a:lnTo>
                        <a:pt x="130" y="52"/>
                      </a:lnTo>
                      <a:lnTo>
                        <a:pt x="132" y="54"/>
                      </a:lnTo>
                      <a:lnTo>
                        <a:pt x="134" y="57"/>
                      </a:lnTo>
                      <a:lnTo>
                        <a:pt x="137" y="57"/>
                      </a:lnTo>
                      <a:lnTo>
                        <a:pt x="137" y="57"/>
                      </a:lnTo>
                      <a:lnTo>
                        <a:pt x="137" y="59"/>
                      </a:lnTo>
                      <a:lnTo>
                        <a:pt x="134" y="61"/>
                      </a:lnTo>
                      <a:lnTo>
                        <a:pt x="134" y="59"/>
                      </a:lnTo>
                      <a:lnTo>
                        <a:pt x="130" y="59"/>
                      </a:lnTo>
                      <a:lnTo>
                        <a:pt x="130" y="59"/>
                      </a:lnTo>
                      <a:lnTo>
                        <a:pt x="130" y="61"/>
                      </a:lnTo>
                      <a:lnTo>
                        <a:pt x="130" y="64"/>
                      </a:lnTo>
                      <a:lnTo>
                        <a:pt x="127" y="66"/>
                      </a:lnTo>
                      <a:lnTo>
                        <a:pt x="127" y="66"/>
                      </a:lnTo>
                      <a:close/>
                      <a:moveTo>
                        <a:pt x="123" y="123"/>
                      </a:moveTo>
                      <a:lnTo>
                        <a:pt x="123" y="121"/>
                      </a:lnTo>
                      <a:lnTo>
                        <a:pt x="123" y="121"/>
                      </a:lnTo>
                      <a:lnTo>
                        <a:pt x="123" y="118"/>
                      </a:lnTo>
                      <a:lnTo>
                        <a:pt x="123" y="121"/>
                      </a:lnTo>
                      <a:lnTo>
                        <a:pt x="120" y="118"/>
                      </a:lnTo>
                      <a:lnTo>
                        <a:pt x="123" y="116"/>
                      </a:lnTo>
                      <a:lnTo>
                        <a:pt x="123" y="113"/>
                      </a:lnTo>
                      <a:lnTo>
                        <a:pt x="123" y="116"/>
                      </a:lnTo>
                      <a:lnTo>
                        <a:pt x="123" y="118"/>
                      </a:lnTo>
                      <a:lnTo>
                        <a:pt x="125" y="118"/>
                      </a:lnTo>
                      <a:lnTo>
                        <a:pt x="125" y="118"/>
                      </a:lnTo>
                      <a:lnTo>
                        <a:pt x="125" y="121"/>
                      </a:lnTo>
                      <a:lnTo>
                        <a:pt x="123" y="123"/>
                      </a:lnTo>
                      <a:lnTo>
                        <a:pt x="123" y="123"/>
                      </a:lnTo>
                      <a:lnTo>
                        <a:pt x="123" y="123"/>
                      </a:lnTo>
                      <a:close/>
                      <a:moveTo>
                        <a:pt x="40" y="192"/>
                      </a:moveTo>
                      <a:lnTo>
                        <a:pt x="40" y="192"/>
                      </a:lnTo>
                      <a:lnTo>
                        <a:pt x="42" y="192"/>
                      </a:lnTo>
                      <a:lnTo>
                        <a:pt x="40" y="192"/>
                      </a:lnTo>
                      <a:lnTo>
                        <a:pt x="40" y="192"/>
                      </a:lnTo>
                      <a:lnTo>
                        <a:pt x="40" y="192"/>
                      </a:lnTo>
                      <a:lnTo>
                        <a:pt x="40" y="192"/>
                      </a:lnTo>
                      <a:close/>
                      <a:moveTo>
                        <a:pt x="40" y="194"/>
                      </a:moveTo>
                      <a:lnTo>
                        <a:pt x="40" y="194"/>
                      </a:lnTo>
                      <a:lnTo>
                        <a:pt x="40" y="194"/>
                      </a:lnTo>
                      <a:lnTo>
                        <a:pt x="40" y="194"/>
                      </a:lnTo>
                      <a:lnTo>
                        <a:pt x="40" y="194"/>
                      </a:lnTo>
                      <a:close/>
                      <a:moveTo>
                        <a:pt x="37" y="194"/>
                      </a:moveTo>
                      <a:lnTo>
                        <a:pt x="37" y="194"/>
                      </a:lnTo>
                      <a:lnTo>
                        <a:pt x="40" y="194"/>
                      </a:lnTo>
                      <a:lnTo>
                        <a:pt x="37" y="194"/>
                      </a:lnTo>
                      <a:lnTo>
                        <a:pt x="37" y="194"/>
                      </a:lnTo>
                      <a:close/>
                      <a:moveTo>
                        <a:pt x="35" y="196"/>
                      </a:moveTo>
                      <a:lnTo>
                        <a:pt x="37" y="196"/>
                      </a:lnTo>
                      <a:lnTo>
                        <a:pt x="37" y="196"/>
                      </a:lnTo>
                      <a:lnTo>
                        <a:pt x="35" y="196"/>
                      </a:lnTo>
                      <a:lnTo>
                        <a:pt x="35" y="196"/>
                      </a:lnTo>
                      <a:close/>
                      <a:moveTo>
                        <a:pt x="35" y="201"/>
                      </a:moveTo>
                      <a:lnTo>
                        <a:pt x="33" y="199"/>
                      </a:lnTo>
                      <a:lnTo>
                        <a:pt x="33" y="196"/>
                      </a:lnTo>
                      <a:lnTo>
                        <a:pt x="35" y="196"/>
                      </a:lnTo>
                      <a:lnTo>
                        <a:pt x="35" y="199"/>
                      </a:lnTo>
                      <a:lnTo>
                        <a:pt x="37" y="199"/>
                      </a:lnTo>
                      <a:lnTo>
                        <a:pt x="37" y="199"/>
                      </a:lnTo>
                      <a:lnTo>
                        <a:pt x="35" y="201"/>
                      </a:lnTo>
                      <a:lnTo>
                        <a:pt x="35" y="201"/>
                      </a:lnTo>
                      <a:lnTo>
                        <a:pt x="35" y="201"/>
                      </a:lnTo>
                      <a:close/>
                      <a:moveTo>
                        <a:pt x="52" y="201"/>
                      </a:moveTo>
                      <a:lnTo>
                        <a:pt x="52" y="201"/>
                      </a:lnTo>
                      <a:lnTo>
                        <a:pt x="52" y="201"/>
                      </a:lnTo>
                      <a:lnTo>
                        <a:pt x="54" y="201"/>
                      </a:lnTo>
                      <a:lnTo>
                        <a:pt x="52" y="201"/>
                      </a:lnTo>
                      <a:lnTo>
                        <a:pt x="52" y="201"/>
                      </a:lnTo>
                      <a:lnTo>
                        <a:pt x="52" y="201"/>
                      </a:lnTo>
                      <a:close/>
                      <a:moveTo>
                        <a:pt x="49" y="206"/>
                      </a:moveTo>
                      <a:lnTo>
                        <a:pt x="52" y="204"/>
                      </a:lnTo>
                      <a:lnTo>
                        <a:pt x="52" y="204"/>
                      </a:lnTo>
                      <a:lnTo>
                        <a:pt x="49" y="206"/>
                      </a:lnTo>
                      <a:lnTo>
                        <a:pt x="49" y="206"/>
                      </a:lnTo>
                      <a:lnTo>
                        <a:pt x="49" y="206"/>
                      </a:lnTo>
                      <a:close/>
                      <a:moveTo>
                        <a:pt x="49" y="199"/>
                      </a:moveTo>
                      <a:lnTo>
                        <a:pt x="47" y="201"/>
                      </a:lnTo>
                      <a:lnTo>
                        <a:pt x="49" y="204"/>
                      </a:lnTo>
                      <a:lnTo>
                        <a:pt x="49" y="204"/>
                      </a:lnTo>
                      <a:lnTo>
                        <a:pt x="49" y="204"/>
                      </a:lnTo>
                      <a:lnTo>
                        <a:pt x="52" y="204"/>
                      </a:lnTo>
                      <a:lnTo>
                        <a:pt x="49" y="201"/>
                      </a:lnTo>
                      <a:lnTo>
                        <a:pt x="49" y="199"/>
                      </a:lnTo>
                      <a:lnTo>
                        <a:pt x="49" y="199"/>
                      </a:lnTo>
                      <a:lnTo>
                        <a:pt x="49" y="199"/>
                      </a:lnTo>
                      <a:close/>
                      <a:moveTo>
                        <a:pt x="97" y="175"/>
                      </a:moveTo>
                      <a:lnTo>
                        <a:pt x="97" y="173"/>
                      </a:lnTo>
                      <a:lnTo>
                        <a:pt x="97" y="170"/>
                      </a:lnTo>
                      <a:lnTo>
                        <a:pt x="97" y="170"/>
                      </a:lnTo>
                      <a:lnTo>
                        <a:pt x="99" y="170"/>
                      </a:lnTo>
                      <a:lnTo>
                        <a:pt x="99" y="170"/>
                      </a:lnTo>
                      <a:lnTo>
                        <a:pt x="99" y="173"/>
                      </a:lnTo>
                      <a:lnTo>
                        <a:pt x="99" y="173"/>
                      </a:lnTo>
                      <a:lnTo>
                        <a:pt x="99" y="175"/>
                      </a:lnTo>
                      <a:lnTo>
                        <a:pt x="97" y="175"/>
                      </a:lnTo>
                      <a:lnTo>
                        <a:pt x="97" y="175"/>
                      </a:lnTo>
                      <a:close/>
                      <a:moveTo>
                        <a:pt x="89" y="173"/>
                      </a:moveTo>
                      <a:lnTo>
                        <a:pt x="92" y="173"/>
                      </a:lnTo>
                      <a:lnTo>
                        <a:pt x="92" y="173"/>
                      </a:lnTo>
                      <a:lnTo>
                        <a:pt x="92" y="173"/>
                      </a:lnTo>
                      <a:lnTo>
                        <a:pt x="92" y="173"/>
                      </a:lnTo>
                      <a:lnTo>
                        <a:pt x="89" y="173"/>
                      </a:lnTo>
                      <a:lnTo>
                        <a:pt x="89" y="173"/>
                      </a:lnTo>
                      <a:close/>
                      <a:moveTo>
                        <a:pt x="80" y="194"/>
                      </a:moveTo>
                      <a:lnTo>
                        <a:pt x="80" y="194"/>
                      </a:lnTo>
                      <a:lnTo>
                        <a:pt x="80" y="194"/>
                      </a:lnTo>
                      <a:lnTo>
                        <a:pt x="82" y="194"/>
                      </a:lnTo>
                      <a:lnTo>
                        <a:pt x="82" y="194"/>
                      </a:lnTo>
                      <a:lnTo>
                        <a:pt x="82" y="194"/>
                      </a:lnTo>
                      <a:lnTo>
                        <a:pt x="80" y="192"/>
                      </a:lnTo>
                      <a:lnTo>
                        <a:pt x="82" y="189"/>
                      </a:lnTo>
                      <a:lnTo>
                        <a:pt x="82" y="187"/>
                      </a:lnTo>
                      <a:lnTo>
                        <a:pt x="85" y="185"/>
                      </a:lnTo>
                      <a:lnTo>
                        <a:pt x="87" y="185"/>
                      </a:lnTo>
                      <a:lnTo>
                        <a:pt x="89" y="185"/>
                      </a:lnTo>
                      <a:lnTo>
                        <a:pt x="92" y="187"/>
                      </a:lnTo>
                      <a:lnTo>
                        <a:pt x="92" y="187"/>
                      </a:lnTo>
                      <a:lnTo>
                        <a:pt x="94" y="187"/>
                      </a:lnTo>
                      <a:lnTo>
                        <a:pt x="97" y="185"/>
                      </a:lnTo>
                      <a:lnTo>
                        <a:pt x="99" y="182"/>
                      </a:lnTo>
                      <a:lnTo>
                        <a:pt x="99" y="180"/>
                      </a:lnTo>
                      <a:lnTo>
                        <a:pt x="97" y="180"/>
                      </a:lnTo>
                      <a:lnTo>
                        <a:pt x="97" y="177"/>
                      </a:lnTo>
                      <a:lnTo>
                        <a:pt x="94" y="175"/>
                      </a:lnTo>
                      <a:lnTo>
                        <a:pt x="92" y="175"/>
                      </a:lnTo>
                      <a:lnTo>
                        <a:pt x="92" y="175"/>
                      </a:lnTo>
                      <a:lnTo>
                        <a:pt x="87" y="175"/>
                      </a:lnTo>
                      <a:lnTo>
                        <a:pt x="85" y="177"/>
                      </a:lnTo>
                      <a:lnTo>
                        <a:pt x="85" y="177"/>
                      </a:lnTo>
                      <a:lnTo>
                        <a:pt x="85" y="180"/>
                      </a:lnTo>
                      <a:lnTo>
                        <a:pt x="82" y="180"/>
                      </a:lnTo>
                      <a:lnTo>
                        <a:pt x="80" y="182"/>
                      </a:lnTo>
                      <a:lnTo>
                        <a:pt x="80" y="180"/>
                      </a:lnTo>
                      <a:lnTo>
                        <a:pt x="78" y="177"/>
                      </a:lnTo>
                      <a:lnTo>
                        <a:pt x="78" y="177"/>
                      </a:lnTo>
                      <a:lnTo>
                        <a:pt x="75" y="182"/>
                      </a:lnTo>
                      <a:lnTo>
                        <a:pt x="75" y="182"/>
                      </a:lnTo>
                      <a:lnTo>
                        <a:pt x="73" y="185"/>
                      </a:lnTo>
                      <a:lnTo>
                        <a:pt x="70" y="187"/>
                      </a:lnTo>
                      <a:lnTo>
                        <a:pt x="75" y="187"/>
                      </a:lnTo>
                      <a:lnTo>
                        <a:pt x="75" y="189"/>
                      </a:lnTo>
                      <a:lnTo>
                        <a:pt x="75" y="189"/>
                      </a:lnTo>
                      <a:lnTo>
                        <a:pt x="75" y="192"/>
                      </a:lnTo>
                      <a:lnTo>
                        <a:pt x="78" y="194"/>
                      </a:lnTo>
                      <a:lnTo>
                        <a:pt x="80" y="194"/>
                      </a:lnTo>
                      <a:lnTo>
                        <a:pt x="80" y="194"/>
                      </a:lnTo>
                      <a:lnTo>
                        <a:pt x="80" y="194"/>
                      </a:lnTo>
                      <a:close/>
                      <a:moveTo>
                        <a:pt x="63" y="230"/>
                      </a:moveTo>
                      <a:lnTo>
                        <a:pt x="63" y="227"/>
                      </a:lnTo>
                      <a:lnTo>
                        <a:pt x="61" y="227"/>
                      </a:lnTo>
                      <a:lnTo>
                        <a:pt x="61" y="230"/>
                      </a:lnTo>
                      <a:lnTo>
                        <a:pt x="63" y="232"/>
                      </a:lnTo>
                      <a:lnTo>
                        <a:pt x="63" y="232"/>
                      </a:lnTo>
                      <a:lnTo>
                        <a:pt x="66" y="232"/>
                      </a:lnTo>
                      <a:lnTo>
                        <a:pt x="63" y="230"/>
                      </a:lnTo>
                      <a:lnTo>
                        <a:pt x="63" y="230"/>
                      </a:lnTo>
                      <a:close/>
                      <a:moveTo>
                        <a:pt x="66" y="227"/>
                      </a:moveTo>
                      <a:lnTo>
                        <a:pt x="66" y="225"/>
                      </a:lnTo>
                      <a:lnTo>
                        <a:pt x="66" y="223"/>
                      </a:lnTo>
                      <a:lnTo>
                        <a:pt x="68" y="223"/>
                      </a:lnTo>
                      <a:lnTo>
                        <a:pt x="68" y="225"/>
                      </a:lnTo>
                      <a:lnTo>
                        <a:pt x="66" y="227"/>
                      </a:lnTo>
                      <a:lnTo>
                        <a:pt x="66" y="227"/>
                      </a:lnTo>
                      <a:lnTo>
                        <a:pt x="66" y="227"/>
                      </a:lnTo>
                      <a:close/>
                      <a:moveTo>
                        <a:pt x="63" y="223"/>
                      </a:moveTo>
                      <a:lnTo>
                        <a:pt x="63" y="220"/>
                      </a:lnTo>
                      <a:lnTo>
                        <a:pt x="66" y="218"/>
                      </a:lnTo>
                      <a:lnTo>
                        <a:pt x="63" y="215"/>
                      </a:lnTo>
                      <a:lnTo>
                        <a:pt x="63" y="215"/>
                      </a:lnTo>
                      <a:lnTo>
                        <a:pt x="66" y="213"/>
                      </a:lnTo>
                      <a:lnTo>
                        <a:pt x="68" y="215"/>
                      </a:lnTo>
                      <a:lnTo>
                        <a:pt x="68" y="215"/>
                      </a:lnTo>
                      <a:lnTo>
                        <a:pt x="68" y="213"/>
                      </a:lnTo>
                      <a:lnTo>
                        <a:pt x="68" y="211"/>
                      </a:lnTo>
                      <a:lnTo>
                        <a:pt x="68" y="208"/>
                      </a:lnTo>
                      <a:lnTo>
                        <a:pt x="68" y="204"/>
                      </a:lnTo>
                      <a:lnTo>
                        <a:pt x="68" y="199"/>
                      </a:lnTo>
                      <a:lnTo>
                        <a:pt x="68" y="196"/>
                      </a:lnTo>
                      <a:lnTo>
                        <a:pt x="70" y="196"/>
                      </a:lnTo>
                      <a:lnTo>
                        <a:pt x="70" y="194"/>
                      </a:lnTo>
                      <a:lnTo>
                        <a:pt x="70" y="194"/>
                      </a:lnTo>
                      <a:lnTo>
                        <a:pt x="70" y="192"/>
                      </a:lnTo>
                      <a:lnTo>
                        <a:pt x="68" y="192"/>
                      </a:lnTo>
                      <a:lnTo>
                        <a:pt x="68" y="189"/>
                      </a:lnTo>
                      <a:lnTo>
                        <a:pt x="66" y="189"/>
                      </a:lnTo>
                      <a:lnTo>
                        <a:pt x="63" y="189"/>
                      </a:lnTo>
                      <a:lnTo>
                        <a:pt x="66" y="189"/>
                      </a:lnTo>
                      <a:lnTo>
                        <a:pt x="66" y="187"/>
                      </a:lnTo>
                      <a:lnTo>
                        <a:pt x="66" y="185"/>
                      </a:lnTo>
                      <a:lnTo>
                        <a:pt x="66" y="185"/>
                      </a:lnTo>
                      <a:lnTo>
                        <a:pt x="63" y="185"/>
                      </a:lnTo>
                      <a:lnTo>
                        <a:pt x="63" y="185"/>
                      </a:lnTo>
                      <a:lnTo>
                        <a:pt x="61" y="187"/>
                      </a:lnTo>
                      <a:lnTo>
                        <a:pt x="61" y="185"/>
                      </a:lnTo>
                      <a:lnTo>
                        <a:pt x="56" y="182"/>
                      </a:lnTo>
                      <a:lnTo>
                        <a:pt x="59" y="182"/>
                      </a:lnTo>
                      <a:lnTo>
                        <a:pt x="61" y="180"/>
                      </a:lnTo>
                      <a:lnTo>
                        <a:pt x="63" y="180"/>
                      </a:lnTo>
                      <a:lnTo>
                        <a:pt x="68" y="180"/>
                      </a:lnTo>
                      <a:lnTo>
                        <a:pt x="70" y="182"/>
                      </a:lnTo>
                      <a:lnTo>
                        <a:pt x="70" y="180"/>
                      </a:lnTo>
                      <a:lnTo>
                        <a:pt x="70" y="180"/>
                      </a:lnTo>
                      <a:lnTo>
                        <a:pt x="70" y="177"/>
                      </a:lnTo>
                      <a:lnTo>
                        <a:pt x="70" y="175"/>
                      </a:lnTo>
                      <a:lnTo>
                        <a:pt x="70" y="175"/>
                      </a:lnTo>
                      <a:lnTo>
                        <a:pt x="73" y="175"/>
                      </a:lnTo>
                      <a:lnTo>
                        <a:pt x="73" y="175"/>
                      </a:lnTo>
                      <a:lnTo>
                        <a:pt x="75" y="175"/>
                      </a:lnTo>
                      <a:lnTo>
                        <a:pt x="75" y="175"/>
                      </a:lnTo>
                      <a:lnTo>
                        <a:pt x="80" y="175"/>
                      </a:lnTo>
                      <a:lnTo>
                        <a:pt x="82" y="173"/>
                      </a:lnTo>
                      <a:lnTo>
                        <a:pt x="85" y="173"/>
                      </a:lnTo>
                      <a:lnTo>
                        <a:pt x="87" y="173"/>
                      </a:lnTo>
                      <a:lnTo>
                        <a:pt x="87" y="173"/>
                      </a:lnTo>
                      <a:lnTo>
                        <a:pt x="87" y="173"/>
                      </a:lnTo>
                      <a:lnTo>
                        <a:pt x="89" y="170"/>
                      </a:lnTo>
                      <a:lnTo>
                        <a:pt x="89" y="170"/>
                      </a:lnTo>
                      <a:lnTo>
                        <a:pt x="94" y="168"/>
                      </a:lnTo>
                      <a:lnTo>
                        <a:pt x="97" y="168"/>
                      </a:lnTo>
                      <a:lnTo>
                        <a:pt x="99" y="168"/>
                      </a:lnTo>
                      <a:lnTo>
                        <a:pt x="101" y="168"/>
                      </a:lnTo>
                      <a:lnTo>
                        <a:pt x="101" y="168"/>
                      </a:lnTo>
                      <a:lnTo>
                        <a:pt x="101" y="170"/>
                      </a:lnTo>
                      <a:lnTo>
                        <a:pt x="101" y="173"/>
                      </a:lnTo>
                      <a:lnTo>
                        <a:pt x="99" y="173"/>
                      </a:lnTo>
                      <a:lnTo>
                        <a:pt x="101" y="175"/>
                      </a:lnTo>
                      <a:lnTo>
                        <a:pt x="101" y="175"/>
                      </a:lnTo>
                      <a:lnTo>
                        <a:pt x="101" y="177"/>
                      </a:lnTo>
                      <a:lnTo>
                        <a:pt x="101" y="180"/>
                      </a:lnTo>
                      <a:lnTo>
                        <a:pt x="101" y="180"/>
                      </a:lnTo>
                      <a:lnTo>
                        <a:pt x="104" y="182"/>
                      </a:lnTo>
                      <a:lnTo>
                        <a:pt x="106" y="185"/>
                      </a:lnTo>
                      <a:lnTo>
                        <a:pt x="108" y="185"/>
                      </a:lnTo>
                      <a:lnTo>
                        <a:pt x="111" y="185"/>
                      </a:lnTo>
                      <a:lnTo>
                        <a:pt x="113" y="182"/>
                      </a:lnTo>
                      <a:lnTo>
                        <a:pt x="113" y="180"/>
                      </a:lnTo>
                      <a:lnTo>
                        <a:pt x="113" y="177"/>
                      </a:lnTo>
                      <a:lnTo>
                        <a:pt x="115" y="177"/>
                      </a:lnTo>
                      <a:lnTo>
                        <a:pt x="113" y="175"/>
                      </a:lnTo>
                      <a:lnTo>
                        <a:pt x="115" y="173"/>
                      </a:lnTo>
                      <a:lnTo>
                        <a:pt x="118" y="173"/>
                      </a:lnTo>
                      <a:lnTo>
                        <a:pt x="120" y="173"/>
                      </a:lnTo>
                      <a:lnTo>
                        <a:pt x="120" y="173"/>
                      </a:lnTo>
                      <a:lnTo>
                        <a:pt x="120" y="173"/>
                      </a:lnTo>
                      <a:lnTo>
                        <a:pt x="118" y="170"/>
                      </a:lnTo>
                      <a:lnTo>
                        <a:pt x="115" y="168"/>
                      </a:lnTo>
                      <a:lnTo>
                        <a:pt x="115" y="168"/>
                      </a:lnTo>
                      <a:lnTo>
                        <a:pt x="115" y="163"/>
                      </a:lnTo>
                      <a:lnTo>
                        <a:pt x="115" y="163"/>
                      </a:lnTo>
                      <a:lnTo>
                        <a:pt x="118" y="163"/>
                      </a:lnTo>
                      <a:lnTo>
                        <a:pt x="118" y="163"/>
                      </a:lnTo>
                      <a:lnTo>
                        <a:pt x="118" y="166"/>
                      </a:lnTo>
                      <a:lnTo>
                        <a:pt x="118" y="166"/>
                      </a:lnTo>
                      <a:lnTo>
                        <a:pt x="118" y="166"/>
                      </a:lnTo>
                      <a:lnTo>
                        <a:pt x="120" y="166"/>
                      </a:lnTo>
                      <a:lnTo>
                        <a:pt x="120" y="166"/>
                      </a:lnTo>
                      <a:lnTo>
                        <a:pt x="123" y="166"/>
                      </a:lnTo>
                      <a:lnTo>
                        <a:pt x="123" y="166"/>
                      </a:lnTo>
                      <a:lnTo>
                        <a:pt x="125" y="166"/>
                      </a:lnTo>
                      <a:lnTo>
                        <a:pt x="123" y="168"/>
                      </a:lnTo>
                      <a:lnTo>
                        <a:pt x="123" y="168"/>
                      </a:lnTo>
                      <a:lnTo>
                        <a:pt x="120" y="168"/>
                      </a:lnTo>
                      <a:lnTo>
                        <a:pt x="123" y="168"/>
                      </a:lnTo>
                      <a:lnTo>
                        <a:pt x="125" y="168"/>
                      </a:lnTo>
                      <a:lnTo>
                        <a:pt x="127" y="166"/>
                      </a:lnTo>
                      <a:lnTo>
                        <a:pt x="132" y="168"/>
                      </a:lnTo>
                      <a:lnTo>
                        <a:pt x="134" y="166"/>
                      </a:lnTo>
                      <a:lnTo>
                        <a:pt x="134" y="166"/>
                      </a:lnTo>
                      <a:lnTo>
                        <a:pt x="134" y="163"/>
                      </a:lnTo>
                      <a:lnTo>
                        <a:pt x="134" y="161"/>
                      </a:lnTo>
                      <a:lnTo>
                        <a:pt x="137" y="161"/>
                      </a:lnTo>
                      <a:lnTo>
                        <a:pt x="139" y="161"/>
                      </a:lnTo>
                      <a:lnTo>
                        <a:pt x="139" y="163"/>
                      </a:lnTo>
                      <a:lnTo>
                        <a:pt x="139" y="166"/>
                      </a:lnTo>
                      <a:lnTo>
                        <a:pt x="139" y="166"/>
                      </a:lnTo>
                      <a:lnTo>
                        <a:pt x="141" y="166"/>
                      </a:lnTo>
                      <a:lnTo>
                        <a:pt x="144" y="163"/>
                      </a:lnTo>
                      <a:lnTo>
                        <a:pt x="141" y="161"/>
                      </a:lnTo>
                      <a:lnTo>
                        <a:pt x="141" y="159"/>
                      </a:lnTo>
                      <a:lnTo>
                        <a:pt x="144" y="156"/>
                      </a:lnTo>
                      <a:lnTo>
                        <a:pt x="146" y="156"/>
                      </a:lnTo>
                      <a:lnTo>
                        <a:pt x="146" y="156"/>
                      </a:lnTo>
                      <a:lnTo>
                        <a:pt x="146" y="154"/>
                      </a:lnTo>
                      <a:lnTo>
                        <a:pt x="146" y="151"/>
                      </a:lnTo>
                      <a:lnTo>
                        <a:pt x="149" y="151"/>
                      </a:lnTo>
                      <a:lnTo>
                        <a:pt x="151" y="151"/>
                      </a:lnTo>
                      <a:lnTo>
                        <a:pt x="151" y="151"/>
                      </a:lnTo>
                      <a:lnTo>
                        <a:pt x="149" y="154"/>
                      </a:lnTo>
                      <a:lnTo>
                        <a:pt x="149" y="156"/>
                      </a:lnTo>
                      <a:lnTo>
                        <a:pt x="149" y="163"/>
                      </a:lnTo>
                      <a:lnTo>
                        <a:pt x="151" y="163"/>
                      </a:lnTo>
                      <a:lnTo>
                        <a:pt x="151" y="161"/>
                      </a:lnTo>
                      <a:lnTo>
                        <a:pt x="153" y="161"/>
                      </a:lnTo>
                      <a:lnTo>
                        <a:pt x="156" y="161"/>
                      </a:lnTo>
                      <a:lnTo>
                        <a:pt x="158" y="159"/>
                      </a:lnTo>
                      <a:lnTo>
                        <a:pt x="158" y="156"/>
                      </a:lnTo>
                      <a:lnTo>
                        <a:pt x="158" y="154"/>
                      </a:lnTo>
                      <a:lnTo>
                        <a:pt x="160" y="151"/>
                      </a:lnTo>
                      <a:lnTo>
                        <a:pt x="160" y="149"/>
                      </a:lnTo>
                      <a:lnTo>
                        <a:pt x="158" y="149"/>
                      </a:lnTo>
                      <a:lnTo>
                        <a:pt x="156" y="147"/>
                      </a:lnTo>
                      <a:lnTo>
                        <a:pt x="156" y="144"/>
                      </a:lnTo>
                      <a:lnTo>
                        <a:pt x="153" y="140"/>
                      </a:lnTo>
                      <a:lnTo>
                        <a:pt x="156" y="132"/>
                      </a:lnTo>
                      <a:lnTo>
                        <a:pt x="156" y="128"/>
                      </a:lnTo>
                      <a:lnTo>
                        <a:pt x="153" y="121"/>
                      </a:lnTo>
                      <a:lnTo>
                        <a:pt x="151" y="118"/>
                      </a:lnTo>
                      <a:lnTo>
                        <a:pt x="151" y="116"/>
                      </a:lnTo>
                      <a:lnTo>
                        <a:pt x="151" y="111"/>
                      </a:lnTo>
                      <a:lnTo>
                        <a:pt x="153" y="111"/>
                      </a:lnTo>
                      <a:lnTo>
                        <a:pt x="156" y="111"/>
                      </a:lnTo>
                      <a:lnTo>
                        <a:pt x="156" y="111"/>
                      </a:lnTo>
                      <a:lnTo>
                        <a:pt x="158" y="111"/>
                      </a:lnTo>
                      <a:lnTo>
                        <a:pt x="156" y="109"/>
                      </a:lnTo>
                      <a:lnTo>
                        <a:pt x="156" y="106"/>
                      </a:lnTo>
                      <a:lnTo>
                        <a:pt x="156" y="106"/>
                      </a:lnTo>
                      <a:lnTo>
                        <a:pt x="156" y="104"/>
                      </a:lnTo>
                      <a:lnTo>
                        <a:pt x="156" y="104"/>
                      </a:lnTo>
                      <a:lnTo>
                        <a:pt x="156" y="102"/>
                      </a:lnTo>
                      <a:lnTo>
                        <a:pt x="156" y="102"/>
                      </a:lnTo>
                      <a:lnTo>
                        <a:pt x="156" y="99"/>
                      </a:lnTo>
                      <a:lnTo>
                        <a:pt x="156" y="99"/>
                      </a:lnTo>
                      <a:lnTo>
                        <a:pt x="156" y="97"/>
                      </a:lnTo>
                      <a:lnTo>
                        <a:pt x="156" y="95"/>
                      </a:lnTo>
                      <a:lnTo>
                        <a:pt x="156" y="95"/>
                      </a:lnTo>
                      <a:lnTo>
                        <a:pt x="156" y="92"/>
                      </a:lnTo>
                      <a:lnTo>
                        <a:pt x="153" y="87"/>
                      </a:lnTo>
                      <a:lnTo>
                        <a:pt x="153" y="85"/>
                      </a:lnTo>
                      <a:lnTo>
                        <a:pt x="151" y="85"/>
                      </a:lnTo>
                      <a:lnTo>
                        <a:pt x="151" y="85"/>
                      </a:lnTo>
                      <a:lnTo>
                        <a:pt x="149" y="80"/>
                      </a:lnTo>
                      <a:lnTo>
                        <a:pt x="149" y="78"/>
                      </a:lnTo>
                      <a:lnTo>
                        <a:pt x="144" y="73"/>
                      </a:lnTo>
                      <a:lnTo>
                        <a:pt x="141" y="71"/>
                      </a:lnTo>
                      <a:lnTo>
                        <a:pt x="141" y="68"/>
                      </a:lnTo>
                      <a:lnTo>
                        <a:pt x="141" y="66"/>
                      </a:lnTo>
                      <a:lnTo>
                        <a:pt x="141" y="64"/>
                      </a:lnTo>
                      <a:lnTo>
                        <a:pt x="139" y="66"/>
                      </a:lnTo>
                      <a:lnTo>
                        <a:pt x="139" y="66"/>
                      </a:lnTo>
                      <a:lnTo>
                        <a:pt x="137" y="64"/>
                      </a:lnTo>
                      <a:lnTo>
                        <a:pt x="137" y="64"/>
                      </a:lnTo>
                      <a:lnTo>
                        <a:pt x="134" y="64"/>
                      </a:lnTo>
                      <a:lnTo>
                        <a:pt x="134" y="64"/>
                      </a:lnTo>
                      <a:lnTo>
                        <a:pt x="134" y="66"/>
                      </a:lnTo>
                      <a:lnTo>
                        <a:pt x="134" y="68"/>
                      </a:lnTo>
                      <a:lnTo>
                        <a:pt x="134" y="68"/>
                      </a:lnTo>
                      <a:lnTo>
                        <a:pt x="137" y="68"/>
                      </a:lnTo>
                      <a:lnTo>
                        <a:pt x="139" y="66"/>
                      </a:lnTo>
                      <a:lnTo>
                        <a:pt x="139" y="68"/>
                      </a:lnTo>
                      <a:lnTo>
                        <a:pt x="139" y="71"/>
                      </a:lnTo>
                      <a:lnTo>
                        <a:pt x="137" y="73"/>
                      </a:lnTo>
                      <a:lnTo>
                        <a:pt x="137" y="71"/>
                      </a:lnTo>
                      <a:lnTo>
                        <a:pt x="134" y="71"/>
                      </a:lnTo>
                      <a:lnTo>
                        <a:pt x="137" y="73"/>
                      </a:lnTo>
                      <a:lnTo>
                        <a:pt x="134" y="76"/>
                      </a:lnTo>
                      <a:lnTo>
                        <a:pt x="134" y="73"/>
                      </a:lnTo>
                      <a:lnTo>
                        <a:pt x="132" y="73"/>
                      </a:lnTo>
                      <a:lnTo>
                        <a:pt x="132" y="71"/>
                      </a:lnTo>
                      <a:lnTo>
                        <a:pt x="132" y="68"/>
                      </a:lnTo>
                      <a:lnTo>
                        <a:pt x="130" y="68"/>
                      </a:lnTo>
                      <a:lnTo>
                        <a:pt x="130" y="68"/>
                      </a:lnTo>
                      <a:lnTo>
                        <a:pt x="130" y="71"/>
                      </a:lnTo>
                      <a:lnTo>
                        <a:pt x="130" y="73"/>
                      </a:lnTo>
                      <a:lnTo>
                        <a:pt x="130" y="76"/>
                      </a:lnTo>
                      <a:lnTo>
                        <a:pt x="130" y="76"/>
                      </a:lnTo>
                      <a:lnTo>
                        <a:pt x="127" y="78"/>
                      </a:lnTo>
                      <a:lnTo>
                        <a:pt x="127" y="78"/>
                      </a:lnTo>
                      <a:lnTo>
                        <a:pt x="130" y="83"/>
                      </a:lnTo>
                      <a:lnTo>
                        <a:pt x="132" y="83"/>
                      </a:lnTo>
                      <a:lnTo>
                        <a:pt x="130" y="85"/>
                      </a:lnTo>
                      <a:lnTo>
                        <a:pt x="130" y="87"/>
                      </a:lnTo>
                      <a:lnTo>
                        <a:pt x="127" y="87"/>
                      </a:lnTo>
                      <a:lnTo>
                        <a:pt x="127" y="87"/>
                      </a:lnTo>
                      <a:lnTo>
                        <a:pt x="127" y="90"/>
                      </a:lnTo>
                      <a:lnTo>
                        <a:pt x="130" y="90"/>
                      </a:lnTo>
                      <a:lnTo>
                        <a:pt x="132" y="87"/>
                      </a:lnTo>
                      <a:lnTo>
                        <a:pt x="134" y="92"/>
                      </a:lnTo>
                      <a:lnTo>
                        <a:pt x="134" y="97"/>
                      </a:lnTo>
                      <a:lnTo>
                        <a:pt x="134" y="99"/>
                      </a:lnTo>
                      <a:lnTo>
                        <a:pt x="134" y="104"/>
                      </a:lnTo>
                      <a:lnTo>
                        <a:pt x="132" y="111"/>
                      </a:lnTo>
                      <a:lnTo>
                        <a:pt x="132" y="113"/>
                      </a:lnTo>
                      <a:lnTo>
                        <a:pt x="132" y="118"/>
                      </a:lnTo>
                      <a:lnTo>
                        <a:pt x="130" y="118"/>
                      </a:lnTo>
                      <a:lnTo>
                        <a:pt x="127" y="123"/>
                      </a:lnTo>
                      <a:lnTo>
                        <a:pt x="127" y="125"/>
                      </a:lnTo>
                      <a:lnTo>
                        <a:pt x="127" y="128"/>
                      </a:lnTo>
                      <a:lnTo>
                        <a:pt x="127" y="130"/>
                      </a:lnTo>
                      <a:lnTo>
                        <a:pt x="123" y="132"/>
                      </a:lnTo>
                      <a:lnTo>
                        <a:pt x="118" y="135"/>
                      </a:lnTo>
                      <a:lnTo>
                        <a:pt x="115" y="135"/>
                      </a:lnTo>
                      <a:lnTo>
                        <a:pt x="115" y="137"/>
                      </a:lnTo>
                      <a:lnTo>
                        <a:pt x="113" y="135"/>
                      </a:lnTo>
                      <a:lnTo>
                        <a:pt x="108" y="132"/>
                      </a:lnTo>
                      <a:lnTo>
                        <a:pt x="108" y="132"/>
                      </a:lnTo>
                      <a:lnTo>
                        <a:pt x="111" y="130"/>
                      </a:lnTo>
                      <a:lnTo>
                        <a:pt x="111" y="130"/>
                      </a:lnTo>
                      <a:lnTo>
                        <a:pt x="111" y="128"/>
                      </a:lnTo>
                      <a:lnTo>
                        <a:pt x="113" y="128"/>
                      </a:lnTo>
                      <a:lnTo>
                        <a:pt x="113" y="125"/>
                      </a:lnTo>
                      <a:lnTo>
                        <a:pt x="111" y="128"/>
                      </a:lnTo>
                      <a:lnTo>
                        <a:pt x="108" y="128"/>
                      </a:lnTo>
                      <a:lnTo>
                        <a:pt x="106" y="130"/>
                      </a:lnTo>
                      <a:lnTo>
                        <a:pt x="106" y="132"/>
                      </a:lnTo>
                      <a:lnTo>
                        <a:pt x="108" y="135"/>
                      </a:lnTo>
                      <a:lnTo>
                        <a:pt x="108" y="140"/>
                      </a:lnTo>
                      <a:lnTo>
                        <a:pt x="108" y="142"/>
                      </a:lnTo>
                      <a:lnTo>
                        <a:pt x="104" y="144"/>
                      </a:lnTo>
                      <a:lnTo>
                        <a:pt x="104" y="144"/>
                      </a:lnTo>
                      <a:lnTo>
                        <a:pt x="104" y="147"/>
                      </a:lnTo>
                      <a:lnTo>
                        <a:pt x="104" y="149"/>
                      </a:lnTo>
                      <a:lnTo>
                        <a:pt x="104" y="151"/>
                      </a:lnTo>
                      <a:lnTo>
                        <a:pt x="104" y="151"/>
                      </a:lnTo>
                      <a:lnTo>
                        <a:pt x="104" y="151"/>
                      </a:lnTo>
                      <a:lnTo>
                        <a:pt x="104" y="154"/>
                      </a:lnTo>
                      <a:lnTo>
                        <a:pt x="104" y="154"/>
                      </a:lnTo>
                      <a:lnTo>
                        <a:pt x="104" y="154"/>
                      </a:lnTo>
                      <a:lnTo>
                        <a:pt x="104" y="156"/>
                      </a:lnTo>
                      <a:lnTo>
                        <a:pt x="101" y="156"/>
                      </a:lnTo>
                      <a:lnTo>
                        <a:pt x="101" y="156"/>
                      </a:lnTo>
                      <a:lnTo>
                        <a:pt x="99" y="156"/>
                      </a:lnTo>
                      <a:lnTo>
                        <a:pt x="97" y="156"/>
                      </a:lnTo>
                      <a:lnTo>
                        <a:pt x="97" y="154"/>
                      </a:lnTo>
                      <a:lnTo>
                        <a:pt x="97" y="154"/>
                      </a:lnTo>
                      <a:lnTo>
                        <a:pt x="94" y="154"/>
                      </a:lnTo>
                      <a:lnTo>
                        <a:pt x="94" y="154"/>
                      </a:lnTo>
                      <a:lnTo>
                        <a:pt x="94" y="154"/>
                      </a:lnTo>
                      <a:lnTo>
                        <a:pt x="87" y="156"/>
                      </a:lnTo>
                      <a:lnTo>
                        <a:pt x="85" y="156"/>
                      </a:lnTo>
                      <a:lnTo>
                        <a:pt x="82" y="156"/>
                      </a:lnTo>
                      <a:lnTo>
                        <a:pt x="80" y="159"/>
                      </a:lnTo>
                      <a:lnTo>
                        <a:pt x="78" y="159"/>
                      </a:lnTo>
                      <a:lnTo>
                        <a:pt x="75" y="159"/>
                      </a:lnTo>
                      <a:lnTo>
                        <a:pt x="73" y="159"/>
                      </a:lnTo>
                      <a:lnTo>
                        <a:pt x="70" y="161"/>
                      </a:lnTo>
                      <a:lnTo>
                        <a:pt x="68" y="163"/>
                      </a:lnTo>
                      <a:lnTo>
                        <a:pt x="68" y="163"/>
                      </a:lnTo>
                      <a:lnTo>
                        <a:pt x="68" y="166"/>
                      </a:lnTo>
                      <a:lnTo>
                        <a:pt x="63" y="168"/>
                      </a:lnTo>
                      <a:lnTo>
                        <a:pt x="61" y="170"/>
                      </a:lnTo>
                      <a:lnTo>
                        <a:pt x="61" y="170"/>
                      </a:lnTo>
                      <a:lnTo>
                        <a:pt x="61" y="173"/>
                      </a:lnTo>
                      <a:lnTo>
                        <a:pt x="59" y="175"/>
                      </a:lnTo>
                      <a:lnTo>
                        <a:pt x="56" y="175"/>
                      </a:lnTo>
                      <a:lnTo>
                        <a:pt x="54" y="175"/>
                      </a:lnTo>
                      <a:lnTo>
                        <a:pt x="54" y="180"/>
                      </a:lnTo>
                      <a:lnTo>
                        <a:pt x="56" y="180"/>
                      </a:lnTo>
                      <a:lnTo>
                        <a:pt x="56" y="182"/>
                      </a:lnTo>
                      <a:lnTo>
                        <a:pt x="56" y="182"/>
                      </a:lnTo>
                      <a:lnTo>
                        <a:pt x="54" y="182"/>
                      </a:lnTo>
                      <a:lnTo>
                        <a:pt x="52" y="185"/>
                      </a:lnTo>
                      <a:lnTo>
                        <a:pt x="52" y="185"/>
                      </a:lnTo>
                      <a:lnTo>
                        <a:pt x="49" y="187"/>
                      </a:lnTo>
                      <a:lnTo>
                        <a:pt x="47" y="189"/>
                      </a:lnTo>
                      <a:lnTo>
                        <a:pt x="47" y="189"/>
                      </a:lnTo>
                      <a:lnTo>
                        <a:pt x="44" y="189"/>
                      </a:lnTo>
                      <a:lnTo>
                        <a:pt x="42" y="192"/>
                      </a:lnTo>
                      <a:lnTo>
                        <a:pt x="44" y="192"/>
                      </a:lnTo>
                      <a:lnTo>
                        <a:pt x="44" y="192"/>
                      </a:lnTo>
                      <a:lnTo>
                        <a:pt x="44" y="192"/>
                      </a:lnTo>
                      <a:lnTo>
                        <a:pt x="47" y="196"/>
                      </a:lnTo>
                      <a:lnTo>
                        <a:pt x="47" y="196"/>
                      </a:lnTo>
                      <a:lnTo>
                        <a:pt x="44" y="194"/>
                      </a:lnTo>
                      <a:lnTo>
                        <a:pt x="44" y="194"/>
                      </a:lnTo>
                      <a:lnTo>
                        <a:pt x="44" y="194"/>
                      </a:lnTo>
                      <a:lnTo>
                        <a:pt x="44" y="196"/>
                      </a:lnTo>
                      <a:lnTo>
                        <a:pt x="47" y="196"/>
                      </a:lnTo>
                      <a:lnTo>
                        <a:pt x="47" y="199"/>
                      </a:lnTo>
                      <a:lnTo>
                        <a:pt x="44" y="199"/>
                      </a:lnTo>
                      <a:lnTo>
                        <a:pt x="47" y="199"/>
                      </a:lnTo>
                      <a:lnTo>
                        <a:pt x="47" y="199"/>
                      </a:lnTo>
                      <a:lnTo>
                        <a:pt x="49" y="196"/>
                      </a:lnTo>
                      <a:lnTo>
                        <a:pt x="49" y="196"/>
                      </a:lnTo>
                      <a:lnTo>
                        <a:pt x="49" y="199"/>
                      </a:lnTo>
                      <a:lnTo>
                        <a:pt x="49" y="199"/>
                      </a:lnTo>
                      <a:lnTo>
                        <a:pt x="52" y="199"/>
                      </a:lnTo>
                      <a:lnTo>
                        <a:pt x="52" y="196"/>
                      </a:lnTo>
                      <a:lnTo>
                        <a:pt x="49" y="196"/>
                      </a:lnTo>
                      <a:lnTo>
                        <a:pt x="49" y="196"/>
                      </a:lnTo>
                      <a:lnTo>
                        <a:pt x="49" y="194"/>
                      </a:lnTo>
                      <a:lnTo>
                        <a:pt x="49" y="194"/>
                      </a:lnTo>
                      <a:lnTo>
                        <a:pt x="49" y="192"/>
                      </a:lnTo>
                      <a:lnTo>
                        <a:pt x="49" y="192"/>
                      </a:lnTo>
                      <a:lnTo>
                        <a:pt x="52" y="192"/>
                      </a:lnTo>
                      <a:lnTo>
                        <a:pt x="54" y="196"/>
                      </a:lnTo>
                      <a:lnTo>
                        <a:pt x="54" y="196"/>
                      </a:lnTo>
                      <a:lnTo>
                        <a:pt x="54" y="199"/>
                      </a:lnTo>
                      <a:lnTo>
                        <a:pt x="54" y="201"/>
                      </a:lnTo>
                      <a:lnTo>
                        <a:pt x="54" y="206"/>
                      </a:lnTo>
                      <a:lnTo>
                        <a:pt x="52" y="206"/>
                      </a:lnTo>
                      <a:lnTo>
                        <a:pt x="52" y="206"/>
                      </a:lnTo>
                      <a:lnTo>
                        <a:pt x="54" y="208"/>
                      </a:lnTo>
                      <a:lnTo>
                        <a:pt x="54" y="213"/>
                      </a:lnTo>
                      <a:lnTo>
                        <a:pt x="56" y="215"/>
                      </a:lnTo>
                      <a:lnTo>
                        <a:pt x="56" y="218"/>
                      </a:lnTo>
                      <a:lnTo>
                        <a:pt x="54" y="218"/>
                      </a:lnTo>
                      <a:lnTo>
                        <a:pt x="56" y="220"/>
                      </a:lnTo>
                      <a:lnTo>
                        <a:pt x="59" y="220"/>
                      </a:lnTo>
                      <a:lnTo>
                        <a:pt x="59" y="220"/>
                      </a:lnTo>
                      <a:lnTo>
                        <a:pt x="61" y="220"/>
                      </a:lnTo>
                      <a:lnTo>
                        <a:pt x="61" y="218"/>
                      </a:lnTo>
                      <a:lnTo>
                        <a:pt x="59" y="215"/>
                      </a:lnTo>
                      <a:lnTo>
                        <a:pt x="59" y="213"/>
                      </a:lnTo>
                      <a:lnTo>
                        <a:pt x="59" y="211"/>
                      </a:lnTo>
                      <a:lnTo>
                        <a:pt x="61" y="213"/>
                      </a:lnTo>
                      <a:lnTo>
                        <a:pt x="61" y="213"/>
                      </a:lnTo>
                      <a:lnTo>
                        <a:pt x="61" y="213"/>
                      </a:lnTo>
                      <a:lnTo>
                        <a:pt x="61" y="215"/>
                      </a:lnTo>
                      <a:lnTo>
                        <a:pt x="63" y="218"/>
                      </a:lnTo>
                      <a:lnTo>
                        <a:pt x="61" y="220"/>
                      </a:lnTo>
                      <a:lnTo>
                        <a:pt x="63" y="223"/>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Freeform 14">
                  <a:extLst>
                    <a:ext uri="{FF2B5EF4-FFF2-40B4-BE49-F238E27FC236}">
                      <a16:creationId xmlns:a16="http://schemas.microsoft.com/office/drawing/2014/main" id="{6E096A72-A7B6-55F1-A2AB-CC0809A9C5E5}"/>
                    </a:ext>
                  </a:extLst>
                </p:cNvPr>
                <p:cNvSpPr>
                  <a:spLocks noEditPoints="1"/>
                </p:cNvSpPr>
                <p:nvPr/>
              </p:nvSpPr>
              <p:spPr bwMode="auto">
                <a:xfrm>
                  <a:off x="4026" y="2142"/>
                  <a:ext cx="52" cy="74"/>
                </a:xfrm>
                <a:custGeom>
                  <a:avLst/>
                  <a:gdLst>
                    <a:gd name="T0" fmla="*/ 33 w 52"/>
                    <a:gd name="T1" fmla="*/ 52 h 74"/>
                    <a:gd name="T2" fmla="*/ 33 w 52"/>
                    <a:gd name="T3" fmla="*/ 55 h 74"/>
                    <a:gd name="T4" fmla="*/ 33 w 52"/>
                    <a:gd name="T5" fmla="*/ 52 h 74"/>
                    <a:gd name="T6" fmla="*/ 15 w 52"/>
                    <a:gd name="T7" fmla="*/ 59 h 74"/>
                    <a:gd name="T8" fmla="*/ 17 w 52"/>
                    <a:gd name="T9" fmla="*/ 59 h 74"/>
                    <a:gd name="T10" fmla="*/ 17 w 52"/>
                    <a:gd name="T11" fmla="*/ 57 h 74"/>
                    <a:gd name="T12" fmla="*/ 17 w 52"/>
                    <a:gd name="T13" fmla="*/ 59 h 74"/>
                    <a:gd name="T14" fmla="*/ 17 w 52"/>
                    <a:gd name="T15" fmla="*/ 59 h 74"/>
                    <a:gd name="T16" fmla="*/ 41 w 52"/>
                    <a:gd name="T17" fmla="*/ 50 h 74"/>
                    <a:gd name="T18" fmla="*/ 41 w 52"/>
                    <a:gd name="T19" fmla="*/ 52 h 74"/>
                    <a:gd name="T20" fmla="*/ 43 w 52"/>
                    <a:gd name="T21" fmla="*/ 52 h 74"/>
                    <a:gd name="T22" fmla="*/ 43 w 52"/>
                    <a:gd name="T23" fmla="*/ 50 h 74"/>
                    <a:gd name="T24" fmla="*/ 50 w 52"/>
                    <a:gd name="T25" fmla="*/ 62 h 74"/>
                    <a:gd name="T26" fmla="*/ 50 w 52"/>
                    <a:gd name="T27" fmla="*/ 59 h 74"/>
                    <a:gd name="T28" fmla="*/ 52 w 52"/>
                    <a:gd name="T29" fmla="*/ 62 h 74"/>
                    <a:gd name="T30" fmla="*/ 50 w 52"/>
                    <a:gd name="T31" fmla="*/ 62 h 74"/>
                    <a:gd name="T32" fmla="*/ 52 w 52"/>
                    <a:gd name="T33" fmla="*/ 59 h 74"/>
                    <a:gd name="T34" fmla="*/ 50 w 52"/>
                    <a:gd name="T35" fmla="*/ 57 h 74"/>
                    <a:gd name="T36" fmla="*/ 50 w 52"/>
                    <a:gd name="T37" fmla="*/ 55 h 74"/>
                    <a:gd name="T38" fmla="*/ 52 w 52"/>
                    <a:gd name="T39" fmla="*/ 55 h 74"/>
                    <a:gd name="T40" fmla="*/ 52 w 52"/>
                    <a:gd name="T41" fmla="*/ 59 h 74"/>
                    <a:gd name="T42" fmla="*/ 19 w 52"/>
                    <a:gd name="T43" fmla="*/ 74 h 74"/>
                    <a:gd name="T44" fmla="*/ 19 w 52"/>
                    <a:gd name="T45" fmla="*/ 71 h 74"/>
                    <a:gd name="T46" fmla="*/ 26 w 52"/>
                    <a:gd name="T47" fmla="*/ 69 h 74"/>
                    <a:gd name="T48" fmla="*/ 26 w 52"/>
                    <a:gd name="T49" fmla="*/ 74 h 74"/>
                    <a:gd name="T50" fmla="*/ 19 w 52"/>
                    <a:gd name="T51" fmla="*/ 74 h 74"/>
                    <a:gd name="T52" fmla="*/ 0 w 52"/>
                    <a:gd name="T53" fmla="*/ 12 h 74"/>
                    <a:gd name="T54" fmla="*/ 3 w 52"/>
                    <a:gd name="T55" fmla="*/ 12 h 74"/>
                    <a:gd name="T56" fmla="*/ 5 w 52"/>
                    <a:gd name="T57" fmla="*/ 12 h 74"/>
                    <a:gd name="T58" fmla="*/ 12 w 52"/>
                    <a:gd name="T59" fmla="*/ 19 h 74"/>
                    <a:gd name="T60" fmla="*/ 12 w 52"/>
                    <a:gd name="T61" fmla="*/ 22 h 74"/>
                    <a:gd name="T62" fmla="*/ 17 w 52"/>
                    <a:gd name="T63" fmla="*/ 24 h 74"/>
                    <a:gd name="T64" fmla="*/ 12 w 52"/>
                    <a:gd name="T65" fmla="*/ 24 h 74"/>
                    <a:gd name="T66" fmla="*/ 10 w 52"/>
                    <a:gd name="T67" fmla="*/ 24 h 74"/>
                    <a:gd name="T68" fmla="*/ 12 w 52"/>
                    <a:gd name="T69" fmla="*/ 29 h 74"/>
                    <a:gd name="T70" fmla="*/ 15 w 52"/>
                    <a:gd name="T71" fmla="*/ 31 h 74"/>
                    <a:gd name="T72" fmla="*/ 15 w 52"/>
                    <a:gd name="T73" fmla="*/ 36 h 74"/>
                    <a:gd name="T74" fmla="*/ 19 w 52"/>
                    <a:gd name="T75" fmla="*/ 38 h 74"/>
                    <a:gd name="T76" fmla="*/ 15 w 52"/>
                    <a:gd name="T77" fmla="*/ 43 h 74"/>
                    <a:gd name="T78" fmla="*/ 17 w 52"/>
                    <a:gd name="T79" fmla="*/ 45 h 74"/>
                    <a:gd name="T80" fmla="*/ 15 w 52"/>
                    <a:gd name="T81" fmla="*/ 48 h 74"/>
                    <a:gd name="T82" fmla="*/ 15 w 52"/>
                    <a:gd name="T83" fmla="*/ 50 h 74"/>
                    <a:gd name="T84" fmla="*/ 19 w 52"/>
                    <a:gd name="T85" fmla="*/ 55 h 74"/>
                    <a:gd name="T86" fmla="*/ 19 w 52"/>
                    <a:gd name="T87" fmla="*/ 57 h 74"/>
                    <a:gd name="T88" fmla="*/ 22 w 52"/>
                    <a:gd name="T89" fmla="*/ 59 h 74"/>
                    <a:gd name="T90" fmla="*/ 24 w 52"/>
                    <a:gd name="T91" fmla="*/ 57 h 74"/>
                    <a:gd name="T92" fmla="*/ 29 w 52"/>
                    <a:gd name="T93" fmla="*/ 50 h 74"/>
                    <a:gd name="T94" fmla="*/ 31 w 52"/>
                    <a:gd name="T95" fmla="*/ 52 h 74"/>
                    <a:gd name="T96" fmla="*/ 36 w 52"/>
                    <a:gd name="T97" fmla="*/ 50 h 74"/>
                    <a:gd name="T98" fmla="*/ 38 w 52"/>
                    <a:gd name="T99" fmla="*/ 52 h 74"/>
                    <a:gd name="T100" fmla="*/ 41 w 52"/>
                    <a:gd name="T101" fmla="*/ 52 h 74"/>
                    <a:gd name="T102" fmla="*/ 43 w 52"/>
                    <a:gd name="T103" fmla="*/ 48 h 74"/>
                    <a:gd name="T104" fmla="*/ 48 w 52"/>
                    <a:gd name="T105" fmla="*/ 45 h 74"/>
                    <a:gd name="T106" fmla="*/ 48 w 52"/>
                    <a:gd name="T107" fmla="*/ 43 h 74"/>
                    <a:gd name="T108" fmla="*/ 48 w 52"/>
                    <a:gd name="T109" fmla="*/ 36 h 74"/>
                    <a:gd name="T110" fmla="*/ 45 w 52"/>
                    <a:gd name="T111" fmla="*/ 33 h 74"/>
                    <a:gd name="T112" fmla="*/ 43 w 52"/>
                    <a:gd name="T113" fmla="*/ 24 h 74"/>
                    <a:gd name="T114" fmla="*/ 36 w 52"/>
                    <a:gd name="T115" fmla="*/ 12 h 74"/>
                    <a:gd name="T116" fmla="*/ 26 w 52"/>
                    <a:gd name="T117" fmla="*/ 0 h 74"/>
                    <a:gd name="T118" fmla="*/ 15 w 52"/>
                    <a:gd name="T119" fmla="*/ 3 h 74"/>
                    <a:gd name="T120" fmla="*/ 5 w 52"/>
                    <a:gd name="T121" fmla="*/ 7 h 74"/>
                    <a:gd name="T122" fmla="*/ 0 w 52"/>
                    <a:gd name="T123" fmla="*/ 1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 h="74">
                      <a:moveTo>
                        <a:pt x="33" y="52"/>
                      </a:moveTo>
                      <a:lnTo>
                        <a:pt x="33" y="52"/>
                      </a:lnTo>
                      <a:lnTo>
                        <a:pt x="36" y="52"/>
                      </a:lnTo>
                      <a:lnTo>
                        <a:pt x="33" y="55"/>
                      </a:lnTo>
                      <a:lnTo>
                        <a:pt x="33" y="52"/>
                      </a:lnTo>
                      <a:lnTo>
                        <a:pt x="33" y="52"/>
                      </a:lnTo>
                      <a:close/>
                      <a:moveTo>
                        <a:pt x="17" y="59"/>
                      </a:moveTo>
                      <a:lnTo>
                        <a:pt x="15" y="59"/>
                      </a:lnTo>
                      <a:lnTo>
                        <a:pt x="17" y="59"/>
                      </a:lnTo>
                      <a:lnTo>
                        <a:pt x="17" y="59"/>
                      </a:lnTo>
                      <a:lnTo>
                        <a:pt x="17" y="57"/>
                      </a:lnTo>
                      <a:lnTo>
                        <a:pt x="17" y="57"/>
                      </a:lnTo>
                      <a:lnTo>
                        <a:pt x="19" y="59"/>
                      </a:lnTo>
                      <a:lnTo>
                        <a:pt x="17" y="59"/>
                      </a:lnTo>
                      <a:lnTo>
                        <a:pt x="17" y="59"/>
                      </a:lnTo>
                      <a:lnTo>
                        <a:pt x="17" y="59"/>
                      </a:lnTo>
                      <a:close/>
                      <a:moveTo>
                        <a:pt x="43" y="50"/>
                      </a:moveTo>
                      <a:lnTo>
                        <a:pt x="41" y="50"/>
                      </a:lnTo>
                      <a:lnTo>
                        <a:pt x="41" y="52"/>
                      </a:lnTo>
                      <a:lnTo>
                        <a:pt x="41" y="52"/>
                      </a:lnTo>
                      <a:lnTo>
                        <a:pt x="43" y="52"/>
                      </a:lnTo>
                      <a:lnTo>
                        <a:pt x="43" y="52"/>
                      </a:lnTo>
                      <a:lnTo>
                        <a:pt x="43" y="50"/>
                      </a:lnTo>
                      <a:lnTo>
                        <a:pt x="43" y="50"/>
                      </a:lnTo>
                      <a:lnTo>
                        <a:pt x="43" y="50"/>
                      </a:lnTo>
                      <a:close/>
                      <a:moveTo>
                        <a:pt x="50" y="62"/>
                      </a:moveTo>
                      <a:lnTo>
                        <a:pt x="50" y="62"/>
                      </a:lnTo>
                      <a:lnTo>
                        <a:pt x="50" y="59"/>
                      </a:lnTo>
                      <a:lnTo>
                        <a:pt x="52" y="59"/>
                      </a:lnTo>
                      <a:lnTo>
                        <a:pt x="52" y="62"/>
                      </a:lnTo>
                      <a:lnTo>
                        <a:pt x="50" y="62"/>
                      </a:lnTo>
                      <a:lnTo>
                        <a:pt x="50" y="62"/>
                      </a:lnTo>
                      <a:lnTo>
                        <a:pt x="50" y="62"/>
                      </a:lnTo>
                      <a:close/>
                      <a:moveTo>
                        <a:pt x="52" y="59"/>
                      </a:moveTo>
                      <a:lnTo>
                        <a:pt x="50" y="59"/>
                      </a:lnTo>
                      <a:lnTo>
                        <a:pt x="50" y="57"/>
                      </a:lnTo>
                      <a:lnTo>
                        <a:pt x="50" y="57"/>
                      </a:lnTo>
                      <a:lnTo>
                        <a:pt x="50" y="55"/>
                      </a:lnTo>
                      <a:lnTo>
                        <a:pt x="52" y="55"/>
                      </a:lnTo>
                      <a:lnTo>
                        <a:pt x="52" y="55"/>
                      </a:lnTo>
                      <a:lnTo>
                        <a:pt x="52" y="57"/>
                      </a:lnTo>
                      <a:lnTo>
                        <a:pt x="52" y="59"/>
                      </a:lnTo>
                      <a:lnTo>
                        <a:pt x="52" y="59"/>
                      </a:lnTo>
                      <a:close/>
                      <a:moveTo>
                        <a:pt x="19" y="74"/>
                      </a:moveTo>
                      <a:lnTo>
                        <a:pt x="19" y="71"/>
                      </a:lnTo>
                      <a:lnTo>
                        <a:pt x="19" y="71"/>
                      </a:lnTo>
                      <a:lnTo>
                        <a:pt x="24" y="69"/>
                      </a:lnTo>
                      <a:lnTo>
                        <a:pt x="26" y="69"/>
                      </a:lnTo>
                      <a:lnTo>
                        <a:pt x="26" y="71"/>
                      </a:lnTo>
                      <a:lnTo>
                        <a:pt x="26" y="74"/>
                      </a:lnTo>
                      <a:lnTo>
                        <a:pt x="22" y="74"/>
                      </a:lnTo>
                      <a:lnTo>
                        <a:pt x="19" y="74"/>
                      </a:lnTo>
                      <a:lnTo>
                        <a:pt x="19" y="74"/>
                      </a:lnTo>
                      <a:close/>
                      <a:moveTo>
                        <a:pt x="0" y="12"/>
                      </a:moveTo>
                      <a:lnTo>
                        <a:pt x="3" y="12"/>
                      </a:lnTo>
                      <a:lnTo>
                        <a:pt x="3" y="12"/>
                      </a:lnTo>
                      <a:lnTo>
                        <a:pt x="7" y="12"/>
                      </a:lnTo>
                      <a:lnTo>
                        <a:pt x="5" y="12"/>
                      </a:lnTo>
                      <a:lnTo>
                        <a:pt x="10" y="17"/>
                      </a:lnTo>
                      <a:lnTo>
                        <a:pt x="12" y="19"/>
                      </a:lnTo>
                      <a:lnTo>
                        <a:pt x="15" y="19"/>
                      </a:lnTo>
                      <a:lnTo>
                        <a:pt x="12" y="22"/>
                      </a:lnTo>
                      <a:lnTo>
                        <a:pt x="15" y="24"/>
                      </a:lnTo>
                      <a:lnTo>
                        <a:pt x="17" y="24"/>
                      </a:lnTo>
                      <a:lnTo>
                        <a:pt x="12" y="24"/>
                      </a:lnTo>
                      <a:lnTo>
                        <a:pt x="12" y="24"/>
                      </a:lnTo>
                      <a:lnTo>
                        <a:pt x="10" y="24"/>
                      </a:lnTo>
                      <a:lnTo>
                        <a:pt x="10" y="24"/>
                      </a:lnTo>
                      <a:lnTo>
                        <a:pt x="7" y="26"/>
                      </a:lnTo>
                      <a:lnTo>
                        <a:pt x="12" y="29"/>
                      </a:lnTo>
                      <a:lnTo>
                        <a:pt x="12" y="29"/>
                      </a:lnTo>
                      <a:lnTo>
                        <a:pt x="15" y="31"/>
                      </a:lnTo>
                      <a:lnTo>
                        <a:pt x="15" y="36"/>
                      </a:lnTo>
                      <a:lnTo>
                        <a:pt x="15" y="36"/>
                      </a:lnTo>
                      <a:lnTo>
                        <a:pt x="17" y="36"/>
                      </a:lnTo>
                      <a:lnTo>
                        <a:pt x="19" y="38"/>
                      </a:lnTo>
                      <a:lnTo>
                        <a:pt x="15" y="41"/>
                      </a:lnTo>
                      <a:lnTo>
                        <a:pt x="15" y="43"/>
                      </a:lnTo>
                      <a:lnTo>
                        <a:pt x="17" y="43"/>
                      </a:lnTo>
                      <a:lnTo>
                        <a:pt x="17" y="45"/>
                      </a:lnTo>
                      <a:lnTo>
                        <a:pt x="15" y="45"/>
                      </a:lnTo>
                      <a:lnTo>
                        <a:pt x="15" y="48"/>
                      </a:lnTo>
                      <a:lnTo>
                        <a:pt x="17" y="50"/>
                      </a:lnTo>
                      <a:lnTo>
                        <a:pt x="15" y="50"/>
                      </a:lnTo>
                      <a:lnTo>
                        <a:pt x="17" y="55"/>
                      </a:lnTo>
                      <a:lnTo>
                        <a:pt x="19" y="55"/>
                      </a:lnTo>
                      <a:lnTo>
                        <a:pt x="19" y="57"/>
                      </a:lnTo>
                      <a:lnTo>
                        <a:pt x="19" y="57"/>
                      </a:lnTo>
                      <a:lnTo>
                        <a:pt x="19" y="59"/>
                      </a:lnTo>
                      <a:lnTo>
                        <a:pt x="22" y="59"/>
                      </a:lnTo>
                      <a:lnTo>
                        <a:pt x="22" y="57"/>
                      </a:lnTo>
                      <a:lnTo>
                        <a:pt x="24" y="57"/>
                      </a:lnTo>
                      <a:lnTo>
                        <a:pt x="24" y="55"/>
                      </a:lnTo>
                      <a:lnTo>
                        <a:pt x="29" y="50"/>
                      </a:lnTo>
                      <a:lnTo>
                        <a:pt x="31" y="50"/>
                      </a:lnTo>
                      <a:lnTo>
                        <a:pt x="31" y="52"/>
                      </a:lnTo>
                      <a:lnTo>
                        <a:pt x="33" y="50"/>
                      </a:lnTo>
                      <a:lnTo>
                        <a:pt x="36" y="50"/>
                      </a:lnTo>
                      <a:lnTo>
                        <a:pt x="36" y="52"/>
                      </a:lnTo>
                      <a:lnTo>
                        <a:pt x="38" y="52"/>
                      </a:lnTo>
                      <a:lnTo>
                        <a:pt x="38" y="52"/>
                      </a:lnTo>
                      <a:lnTo>
                        <a:pt x="41" y="52"/>
                      </a:lnTo>
                      <a:lnTo>
                        <a:pt x="38" y="50"/>
                      </a:lnTo>
                      <a:lnTo>
                        <a:pt x="43" y="48"/>
                      </a:lnTo>
                      <a:lnTo>
                        <a:pt x="45" y="48"/>
                      </a:lnTo>
                      <a:lnTo>
                        <a:pt x="48" y="45"/>
                      </a:lnTo>
                      <a:lnTo>
                        <a:pt x="48" y="45"/>
                      </a:lnTo>
                      <a:lnTo>
                        <a:pt x="48" y="43"/>
                      </a:lnTo>
                      <a:lnTo>
                        <a:pt x="48" y="36"/>
                      </a:lnTo>
                      <a:lnTo>
                        <a:pt x="48" y="36"/>
                      </a:lnTo>
                      <a:lnTo>
                        <a:pt x="45" y="36"/>
                      </a:lnTo>
                      <a:lnTo>
                        <a:pt x="45" y="33"/>
                      </a:lnTo>
                      <a:lnTo>
                        <a:pt x="45" y="26"/>
                      </a:lnTo>
                      <a:lnTo>
                        <a:pt x="43" y="24"/>
                      </a:lnTo>
                      <a:lnTo>
                        <a:pt x="43" y="19"/>
                      </a:lnTo>
                      <a:lnTo>
                        <a:pt x="36" y="12"/>
                      </a:lnTo>
                      <a:lnTo>
                        <a:pt x="31" y="7"/>
                      </a:lnTo>
                      <a:lnTo>
                        <a:pt x="26" y="0"/>
                      </a:lnTo>
                      <a:lnTo>
                        <a:pt x="22" y="3"/>
                      </a:lnTo>
                      <a:lnTo>
                        <a:pt x="15" y="3"/>
                      </a:lnTo>
                      <a:lnTo>
                        <a:pt x="10" y="7"/>
                      </a:lnTo>
                      <a:lnTo>
                        <a:pt x="5" y="7"/>
                      </a:lnTo>
                      <a:lnTo>
                        <a:pt x="3" y="10"/>
                      </a:lnTo>
                      <a:lnTo>
                        <a:pt x="0" y="12"/>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Freeform 15">
                  <a:extLst>
                    <a:ext uri="{FF2B5EF4-FFF2-40B4-BE49-F238E27FC236}">
                      <a16:creationId xmlns:a16="http://schemas.microsoft.com/office/drawing/2014/main" id="{4C13A859-6C19-0D31-1DC2-B879E667E495}"/>
                    </a:ext>
                  </a:extLst>
                </p:cNvPr>
                <p:cNvSpPr>
                  <a:spLocks/>
                </p:cNvSpPr>
                <p:nvPr/>
              </p:nvSpPr>
              <p:spPr bwMode="auto">
                <a:xfrm>
                  <a:off x="4005" y="2073"/>
                  <a:ext cx="52" cy="83"/>
                </a:xfrm>
                <a:custGeom>
                  <a:avLst/>
                  <a:gdLst>
                    <a:gd name="T0" fmla="*/ 0 w 52"/>
                    <a:gd name="T1" fmla="*/ 48 h 83"/>
                    <a:gd name="T2" fmla="*/ 2 w 52"/>
                    <a:gd name="T3" fmla="*/ 43 h 83"/>
                    <a:gd name="T4" fmla="*/ 7 w 52"/>
                    <a:gd name="T5" fmla="*/ 38 h 83"/>
                    <a:gd name="T6" fmla="*/ 9 w 52"/>
                    <a:gd name="T7" fmla="*/ 34 h 83"/>
                    <a:gd name="T8" fmla="*/ 14 w 52"/>
                    <a:gd name="T9" fmla="*/ 29 h 83"/>
                    <a:gd name="T10" fmla="*/ 14 w 52"/>
                    <a:gd name="T11" fmla="*/ 24 h 83"/>
                    <a:gd name="T12" fmla="*/ 17 w 52"/>
                    <a:gd name="T13" fmla="*/ 24 h 83"/>
                    <a:gd name="T14" fmla="*/ 21 w 52"/>
                    <a:gd name="T15" fmla="*/ 27 h 83"/>
                    <a:gd name="T16" fmla="*/ 26 w 52"/>
                    <a:gd name="T17" fmla="*/ 27 h 83"/>
                    <a:gd name="T18" fmla="*/ 33 w 52"/>
                    <a:gd name="T19" fmla="*/ 27 h 83"/>
                    <a:gd name="T20" fmla="*/ 33 w 52"/>
                    <a:gd name="T21" fmla="*/ 22 h 83"/>
                    <a:gd name="T22" fmla="*/ 28 w 52"/>
                    <a:gd name="T23" fmla="*/ 17 h 83"/>
                    <a:gd name="T24" fmla="*/ 33 w 52"/>
                    <a:gd name="T25" fmla="*/ 17 h 83"/>
                    <a:gd name="T26" fmla="*/ 38 w 52"/>
                    <a:gd name="T27" fmla="*/ 12 h 83"/>
                    <a:gd name="T28" fmla="*/ 43 w 52"/>
                    <a:gd name="T29" fmla="*/ 10 h 83"/>
                    <a:gd name="T30" fmla="*/ 43 w 52"/>
                    <a:gd name="T31" fmla="*/ 5 h 83"/>
                    <a:gd name="T32" fmla="*/ 43 w 52"/>
                    <a:gd name="T33" fmla="*/ 0 h 83"/>
                    <a:gd name="T34" fmla="*/ 45 w 52"/>
                    <a:gd name="T35" fmla="*/ 3 h 83"/>
                    <a:gd name="T36" fmla="*/ 47 w 52"/>
                    <a:gd name="T37" fmla="*/ 5 h 83"/>
                    <a:gd name="T38" fmla="*/ 52 w 52"/>
                    <a:gd name="T39" fmla="*/ 10 h 83"/>
                    <a:gd name="T40" fmla="*/ 50 w 52"/>
                    <a:gd name="T41" fmla="*/ 12 h 83"/>
                    <a:gd name="T42" fmla="*/ 47 w 52"/>
                    <a:gd name="T43" fmla="*/ 15 h 83"/>
                    <a:gd name="T44" fmla="*/ 45 w 52"/>
                    <a:gd name="T45" fmla="*/ 24 h 83"/>
                    <a:gd name="T46" fmla="*/ 47 w 52"/>
                    <a:gd name="T47" fmla="*/ 31 h 83"/>
                    <a:gd name="T48" fmla="*/ 50 w 52"/>
                    <a:gd name="T49" fmla="*/ 34 h 83"/>
                    <a:gd name="T50" fmla="*/ 47 w 52"/>
                    <a:gd name="T51" fmla="*/ 36 h 83"/>
                    <a:gd name="T52" fmla="*/ 43 w 52"/>
                    <a:gd name="T53" fmla="*/ 43 h 83"/>
                    <a:gd name="T54" fmla="*/ 40 w 52"/>
                    <a:gd name="T55" fmla="*/ 46 h 83"/>
                    <a:gd name="T56" fmla="*/ 36 w 52"/>
                    <a:gd name="T57" fmla="*/ 48 h 83"/>
                    <a:gd name="T58" fmla="*/ 31 w 52"/>
                    <a:gd name="T59" fmla="*/ 50 h 83"/>
                    <a:gd name="T60" fmla="*/ 33 w 52"/>
                    <a:gd name="T61" fmla="*/ 55 h 83"/>
                    <a:gd name="T62" fmla="*/ 31 w 52"/>
                    <a:gd name="T63" fmla="*/ 60 h 83"/>
                    <a:gd name="T64" fmla="*/ 38 w 52"/>
                    <a:gd name="T65" fmla="*/ 62 h 83"/>
                    <a:gd name="T66" fmla="*/ 47 w 52"/>
                    <a:gd name="T67" fmla="*/ 69 h 83"/>
                    <a:gd name="T68" fmla="*/ 36 w 52"/>
                    <a:gd name="T69" fmla="*/ 72 h 83"/>
                    <a:gd name="T70" fmla="*/ 26 w 52"/>
                    <a:gd name="T71" fmla="*/ 76 h 83"/>
                    <a:gd name="T72" fmla="*/ 21 w 52"/>
                    <a:gd name="T73" fmla="*/ 81 h 83"/>
                    <a:gd name="T74" fmla="*/ 19 w 52"/>
                    <a:gd name="T75" fmla="*/ 81 h 83"/>
                    <a:gd name="T76" fmla="*/ 17 w 52"/>
                    <a:gd name="T77" fmla="*/ 83 h 83"/>
                    <a:gd name="T78" fmla="*/ 14 w 52"/>
                    <a:gd name="T79" fmla="*/ 83 h 83"/>
                    <a:gd name="T80" fmla="*/ 14 w 52"/>
                    <a:gd name="T81" fmla="*/ 81 h 83"/>
                    <a:gd name="T82" fmla="*/ 9 w 52"/>
                    <a:gd name="T83" fmla="*/ 81 h 83"/>
                    <a:gd name="T84" fmla="*/ 9 w 52"/>
                    <a:gd name="T85" fmla="*/ 79 h 83"/>
                    <a:gd name="T86" fmla="*/ 12 w 52"/>
                    <a:gd name="T87" fmla="*/ 72 h 83"/>
                    <a:gd name="T88" fmla="*/ 17 w 52"/>
                    <a:gd name="T89" fmla="*/ 69 h 83"/>
                    <a:gd name="T90" fmla="*/ 9 w 52"/>
                    <a:gd name="T91" fmla="*/ 69 h 83"/>
                    <a:gd name="T92" fmla="*/ 9 w 52"/>
                    <a:gd name="T93" fmla="*/ 64 h 83"/>
                    <a:gd name="T94" fmla="*/ 9 w 52"/>
                    <a:gd name="T95" fmla="*/ 57 h 83"/>
                    <a:gd name="T96" fmla="*/ 12 w 52"/>
                    <a:gd name="T97" fmla="*/ 55 h 83"/>
                    <a:gd name="T98" fmla="*/ 9 w 52"/>
                    <a:gd name="T99" fmla="*/ 57 h 83"/>
                    <a:gd name="T100" fmla="*/ 5 w 52"/>
                    <a:gd name="T101" fmla="*/ 55 h 83"/>
                    <a:gd name="T102" fmla="*/ 2 w 52"/>
                    <a:gd name="T103" fmla="*/ 57 h 83"/>
                    <a:gd name="T104" fmla="*/ 0 w 52"/>
                    <a:gd name="T105" fmla="*/ 53 h 83"/>
                    <a:gd name="T106" fmla="*/ 0 w 52"/>
                    <a:gd name="T107" fmla="*/ 5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2" h="83">
                      <a:moveTo>
                        <a:pt x="0" y="53"/>
                      </a:moveTo>
                      <a:lnTo>
                        <a:pt x="0" y="48"/>
                      </a:lnTo>
                      <a:lnTo>
                        <a:pt x="2" y="46"/>
                      </a:lnTo>
                      <a:lnTo>
                        <a:pt x="2" y="43"/>
                      </a:lnTo>
                      <a:lnTo>
                        <a:pt x="2" y="41"/>
                      </a:lnTo>
                      <a:lnTo>
                        <a:pt x="7" y="38"/>
                      </a:lnTo>
                      <a:lnTo>
                        <a:pt x="9" y="36"/>
                      </a:lnTo>
                      <a:lnTo>
                        <a:pt x="9" y="34"/>
                      </a:lnTo>
                      <a:lnTo>
                        <a:pt x="12" y="29"/>
                      </a:lnTo>
                      <a:lnTo>
                        <a:pt x="14" y="29"/>
                      </a:lnTo>
                      <a:lnTo>
                        <a:pt x="14" y="27"/>
                      </a:lnTo>
                      <a:lnTo>
                        <a:pt x="14" y="24"/>
                      </a:lnTo>
                      <a:lnTo>
                        <a:pt x="14" y="22"/>
                      </a:lnTo>
                      <a:lnTo>
                        <a:pt x="17" y="24"/>
                      </a:lnTo>
                      <a:lnTo>
                        <a:pt x="19" y="24"/>
                      </a:lnTo>
                      <a:lnTo>
                        <a:pt x="21" y="27"/>
                      </a:lnTo>
                      <a:lnTo>
                        <a:pt x="24" y="27"/>
                      </a:lnTo>
                      <a:lnTo>
                        <a:pt x="26" y="27"/>
                      </a:lnTo>
                      <a:lnTo>
                        <a:pt x="31" y="27"/>
                      </a:lnTo>
                      <a:lnTo>
                        <a:pt x="33" y="27"/>
                      </a:lnTo>
                      <a:lnTo>
                        <a:pt x="33" y="24"/>
                      </a:lnTo>
                      <a:lnTo>
                        <a:pt x="33" y="22"/>
                      </a:lnTo>
                      <a:lnTo>
                        <a:pt x="31" y="19"/>
                      </a:lnTo>
                      <a:lnTo>
                        <a:pt x="28" y="17"/>
                      </a:lnTo>
                      <a:lnTo>
                        <a:pt x="31" y="17"/>
                      </a:lnTo>
                      <a:lnTo>
                        <a:pt x="33" y="17"/>
                      </a:lnTo>
                      <a:lnTo>
                        <a:pt x="38" y="15"/>
                      </a:lnTo>
                      <a:lnTo>
                        <a:pt x="38" y="12"/>
                      </a:lnTo>
                      <a:lnTo>
                        <a:pt x="40" y="10"/>
                      </a:lnTo>
                      <a:lnTo>
                        <a:pt x="43" y="10"/>
                      </a:lnTo>
                      <a:lnTo>
                        <a:pt x="43" y="8"/>
                      </a:lnTo>
                      <a:lnTo>
                        <a:pt x="43" y="5"/>
                      </a:lnTo>
                      <a:lnTo>
                        <a:pt x="43" y="3"/>
                      </a:lnTo>
                      <a:lnTo>
                        <a:pt x="43" y="0"/>
                      </a:lnTo>
                      <a:lnTo>
                        <a:pt x="45" y="0"/>
                      </a:lnTo>
                      <a:lnTo>
                        <a:pt x="45" y="3"/>
                      </a:lnTo>
                      <a:lnTo>
                        <a:pt x="45" y="5"/>
                      </a:lnTo>
                      <a:lnTo>
                        <a:pt x="47" y="5"/>
                      </a:lnTo>
                      <a:lnTo>
                        <a:pt x="50" y="5"/>
                      </a:lnTo>
                      <a:lnTo>
                        <a:pt x="52" y="10"/>
                      </a:lnTo>
                      <a:lnTo>
                        <a:pt x="52" y="10"/>
                      </a:lnTo>
                      <a:lnTo>
                        <a:pt x="50" y="12"/>
                      </a:lnTo>
                      <a:lnTo>
                        <a:pt x="47" y="12"/>
                      </a:lnTo>
                      <a:lnTo>
                        <a:pt x="47" y="15"/>
                      </a:lnTo>
                      <a:lnTo>
                        <a:pt x="45" y="19"/>
                      </a:lnTo>
                      <a:lnTo>
                        <a:pt x="45" y="24"/>
                      </a:lnTo>
                      <a:lnTo>
                        <a:pt x="47" y="24"/>
                      </a:lnTo>
                      <a:lnTo>
                        <a:pt x="47" y="31"/>
                      </a:lnTo>
                      <a:lnTo>
                        <a:pt x="50" y="31"/>
                      </a:lnTo>
                      <a:lnTo>
                        <a:pt x="50" y="34"/>
                      </a:lnTo>
                      <a:lnTo>
                        <a:pt x="47" y="36"/>
                      </a:lnTo>
                      <a:lnTo>
                        <a:pt x="47" y="36"/>
                      </a:lnTo>
                      <a:lnTo>
                        <a:pt x="40" y="43"/>
                      </a:lnTo>
                      <a:lnTo>
                        <a:pt x="43" y="43"/>
                      </a:lnTo>
                      <a:lnTo>
                        <a:pt x="40" y="46"/>
                      </a:lnTo>
                      <a:lnTo>
                        <a:pt x="40" y="46"/>
                      </a:lnTo>
                      <a:lnTo>
                        <a:pt x="38" y="46"/>
                      </a:lnTo>
                      <a:lnTo>
                        <a:pt x="36" y="48"/>
                      </a:lnTo>
                      <a:lnTo>
                        <a:pt x="36" y="50"/>
                      </a:lnTo>
                      <a:lnTo>
                        <a:pt x="31" y="50"/>
                      </a:lnTo>
                      <a:lnTo>
                        <a:pt x="31" y="55"/>
                      </a:lnTo>
                      <a:lnTo>
                        <a:pt x="33" y="55"/>
                      </a:lnTo>
                      <a:lnTo>
                        <a:pt x="31" y="57"/>
                      </a:lnTo>
                      <a:lnTo>
                        <a:pt x="31" y="60"/>
                      </a:lnTo>
                      <a:lnTo>
                        <a:pt x="36" y="60"/>
                      </a:lnTo>
                      <a:lnTo>
                        <a:pt x="38" y="62"/>
                      </a:lnTo>
                      <a:lnTo>
                        <a:pt x="45" y="67"/>
                      </a:lnTo>
                      <a:lnTo>
                        <a:pt x="47" y="69"/>
                      </a:lnTo>
                      <a:lnTo>
                        <a:pt x="43" y="72"/>
                      </a:lnTo>
                      <a:lnTo>
                        <a:pt x="36" y="72"/>
                      </a:lnTo>
                      <a:lnTo>
                        <a:pt x="31" y="76"/>
                      </a:lnTo>
                      <a:lnTo>
                        <a:pt x="26" y="76"/>
                      </a:lnTo>
                      <a:lnTo>
                        <a:pt x="24" y="79"/>
                      </a:lnTo>
                      <a:lnTo>
                        <a:pt x="21" y="81"/>
                      </a:lnTo>
                      <a:lnTo>
                        <a:pt x="19" y="79"/>
                      </a:lnTo>
                      <a:lnTo>
                        <a:pt x="19" y="81"/>
                      </a:lnTo>
                      <a:lnTo>
                        <a:pt x="19" y="81"/>
                      </a:lnTo>
                      <a:lnTo>
                        <a:pt x="17" y="83"/>
                      </a:lnTo>
                      <a:lnTo>
                        <a:pt x="17" y="83"/>
                      </a:lnTo>
                      <a:lnTo>
                        <a:pt x="14" y="83"/>
                      </a:lnTo>
                      <a:lnTo>
                        <a:pt x="12" y="83"/>
                      </a:lnTo>
                      <a:lnTo>
                        <a:pt x="14" y="81"/>
                      </a:lnTo>
                      <a:lnTo>
                        <a:pt x="12" y="79"/>
                      </a:lnTo>
                      <a:lnTo>
                        <a:pt x="9" y="81"/>
                      </a:lnTo>
                      <a:lnTo>
                        <a:pt x="9" y="81"/>
                      </a:lnTo>
                      <a:lnTo>
                        <a:pt x="9" y="79"/>
                      </a:lnTo>
                      <a:lnTo>
                        <a:pt x="9" y="74"/>
                      </a:lnTo>
                      <a:lnTo>
                        <a:pt x="12" y="72"/>
                      </a:lnTo>
                      <a:lnTo>
                        <a:pt x="14" y="72"/>
                      </a:lnTo>
                      <a:lnTo>
                        <a:pt x="17" y="69"/>
                      </a:lnTo>
                      <a:lnTo>
                        <a:pt x="14" y="69"/>
                      </a:lnTo>
                      <a:lnTo>
                        <a:pt x="9" y="69"/>
                      </a:lnTo>
                      <a:lnTo>
                        <a:pt x="9" y="69"/>
                      </a:lnTo>
                      <a:lnTo>
                        <a:pt x="9" y="64"/>
                      </a:lnTo>
                      <a:lnTo>
                        <a:pt x="12" y="60"/>
                      </a:lnTo>
                      <a:lnTo>
                        <a:pt x="9" y="57"/>
                      </a:lnTo>
                      <a:lnTo>
                        <a:pt x="12" y="57"/>
                      </a:lnTo>
                      <a:lnTo>
                        <a:pt x="12" y="55"/>
                      </a:lnTo>
                      <a:lnTo>
                        <a:pt x="12" y="55"/>
                      </a:lnTo>
                      <a:lnTo>
                        <a:pt x="9" y="57"/>
                      </a:lnTo>
                      <a:lnTo>
                        <a:pt x="7" y="57"/>
                      </a:lnTo>
                      <a:lnTo>
                        <a:pt x="5" y="55"/>
                      </a:lnTo>
                      <a:lnTo>
                        <a:pt x="2" y="55"/>
                      </a:lnTo>
                      <a:lnTo>
                        <a:pt x="2" y="57"/>
                      </a:lnTo>
                      <a:lnTo>
                        <a:pt x="0" y="57"/>
                      </a:lnTo>
                      <a:lnTo>
                        <a:pt x="0" y="53"/>
                      </a:lnTo>
                      <a:lnTo>
                        <a:pt x="0" y="55"/>
                      </a:lnTo>
                      <a:lnTo>
                        <a:pt x="0" y="53"/>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Freeform 17">
                  <a:extLst>
                    <a:ext uri="{FF2B5EF4-FFF2-40B4-BE49-F238E27FC236}">
                      <a16:creationId xmlns:a16="http://schemas.microsoft.com/office/drawing/2014/main" id="{968E2FB2-2DAD-3E71-8B04-819F986708E7}"/>
                    </a:ext>
                  </a:extLst>
                </p:cNvPr>
                <p:cNvSpPr>
                  <a:spLocks/>
                </p:cNvSpPr>
                <p:nvPr/>
              </p:nvSpPr>
              <p:spPr bwMode="auto">
                <a:xfrm>
                  <a:off x="3134" y="1938"/>
                  <a:ext cx="431" cy="204"/>
                </a:xfrm>
                <a:custGeom>
                  <a:avLst/>
                  <a:gdLst>
                    <a:gd name="T0" fmla="*/ 12 w 431"/>
                    <a:gd name="T1" fmla="*/ 119 h 204"/>
                    <a:gd name="T2" fmla="*/ 0 w 431"/>
                    <a:gd name="T3" fmla="*/ 95 h 204"/>
                    <a:gd name="T4" fmla="*/ 22 w 431"/>
                    <a:gd name="T5" fmla="*/ 90 h 204"/>
                    <a:gd name="T6" fmla="*/ 31 w 431"/>
                    <a:gd name="T7" fmla="*/ 74 h 204"/>
                    <a:gd name="T8" fmla="*/ 43 w 431"/>
                    <a:gd name="T9" fmla="*/ 69 h 204"/>
                    <a:gd name="T10" fmla="*/ 50 w 431"/>
                    <a:gd name="T11" fmla="*/ 67 h 204"/>
                    <a:gd name="T12" fmla="*/ 69 w 431"/>
                    <a:gd name="T13" fmla="*/ 74 h 204"/>
                    <a:gd name="T14" fmla="*/ 81 w 431"/>
                    <a:gd name="T15" fmla="*/ 76 h 204"/>
                    <a:gd name="T16" fmla="*/ 100 w 431"/>
                    <a:gd name="T17" fmla="*/ 74 h 204"/>
                    <a:gd name="T18" fmla="*/ 114 w 431"/>
                    <a:gd name="T19" fmla="*/ 74 h 204"/>
                    <a:gd name="T20" fmla="*/ 126 w 431"/>
                    <a:gd name="T21" fmla="*/ 79 h 204"/>
                    <a:gd name="T22" fmla="*/ 145 w 431"/>
                    <a:gd name="T23" fmla="*/ 79 h 204"/>
                    <a:gd name="T24" fmla="*/ 138 w 431"/>
                    <a:gd name="T25" fmla="*/ 62 h 204"/>
                    <a:gd name="T26" fmla="*/ 138 w 431"/>
                    <a:gd name="T27" fmla="*/ 50 h 204"/>
                    <a:gd name="T28" fmla="*/ 147 w 431"/>
                    <a:gd name="T29" fmla="*/ 38 h 204"/>
                    <a:gd name="T30" fmla="*/ 138 w 431"/>
                    <a:gd name="T31" fmla="*/ 34 h 204"/>
                    <a:gd name="T32" fmla="*/ 145 w 431"/>
                    <a:gd name="T33" fmla="*/ 29 h 204"/>
                    <a:gd name="T34" fmla="*/ 159 w 431"/>
                    <a:gd name="T35" fmla="*/ 24 h 204"/>
                    <a:gd name="T36" fmla="*/ 178 w 431"/>
                    <a:gd name="T37" fmla="*/ 19 h 204"/>
                    <a:gd name="T38" fmla="*/ 190 w 431"/>
                    <a:gd name="T39" fmla="*/ 15 h 204"/>
                    <a:gd name="T40" fmla="*/ 209 w 431"/>
                    <a:gd name="T41" fmla="*/ 5 h 204"/>
                    <a:gd name="T42" fmla="*/ 223 w 431"/>
                    <a:gd name="T43" fmla="*/ 0 h 204"/>
                    <a:gd name="T44" fmla="*/ 239 w 431"/>
                    <a:gd name="T45" fmla="*/ 10 h 204"/>
                    <a:gd name="T46" fmla="*/ 244 w 431"/>
                    <a:gd name="T47" fmla="*/ 17 h 204"/>
                    <a:gd name="T48" fmla="*/ 253 w 431"/>
                    <a:gd name="T49" fmla="*/ 15 h 204"/>
                    <a:gd name="T50" fmla="*/ 263 w 431"/>
                    <a:gd name="T51" fmla="*/ 19 h 204"/>
                    <a:gd name="T52" fmla="*/ 270 w 431"/>
                    <a:gd name="T53" fmla="*/ 24 h 204"/>
                    <a:gd name="T54" fmla="*/ 289 w 431"/>
                    <a:gd name="T55" fmla="*/ 17 h 204"/>
                    <a:gd name="T56" fmla="*/ 298 w 431"/>
                    <a:gd name="T57" fmla="*/ 15 h 204"/>
                    <a:gd name="T58" fmla="*/ 350 w 431"/>
                    <a:gd name="T59" fmla="*/ 57 h 204"/>
                    <a:gd name="T60" fmla="*/ 365 w 431"/>
                    <a:gd name="T61" fmla="*/ 60 h 204"/>
                    <a:gd name="T62" fmla="*/ 384 w 431"/>
                    <a:gd name="T63" fmla="*/ 57 h 204"/>
                    <a:gd name="T64" fmla="*/ 400 w 431"/>
                    <a:gd name="T65" fmla="*/ 69 h 204"/>
                    <a:gd name="T66" fmla="*/ 407 w 431"/>
                    <a:gd name="T67" fmla="*/ 76 h 204"/>
                    <a:gd name="T68" fmla="*/ 421 w 431"/>
                    <a:gd name="T69" fmla="*/ 76 h 204"/>
                    <a:gd name="T70" fmla="*/ 424 w 431"/>
                    <a:gd name="T71" fmla="*/ 88 h 204"/>
                    <a:gd name="T72" fmla="*/ 419 w 431"/>
                    <a:gd name="T73" fmla="*/ 112 h 204"/>
                    <a:gd name="T74" fmla="*/ 398 w 431"/>
                    <a:gd name="T75" fmla="*/ 112 h 204"/>
                    <a:gd name="T76" fmla="*/ 391 w 431"/>
                    <a:gd name="T77" fmla="*/ 135 h 204"/>
                    <a:gd name="T78" fmla="*/ 381 w 431"/>
                    <a:gd name="T79" fmla="*/ 140 h 204"/>
                    <a:gd name="T80" fmla="*/ 372 w 431"/>
                    <a:gd name="T81" fmla="*/ 147 h 204"/>
                    <a:gd name="T82" fmla="*/ 379 w 431"/>
                    <a:gd name="T83" fmla="*/ 162 h 204"/>
                    <a:gd name="T84" fmla="*/ 377 w 431"/>
                    <a:gd name="T85" fmla="*/ 178 h 204"/>
                    <a:gd name="T86" fmla="*/ 336 w 431"/>
                    <a:gd name="T87" fmla="*/ 173 h 204"/>
                    <a:gd name="T88" fmla="*/ 310 w 431"/>
                    <a:gd name="T89" fmla="*/ 173 h 204"/>
                    <a:gd name="T90" fmla="*/ 287 w 431"/>
                    <a:gd name="T91" fmla="*/ 181 h 204"/>
                    <a:gd name="T92" fmla="*/ 270 w 431"/>
                    <a:gd name="T93" fmla="*/ 188 h 204"/>
                    <a:gd name="T94" fmla="*/ 244 w 431"/>
                    <a:gd name="T95" fmla="*/ 202 h 204"/>
                    <a:gd name="T96" fmla="*/ 192 w 431"/>
                    <a:gd name="T97" fmla="*/ 166 h 204"/>
                    <a:gd name="T98" fmla="*/ 107 w 431"/>
                    <a:gd name="T99" fmla="*/ 197 h 204"/>
                    <a:gd name="T100" fmla="*/ 78 w 431"/>
                    <a:gd name="T101" fmla="*/ 188 h 204"/>
                    <a:gd name="T102" fmla="*/ 69 w 431"/>
                    <a:gd name="T103" fmla="*/ 183 h 204"/>
                    <a:gd name="T104" fmla="*/ 59 w 431"/>
                    <a:gd name="T105" fmla="*/ 173 h 204"/>
                    <a:gd name="T106" fmla="*/ 50 w 431"/>
                    <a:gd name="T107" fmla="*/ 164 h 204"/>
                    <a:gd name="T108" fmla="*/ 64 w 431"/>
                    <a:gd name="T109" fmla="*/ 164 h 204"/>
                    <a:gd name="T110" fmla="*/ 57 w 431"/>
                    <a:gd name="T111" fmla="*/ 154 h 204"/>
                    <a:gd name="T112" fmla="*/ 74 w 431"/>
                    <a:gd name="T113" fmla="*/ 152 h 204"/>
                    <a:gd name="T114" fmla="*/ 76 w 431"/>
                    <a:gd name="T115" fmla="*/ 145 h 204"/>
                    <a:gd name="T116" fmla="*/ 76 w 431"/>
                    <a:gd name="T117" fmla="*/ 133 h 204"/>
                    <a:gd name="T118" fmla="*/ 64 w 431"/>
                    <a:gd name="T119" fmla="*/ 131 h 204"/>
                    <a:gd name="T120" fmla="*/ 57 w 431"/>
                    <a:gd name="T121" fmla="*/ 128 h 204"/>
                    <a:gd name="T122" fmla="*/ 48 w 431"/>
                    <a:gd name="T123" fmla="*/ 131 h 204"/>
                    <a:gd name="T124" fmla="*/ 38 w 431"/>
                    <a:gd name="T125" fmla="*/ 138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31" h="204">
                      <a:moveTo>
                        <a:pt x="33" y="138"/>
                      </a:moveTo>
                      <a:lnTo>
                        <a:pt x="31" y="135"/>
                      </a:lnTo>
                      <a:lnTo>
                        <a:pt x="29" y="135"/>
                      </a:lnTo>
                      <a:lnTo>
                        <a:pt x="24" y="133"/>
                      </a:lnTo>
                      <a:lnTo>
                        <a:pt x="24" y="133"/>
                      </a:lnTo>
                      <a:lnTo>
                        <a:pt x="29" y="133"/>
                      </a:lnTo>
                      <a:lnTo>
                        <a:pt x="24" y="126"/>
                      </a:lnTo>
                      <a:lnTo>
                        <a:pt x="19" y="121"/>
                      </a:lnTo>
                      <a:lnTo>
                        <a:pt x="12" y="119"/>
                      </a:lnTo>
                      <a:lnTo>
                        <a:pt x="10" y="121"/>
                      </a:lnTo>
                      <a:lnTo>
                        <a:pt x="7" y="117"/>
                      </a:lnTo>
                      <a:lnTo>
                        <a:pt x="7" y="117"/>
                      </a:lnTo>
                      <a:lnTo>
                        <a:pt x="5" y="114"/>
                      </a:lnTo>
                      <a:lnTo>
                        <a:pt x="0" y="112"/>
                      </a:lnTo>
                      <a:lnTo>
                        <a:pt x="3" y="107"/>
                      </a:lnTo>
                      <a:lnTo>
                        <a:pt x="3" y="102"/>
                      </a:lnTo>
                      <a:lnTo>
                        <a:pt x="3" y="100"/>
                      </a:lnTo>
                      <a:lnTo>
                        <a:pt x="0" y="95"/>
                      </a:lnTo>
                      <a:lnTo>
                        <a:pt x="3" y="95"/>
                      </a:lnTo>
                      <a:lnTo>
                        <a:pt x="7" y="90"/>
                      </a:lnTo>
                      <a:lnTo>
                        <a:pt x="7" y="88"/>
                      </a:lnTo>
                      <a:lnTo>
                        <a:pt x="7" y="86"/>
                      </a:lnTo>
                      <a:lnTo>
                        <a:pt x="15" y="90"/>
                      </a:lnTo>
                      <a:lnTo>
                        <a:pt x="15" y="93"/>
                      </a:lnTo>
                      <a:lnTo>
                        <a:pt x="19" y="95"/>
                      </a:lnTo>
                      <a:lnTo>
                        <a:pt x="22" y="95"/>
                      </a:lnTo>
                      <a:lnTo>
                        <a:pt x="22" y="90"/>
                      </a:lnTo>
                      <a:lnTo>
                        <a:pt x="22" y="90"/>
                      </a:lnTo>
                      <a:lnTo>
                        <a:pt x="19" y="83"/>
                      </a:lnTo>
                      <a:lnTo>
                        <a:pt x="24" y="81"/>
                      </a:lnTo>
                      <a:lnTo>
                        <a:pt x="26" y="81"/>
                      </a:lnTo>
                      <a:lnTo>
                        <a:pt x="26" y="79"/>
                      </a:lnTo>
                      <a:lnTo>
                        <a:pt x="26" y="79"/>
                      </a:lnTo>
                      <a:lnTo>
                        <a:pt x="26" y="76"/>
                      </a:lnTo>
                      <a:lnTo>
                        <a:pt x="29" y="74"/>
                      </a:lnTo>
                      <a:lnTo>
                        <a:pt x="31" y="74"/>
                      </a:lnTo>
                      <a:lnTo>
                        <a:pt x="33" y="71"/>
                      </a:lnTo>
                      <a:lnTo>
                        <a:pt x="33" y="69"/>
                      </a:lnTo>
                      <a:lnTo>
                        <a:pt x="36" y="69"/>
                      </a:lnTo>
                      <a:lnTo>
                        <a:pt x="36" y="69"/>
                      </a:lnTo>
                      <a:lnTo>
                        <a:pt x="36" y="67"/>
                      </a:lnTo>
                      <a:lnTo>
                        <a:pt x="36" y="64"/>
                      </a:lnTo>
                      <a:lnTo>
                        <a:pt x="41" y="67"/>
                      </a:lnTo>
                      <a:lnTo>
                        <a:pt x="43" y="67"/>
                      </a:lnTo>
                      <a:lnTo>
                        <a:pt x="43" y="69"/>
                      </a:lnTo>
                      <a:lnTo>
                        <a:pt x="41" y="71"/>
                      </a:lnTo>
                      <a:lnTo>
                        <a:pt x="43" y="71"/>
                      </a:lnTo>
                      <a:lnTo>
                        <a:pt x="45" y="71"/>
                      </a:lnTo>
                      <a:lnTo>
                        <a:pt x="45" y="69"/>
                      </a:lnTo>
                      <a:lnTo>
                        <a:pt x="45" y="69"/>
                      </a:lnTo>
                      <a:lnTo>
                        <a:pt x="45" y="69"/>
                      </a:lnTo>
                      <a:lnTo>
                        <a:pt x="48" y="69"/>
                      </a:lnTo>
                      <a:lnTo>
                        <a:pt x="48" y="67"/>
                      </a:lnTo>
                      <a:lnTo>
                        <a:pt x="50" y="67"/>
                      </a:lnTo>
                      <a:lnTo>
                        <a:pt x="52" y="67"/>
                      </a:lnTo>
                      <a:lnTo>
                        <a:pt x="55" y="67"/>
                      </a:lnTo>
                      <a:lnTo>
                        <a:pt x="57" y="69"/>
                      </a:lnTo>
                      <a:lnTo>
                        <a:pt x="59" y="69"/>
                      </a:lnTo>
                      <a:lnTo>
                        <a:pt x="62" y="69"/>
                      </a:lnTo>
                      <a:lnTo>
                        <a:pt x="64" y="69"/>
                      </a:lnTo>
                      <a:lnTo>
                        <a:pt x="67" y="71"/>
                      </a:lnTo>
                      <a:lnTo>
                        <a:pt x="67" y="71"/>
                      </a:lnTo>
                      <a:lnTo>
                        <a:pt x="69" y="74"/>
                      </a:lnTo>
                      <a:lnTo>
                        <a:pt x="71" y="74"/>
                      </a:lnTo>
                      <a:lnTo>
                        <a:pt x="74" y="76"/>
                      </a:lnTo>
                      <a:lnTo>
                        <a:pt x="76" y="79"/>
                      </a:lnTo>
                      <a:lnTo>
                        <a:pt x="78" y="79"/>
                      </a:lnTo>
                      <a:lnTo>
                        <a:pt x="78" y="79"/>
                      </a:lnTo>
                      <a:lnTo>
                        <a:pt x="78" y="81"/>
                      </a:lnTo>
                      <a:lnTo>
                        <a:pt x="81" y="81"/>
                      </a:lnTo>
                      <a:lnTo>
                        <a:pt x="83" y="79"/>
                      </a:lnTo>
                      <a:lnTo>
                        <a:pt x="81" y="76"/>
                      </a:lnTo>
                      <a:lnTo>
                        <a:pt x="83" y="76"/>
                      </a:lnTo>
                      <a:lnTo>
                        <a:pt x="86" y="79"/>
                      </a:lnTo>
                      <a:lnTo>
                        <a:pt x="90" y="79"/>
                      </a:lnTo>
                      <a:lnTo>
                        <a:pt x="90" y="81"/>
                      </a:lnTo>
                      <a:lnTo>
                        <a:pt x="93" y="81"/>
                      </a:lnTo>
                      <a:lnTo>
                        <a:pt x="95" y="79"/>
                      </a:lnTo>
                      <a:lnTo>
                        <a:pt x="95" y="76"/>
                      </a:lnTo>
                      <a:lnTo>
                        <a:pt x="97" y="76"/>
                      </a:lnTo>
                      <a:lnTo>
                        <a:pt x="100" y="74"/>
                      </a:lnTo>
                      <a:lnTo>
                        <a:pt x="100" y="74"/>
                      </a:lnTo>
                      <a:lnTo>
                        <a:pt x="102" y="74"/>
                      </a:lnTo>
                      <a:lnTo>
                        <a:pt x="102" y="71"/>
                      </a:lnTo>
                      <a:lnTo>
                        <a:pt x="104" y="71"/>
                      </a:lnTo>
                      <a:lnTo>
                        <a:pt x="109" y="74"/>
                      </a:lnTo>
                      <a:lnTo>
                        <a:pt x="109" y="76"/>
                      </a:lnTo>
                      <a:lnTo>
                        <a:pt x="112" y="76"/>
                      </a:lnTo>
                      <a:lnTo>
                        <a:pt x="112" y="74"/>
                      </a:lnTo>
                      <a:lnTo>
                        <a:pt x="114" y="74"/>
                      </a:lnTo>
                      <a:lnTo>
                        <a:pt x="116" y="74"/>
                      </a:lnTo>
                      <a:lnTo>
                        <a:pt x="119" y="71"/>
                      </a:lnTo>
                      <a:lnTo>
                        <a:pt x="121" y="74"/>
                      </a:lnTo>
                      <a:lnTo>
                        <a:pt x="121" y="74"/>
                      </a:lnTo>
                      <a:lnTo>
                        <a:pt x="121" y="74"/>
                      </a:lnTo>
                      <a:lnTo>
                        <a:pt x="119" y="76"/>
                      </a:lnTo>
                      <a:lnTo>
                        <a:pt x="121" y="79"/>
                      </a:lnTo>
                      <a:lnTo>
                        <a:pt x="123" y="79"/>
                      </a:lnTo>
                      <a:lnTo>
                        <a:pt x="126" y="79"/>
                      </a:lnTo>
                      <a:lnTo>
                        <a:pt x="126" y="79"/>
                      </a:lnTo>
                      <a:lnTo>
                        <a:pt x="130" y="79"/>
                      </a:lnTo>
                      <a:lnTo>
                        <a:pt x="133" y="81"/>
                      </a:lnTo>
                      <a:lnTo>
                        <a:pt x="135" y="81"/>
                      </a:lnTo>
                      <a:lnTo>
                        <a:pt x="138" y="79"/>
                      </a:lnTo>
                      <a:lnTo>
                        <a:pt x="138" y="76"/>
                      </a:lnTo>
                      <a:lnTo>
                        <a:pt x="138" y="76"/>
                      </a:lnTo>
                      <a:lnTo>
                        <a:pt x="142" y="76"/>
                      </a:lnTo>
                      <a:lnTo>
                        <a:pt x="145" y="79"/>
                      </a:lnTo>
                      <a:lnTo>
                        <a:pt x="149" y="76"/>
                      </a:lnTo>
                      <a:lnTo>
                        <a:pt x="149" y="74"/>
                      </a:lnTo>
                      <a:lnTo>
                        <a:pt x="149" y="67"/>
                      </a:lnTo>
                      <a:lnTo>
                        <a:pt x="149" y="67"/>
                      </a:lnTo>
                      <a:lnTo>
                        <a:pt x="145" y="67"/>
                      </a:lnTo>
                      <a:lnTo>
                        <a:pt x="142" y="64"/>
                      </a:lnTo>
                      <a:lnTo>
                        <a:pt x="142" y="62"/>
                      </a:lnTo>
                      <a:lnTo>
                        <a:pt x="140" y="62"/>
                      </a:lnTo>
                      <a:lnTo>
                        <a:pt x="138" y="62"/>
                      </a:lnTo>
                      <a:lnTo>
                        <a:pt x="135" y="62"/>
                      </a:lnTo>
                      <a:lnTo>
                        <a:pt x="135" y="60"/>
                      </a:lnTo>
                      <a:lnTo>
                        <a:pt x="135" y="60"/>
                      </a:lnTo>
                      <a:lnTo>
                        <a:pt x="135" y="57"/>
                      </a:lnTo>
                      <a:lnTo>
                        <a:pt x="138" y="57"/>
                      </a:lnTo>
                      <a:lnTo>
                        <a:pt x="138" y="55"/>
                      </a:lnTo>
                      <a:lnTo>
                        <a:pt x="140" y="53"/>
                      </a:lnTo>
                      <a:lnTo>
                        <a:pt x="140" y="50"/>
                      </a:lnTo>
                      <a:lnTo>
                        <a:pt x="138" y="50"/>
                      </a:lnTo>
                      <a:lnTo>
                        <a:pt x="138" y="48"/>
                      </a:lnTo>
                      <a:lnTo>
                        <a:pt x="140" y="45"/>
                      </a:lnTo>
                      <a:lnTo>
                        <a:pt x="142" y="43"/>
                      </a:lnTo>
                      <a:lnTo>
                        <a:pt x="147" y="43"/>
                      </a:lnTo>
                      <a:lnTo>
                        <a:pt x="149" y="43"/>
                      </a:lnTo>
                      <a:lnTo>
                        <a:pt x="149" y="43"/>
                      </a:lnTo>
                      <a:lnTo>
                        <a:pt x="149" y="41"/>
                      </a:lnTo>
                      <a:lnTo>
                        <a:pt x="147" y="41"/>
                      </a:lnTo>
                      <a:lnTo>
                        <a:pt x="147" y="38"/>
                      </a:lnTo>
                      <a:lnTo>
                        <a:pt x="145" y="38"/>
                      </a:lnTo>
                      <a:lnTo>
                        <a:pt x="142" y="38"/>
                      </a:lnTo>
                      <a:lnTo>
                        <a:pt x="140" y="38"/>
                      </a:lnTo>
                      <a:lnTo>
                        <a:pt x="138" y="38"/>
                      </a:lnTo>
                      <a:lnTo>
                        <a:pt x="138" y="36"/>
                      </a:lnTo>
                      <a:lnTo>
                        <a:pt x="138" y="36"/>
                      </a:lnTo>
                      <a:lnTo>
                        <a:pt x="142" y="36"/>
                      </a:lnTo>
                      <a:lnTo>
                        <a:pt x="140" y="34"/>
                      </a:lnTo>
                      <a:lnTo>
                        <a:pt x="138" y="34"/>
                      </a:lnTo>
                      <a:lnTo>
                        <a:pt x="135" y="34"/>
                      </a:lnTo>
                      <a:lnTo>
                        <a:pt x="138" y="34"/>
                      </a:lnTo>
                      <a:lnTo>
                        <a:pt x="135" y="31"/>
                      </a:lnTo>
                      <a:lnTo>
                        <a:pt x="138" y="29"/>
                      </a:lnTo>
                      <a:lnTo>
                        <a:pt x="140" y="29"/>
                      </a:lnTo>
                      <a:lnTo>
                        <a:pt x="140" y="29"/>
                      </a:lnTo>
                      <a:lnTo>
                        <a:pt x="142" y="29"/>
                      </a:lnTo>
                      <a:lnTo>
                        <a:pt x="142" y="29"/>
                      </a:lnTo>
                      <a:lnTo>
                        <a:pt x="145" y="29"/>
                      </a:lnTo>
                      <a:lnTo>
                        <a:pt x="147" y="31"/>
                      </a:lnTo>
                      <a:lnTo>
                        <a:pt x="147" y="29"/>
                      </a:lnTo>
                      <a:lnTo>
                        <a:pt x="147" y="29"/>
                      </a:lnTo>
                      <a:lnTo>
                        <a:pt x="149" y="26"/>
                      </a:lnTo>
                      <a:lnTo>
                        <a:pt x="152" y="26"/>
                      </a:lnTo>
                      <a:lnTo>
                        <a:pt x="154" y="29"/>
                      </a:lnTo>
                      <a:lnTo>
                        <a:pt x="154" y="26"/>
                      </a:lnTo>
                      <a:lnTo>
                        <a:pt x="154" y="26"/>
                      </a:lnTo>
                      <a:lnTo>
                        <a:pt x="159" y="24"/>
                      </a:lnTo>
                      <a:lnTo>
                        <a:pt x="161" y="24"/>
                      </a:lnTo>
                      <a:lnTo>
                        <a:pt x="164" y="24"/>
                      </a:lnTo>
                      <a:lnTo>
                        <a:pt x="166" y="24"/>
                      </a:lnTo>
                      <a:lnTo>
                        <a:pt x="168" y="22"/>
                      </a:lnTo>
                      <a:lnTo>
                        <a:pt x="171" y="22"/>
                      </a:lnTo>
                      <a:lnTo>
                        <a:pt x="173" y="22"/>
                      </a:lnTo>
                      <a:lnTo>
                        <a:pt x="175" y="19"/>
                      </a:lnTo>
                      <a:lnTo>
                        <a:pt x="178" y="19"/>
                      </a:lnTo>
                      <a:lnTo>
                        <a:pt x="178" y="19"/>
                      </a:lnTo>
                      <a:lnTo>
                        <a:pt x="180" y="19"/>
                      </a:lnTo>
                      <a:lnTo>
                        <a:pt x="180" y="17"/>
                      </a:lnTo>
                      <a:lnTo>
                        <a:pt x="180" y="17"/>
                      </a:lnTo>
                      <a:lnTo>
                        <a:pt x="183" y="17"/>
                      </a:lnTo>
                      <a:lnTo>
                        <a:pt x="183" y="15"/>
                      </a:lnTo>
                      <a:lnTo>
                        <a:pt x="185" y="15"/>
                      </a:lnTo>
                      <a:lnTo>
                        <a:pt x="185" y="15"/>
                      </a:lnTo>
                      <a:lnTo>
                        <a:pt x="187" y="15"/>
                      </a:lnTo>
                      <a:lnTo>
                        <a:pt x="190" y="15"/>
                      </a:lnTo>
                      <a:lnTo>
                        <a:pt x="192" y="12"/>
                      </a:lnTo>
                      <a:lnTo>
                        <a:pt x="197" y="10"/>
                      </a:lnTo>
                      <a:lnTo>
                        <a:pt x="199" y="10"/>
                      </a:lnTo>
                      <a:lnTo>
                        <a:pt x="199" y="10"/>
                      </a:lnTo>
                      <a:lnTo>
                        <a:pt x="201" y="10"/>
                      </a:lnTo>
                      <a:lnTo>
                        <a:pt x="204" y="7"/>
                      </a:lnTo>
                      <a:lnTo>
                        <a:pt x="204" y="7"/>
                      </a:lnTo>
                      <a:lnTo>
                        <a:pt x="209" y="7"/>
                      </a:lnTo>
                      <a:lnTo>
                        <a:pt x="209" y="5"/>
                      </a:lnTo>
                      <a:lnTo>
                        <a:pt x="206" y="5"/>
                      </a:lnTo>
                      <a:lnTo>
                        <a:pt x="209" y="3"/>
                      </a:lnTo>
                      <a:lnTo>
                        <a:pt x="211" y="3"/>
                      </a:lnTo>
                      <a:lnTo>
                        <a:pt x="211" y="0"/>
                      </a:lnTo>
                      <a:lnTo>
                        <a:pt x="213" y="0"/>
                      </a:lnTo>
                      <a:lnTo>
                        <a:pt x="216" y="0"/>
                      </a:lnTo>
                      <a:lnTo>
                        <a:pt x="216" y="0"/>
                      </a:lnTo>
                      <a:lnTo>
                        <a:pt x="220" y="0"/>
                      </a:lnTo>
                      <a:lnTo>
                        <a:pt x="223" y="0"/>
                      </a:lnTo>
                      <a:lnTo>
                        <a:pt x="225" y="3"/>
                      </a:lnTo>
                      <a:lnTo>
                        <a:pt x="227" y="3"/>
                      </a:lnTo>
                      <a:lnTo>
                        <a:pt x="230" y="0"/>
                      </a:lnTo>
                      <a:lnTo>
                        <a:pt x="232" y="0"/>
                      </a:lnTo>
                      <a:lnTo>
                        <a:pt x="235" y="5"/>
                      </a:lnTo>
                      <a:lnTo>
                        <a:pt x="235" y="5"/>
                      </a:lnTo>
                      <a:lnTo>
                        <a:pt x="235" y="7"/>
                      </a:lnTo>
                      <a:lnTo>
                        <a:pt x="237" y="7"/>
                      </a:lnTo>
                      <a:lnTo>
                        <a:pt x="239" y="10"/>
                      </a:lnTo>
                      <a:lnTo>
                        <a:pt x="239" y="10"/>
                      </a:lnTo>
                      <a:lnTo>
                        <a:pt x="237" y="12"/>
                      </a:lnTo>
                      <a:lnTo>
                        <a:pt x="239" y="15"/>
                      </a:lnTo>
                      <a:lnTo>
                        <a:pt x="239" y="15"/>
                      </a:lnTo>
                      <a:lnTo>
                        <a:pt x="237" y="15"/>
                      </a:lnTo>
                      <a:lnTo>
                        <a:pt x="237" y="17"/>
                      </a:lnTo>
                      <a:lnTo>
                        <a:pt x="239" y="19"/>
                      </a:lnTo>
                      <a:lnTo>
                        <a:pt x="242" y="17"/>
                      </a:lnTo>
                      <a:lnTo>
                        <a:pt x="244" y="17"/>
                      </a:lnTo>
                      <a:lnTo>
                        <a:pt x="244" y="17"/>
                      </a:lnTo>
                      <a:lnTo>
                        <a:pt x="244" y="15"/>
                      </a:lnTo>
                      <a:lnTo>
                        <a:pt x="246" y="15"/>
                      </a:lnTo>
                      <a:lnTo>
                        <a:pt x="246" y="17"/>
                      </a:lnTo>
                      <a:lnTo>
                        <a:pt x="249" y="17"/>
                      </a:lnTo>
                      <a:lnTo>
                        <a:pt x="249" y="15"/>
                      </a:lnTo>
                      <a:lnTo>
                        <a:pt x="249" y="15"/>
                      </a:lnTo>
                      <a:lnTo>
                        <a:pt x="249" y="12"/>
                      </a:lnTo>
                      <a:lnTo>
                        <a:pt x="253" y="15"/>
                      </a:lnTo>
                      <a:lnTo>
                        <a:pt x="253" y="19"/>
                      </a:lnTo>
                      <a:lnTo>
                        <a:pt x="253" y="22"/>
                      </a:lnTo>
                      <a:lnTo>
                        <a:pt x="256" y="22"/>
                      </a:lnTo>
                      <a:lnTo>
                        <a:pt x="258" y="19"/>
                      </a:lnTo>
                      <a:lnTo>
                        <a:pt x="256" y="19"/>
                      </a:lnTo>
                      <a:lnTo>
                        <a:pt x="256" y="19"/>
                      </a:lnTo>
                      <a:lnTo>
                        <a:pt x="258" y="17"/>
                      </a:lnTo>
                      <a:lnTo>
                        <a:pt x="263" y="19"/>
                      </a:lnTo>
                      <a:lnTo>
                        <a:pt x="263" y="19"/>
                      </a:lnTo>
                      <a:lnTo>
                        <a:pt x="265" y="19"/>
                      </a:lnTo>
                      <a:lnTo>
                        <a:pt x="268" y="19"/>
                      </a:lnTo>
                      <a:lnTo>
                        <a:pt x="265" y="22"/>
                      </a:lnTo>
                      <a:lnTo>
                        <a:pt x="265" y="22"/>
                      </a:lnTo>
                      <a:lnTo>
                        <a:pt x="265" y="24"/>
                      </a:lnTo>
                      <a:lnTo>
                        <a:pt x="265" y="26"/>
                      </a:lnTo>
                      <a:lnTo>
                        <a:pt x="268" y="26"/>
                      </a:lnTo>
                      <a:lnTo>
                        <a:pt x="268" y="24"/>
                      </a:lnTo>
                      <a:lnTo>
                        <a:pt x="270" y="24"/>
                      </a:lnTo>
                      <a:lnTo>
                        <a:pt x="275" y="26"/>
                      </a:lnTo>
                      <a:lnTo>
                        <a:pt x="277" y="26"/>
                      </a:lnTo>
                      <a:lnTo>
                        <a:pt x="277" y="24"/>
                      </a:lnTo>
                      <a:lnTo>
                        <a:pt x="277" y="22"/>
                      </a:lnTo>
                      <a:lnTo>
                        <a:pt x="280" y="22"/>
                      </a:lnTo>
                      <a:lnTo>
                        <a:pt x="284" y="22"/>
                      </a:lnTo>
                      <a:lnTo>
                        <a:pt x="284" y="19"/>
                      </a:lnTo>
                      <a:lnTo>
                        <a:pt x="287" y="19"/>
                      </a:lnTo>
                      <a:lnTo>
                        <a:pt x="289" y="17"/>
                      </a:lnTo>
                      <a:lnTo>
                        <a:pt x="289" y="17"/>
                      </a:lnTo>
                      <a:lnTo>
                        <a:pt x="291" y="15"/>
                      </a:lnTo>
                      <a:lnTo>
                        <a:pt x="291" y="12"/>
                      </a:lnTo>
                      <a:lnTo>
                        <a:pt x="294" y="12"/>
                      </a:lnTo>
                      <a:lnTo>
                        <a:pt x="296" y="10"/>
                      </a:lnTo>
                      <a:lnTo>
                        <a:pt x="298" y="10"/>
                      </a:lnTo>
                      <a:lnTo>
                        <a:pt x="301" y="10"/>
                      </a:lnTo>
                      <a:lnTo>
                        <a:pt x="301" y="12"/>
                      </a:lnTo>
                      <a:lnTo>
                        <a:pt x="298" y="15"/>
                      </a:lnTo>
                      <a:lnTo>
                        <a:pt x="296" y="15"/>
                      </a:lnTo>
                      <a:lnTo>
                        <a:pt x="298" y="17"/>
                      </a:lnTo>
                      <a:lnTo>
                        <a:pt x="317" y="31"/>
                      </a:lnTo>
                      <a:lnTo>
                        <a:pt x="346" y="62"/>
                      </a:lnTo>
                      <a:lnTo>
                        <a:pt x="348" y="62"/>
                      </a:lnTo>
                      <a:lnTo>
                        <a:pt x="350" y="60"/>
                      </a:lnTo>
                      <a:lnTo>
                        <a:pt x="350" y="60"/>
                      </a:lnTo>
                      <a:lnTo>
                        <a:pt x="350" y="60"/>
                      </a:lnTo>
                      <a:lnTo>
                        <a:pt x="350" y="57"/>
                      </a:lnTo>
                      <a:lnTo>
                        <a:pt x="353" y="55"/>
                      </a:lnTo>
                      <a:lnTo>
                        <a:pt x="355" y="57"/>
                      </a:lnTo>
                      <a:lnTo>
                        <a:pt x="355" y="57"/>
                      </a:lnTo>
                      <a:lnTo>
                        <a:pt x="355" y="60"/>
                      </a:lnTo>
                      <a:lnTo>
                        <a:pt x="358" y="60"/>
                      </a:lnTo>
                      <a:lnTo>
                        <a:pt x="360" y="62"/>
                      </a:lnTo>
                      <a:lnTo>
                        <a:pt x="362" y="62"/>
                      </a:lnTo>
                      <a:lnTo>
                        <a:pt x="362" y="62"/>
                      </a:lnTo>
                      <a:lnTo>
                        <a:pt x="365" y="60"/>
                      </a:lnTo>
                      <a:lnTo>
                        <a:pt x="367" y="62"/>
                      </a:lnTo>
                      <a:lnTo>
                        <a:pt x="369" y="62"/>
                      </a:lnTo>
                      <a:lnTo>
                        <a:pt x="372" y="62"/>
                      </a:lnTo>
                      <a:lnTo>
                        <a:pt x="374" y="60"/>
                      </a:lnTo>
                      <a:lnTo>
                        <a:pt x="374" y="60"/>
                      </a:lnTo>
                      <a:lnTo>
                        <a:pt x="374" y="60"/>
                      </a:lnTo>
                      <a:lnTo>
                        <a:pt x="374" y="57"/>
                      </a:lnTo>
                      <a:lnTo>
                        <a:pt x="379" y="57"/>
                      </a:lnTo>
                      <a:lnTo>
                        <a:pt x="384" y="57"/>
                      </a:lnTo>
                      <a:lnTo>
                        <a:pt x="386" y="57"/>
                      </a:lnTo>
                      <a:lnTo>
                        <a:pt x="388" y="60"/>
                      </a:lnTo>
                      <a:lnTo>
                        <a:pt x="391" y="62"/>
                      </a:lnTo>
                      <a:lnTo>
                        <a:pt x="393" y="64"/>
                      </a:lnTo>
                      <a:lnTo>
                        <a:pt x="393" y="64"/>
                      </a:lnTo>
                      <a:lnTo>
                        <a:pt x="395" y="67"/>
                      </a:lnTo>
                      <a:lnTo>
                        <a:pt x="398" y="67"/>
                      </a:lnTo>
                      <a:lnTo>
                        <a:pt x="400" y="67"/>
                      </a:lnTo>
                      <a:lnTo>
                        <a:pt x="400" y="69"/>
                      </a:lnTo>
                      <a:lnTo>
                        <a:pt x="400" y="69"/>
                      </a:lnTo>
                      <a:lnTo>
                        <a:pt x="400" y="71"/>
                      </a:lnTo>
                      <a:lnTo>
                        <a:pt x="400" y="71"/>
                      </a:lnTo>
                      <a:lnTo>
                        <a:pt x="400" y="74"/>
                      </a:lnTo>
                      <a:lnTo>
                        <a:pt x="403" y="74"/>
                      </a:lnTo>
                      <a:lnTo>
                        <a:pt x="403" y="74"/>
                      </a:lnTo>
                      <a:lnTo>
                        <a:pt x="405" y="74"/>
                      </a:lnTo>
                      <a:lnTo>
                        <a:pt x="405" y="76"/>
                      </a:lnTo>
                      <a:lnTo>
                        <a:pt x="407" y="76"/>
                      </a:lnTo>
                      <a:lnTo>
                        <a:pt x="407" y="76"/>
                      </a:lnTo>
                      <a:lnTo>
                        <a:pt x="410" y="74"/>
                      </a:lnTo>
                      <a:lnTo>
                        <a:pt x="417" y="74"/>
                      </a:lnTo>
                      <a:lnTo>
                        <a:pt x="419" y="74"/>
                      </a:lnTo>
                      <a:lnTo>
                        <a:pt x="419" y="71"/>
                      </a:lnTo>
                      <a:lnTo>
                        <a:pt x="421" y="71"/>
                      </a:lnTo>
                      <a:lnTo>
                        <a:pt x="421" y="71"/>
                      </a:lnTo>
                      <a:lnTo>
                        <a:pt x="421" y="74"/>
                      </a:lnTo>
                      <a:lnTo>
                        <a:pt x="421" y="76"/>
                      </a:lnTo>
                      <a:lnTo>
                        <a:pt x="424" y="76"/>
                      </a:lnTo>
                      <a:lnTo>
                        <a:pt x="426" y="79"/>
                      </a:lnTo>
                      <a:lnTo>
                        <a:pt x="429" y="79"/>
                      </a:lnTo>
                      <a:lnTo>
                        <a:pt x="431" y="81"/>
                      </a:lnTo>
                      <a:lnTo>
                        <a:pt x="429" y="81"/>
                      </a:lnTo>
                      <a:lnTo>
                        <a:pt x="426" y="83"/>
                      </a:lnTo>
                      <a:lnTo>
                        <a:pt x="424" y="86"/>
                      </a:lnTo>
                      <a:lnTo>
                        <a:pt x="424" y="88"/>
                      </a:lnTo>
                      <a:lnTo>
                        <a:pt x="424" y="88"/>
                      </a:lnTo>
                      <a:lnTo>
                        <a:pt x="424" y="90"/>
                      </a:lnTo>
                      <a:lnTo>
                        <a:pt x="419" y="93"/>
                      </a:lnTo>
                      <a:lnTo>
                        <a:pt x="417" y="93"/>
                      </a:lnTo>
                      <a:lnTo>
                        <a:pt x="417" y="95"/>
                      </a:lnTo>
                      <a:lnTo>
                        <a:pt x="417" y="100"/>
                      </a:lnTo>
                      <a:lnTo>
                        <a:pt x="419" y="105"/>
                      </a:lnTo>
                      <a:lnTo>
                        <a:pt x="421" y="107"/>
                      </a:lnTo>
                      <a:lnTo>
                        <a:pt x="421" y="107"/>
                      </a:lnTo>
                      <a:lnTo>
                        <a:pt x="419" y="112"/>
                      </a:lnTo>
                      <a:lnTo>
                        <a:pt x="417" y="112"/>
                      </a:lnTo>
                      <a:lnTo>
                        <a:pt x="414" y="114"/>
                      </a:lnTo>
                      <a:lnTo>
                        <a:pt x="412" y="114"/>
                      </a:lnTo>
                      <a:lnTo>
                        <a:pt x="412" y="114"/>
                      </a:lnTo>
                      <a:lnTo>
                        <a:pt x="410" y="112"/>
                      </a:lnTo>
                      <a:lnTo>
                        <a:pt x="410" y="112"/>
                      </a:lnTo>
                      <a:lnTo>
                        <a:pt x="405" y="114"/>
                      </a:lnTo>
                      <a:lnTo>
                        <a:pt x="403" y="114"/>
                      </a:lnTo>
                      <a:lnTo>
                        <a:pt x="398" y="112"/>
                      </a:lnTo>
                      <a:lnTo>
                        <a:pt x="395" y="112"/>
                      </a:lnTo>
                      <a:lnTo>
                        <a:pt x="393" y="112"/>
                      </a:lnTo>
                      <a:lnTo>
                        <a:pt x="393" y="117"/>
                      </a:lnTo>
                      <a:lnTo>
                        <a:pt x="391" y="119"/>
                      </a:lnTo>
                      <a:lnTo>
                        <a:pt x="391" y="121"/>
                      </a:lnTo>
                      <a:lnTo>
                        <a:pt x="391" y="128"/>
                      </a:lnTo>
                      <a:lnTo>
                        <a:pt x="391" y="133"/>
                      </a:lnTo>
                      <a:lnTo>
                        <a:pt x="388" y="133"/>
                      </a:lnTo>
                      <a:lnTo>
                        <a:pt x="391" y="135"/>
                      </a:lnTo>
                      <a:lnTo>
                        <a:pt x="393" y="135"/>
                      </a:lnTo>
                      <a:lnTo>
                        <a:pt x="393" y="138"/>
                      </a:lnTo>
                      <a:lnTo>
                        <a:pt x="393" y="140"/>
                      </a:lnTo>
                      <a:lnTo>
                        <a:pt x="391" y="140"/>
                      </a:lnTo>
                      <a:lnTo>
                        <a:pt x="388" y="140"/>
                      </a:lnTo>
                      <a:lnTo>
                        <a:pt x="388" y="140"/>
                      </a:lnTo>
                      <a:lnTo>
                        <a:pt x="386" y="138"/>
                      </a:lnTo>
                      <a:lnTo>
                        <a:pt x="384" y="140"/>
                      </a:lnTo>
                      <a:lnTo>
                        <a:pt x="381" y="140"/>
                      </a:lnTo>
                      <a:lnTo>
                        <a:pt x="377" y="140"/>
                      </a:lnTo>
                      <a:lnTo>
                        <a:pt x="374" y="143"/>
                      </a:lnTo>
                      <a:lnTo>
                        <a:pt x="372" y="143"/>
                      </a:lnTo>
                      <a:lnTo>
                        <a:pt x="369" y="143"/>
                      </a:lnTo>
                      <a:lnTo>
                        <a:pt x="369" y="143"/>
                      </a:lnTo>
                      <a:lnTo>
                        <a:pt x="367" y="145"/>
                      </a:lnTo>
                      <a:lnTo>
                        <a:pt x="367" y="145"/>
                      </a:lnTo>
                      <a:lnTo>
                        <a:pt x="369" y="147"/>
                      </a:lnTo>
                      <a:lnTo>
                        <a:pt x="372" y="147"/>
                      </a:lnTo>
                      <a:lnTo>
                        <a:pt x="374" y="147"/>
                      </a:lnTo>
                      <a:lnTo>
                        <a:pt x="374" y="147"/>
                      </a:lnTo>
                      <a:lnTo>
                        <a:pt x="372" y="150"/>
                      </a:lnTo>
                      <a:lnTo>
                        <a:pt x="374" y="152"/>
                      </a:lnTo>
                      <a:lnTo>
                        <a:pt x="374" y="154"/>
                      </a:lnTo>
                      <a:lnTo>
                        <a:pt x="374" y="154"/>
                      </a:lnTo>
                      <a:lnTo>
                        <a:pt x="374" y="157"/>
                      </a:lnTo>
                      <a:lnTo>
                        <a:pt x="377" y="159"/>
                      </a:lnTo>
                      <a:lnTo>
                        <a:pt x="379" y="162"/>
                      </a:lnTo>
                      <a:lnTo>
                        <a:pt x="381" y="164"/>
                      </a:lnTo>
                      <a:lnTo>
                        <a:pt x="381" y="169"/>
                      </a:lnTo>
                      <a:lnTo>
                        <a:pt x="379" y="169"/>
                      </a:lnTo>
                      <a:lnTo>
                        <a:pt x="379" y="171"/>
                      </a:lnTo>
                      <a:lnTo>
                        <a:pt x="381" y="173"/>
                      </a:lnTo>
                      <a:lnTo>
                        <a:pt x="379" y="173"/>
                      </a:lnTo>
                      <a:lnTo>
                        <a:pt x="379" y="173"/>
                      </a:lnTo>
                      <a:lnTo>
                        <a:pt x="377" y="176"/>
                      </a:lnTo>
                      <a:lnTo>
                        <a:pt x="377" y="178"/>
                      </a:lnTo>
                      <a:lnTo>
                        <a:pt x="377" y="181"/>
                      </a:lnTo>
                      <a:lnTo>
                        <a:pt x="369" y="178"/>
                      </a:lnTo>
                      <a:lnTo>
                        <a:pt x="365" y="173"/>
                      </a:lnTo>
                      <a:lnTo>
                        <a:pt x="365" y="173"/>
                      </a:lnTo>
                      <a:lnTo>
                        <a:pt x="360" y="171"/>
                      </a:lnTo>
                      <a:lnTo>
                        <a:pt x="353" y="171"/>
                      </a:lnTo>
                      <a:lnTo>
                        <a:pt x="348" y="173"/>
                      </a:lnTo>
                      <a:lnTo>
                        <a:pt x="343" y="171"/>
                      </a:lnTo>
                      <a:lnTo>
                        <a:pt x="336" y="173"/>
                      </a:lnTo>
                      <a:lnTo>
                        <a:pt x="334" y="173"/>
                      </a:lnTo>
                      <a:lnTo>
                        <a:pt x="332" y="173"/>
                      </a:lnTo>
                      <a:lnTo>
                        <a:pt x="329" y="173"/>
                      </a:lnTo>
                      <a:lnTo>
                        <a:pt x="327" y="176"/>
                      </a:lnTo>
                      <a:lnTo>
                        <a:pt x="322" y="173"/>
                      </a:lnTo>
                      <a:lnTo>
                        <a:pt x="317" y="173"/>
                      </a:lnTo>
                      <a:lnTo>
                        <a:pt x="315" y="171"/>
                      </a:lnTo>
                      <a:lnTo>
                        <a:pt x="310" y="171"/>
                      </a:lnTo>
                      <a:lnTo>
                        <a:pt x="310" y="173"/>
                      </a:lnTo>
                      <a:lnTo>
                        <a:pt x="308" y="171"/>
                      </a:lnTo>
                      <a:lnTo>
                        <a:pt x="306" y="171"/>
                      </a:lnTo>
                      <a:lnTo>
                        <a:pt x="303" y="173"/>
                      </a:lnTo>
                      <a:lnTo>
                        <a:pt x="303" y="173"/>
                      </a:lnTo>
                      <a:lnTo>
                        <a:pt x="306" y="176"/>
                      </a:lnTo>
                      <a:lnTo>
                        <a:pt x="306" y="181"/>
                      </a:lnTo>
                      <a:lnTo>
                        <a:pt x="301" y="181"/>
                      </a:lnTo>
                      <a:lnTo>
                        <a:pt x="294" y="181"/>
                      </a:lnTo>
                      <a:lnTo>
                        <a:pt x="287" y="181"/>
                      </a:lnTo>
                      <a:lnTo>
                        <a:pt x="284" y="178"/>
                      </a:lnTo>
                      <a:lnTo>
                        <a:pt x="280" y="178"/>
                      </a:lnTo>
                      <a:lnTo>
                        <a:pt x="277" y="181"/>
                      </a:lnTo>
                      <a:lnTo>
                        <a:pt x="280" y="181"/>
                      </a:lnTo>
                      <a:lnTo>
                        <a:pt x="277" y="183"/>
                      </a:lnTo>
                      <a:lnTo>
                        <a:pt x="277" y="183"/>
                      </a:lnTo>
                      <a:lnTo>
                        <a:pt x="275" y="183"/>
                      </a:lnTo>
                      <a:lnTo>
                        <a:pt x="272" y="185"/>
                      </a:lnTo>
                      <a:lnTo>
                        <a:pt x="270" y="188"/>
                      </a:lnTo>
                      <a:lnTo>
                        <a:pt x="268" y="192"/>
                      </a:lnTo>
                      <a:lnTo>
                        <a:pt x="265" y="195"/>
                      </a:lnTo>
                      <a:lnTo>
                        <a:pt x="263" y="197"/>
                      </a:lnTo>
                      <a:lnTo>
                        <a:pt x="261" y="199"/>
                      </a:lnTo>
                      <a:lnTo>
                        <a:pt x="256" y="204"/>
                      </a:lnTo>
                      <a:lnTo>
                        <a:pt x="256" y="202"/>
                      </a:lnTo>
                      <a:lnTo>
                        <a:pt x="251" y="199"/>
                      </a:lnTo>
                      <a:lnTo>
                        <a:pt x="246" y="199"/>
                      </a:lnTo>
                      <a:lnTo>
                        <a:pt x="244" y="202"/>
                      </a:lnTo>
                      <a:lnTo>
                        <a:pt x="239" y="204"/>
                      </a:lnTo>
                      <a:lnTo>
                        <a:pt x="237" y="202"/>
                      </a:lnTo>
                      <a:lnTo>
                        <a:pt x="232" y="192"/>
                      </a:lnTo>
                      <a:lnTo>
                        <a:pt x="223" y="190"/>
                      </a:lnTo>
                      <a:lnTo>
                        <a:pt x="223" y="176"/>
                      </a:lnTo>
                      <a:lnTo>
                        <a:pt x="218" y="176"/>
                      </a:lnTo>
                      <a:lnTo>
                        <a:pt x="216" y="171"/>
                      </a:lnTo>
                      <a:lnTo>
                        <a:pt x="211" y="166"/>
                      </a:lnTo>
                      <a:lnTo>
                        <a:pt x="192" y="166"/>
                      </a:lnTo>
                      <a:lnTo>
                        <a:pt x="175" y="169"/>
                      </a:lnTo>
                      <a:lnTo>
                        <a:pt x="166" y="164"/>
                      </a:lnTo>
                      <a:lnTo>
                        <a:pt x="159" y="162"/>
                      </a:lnTo>
                      <a:lnTo>
                        <a:pt x="140" y="150"/>
                      </a:lnTo>
                      <a:lnTo>
                        <a:pt x="112" y="154"/>
                      </a:lnTo>
                      <a:lnTo>
                        <a:pt x="121" y="204"/>
                      </a:lnTo>
                      <a:lnTo>
                        <a:pt x="119" y="204"/>
                      </a:lnTo>
                      <a:lnTo>
                        <a:pt x="114" y="204"/>
                      </a:lnTo>
                      <a:lnTo>
                        <a:pt x="107" y="197"/>
                      </a:lnTo>
                      <a:lnTo>
                        <a:pt x="97" y="192"/>
                      </a:lnTo>
                      <a:lnTo>
                        <a:pt x="90" y="192"/>
                      </a:lnTo>
                      <a:lnTo>
                        <a:pt x="86" y="192"/>
                      </a:lnTo>
                      <a:lnTo>
                        <a:pt x="78" y="199"/>
                      </a:lnTo>
                      <a:lnTo>
                        <a:pt x="78" y="197"/>
                      </a:lnTo>
                      <a:lnTo>
                        <a:pt x="78" y="195"/>
                      </a:lnTo>
                      <a:lnTo>
                        <a:pt x="78" y="190"/>
                      </a:lnTo>
                      <a:lnTo>
                        <a:pt x="78" y="188"/>
                      </a:lnTo>
                      <a:lnTo>
                        <a:pt x="78" y="188"/>
                      </a:lnTo>
                      <a:lnTo>
                        <a:pt x="81" y="185"/>
                      </a:lnTo>
                      <a:lnTo>
                        <a:pt x="78" y="185"/>
                      </a:lnTo>
                      <a:lnTo>
                        <a:pt x="76" y="185"/>
                      </a:lnTo>
                      <a:lnTo>
                        <a:pt x="74" y="185"/>
                      </a:lnTo>
                      <a:lnTo>
                        <a:pt x="74" y="185"/>
                      </a:lnTo>
                      <a:lnTo>
                        <a:pt x="71" y="185"/>
                      </a:lnTo>
                      <a:lnTo>
                        <a:pt x="69" y="185"/>
                      </a:lnTo>
                      <a:lnTo>
                        <a:pt x="69" y="183"/>
                      </a:lnTo>
                      <a:lnTo>
                        <a:pt x="69" y="183"/>
                      </a:lnTo>
                      <a:lnTo>
                        <a:pt x="67" y="181"/>
                      </a:lnTo>
                      <a:lnTo>
                        <a:pt x="67" y="181"/>
                      </a:lnTo>
                      <a:lnTo>
                        <a:pt x="64" y="181"/>
                      </a:lnTo>
                      <a:lnTo>
                        <a:pt x="64" y="181"/>
                      </a:lnTo>
                      <a:lnTo>
                        <a:pt x="62" y="181"/>
                      </a:lnTo>
                      <a:lnTo>
                        <a:pt x="62" y="178"/>
                      </a:lnTo>
                      <a:lnTo>
                        <a:pt x="62" y="176"/>
                      </a:lnTo>
                      <a:lnTo>
                        <a:pt x="59" y="173"/>
                      </a:lnTo>
                      <a:lnTo>
                        <a:pt x="59" y="173"/>
                      </a:lnTo>
                      <a:lnTo>
                        <a:pt x="57" y="171"/>
                      </a:lnTo>
                      <a:lnTo>
                        <a:pt x="57" y="169"/>
                      </a:lnTo>
                      <a:lnTo>
                        <a:pt x="55" y="169"/>
                      </a:lnTo>
                      <a:lnTo>
                        <a:pt x="55" y="166"/>
                      </a:lnTo>
                      <a:lnTo>
                        <a:pt x="52" y="166"/>
                      </a:lnTo>
                      <a:lnTo>
                        <a:pt x="50" y="166"/>
                      </a:lnTo>
                      <a:lnTo>
                        <a:pt x="50" y="166"/>
                      </a:lnTo>
                      <a:lnTo>
                        <a:pt x="50" y="164"/>
                      </a:lnTo>
                      <a:lnTo>
                        <a:pt x="50" y="164"/>
                      </a:lnTo>
                      <a:lnTo>
                        <a:pt x="52" y="164"/>
                      </a:lnTo>
                      <a:lnTo>
                        <a:pt x="55" y="164"/>
                      </a:lnTo>
                      <a:lnTo>
                        <a:pt x="57" y="164"/>
                      </a:lnTo>
                      <a:lnTo>
                        <a:pt x="57" y="164"/>
                      </a:lnTo>
                      <a:lnTo>
                        <a:pt x="59" y="164"/>
                      </a:lnTo>
                      <a:lnTo>
                        <a:pt x="59" y="164"/>
                      </a:lnTo>
                      <a:lnTo>
                        <a:pt x="59" y="164"/>
                      </a:lnTo>
                      <a:lnTo>
                        <a:pt x="62" y="164"/>
                      </a:lnTo>
                      <a:lnTo>
                        <a:pt x="64" y="164"/>
                      </a:lnTo>
                      <a:lnTo>
                        <a:pt x="62" y="162"/>
                      </a:lnTo>
                      <a:lnTo>
                        <a:pt x="59" y="162"/>
                      </a:lnTo>
                      <a:lnTo>
                        <a:pt x="59" y="162"/>
                      </a:lnTo>
                      <a:lnTo>
                        <a:pt x="59" y="159"/>
                      </a:lnTo>
                      <a:lnTo>
                        <a:pt x="57" y="157"/>
                      </a:lnTo>
                      <a:lnTo>
                        <a:pt x="57" y="157"/>
                      </a:lnTo>
                      <a:lnTo>
                        <a:pt x="57" y="157"/>
                      </a:lnTo>
                      <a:lnTo>
                        <a:pt x="59" y="154"/>
                      </a:lnTo>
                      <a:lnTo>
                        <a:pt x="57" y="154"/>
                      </a:lnTo>
                      <a:lnTo>
                        <a:pt x="59" y="152"/>
                      </a:lnTo>
                      <a:lnTo>
                        <a:pt x="62" y="152"/>
                      </a:lnTo>
                      <a:lnTo>
                        <a:pt x="64" y="152"/>
                      </a:lnTo>
                      <a:lnTo>
                        <a:pt x="67" y="152"/>
                      </a:lnTo>
                      <a:lnTo>
                        <a:pt x="67" y="152"/>
                      </a:lnTo>
                      <a:lnTo>
                        <a:pt x="69" y="152"/>
                      </a:lnTo>
                      <a:lnTo>
                        <a:pt x="71" y="152"/>
                      </a:lnTo>
                      <a:lnTo>
                        <a:pt x="71" y="152"/>
                      </a:lnTo>
                      <a:lnTo>
                        <a:pt x="74" y="152"/>
                      </a:lnTo>
                      <a:lnTo>
                        <a:pt x="76" y="152"/>
                      </a:lnTo>
                      <a:lnTo>
                        <a:pt x="76" y="152"/>
                      </a:lnTo>
                      <a:lnTo>
                        <a:pt x="78" y="152"/>
                      </a:lnTo>
                      <a:lnTo>
                        <a:pt x="78" y="152"/>
                      </a:lnTo>
                      <a:lnTo>
                        <a:pt x="78" y="150"/>
                      </a:lnTo>
                      <a:lnTo>
                        <a:pt x="76" y="150"/>
                      </a:lnTo>
                      <a:lnTo>
                        <a:pt x="74" y="147"/>
                      </a:lnTo>
                      <a:lnTo>
                        <a:pt x="74" y="145"/>
                      </a:lnTo>
                      <a:lnTo>
                        <a:pt x="76" y="145"/>
                      </a:lnTo>
                      <a:lnTo>
                        <a:pt x="76" y="143"/>
                      </a:lnTo>
                      <a:lnTo>
                        <a:pt x="76" y="143"/>
                      </a:lnTo>
                      <a:lnTo>
                        <a:pt x="76" y="143"/>
                      </a:lnTo>
                      <a:lnTo>
                        <a:pt x="76" y="140"/>
                      </a:lnTo>
                      <a:lnTo>
                        <a:pt x="76" y="138"/>
                      </a:lnTo>
                      <a:lnTo>
                        <a:pt x="76" y="138"/>
                      </a:lnTo>
                      <a:lnTo>
                        <a:pt x="74" y="135"/>
                      </a:lnTo>
                      <a:lnTo>
                        <a:pt x="74" y="135"/>
                      </a:lnTo>
                      <a:lnTo>
                        <a:pt x="76" y="133"/>
                      </a:lnTo>
                      <a:lnTo>
                        <a:pt x="76" y="133"/>
                      </a:lnTo>
                      <a:lnTo>
                        <a:pt x="74" y="133"/>
                      </a:lnTo>
                      <a:lnTo>
                        <a:pt x="74" y="131"/>
                      </a:lnTo>
                      <a:lnTo>
                        <a:pt x="71" y="131"/>
                      </a:lnTo>
                      <a:lnTo>
                        <a:pt x="69" y="131"/>
                      </a:lnTo>
                      <a:lnTo>
                        <a:pt x="67" y="131"/>
                      </a:lnTo>
                      <a:lnTo>
                        <a:pt x="67" y="131"/>
                      </a:lnTo>
                      <a:lnTo>
                        <a:pt x="64" y="131"/>
                      </a:lnTo>
                      <a:lnTo>
                        <a:pt x="64" y="131"/>
                      </a:lnTo>
                      <a:lnTo>
                        <a:pt x="64" y="133"/>
                      </a:lnTo>
                      <a:lnTo>
                        <a:pt x="62" y="133"/>
                      </a:lnTo>
                      <a:lnTo>
                        <a:pt x="62" y="133"/>
                      </a:lnTo>
                      <a:lnTo>
                        <a:pt x="62" y="131"/>
                      </a:lnTo>
                      <a:lnTo>
                        <a:pt x="59" y="131"/>
                      </a:lnTo>
                      <a:lnTo>
                        <a:pt x="59" y="133"/>
                      </a:lnTo>
                      <a:lnTo>
                        <a:pt x="57" y="131"/>
                      </a:lnTo>
                      <a:lnTo>
                        <a:pt x="57" y="131"/>
                      </a:lnTo>
                      <a:lnTo>
                        <a:pt x="57" y="128"/>
                      </a:lnTo>
                      <a:lnTo>
                        <a:pt x="57" y="131"/>
                      </a:lnTo>
                      <a:lnTo>
                        <a:pt x="55" y="131"/>
                      </a:lnTo>
                      <a:lnTo>
                        <a:pt x="55" y="128"/>
                      </a:lnTo>
                      <a:lnTo>
                        <a:pt x="52" y="128"/>
                      </a:lnTo>
                      <a:lnTo>
                        <a:pt x="50" y="131"/>
                      </a:lnTo>
                      <a:lnTo>
                        <a:pt x="50" y="133"/>
                      </a:lnTo>
                      <a:lnTo>
                        <a:pt x="48" y="133"/>
                      </a:lnTo>
                      <a:lnTo>
                        <a:pt x="48" y="131"/>
                      </a:lnTo>
                      <a:lnTo>
                        <a:pt x="48" y="131"/>
                      </a:lnTo>
                      <a:lnTo>
                        <a:pt x="45" y="133"/>
                      </a:lnTo>
                      <a:lnTo>
                        <a:pt x="45" y="133"/>
                      </a:lnTo>
                      <a:lnTo>
                        <a:pt x="43" y="135"/>
                      </a:lnTo>
                      <a:lnTo>
                        <a:pt x="41" y="135"/>
                      </a:lnTo>
                      <a:lnTo>
                        <a:pt x="41" y="135"/>
                      </a:lnTo>
                      <a:lnTo>
                        <a:pt x="41" y="138"/>
                      </a:lnTo>
                      <a:lnTo>
                        <a:pt x="38" y="138"/>
                      </a:lnTo>
                      <a:lnTo>
                        <a:pt x="38" y="138"/>
                      </a:lnTo>
                      <a:lnTo>
                        <a:pt x="38" y="138"/>
                      </a:lnTo>
                      <a:lnTo>
                        <a:pt x="36" y="138"/>
                      </a:lnTo>
                      <a:lnTo>
                        <a:pt x="36" y="138"/>
                      </a:lnTo>
                      <a:lnTo>
                        <a:pt x="33" y="138"/>
                      </a:lnTo>
                      <a:lnTo>
                        <a:pt x="33" y="138"/>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Freeform 18">
                  <a:extLst>
                    <a:ext uri="{FF2B5EF4-FFF2-40B4-BE49-F238E27FC236}">
                      <a16:creationId xmlns:a16="http://schemas.microsoft.com/office/drawing/2014/main" id="{517FBCEA-0210-5041-FB92-0E226BCBD3BB}"/>
                    </a:ext>
                  </a:extLst>
                </p:cNvPr>
                <p:cNvSpPr>
                  <a:spLocks/>
                </p:cNvSpPr>
                <p:nvPr/>
              </p:nvSpPr>
              <p:spPr bwMode="auto">
                <a:xfrm>
                  <a:off x="3246" y="2088"/>
                  <a:ext cx="182" cy="102"/>
                </a:xfrm>
                <a:custGeom>
                  <a:avLst/>
                  <a:gdLst>
                    <a:gd name="T0" fmla="*/ 144 w 182"/>
                    <a:gd name="T1" fmla="*/ 95 h 102"/>
                    <a:gd name="T2" fmla="*/ 146 w 182"/>
                    <a:gd name="T3" fmla="*/ 90 h 102"/>
                    <a:gd name="T4" fmla="*/ 144 w 182"/>
                    <a:gd name="T5" fmla="*/ 85 h 102"/>
                    <a:gd name="T6" fmla="*/ 144 w 182"/>
                    <a:gd name="T7" fmla="*/ 80 h 102"/>
                    <a:gd name="T8" fmla="*/ 141 w 182"/>
                    <a:gd name="T9" fmla="*/ 78 h 102"/>
                    <a:gd name="T10" fmla="*/ 137 w 182"/>
                    <a:gd name="T11" fmla="*/ 76 h 102"/>
                    <a:gd name="T12" fmla="*/ 137 w 182"/>
                    <a:gd name="T13" fmla="*/ 71 h 102"/>
                    <a:gd name="T14" fmla="*/ 144 w 182"/>
                    <a:gd name="T15" fmla="*/ 71 h 102"/>
                    <a:gd name="T16" fmla="*/ 149 w 182"/>
                    <a:gd name="T17" fmla="*/ 66 h 102"/>
                    <a:gd name="T18" fmla="*/ 149 w 182"/>
                    <a:gd name="T19" fmla="*/ 64 h 102"/>
                    <a:gd name="T20" fmla="*/ 156 w 182"/>
                    <a:gd name="T21" fmla="*/ 61 h 102"/>
                    <a:gd name="T22" fmla="*/ 153 w 182"/>
                    <a:gd name="T23" fmla="*/ 59 h 102"/>
                    <a:gd name="T24" fmla="*/ 156 w 182"/>
                    <a:gd name="T25" fmla="*/ 54 h 102"/>
                    <a:gd name="T26" fmla="*/ 160 w 182"/>
                    <a:gd name="T27" fmla="*/ 54 h 102"/>
                    <a:gd name="T28" fmla="*/ 168 w 182"/>
                    <a:gd name="T29" fmla="*/ 52 h 102"/>
                    <a:gd name="T30" fmla="*/ 175 w 182"/>
                    <a:gd name="T31" fmla="*/ 52 h 102"/>
                    <a:gd name="T32" fmla="*/ 182 w 182"/>
                    <a:gd name="T33" fmla="*/ 49 h 102"/>
                    <a:gd name="T34" fmla="*/ 175 w 182"/>
                    <a:gd name="T35" fmla="*/ 45 h 102"/>
                    <a:gd name="T36" fmla="*/ 172 w 182"/>
                    <a:gd name="T37" fmla="*/ 47 h 102"/>
                    <a:gd name="T38" fmla="*/ 170 w 182"/>
                    <a:gd name="T39" fmla="*/ 47 h 102"/>
                    <a:gd name="T40" fmla="*/ 163 w 182"/>
                    <a:gd name="T41" fmla="*/ 45 h 102"/>
                    <a:gd name="T42" fmla="*/ 163 w 182"/>
                    <a:gd name="T43" fmla="*/ 40 h 102"/>
                    <a:gd name="T44" fmla="*/ 165 w 182"/>
                    <a:gd name="T45" fmla="*/ 33 h 102"/>
                    <a:gd name="T46" fmla="*/ 160 w 182"/>
                    <a:gd name="T47" fmla="*/ 35 h 102"/>
                    <a:gd name="T48" fmla="*/ 156 w 182"/>
                    <a:gd name="T49" fmla="*/ 42 h 102"/>
                    <a:gd name="T50" fmla="*/ 151 w 182"/>
                    <a:gd name="T51" fmla="*/ 47 h 102"/>
                    <a:gd name="T52" fmla="*/ 144 w 182"/>
                    <a:gd name="T53" fmla="*/ 54 h 102"/>
                    <a:gd name="T54" fmla="*/ 139 w 182"/>
                    <a:gd name="T55" fmla="*/ 49 h 102"/>
                    <a:gd name="T56" fmla="*/ 132 w 182"/>
                    <a:gd name="T57" fmla="*/ 52 h 102"/>
                    <a:gd name="T58" fmla="*/ 125 w 182"/>
                    <a:gd name="T59" fmla="*/ 52 h 102"/>
                    <a:gd name="T60" fmla="*/ 111 w 182"/>
                    <a:gd name="T61" fmla="*/ 40 h 102"/>
                    <a:gd name="T62" fmla="*/ 106 w 182"/>
                    <a:gd name="T63" fmla="*/ 26 h 102"/>
                    <a:gd name="T64" fmla="*/ 99 w 182"/>
                    <a:gd name="T65" fmla="*/ 16 h 102"/>
                    <a:gd name="T66" fmla="*/ 63 w 182"/>
                    <a:gd name="T67" fmla="*/ 19 h 102"/>
                    <a:gd name="T68" fmla="*/ 47 w 182"/>
                    <a:gd name="T69" fmla="*/ 12 h 102"/>
                    <a:gd name="T70" fmla="*/ 0 w 182"/>
                    <a:gd name="T71" fmla="*/ 4 h 102"/>
                    <a:gd name="T72" fmla="*/ 14 w 182"/>
                    <a:gd name="T73" fmla="*/ 52 h 102"/>
                    <a:gd name="T74" fmla="*/ 18 w 182"/>
                    <a:gd name="T75" fmla="*/ 52 h 102"/>
                    <a:gd name="T76" fmla="*/ 16 w 182"/>
                    <a:gd name="T77" fmla="*/ 45 h 102"/>
                    <a:gd name="T78" fmla="*/ 23 w 182"/>
                    <a:gd name="T79" fmla="*/ 40 h 102"/>
                    <a:gd name="T80" fmla="*/ 26 w 182"/>
                    <a:gd name="T81" fmla="*/ 38 h 102"/>
                    <a:gd name="T82" fmla="*/ 30 w 182"/>
                    <a:gd name="T83" fmla="*/ 38 h 102"/>
                    <a:gd name="T84" fmla="*/ 35 w 182"/>
                    <a:gd name="T85" fmla="*/ 35 h 102"/>
                    <a:gd name="T86" fmla="*/ 49 w 182"/>
                    <a:gd name="T87" fmla="*/ 42 h 102"/>
                    <a:gd name="T88" fmla="*/ 56 w 182"/>
                    <a:gd name="T89" fmla="*/ 49 h 102"/>
                    <a:gd name="T90" fmla="*/ 66 w 182"/>
                    <a:gd name="T91" fmla="*/ 52 h 102"/>
                    <a:gd name="T92" fmla="*/ 73 w 182"/>
                    <a:gd name="T93" fmla="*/ 54 h 102"/>
                    <a:gd name="T94" fmla="*/ 78 w 182"/>
                    <a:gd name="T95" fmla="*/ 61 h 102"/>
                    <a:gd name="T96" fmla="*/ 80 w 182"/>
                    <a:gd name="T97" fmla="*/ 68 h 102"/>
                    <a:gd name="T98" fmla="*/ 92 w 182"/>
                    <a:gd name="T99" fmla="*/ 76 h 102"/>
                    <a:gd name="T100" fmla="*/ 108 w 182"/>
                    <a:gd name="T101" fmla="*/ 83 h 102"/>
                    <a:gd name="T102" fmla="*/ 123 w 182"/>
                    <a:gd name="T103" fmla="*/ 90 h 102"/>
                    <a:gd name="T104" fmla="*/ 125 w 182"/>
                    <a:gd name="T105" fmla="*/ 90 h 102"/>
                    <a:gd name="T106" fmla="*/ 130 w 182"/>
                    <a:gd name="T107" fmla="*/ 95 h 102"/>
                    <a:gd name="T108" fmla="*/ 132 w 182"/>
                    <a:gd name="T109" fmla="*/ 99 h 102"/>
                    <a:gd name="T110" fmla="*/ 137 w 182"/>
                    <a:gd name="T111" fmla="*/ 102 h 102"/>
                    <a:gd name="T112" fmla="*/ 139 w 182"/>
                    <a:gd name="T113" fmla="*/ 102 h 102"/>
                    <a:gd name="T114" fmla="*/ 144 w 182"/>
                    <a:gd name="T115"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82" h="102">
                      <a:moveTo>
                        <a:pt x="144" y="102"/>
                      </a:moveTo>
                      <a:lnTo>
                        <a:pt x="144" y="95"/>
                      </a:lnTo>
                      <a:lnTo>
                        <a:pt x="146" y="90"/>
                      </a:lnTo>
                      <a:lnTo>
                        <a:pt x="146" y="90"/>
                      </a:lnTo>
                      <a:lnTo>
                        <a:pt x="146" y="87"/>
                      </a:lnTo>
                      <a:lnTo>
                        <a:pt x="144" y="85"/>
                      </a:lnTo>
                      <a:lnTo>
                        <a:pt x="144" y="83"/>
                      </a:lnTo>
                      <a:lnTo>
                        <a:pt x="144" y="80"/>
                      </a:lnTo>
                      <a:lnTo>
                        <a:pt x="144" y="78"/>
                      </a:lnTo>
                      <a:lnTo>
                        <a:pt x="141" y="78"/>
                      </a:lnTo>
                      <a:lnTo>
                        <a:pt x="139" y="80"/>
                      </a:lnTo>
                      <a:lnTo>
                        <a:pt x="137" y="76"/>
                      </a:lnTo>
                      <a:lnTo>
                        <a:pt x="137" y="73"/>
                      </a:lnTo>
                      <a:lnTo>
                        <a:pt x="137" y="71"/>
                      </a:lnTo>
                      <a:lnTo>
                        <a:pt x="144" y="71"/>
                      </a:lnTo>
                      <a:lnTo>
                        <a:pt x="144" y="71"/>
                      </a:lnTo>
                      <a:lnTo>
                        <a:pt x="146" y="68"/>
                      </a:lnTo>
                      <a:lnTo>
                        <a:pt x="149" y="66"/>
                      </a:lnTo>
                      <a:lnTo>
                        <a:pt x="149" y="66"/>
                      </a:lnTo>
                      <a:lnTo>
                        <a:pt x="149" y="64"/>
                      </a:lnTo>
                      <a:lnTo>
                        <a:pt x="153" y="64"/>
                      </a:lnTo>
                      <a:lnTo>
                        <a:pt x="156" y="61"/>
                      </a:lnTo>
                      <a:lnTo>
                        <a:pt x="156" y="61"/>
                      </a:lnTo>
                      <a:lnTo>
                        <a:pt x="153" y="59"/>
                      </a:lnTo>
                      <a:lnTo>
                        <a:pt x="153" y="57"/>
                      </a:lnTo>
                      <a:lnTo>
                        <a:pt x="156" y="54"/>
                      </a:lnTo>
                      <a:lnTo>
                        <a:pt x="160" y="54"/>
                      </a:lnTo>
                      <a:lnTo>
                        <a:pt x="160" y="54"/>
                      </a:lnTo>
                      <a:lnTo>
                        <a:pt x="165" y="49"/>
                      </a:lnTo>
                      <a:lnTo>
                        <a:pt x="168" y="52"/>
                      </a:lnTo>
                      <a:lnTo>
                        <a:pt x="168" y="54"/>
                      </a:lnTo>
                      <a:lnTo>
                        <a:pt x="175" y="52"/>
                      </a:lnTo>
                      <a:lnTo>
                        <a:pt x="177" y="54"/>
                      </a:lnTo>
                      <a:lnTo>
                        <a:pt x="182" y="49"/>
                      </a:lnTo>
                      <a:lnTo>
                        <a:pt x="182" y="47"/>
                      </a:lnTo>
                      <a:lnTo>
                        <a:pt x="175" y="45"/>
                      </a:lnTo>
                      <a:lnTo>
                        <a:pt x="175" y="45"/>
                      </a:lnTo>
                      <a:lnTo>
                        <a:pt x="172" y="47"/>
                      </a:lnTo>
                      <a:lnTo>
                        <a:pt x="172" y="49"/>
                      </a:lnTo>
                      <a:lnTo>
                        <a:pt x="170" y="47"/>
                      </a:lnTo>
                      <a:lnTo>
                        <a:pt x="168" y="47"/>
                      </a:lnTo>
                      <a:lnTo>
                        <a:pt x="163" y="45"/>
                      </a:lnTo>
                      <a:lnTo>
                        <a:pt x="160" y="42"/>
                      </a:lnTo>
                      <a:lnTo>
                        <a:pt x="163" y="40"/>
                      </a:lnTo>
                      <a:lnTo>
                        <a:pt x="165" y="35"/>
                      </a:lnTo>
                      <a:lnTo>
                        <a:pt x="165" y="33"/>
                      </a:lnTo>
                      <a:lnTo>
                        <a:pt x="163" y="33"/>
                      </a:lnTo>
                      <a:lnTo>
                        <a:pt x="160" y="35"/>
                      </a:lnTo>
                      <a:lnTo>
                        <a:pt x="158" y="38"/>
                      </a:lnTo>
                      <a:lnTo>
                        <a:pt x="156" y="42"/>
                      </a:lnTo>
                      <a:lnTo>
                        <a:pt x="153" y="45"/>
                      </a:lnTo>
                      <a:lnTo>
                        <a:pt x="151" y="47"/>
                      </a:lnTo>
                      <a:lnTo>
                        <a:pt x="149" y="49"/>
                      </a:lnTo>
                      <a:lnTo>
                        <a:pt x="144" y="54"/>
                      </a:lnTo>
                      <a:lnTo>
                        <a:pt x="144" y="52"/>
                      </a:lnTo>
                      <a:lnTo>
                        <a:pt x="139" y="49"/>
                      </a:lnTo>
                      <a:lnTo>
                        <a:pt x="134" y="49"/>
                      </a:lnTo>
                      <a:lnTo>
                        <a:pt x="132" y="52"/>
                      </a:lnTo>
                      <a:lnTo>
                        <a:pt x="127" y="54"/>
                      </a:lnTo>
                      <a:lnTo>
                        <a:pt x="125" y="52"/>
                      </a:lnTo>
                      <a:lnTo>
                        <a:pt x="120" y="42"/>
                      </a:lnTo>
                      <a:lnTo>
                        <a:pt x="111" y="40"/>
                      </a:lnTo>
                      <a:lnTo>
                        <a:pt x="111" y="26"/>
                      </a:lnTo>
                      <a:lnTo>
                        <a:pt x="106" y="26"/>
                      </a:lnTo>
                      <a:lnTo>
                        <a:pt x="104" y="21"/>
                      </a:lnTo>
                      <a:lnTo>
                        <a:pt x="99" y="16"/>
                      </a:lnTo>
                      <a:lnTo>
                        <a:pt x="80" y="16"/>
                      </a:lnTo>
                      <a:lnTo>
                        <a:pt x="63" y="19"/>
                      </a:lnTo>
                      <a:lnTo>
                        <a:pt x="54" y="14"/>
                      </a:lnTo>
                      <a:lnTo>
                        <a:pt x="47" y="12"/>
                      </a:lnTo>
                      <a:lnTo>
                        <a:pt x="28" y="0"/>
                      </a:lnTo>
                      <a:lnTo>
                        <a:pt x="0" y="4"/>
                      </a:lnTo>
                      <a:lnTo>
                        <a:pt x="9" y="54"/>
                      </a:lnTo>
                      <a:lnTo>
                        <a:pt x="14" y="52"/>
                      </a:lnTo>
                      <a:lnTo>
                        <a:pt x="18" y="54"/>
                      </a:lnTo>
                      <a:lnTo>
                        <a:pt x="18" y="52"/>
                      </a:lnTo>
                      <a:lnTo>
                        <a:pt x="16" y="49"/>
                      </a:lnTo>
                      <a:lnTo>
                        <a:pt x="16" y="45"/>
                      </a:lnTo>
                      <a:lnTo>
                        <a:pt x="18" y="42"/>
                      </a:lnTo>
                      <a:lnTo>
                        <a:pt x="23" y="40"/>
                      </a:lnTo>
                      <a:lnTo>
                        <a:pt x="23" y="38"/>
                      </a:lnTo>
                      <a:lnTo>
                        <a:pt x="26" y="38"/>
                      </a:lnTo>
                      <a:lnTo>
                        <a:pt x="30" y="38"/>
                      </a:lnTo>
                      <a:lnTo>
                        <a:pt x="30" y="38"/>
                      </a:lnTo>
                      <a:lnTo>
                        <a:pt x="28" y="35"/>
                      </a:lnTo>
                      <a:lnTo>
                        <a:pt x="35" y="35"/>
                      </a:lnTo>
                      <a:lnTo>
                        <a:pt x="42" y="40"/>
                      </a:lnTo>
                      <a:lnTo>
                        <a:pt x="49" y="42"/>
                      </a:lnTo>
                      <a:lnTo>
                        <a:pt x="49" y="45"/>
                      </a:lnTo>
                      <a:lnTo>
                        <a:pt x="56" y="49"/>
                      </a:lnTo>
                      <a:lnTo>
                        <a:pt x="63" y="52"/>
                      </a:lnTo>
                      <a:lnTo>
                        <a:pt x="66" y="52"/>
                      </a:lnTo>
                      <a:lnTo>
                        <a:pt x="68" y="52"/>
                      </a:lnTo>
                      <a:lnTo>
                        <a:pt x="73" y="54"/>
                      </a:lnTo>
                      <a:lnTo>
                        <a:pt x="75" y="61"/>
                      </a:lnTo>
                      <a:lnTo>
                        <a:pt x="78" y="61"/>
                      </a:lnTo>
                      <a:lnTo>
                        <a:pt x="78" y="64"/>
                      </a:lnTo>
                      <a:lnTo>
                        <a:pt x="80" y="68"/>
                      </a:lnTo>
                      <a:lnTo>
                        <a:pt x="85" y="71"/>
                      </a:lnTo>
                      <a:lnTo>
                        <a:pt x="92" y="76"/>
                      </a:lnTo>
                      <a:lnTo>
                        <a:pt x="99" y="80"/>
                      </a:lnTo>
                      <a:lnTo>
                        <a:pt x="108" y="83"/>
                      </a:lnTo>
                      <a:lnTo>
                        <a:pt x="115" y="87"/>
                      </a:lnTo>
                      <a:lnTo>
                        <a:pt x="123" y="90"/>
                      </a:lnTo>
                      <a:lnTo>
                        <a:pt x="123" y="90"/>
                      </a:lnTo>
                      <a:lnTo>
                        <a:pt x="125" y="90"/>
                      </a:lnTo>
                      <a:lnTo>
                        <a:pt x="130" y="92"/>
                      </a:lnTo>
                      <a:lnTo>
                        <a:pt x="130" y="95"/>
                      </a:lnTo>
                      <a:lnTo>
                        <a:pt x="130" y="99"/>
                      </a:lnTo>
                      <a:lnTo>
                        <a:pt x="132" y="99"/>
                      </a:lnTo>
                      <a:lnTo>
                        <a:pt x="134" y="99"/>
                      </a:lnTo>
                      <a:lnTo>
                        <a:pt x="137" y="102"/>
                      </a:lnTo>
                      <a:lnTo>
                        <a:pt x="139" y="102"/>
                      </a:lnTo>
                      <a:lnTo>
                        <a:pt x="139" y="102"/>
                      </a:lnTo>
                      <a:lnTo>
                        <a:pt x="141" y="102"/>
                      </a:lnTo>
                      <a:lnTo>
                        <a:pt x="144" y="102"/>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Freeform 19">
                  <a:extLst>
                    <a:ext uri="{FF2B5EF4-FFF2-40B4-BE49-F238E27FC236}">
                      <a16:creationId xmlns:a16="http://schemas.microsoft.com/office/drawing/2014/main" id="{19229C5F-5110-7589-60F1-A2AB62EC1C29}"/>
                    </a:ext>
                  </a:extLst>
                </p:cNvPr>
                <p:cNvSpPr>
                  <a:spLocks/>
                </p:cNvSpPr>
                <p:nvPr/>
              </p:nvSpPr>
              <p:spPr bwMode="auto">
                <a:xfrm>
                  <a:off x="3212" y="2123"/>
                  <a:ext cx="164" cy="93"/>
                </a:xfrm>
                <a:custGeom>
                  <a:avLst/>
                  <a:gdLst>
                    <a:gd name="T0" fmla="*/ 164 w 164"/>
                    <a:gd name="T1" fmla="*/ 57 h 93"/>
                    <a:gd name="T2" fmla="*/ 157 w 164"/>
                    <a:gd name="T3" fmla="*/ 55 h 93"/>
                    <a:gd name="T4" fmla="*/ 133 w 164"/>
                    <a:gd name="T5" fmla="*/ 45 h 93"/>
                    <a:gd name="T6" fmla="*/ 114 w 164"/>
                    <a:gd name="T7" fmla="*/ 33 h 93"/>
                    <a:gd name="T8" fmla="*/ 109 w 164"/>
                    <a:gd name="T9" fmla="*/ 26 h 93"/>
                    <a:gd name="T10" fmla="*/ 100 w 164"/>
                    <a:gd name="T11" fmla="*/ 17 h 93"/>
                    <a:gd name="T12" fmla="*/ 83 w 164"/>
                    <a:gd name="T13" fmla="*/ 10 h 93"/>
                    <a:gd name="T14" fmla="*/ 69 w 164"/>
                    <a:gd name="T15" fmla="*/ 0 h 93"/>
                    <a:gd name="T16" fmla="*/ 64 w 164"/>
                    <a:gd name="T17" fmla="*/ 3 h 93"/>
                    <a:gd name="T18" fmla="*/ 57 w 164"/>
                    <a:gd name="T19" fmla="*/ 5 h 93"/>
                    <a:gd name="T20" fmla="*/ 50 w 164"/>
                    <a:gd name="T21" fmla="*/ 14 h 93"/>
                    <a:gd name="T22" fmla="*/ 48 w 164"/>
                    <a:gd name="T23" fmla="*/ 17 h 93"/>
                    <a:gd name="T24" fmla="*/ 29 w 164"/>
                    <a:gd name="T25" fmla="*/ 12 h 93"/>
                    <a:gd name="T26" fmla="*/ 8 w 164"/>
                    <a:gd name="T27" fmla="*/ 7 h 93"/>
                    <a:gd name="T28" fmla="*/ 3 w 164"/>
                    <a:gd name="T29" fmla="*/ 17 h 93"/>
                    <a:gd name="T30" fmla="*/ 5 w 164"/>
                    <a:gd name="T31" fmla="*/ 22 h 93"/>
                    <a:gd name="T32" fmla="*/ 5 w 164"/>
                    <a:gd name="T33" fmla="*/ 29 h 93"/>
                    <a:gd name="T34" fmla="*/ 8 w 164"/>
                    <a:gd name="T35" fmla="*/ 38 h 93"/>
                    <a:gd name="T36" fmla="*/ 10 w 164"/>
                    <a:gd name="T37" fmla="*/ 38 h 93"/>
                    <a:gd name="T38" fmla="*/ 17 w 164"/>
                    <a:gd name="T39" fmla="*/ 38 h 93"/>
                    <a:gd name="T40" fmla="*/ 17 w 164"/>
                    <a:gd name="T41" fmla="*/ 43 h 93"/>
                    <a:gd name="T42" fmla="*/ 19 w 164"/>
                    <a:gd name="T43" fmla="*/ 45 h 93"/>
                    <a:gd name="T44" fmla="*/ 15 w 164"/>
                    <a:gd name="T45" fmla="*/ 43 h 93"/>
                    <a:gd name="T46" fmla="*/ 15 w 164"/>
                    <a:gd name="T47" fmla="*/ 48 h 93"/>
                    <a:gd name="T48" fmla="*/ 17 w 164"/>
                    <a:gd name="T49" fmla="*/ 48 h 93"/>
                    <a:gd name="T50" fmla="*/ 22 w 164"/>
                    <a:gd name="T51" fmla="*/ 50 h 93"/>
                    <a:gd name="T52" fmla="*/ 24 w 164"/>
                    <a:gd name="T53" fmla="*/ 57 h 93"/>
                    <a:gd name="T54" fmla="*/ 26 w 164"/>
                    <a:gd name="T55" fmla="*/ 71 h 93"/>
                    <a:gd name="T56" fmla="*/ 36 w 164"/>
                    <a:gd name="T57" fmla="*/ 67 h 93"/>
                    <a:gd name="T58" fmla="*/ 43 w 164"/>
                    <a:gd name="T59" fmla="*/ 62 h 93"/>
                    <a:gd name="T60" fmla="*/ 52 w 164"/>
                    <a:gd name="T61" fmla="*/ 60 h 93"/>
                    <a:gd name="T62" fmla="*/ 60 w 164"/>
                    <a:gd name="T63" fmla="*/ 60 h 93"/>
                    <a:gd name="T64" fmla="*/ 74 w 164"/>
                    <a:gd name="T65" fmla="*/ 67 h 93"/>
                    <a:gd name="T66" fmla="*/ 83 w 164"/>
                    <a:gd name="T67" fmla="*/ 67 h 93"/>
                    <a:gd name="T68" fmla="*/ 88 w 164"/>
                    <a:gd name="T69" fmla="*/ 71 h 93"/>
                    <a:gd name="T70" fmla="*/ 97 w 164"/>
                    <a:gd name="T71" fmla="*/ 76 h 93"/>
                    <a:gd name="T72" fmla="*/ 107 w 164"/>
                    <a:gd name="T73" fmla="*/ 81 h 93"/>
                    <a:gd name="T74" fmla="*/ 107 w 164"/>
                    <a:gd name="T75" fmla="*/ 88 h 93"/>
                    <a:gd name="T76" fmla="*/ 112 w 164"/>
                    <a:gd name="T77" fmla="*/ 88 h 93"/>
                    <a:gd name="T78" fmla="*/ 116 w 164"/>
                    <a:gd name="T79" fmla="*/ 88 h 93"/>
                    <a:gd name="T80" fmla="*/ 123 w 164"/>
                    <a:gd name="T81" fmla="*/ 93 h 93"/>
                    <a:gd name="T82" fmla="*/ 128 w 164"/>
                    <a:gd name="T83" fmla="*/ 90 h 93"/>
                    <a:gd name="T84" fmla="*/ 131 w 164"/>
                    <a:gd name="T85" fmla="*/ 88 h 93"/>
                    <a:gd name="T86" fmla="*/ 138 w 164"/>
                    <a:gd name="T87" fmla="*/ 83 h 93"/>
                    <a:gd name="T88" fmla="*/ 142 w 164"/>
                    <a:gd name="T89" fmla="*/ 81 h 93"/>
                    <a:gd name="T90" fmla="*/ 147 w 164"/>
                    <a:gd name="T91" fmla="*/ 74 h 93"/>
                    <a:gd name="T92" fmla="*/ 145 w 164"/>
                    <a:gd name="T93" fmla="*/ 69 h 93"/>
                    <a:gd name="T94" fmla="*/ 149 w 164"/>
                    <a:gd name="T95" fmla="*/ 67 h 93"/>
                    <a:gd name="T96" fmla="*/ 157 w 164"/>
                    <a:gd name="T97" fmla="*/ 64 h 93"/>
                    <a:gd name="T98" fmla="*/ 164 w 164"/>
                    <a:gd name="T99" fmla="*/ 64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64" h="93">
                      <a:moveTo>
                        <a:pt x="164" y="64"/>
                      </a:moveTo>
                      <a:lnTo>
                        <a:pt x="164" y="60"/>
                      </a:lnTo>
                      <a:lnTo>
                        <a:pt x="164" y="57"/>
                      </a:lnTo>
                      <a:lnTo>
                        <a:pt x="159" y="55"/>
                      </a:lnTo>
                      <a:lnTo>
                        <a:pt x="157" y="55"/>
                      </a:lnTo>
                      <a:lnTo>
                        <a:pt x="157" y="55"/>
                      </a:lnTo>
                      <a:lnTo>
                        <a:pt x="149" y="52"/>
                      </a:lnTo>
                      <a:lnTo>
                        <a:pt x="142" y="48"/>
                      </a:lnTo>
                      <a:lnTo>
                        <a:pt x="133" y="45"/>
                      </a:lnTo>
                      <a:lnTo>
                        <a:pt x="126" y="41"/>
                      </a:lnTo>
                      <a:lnTo>
                        <a:pt x="119" y="36"/>
                      </a:lnTo>
                      <a:lnTo>
                        <a:pt x="114" y="33"/>
                      </a:lnTo>
                      <a:lnTo>
                        <a:pt x="112" y="29"/>
                      </a:lnTo>
                      <a:lnTo>
                        <a:pt x="112" y="26"/>
                      </a:lnTo>
                      <a:lnTo>
                        <a:pt x="109" y="26"/>
                      </a:lnTo>
                      <a:lnTo>
                        <a:pt x="107" y="19"/>
                      </a:lnTo>
                      <a:lnTo>
                        <a:pt x="102" y="17"/>
                      </a:lnTo>
                      <a:lnTo>
                        <a:pt x="100" y="17"/>
                      </a:lnTo>
                      <a:lnTo>
                        <a:pt x="97" y="17"/>
                      </a:lnTo>
                      <a:lnTo>
                        <a:pt x="90" y="14"/>
                      </a:lnTo>
                      <a:lnTo>
                        <a:pt x="83" y="10"/>
                      </a:lnTo>
                      <a:lnTo>
                        <a:pt x="83" y="7"/>
                      </a:lnTo>
                      <a:lnTo>
                        <a:pt x="76" y="5"/>
                      </a:lnTo>
                      <a:lnTo>
                        <a:pt x="69" y="0"/>
                      </a:lnTo>
                      <a:lnTo>
                        <a:pt x="62" y="0"/>
                      </a:lnTo>
                      <a:lnTo>
                        <a:pt x="64" y="3"/>
                      </a:lnTo>
                      <a:lnTo>
                        <a:pt x="64" y="3"/>
                      </a:lnTo>
                      <a:lnTo>
                        <a:pt x="60" y="3"/>
                      </a:lnTo>
                      <a:lnTo>
                        <a:pt x="57" y="3"/>
                      </a:lnTo>
                      <a:lnTo>
                        <a:pt x="57" y="5"/>
                      </a:lnTo>
                      <a:lnTo>
                        <a:pt x="52" y="7"/>
                      </a:lnTo>
                      <a:lnTo>
                        <a:pt x="50" y="10"/>
                      </a:lnTo>
                      <a:lnTo>
                        <a:pt x="50" y="14"/>
                      </a:lnTo>
                      <a:lnTo>
                        <a:pt x="52" y="17"/>
                      </a:lnTo>
                      <a:lnTo>
                        <a:pt x="52" y="19"/>
                      </a:lnTo>
                      <a:lnTo>
                        <a:pt x="48" y="17"/>
                      </a:lnTo>
                      <a:lnTo>
                        <a:pt x="41" y="19"/>
                      </a:lnTo>
                      <a:lnTo>
                        <a:pt x="36" y="19"/>
                      </a:lnTo>
                      <a:lnTo>
                        <a:pt x="29" y="12"/>
                      </a:lnTo>
                      <a:lnTo>
                        <a:pt x="19" y="7"/>
                      </a:lnTo>
                      <a:lnTo>
                        <a:pt x="12" y="7"/>
                      </a:lnTo>
                      <a:lnTo>
                        <a:pt x="8" y="7"/>
                      </a:lnTo>
                      <a:lnTo>
                        <a:pt x="0" y="14"/>
                      </a:lnTo>
                      <a:lnTo>
                        <a:pt x="0" y="14"/>
                      </a:lnTo>
                      <a:lnTo>
                        <a:pt x="3" y="17"/>
                      </a:lnTo>
                      <a:lnTo>
                        <a:pt x="3" y="17"/>
                      </a:lnTo>
                      <a:lnTo>
                        <a:pt x="5" y="19"/>
                      </a:lnTo>
                      <a:lnTo>
                        <a:pt x="5" y="22"/>
                      </a:lnTo>
                      <a:lnTo>
                        <a:pt x="8" y="24"/>
                      </a:lnTo>
                      <a:lnTo>
                        <a:pt x="8" y="26"/>
                      </a:lnTo>
                      <a:lnTo>
                        <a:pt x="5" y="29"/>
                      </a:lnTo>
                      <a:lnTo>
                        <a:pt x="8" y="36"/>
                      </a:lnTo>
                      <a:lnTo>
                        <a:pt x="8" y="36"/>
                      </a:lnTo>
                      <a:lnTo>
                        <a:pt x="8" y="38"/>
                      </a:lnTo>
                      <a:lnTo>
                        <a:pt x="12" y="41"/>
                      </a:lnTo>
                      <a:lnTo>
                        <a:pt x="12" y="41"/>
                      </a:lnTo>
                      <a:lnTo>
                        <a:pt x="10" y="38"/>
                      </a:lnTo>
                      <a:lnTo>
                        <a:pt x="12" y="38"/>
                      </a:lnTo>
                      <a:lnTo>
                        <a:pt x="15" y="38"/>
                      </a:lnTo>
                      <a:lnTo>
                        <a:pt x="17" y="38"/>
                      </a:lnTo>
                      <a:lnTo>
                        <a:pt x="17" y="38"/>
                      </a:lnTo>
                      <a:lnTo>
                        <a:pt x="17" y="41"/>
                      </a:lnTo>
                      <a:lnTo>
                        <a:pt x="17" y="43"/>
                      </a:lnTo>
                      <a:lnTo>
                        <a:pt x="19" y="43"/>
                      </a:lnTo>
                      <a:lnTo>
                        <a:pt x="19" y="43"/>
                      </a:lnTo>
                      <a:lnTo>
                        <a:pt x="19" y="45"/>
                      </a:lnTo>
                      <a:lnTo>
                        <a:pt x="17" y="43"/>
                      </a:lnTo>
                      <a:lnTo>
                        <a:pt x="17" y="45"/>
                      </a:lnTo>
                      <a:lnTo>
                        <a:pt x="15" y="43"/>
                      </a:lnTo>
                      <a:lnTo>
                        <a:pt x="15" y="45"/>
                      </a:lnTo>
                      <a:lnTo>
                        <a:pt x="15" y="48"/>
                      </a:lnTo>
                      <a:lnTo>
                        <a:pt x="15" y="48"/>
                      </a:lnTo>
                      <a:lnTo>
                        <a:pt x="15" y="45"/>
                      </a:lnTo>
                      <a:lnTo>
                        <a:pt x="17" y="45"/>
                      </a:lnTo>
                      <a:lnTo>
                        <a:pt x="17" y="48"/>
                      </a:lnTo>
                      <a:lnTo>
                        <a:pt x="19" y="48"/>
                      </a:lnTo>
                      <a:lnTo>
                        <a:pt x="19" y="48"/>
                      </a:lnTo>
                      <a:lnTo>
                        <a:pt x="22" y="50"/>
                      </a:lnTo>
                      <a:lnTo>
                        <a:pt x="24" y="52"/>
                      </a:lnTo>
                      <a:lnTo>
                        <a:pt x="24" y="55"/>
                      </a:lnTo>
                      <a:lnTo>
                        <a:pt x="24" y="57"/>
                      </a:lnTo>
                      <a:lnTo>
                        <a:pt x="24" y="62"/>
                      </a:lnTo>
                      <a:lnTo>
                        <a:pt x="24" y="67"/>
                      </a:lnTo>
                      <a:lnTo>
                        <a:pt x="26" y="71"/>
                      </a:lnTo>
                      <a:lnTo>
                        <a:pt x="29" y="69"/>
                      </a:lnTo>
                      <a:lnTo>
                        <a:pt x="34" y="69"/>
                      </a:lnTo>
                      <a:lnTo>
                        <a:pt x="36" y="67"/>
                      </a:lnTo>
                      <a:lnTo>
                        <a:pt x="38" y="64"/>
                      </a:lnTo>
                      <a:lnTo>
                        <a:pt x="38" y="64"/>
                      </a:lnTo>
                      <a:lnTo>
                        <a:pt x="43" y="62"/>
                      </a:lnTo>
                      <a:lnTo>
                        <a:pt x="48" y="60"/>
                      </a:lnTo>
                      <a:lnTo>
                        <a:pt x="52" y="62"/>
                      </a:lnTo>
                      <a:lnTo>
                        <a:pt x="52" y="60"/>
                      </a:lnTo>
                      <a:lnTo>
                        <a:pt x="55" y="57"/>
                      </a:lnTo>
                      <a:lnTo>
                        <a:pt x="57" y="60"/>
                      </a:lnTo>
                      <a:lnTo>
                        <a:pt x="60" y="60"/>
                      </a:lnTo>
                      <a:lnTo>
                        <a:pt x="64" y="62"/>
                      </a:lnTo>
                      <a:lnTo>
                        <a:pt x="69" y="62"/>
                      </a:lnTo>
                      <a:lnTo>
                        <a:pt x="74" y="67"/>
                      </a:lnTo>
                      <a:lnTo>
                        <a:pt x="76" y="67"/>
                      </a:lnTo>
                      <a:lnTo>
                        <a:pt x="78" y="64"/>
                      </a:lnTo>
                      <a:lnTo>
                        <a:pt x="83" y="67"/>
                      </a:lnTo>
                      <a:lnTo>
                        <a:pt x="86" y="67"/>
                      </a:lnTo>
                      <a:lnTo>
                        <a:pt x="86" y="71"/>
                      </a:lnTo>
                      <a:lnTo>
                        <a:pt x="88" y="71"/>
                      </a:lnTo>
                      <a:lnTo>
                        <a:pt x="90" y="71"/>
                      </a:lnTo>
                      <a:lnTo>
                        <a:pt x="93" y="71"/>
                      </a:lnTo>
                      <a:lnTo>
                        <a:pt x="97" y="76"/>
                      </a:lnTo>
                      <a:lnTo>
                        <a:pt x="102" y="78"/>
                      </a:lnTo>
                      <a:lnTo>
                        <a:pt x="107" y="78"/>
                      </a:lnTo>
                      <a:lnTo>
                        <a:pt x="107" y="81"/>
                      </a:lnTo>
                      <a:lnTo>
                        <a:pt x="107" y="83"/>
                      </a:lnTo>
                      <a:lnTo>
                        <a:pt x="107" y="86"/>
                      </a:lnTo>
                      <a:lnTo>
                        <a:pt x="107" y="88"/>
                      </a:lnTo>
                      <a:lnTo>
                        <a:pt x="109" y="88"/>
                      </a:lnTo>
                      <a:lnTo>
                        <a:pt x="109" y="88"/>
                      </a:lnTo>
                      <a:lnTo>
                        <a:pt x="112" y="88"/>
                      </a:lnTo>
                      <a:lnTo>
                        <a:pt x="114" y="90"/>
                      </a:lnTo>
                      <a:lnTo>
                        <a:pt x="116" y="90"/>
                      </a:lnTo>
                      <a:lnTo>
                        <a:pt x="116" y="88"/>
                      </a:lnTo>
                      <a:lnTo>
                        <a:pt x="119" y="88"/>
                      </a:lnTo>
                      <a:lnTo>
                        <a:pt x="121" y="90"/>
                      </a:lnTo>
                      <a:lnTo>
                        <a:pt x="123" y="93"/>
                      </a:lnTo>
                      <a:lnTo>
                        <a:pt x="123" y="93"/>
                      </a:lnTo>
                      <a:lnTo>
                        <a:pt x="126" y="93"/>
                      </a:lnTo>
                      <a:lnTo>
                        <a:pt x="128" y="90"/>
                      </a:lnTo>
                      <a:lnTo>
                        <a:pt x="131" y="90"/>
                      </a:lnTo>
                      <a:lnTo>
                        <a:pt x="131" y="88"/>
                      </a:lnTo>
                      <a:lnTo>
                        <a:pt x="131" y="88"/>
                      </a:lnTo>
                      <a:lnTo>
                        <a:pt x="131" y="86"/>
                      </a:lnTo>
                      <a:lnTo>
                        <a:pt x="135" y="83"/>
                      </a:lnTo>
                      <a:lnTo>
                        <a:pt x="138" y="83"/>
                      </a:lnTo>
                      <a:lnTo>
                        <a:pt x="140" y="83"/>
                      </a:lnTo>
                      <a:lnTo>
                        <a:pt x="140" y="81"/>
                      </a:lnTo>
                      <a:lnTo>
                        <a:pt x="142" y="81"/>
                      </a:lnTo>
                      <a:lnTo>
                        <a:pt x="142" y="78"/>
                      </a:lnTo>
                      <a:lnTo>
                        <a:pt x="142" y="76"/>
                      </a:lnTo>
                      <a:lnTo>
                        <a:pt x="147" y="74"/>
                      </a:lnTo>
                      <a:lnTo>
                        <a:pt x="147" y="71"/>
                      </a:lnTo>
                      <a:lnTo>
                        <a:pt x="145" y="69"/>
                      </a:lnTo>
                      <a:lnTo>
                        <a:pt x="145" y="69"/>
                      </a:lnTo>
                      <a:lnTo>
                        <a:pt x="147" y="69"/>
                      </a:lnTo>
                      <a:lnTo>
                        <a:pt x="147" y="67"/>
                      </a:lnTo>
                      <a:lnTo>
                        <a:pt x="149" y="67"/>
                      </a:lnTo>
                      <a:lnTo>
                        <a:pt x="152" y="67"/>
                      </a:lnTo>
                      <a:lnTo>
                        <a:pt x="154" y="64"/>
                      </a:lnTo>
                      <a:lnTo>
                        <a:pt x="157" y="64"/>
                      </a:lnTo>
                      <a:lnTo>
                        <a:pt x="159" y="64"/>
                      </a:lnTo>
                      <a:lnTo>
                        <a:pt x="161" y="64"/>
                      </a:lnTo>
                      <a:lnTo>
                        <a:pt x="164" y="64"/>
                      </a:lnTo>
                      <a:lnTo>
                        <a:pt x="164" y="64"/>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Freeform 20">
                  <a:extLst>
                    <a:ext uri="{FF2B5EF4-FFF2-40B4-BE49-F238E27FC236}">
                      <a16:creationId xmlns:a16="http://schemas.microsoft.com/office/drawing/2014/main" id="{21ECFCF8-6F28-937A-0E16-30DB80B567BD}"/>
                    </a:ext>
                  </a:extLst>
                </p:cNvPr>
                <p:cNvSpPr>
                  <a:spLocks noEditPoints="1"/>
                </p:cNvSpPr>
                <p:nvPr/>
              </p:nvSpPr>
              <p:spPr bwMode="auto">
                <a:xfrm>
                  <a:off x="4656" y="2690"/>
                  <a:ext cx="33" cy="26"/>
                </a:xfrm>
                <a:custGeom>
                  <a:avLst/>
                  <a:gdLst>
                    <a:gd name="T0" fmla="*/ 14 w 33"/>
                    <a:gd name="T1" fmla="*/ 9 h 26"/>
                    <a:gd name="T2" fmla="*/ 16 w 33"/>
                    <a:gd name="T3" fmla="*/ 7 h 26"/>
                    <a:gd name="T4" fmla="*/ 19 w 33"/>
                    <a:gd name="T5" fmla="*/ 7 h 26"/>
                    <a:gd name="T6" fmla="*/ 21 w 33"/>
                    <a:gd name="T7" fmla="*/ 4 h 26"/>
                    <a:gd name="T8" fmla="*/ 23 w 33"/>
                    <a:gd name="T9" fmla="*/ 7 h 26"/>
                    <a:gd name="T10" fmla="*/ 28 w 33"/>
                    <a:gd name="T11" fmla="*/ 2 h 26"/>
                    <a:gd name="T12" fmla="*/ 28 w 33"/>
                    <a:gd name="T13" fmla="*/ 2 h 26"/>
                    <a:gd name="T14" fmla="*/ 33 w 33"/>
                    <a:gd name="T15" fmla="*/ 0 h 26"/>
                    <a:gd name="T16" fmla="*/ 33 w 33"/>
                    <a:gd name="T17" fmla="*/ 2 h 26"/>
                    <a:gd name="T18" fmla="*/ 30 w 33"/>
                    <a:gd name="T19" fmla="*/ 4 h 26"/>
                    <a:gd name="T20" fmla="*/ 30 w 33"/>
                    <a:gd name="T21" fmla="*/ 4 h 26"/>
                    <a:gd name="T22" fmla="*/ 28 w 33"/>
                    <a:gd name="T23" fmla="*/ 9 h 26"/>
                    <a:gd name="T24" fmla="*/ 30 w 33"/>
                    <a:gd name="T25" fmla="*/ 9 h 26"/>
                    <a:gd name="T26" fmla="*/ 30 w 33"/>
                    <a:gd name="T27" fmla="*/ 7 h 26"/>
                    <a:gd name="T28" fmla="*/ 33 w 33"/>
                    <a:gd name="T29" fmla="*/ 7 h 26"/>
                    <a:gd name="T30" fmla="*/ 30 w 33"/>
                    <a:gd name="T31" fmla="*/ 9 h 26"/>
                    <a:gd name="T32" fmla="*/ 26 w 33"/>
                    <a:gd name="T33" fmla="*/ 12 h 26"/>
                    <a:gd name="T34" fmla="*/ 26 w 33"/>
                    <a:gd name="T35" fmla="*/ 9 h 26"/>
                    <a:gd name="T36" fmla="*/ 23 w 33"/>
                    <a:gd name="T37" fmla="*/ 9 h 26"/>
                    <a:gd name="T38" fmla="*/ 21 w 33"/>
                    <a:gd name="T39" fmla="*/ 9 h 26"/>
                    <a:gd name="T40" fmla="*/ 19 w 33"/>
                    <a:gd name="T41" fmla="*/ 9 h 26"/>
                    <a:gd name="T42" fmla="*/ 19 w 33"/>
                    <a:gd name="T43" fmla="*/ 12 h 26"/>
                    <a:gd name="T44" fmla="*/ 14 w 33"/>
                    <a:gd name="T45" fmla="*/ 9 h 26"/>
                    <a:gd name="T46" fmla="*/ 14 w 33"/>
                    <a:gd name="T47" fmla="*/ 9 h 26"/>
                    <a:gd name="T48" fmla="*/ 2 w 33"/>
                    <a:gd name="T49" fmla="*/ 19 h 26"/>
                    <a:gd name="T50" fmla="*/ 7 w 33"/>
                    <a:gd name="T51" fmla="*/ 16 h 26"/>
                    <a:gd name="T52" fmla="*/ 11 w 33"/>
                    <a:gd name="T53" fmla="*/ 14 h 26"/>
                    <a:gd name="T54" fmla="*/ 14 w 33"/>
                    <a:gd name="T55" fmla="*/ 19 h 26"/>
                    <a:gd name="T56" fmla="*/ 16 w 33"/>
                    <a:gd name="T57" fmla="*/ 23 h 26"/>
                    <a:gd name="T58" fmla="*/ 14 w 33"/>
                    <a:gd name="T59" fmla="*/ 26 h 26"/>
                    <a:gd name="T60" fmla="*/ 9 w 33"/>
                    <a:gd name="T61" fmla="*/ 26 h 26"/>
                    <a:gd name="T62" fmla="*/ 9 w 33"/>
                    <a:gd name="T63" fmla="*/ 26 h 26"/>
                    <a:gd name="T64" fmla="*/ 2 w 33"/>
                    <a:gd name="T65" fmla="*/ 26 h 26"/>
                    <a:gd name="T66" fmla="*/ 0 w 33"/>
                    <a:gd name="T67" fmla="*/ 23 h 26"/>
                    <a:gd name="T68" fmla="*/ 0 w 33"/>
                    <a:gd name="T69" fmla="*/ 21 h 26"/>
                    <a:gd name="T70" fmla="*/ 2 w 33"/>
                    <a:gd name="T71" fmla="*/ 21 h 26"/>
                    <a:gd name="T72" fmla="*/ 2 w 33"/>
                    <a:gd name="T73" fmla="*/ 19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3" h="26">
                      <a:moveTo>
                        <a:pt x="14" y="9"/>
                      </a:moveTo>
                      <a:lnTo>
                        <a:pt x="16" y="7"/>
                      </a:lnTo>
                      <a:lnTo>
                        <a:pt x="19" y="7"/>
                      </a:lnTo>
                      <a:lnTo>
                        <a:pt x="21" y="4"/>
                      </a:lnTo>
                      <a:lnTo>
                        <a:pt x="23" y="7"/>
                      </a:lnTo>
                      <a:lnTo>
                        <a:pt x="28" y="2"/>
                      </a:lnTo>
                      <a:lnTo>
                        <a:pt x="28" y="2"/>
                      </a:lnTo>
                      <a:lnTo>
                        <a:pt x="33" y="0"/>
                      </a:lnTo>
                      <a:lnTo>
                        <a:pt x="33" y="2"/>
                      </a:lnTo>
                      <a:lnTo>
                        <a:pt x="30" y="4"/>
                      </a:lnTo>
                      <a:lnTo>
                        <a:pt x="30" y="4"/>
                      </a:lnTo>
                      <a:lnTo>
                        <a:pt x="28" y="9"/>
                      </a:lnTo>
                      <a:lnTo>
                        <a:pt x="30" y="9"/>
                      </a:lnTo>
                      <a:lnTo>
                        <a:pt x="30" y="7"/>
                      </a:lnTo>
                      <a:lnTo>
                        <a:pt x="33" y="7"/>
                      </a:lnTo>
                      <a:lnTo>
                        <a:pt x="30" y="9"/>
                      </a:lnTo>
                      <a:lnTo>
                        <a:pt x="26" y="12"/>
                      </a:lnTo>
                      <a:lnTo>
                        <a:pt x="26" y="9"/>
                      </a:lnTo>
                      <a:lnTo>
                        <a:pt x="23" y="9"/>
                      </a:lnTo>
                      <a:lnTo>
                        <a:pt x="21" y="9"/>
                      </a:lnTo>
                      <a:lnTo>
                        <a:pt x="19" y="9"/>
                      </a:lnTo>
                      <a:lnTo>
                        <a:pt x="19" y="12"/>
                      </a:lnTo>
                      <a:lnTo>
                        <a:pt x="14" y="9"/>
                      </a:lnTo>
                      <a:lnTo>
                        <a:pt x="14" y="9"/>
                      </a:lnTo>
                      <a:close/>
                      <a:moveTo>
                        <a:pt x="2" y="19"/>
                      </a:moveTo>
                      <a:lnTo>
                        <a:pt x="7" y="16"/>
                      </a:lnTo>
                      <a:lnTo>
                        <a:pt x="11" y="14"/>
                      </a:lnTo>
                      <a:lnTo>
                        <a:pt x="14" y="19"/>
                      </a:lnTo>
                      <a:lnTo>
                        <a:pt x="16" y="23"/>
                      </a:lnTo>
                      <a:lnTo>
                        <a:pt x="14" y="26"/>
                      </a:lnTo>
                      <a:lnTo>
                        <a:pt x="9" y="26"/>
                      </a:lnTo>
                      <a:lnTo>
                        <a:pt x="9" y="26"/>
                      </a:lnTo>
                      <a:lnTo>
                        <a:pt x="2" y="26"/>
                      </a:lnTo>
                      <a:lnTo>
                        <a:pt x="0" y="23"/>
                      </a:lnTo>
                      <a:lnTo>
                        <a:pt x="0" y="21"/>
                      </a:lnTo>
                      <a:lnTo>
                        <a:pt x="2" y="21"/>
                      </a:lnTo>
                      <a:lnTo>
                        <a:pt x="2" y="19"/>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Freeform 21">
                  <a:extLst>
                    <a:ext uri="{FF2B5EF4-FFF2-40B4-BE49-F238E27FC236}">
                      <a16:creationId xmlns:a16="http://schemas.microsoft.com/office/drawing/2014/main" id="{AD26A426-D933-7564-A049-3943AA7DA222}"/>
                    </a:ext>
                  </a:extLst>
                </p:cNvPr>
                <p:cNvSpPr>
                  <a:spLocks noEditPoints="1"/>
                </p:cNvSpPr>
                <p:nvPr/>
              </p:nvSpPr>
              <p:spPr bwMode="auto">
                <a:xfrm>
                  <a:off x="4537" y="2766"/>
                  <a:ext cx="26" cy="59"/>
                </a:xfrm>
                <a:custGeom>
                  <a:avLst/>
                  <a:gdLst>
                    <a:gd name="T0" fmla="*/ 11 w 11"/>
                    <a:gd name="T1" fmla="*/ 25 h 25"/>
                    <a:gd name="T2" fmla="*/ 11 w 11"/>
                    <a:gd name="T3" fmla="*/ 25 h 25"/>
                    <a:gd name="T4" fmla="*/ 10 w 11"/>
                    <a:gd name="T5" fmla="*/ 20 h 25"/>
                    <a:gd name="T6" fmla="*/ 11 w 11"/>
                    <a:gd name="T7" fmla="*/ 22 h 25"/>
                    <a:gd name="T8" fmla="*/ 10 w 11"/>
                    <a:gd name="T9" fmla="*/ 20 h 25"/>
                    <a:gd name="T10" fmla="*/ 7 w 11"/>
                    <a:gd name="T11" fmla="*/ 15 h 25"/>
                    <a:gd name="T12" fmla="*/ 8 w 11"/>
                    <a:gd name="T13" fmla="*/ 15 h 25"/>
                    <a:gd name="T14" fmla="*/ 8 w 11"/>
                    <a:gd name="T15" fmla="*/ 16 h 25"/>
                    <a:gd name="T16" fmla="*/ 7 w 11"/>
                    <a:gd name="T17" fmla="*/ 15 h 25"/>
                    <a:gd name="T18" fmla="*/ 8 w 11"/>
                    <a:gd name="T19" fmla="*/ 2 h 25"/>
                    <a:gd name="T20" fmla="*/ 8 w 11"/>
                    <a:gd name="T21" fmla="*/ 2 h 25"/>
                    <a:gd name="T22" fmla="*/ 6 w 11"/>
                    <a:gd name="T23" fmla="*/ 4 h 25"/>
                    <a:gd name="T24" fmla="*/ 7 w 11"/>
                    <a:gd name="T25" fmla="*/ 3 h 25"/>
                    <a:gd name="T26" fmla="*/ 6 w 11"/>
                    <a:gd name="T27" fmla="*/ 3 h 25"/>
                    <a:gd name="T28" fmla="*/ 8 w 11"/>
                    <a:gd name="T29" fmla="*/ 4 h 25"/>
                    <a:gd name="T30" fmla="*/ 8 w 11"/>
                    <a:gd name="T31" fmla="*/ 6 h 25"/>
                    <a:gd name="T32" fmla="*/ 8 w 11"/>
                    <a:gd name="T33" fmla="*/ 6 h 25"/>
                    <a:gd name="T34" fmla="*/ 8 w 11"/>
                    <a:gd name="T35" fmla="*/ 4 h 25"/>
                    <a:gd name="T36" fmla="*/ 7 w 11"/>
                    <a:gd name="T37" fmla="*/ 10 h 25"/>
                    <a:gd name="T38" fmla="*/ 8 w 11"/>
                    <a:gd name="T39" fmla="*/ 11 h 25"/>
                    <a:gd name="T40" fmla="*/ 7 w 11"/>
                    <a:gd name="T41" fmla="*/ 11 h 25"/>
                    <a:gd name="T42" fmla="*/ 7 w 11"/>
                    <a:gd name="T43" fmla="*/ 7 h 25"/>
                    <a:gd name="T44" fmla="*/ 8 w 11"/>
                    <a:gd name="T45" fmla="*/ 8 h 25"/>
                    <a:gd name="T46" fmla="*/ 8 w 11"/>
                    <a:gd name="T47" fmla="*/ 9 h 25"/>
                    <a:gd name="T48" fmla="*/ 7 w 11"/>
                    <a:gd name="T49" fmla="*/ 9 h 25"/>
                    <a:gd name="T50" fmla="*/ 6 w 11"/>
                    <a:gd name="T51" fmla="*/ 8 h 25"/>
                    <a:gd name="T52" fmla="*/ 4 w 11"/>
                    <a:gd name="T53" fmla="*/ 6 h 25"/>
                    <a:gd name="T54" fmla="*/ 4 w 11"/>
                    <a:gd name="T55" fmla="*/ 7 h 25"/>
                    <a:gd name="T56" fmla="*/ 6 w 11"/>
                    <a:gd name="T57" fmla="*/ 9 h 25"/>
                    <a:gd name="T58" fmla="*/ 4 w 11"/>
                    <a:gd name="T59" fmla="*/ 10 h 25"/>
                    <a:gd name="T60" fmla="*/ 4 w 11"/>
                    <a:gd name="T61" fmla="*/ 8 h 25"/>
                    <a:gd name="T62" fmla="*/ 3 w 11"/>
                    <a:gd name="T63" fmla="*/ 7 h 25"/>
                    <a:gd name="T64" fmla="*/ 3 w 11"/>
                    <a:gd name="T65" fmla="*/ 7 h 25"/>
                    <a:gd name="T66" fmla="*/ 1 w 11"/>
                    <a:gd name="T67" fmla="*/ 0 h 25"/>
                    <a:gd name="T68" fmla="*/ 0 w 11"/>
                    <a:gd name="T69" fmla="*/ 3 h 25"/>
                    <a:gd name="T70" fmla="*/ 1 w 11"/>
                    <a:gd name="T71" fmla="*/ 5 h 25"/>
                    <a:gd name="T72" fmla="*/ 2 w 11"/>
                    <a:gd name="T73" fmla="*/ 4 h 25"/>
                    <a:gd name="T74" fmla="*/ 3 w 11"/>
                    <a:gd name="T75" fmla="*/ 4 h 25"/>
                    <a:gd name="T76" fmla="*/ 3 w 11"/>
                    <a:gd name="T77" fmla="*/ 2 h 25"/>
                    <a:gd name="T78" fmla="*/ 3 w 11"/>
                    <a:gd name="T79" fmla="*/ 1 h 25"/>
                    <a:gd name="T80" fmla="*/ 2 w 11"/>
                    <a:gd name="T81" fmla="*/ 2 h 25"/>
                    <a:gd name="T82" fmla="*/ 1 w 11"/>
                    <a:gd name="T83" fmla="*/ 2 h 25"/>
                    <a:gd name="T84" fmla="*/ 1 w 11"/>
                    <a:gd name="T85"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1" h="25">
                      <a:moveTo>
                        <a:pt x="11" y="24"/>
                      </a:moveTo>
                      <a:cubicBezTo>
                        <a:pt x="11" y="25"/>
                        <a:pt x="11" y="25"/>
                        <a:pt x="11" y="25"/>
                      </a:cubicBezTo>
                      <a:cubicBezTo>
                        <a:pt x="11" y="25"/>
                        <a:pt x="11" y="25"/>
                        <a:pt x="11" y="25"/>
                      </a:cubicBezTo>
                      <a:cubicBezTo>
                        <a:pt x="11" y="25"/>
                        <a:pt x="11" y="25"/>
                        <a:pt x="11" y="25"/>
                      </a:cubicBezTo>
                      <a:cubicBezTo>
                        <a:pt x="11" y="24"/>
                        <a:pt x="11" y="24"/>
                        <a:pt x="11" y="24"/>
                      </a:cubicBezTo>
                      <a:close/>
                      <a:moveTo>
                        <a:pt x="10" y="20"/>
                      </a:moveTo>
                      <a:cubicBezTo>
                        <a:pt x="11" y="21"/>
                        <a:pt x="11" y="21"/>
                        <a:pt x="11" y="21"/>
                      </a:cubicBezTo>
                      <a:cubicBezTo>
                        <a:pt x="11" y="22"/>
                        <a:pt x="11" y="22"/>
                        <a:pt x="11" y="22"/>
                      </a:cubicBezTo>
                      <a:cubicBezTo>
                        <a:pt x="10" y="21"/>
                        <a:pt x="10" y="21"/>
                        <a:pt x="10" y="21"/>
                      </a:cubicBezTo>
                      <a:cubicBezTo>
                        <a:pt x="10" y="20"/>
                        <a:pt x="10" y="20"/>
                        <a:pt x="10" y="20"/>
                      </a:cubicBezTo>
                      <a:cubicBezTo>
                        <a:pt x="10" y="20"/>
                        <a:pt x="10" y="20"/>
                        <a:pt x="10" y="20"/>
                      </a:cubicBezTo>
                      <a:close/>
                      <a:moveTo>
                        <a:pt x="7" y="15"/>
                      </a:moveTo>
                      <a:cubicBezTo>
                        <a:pt x="8" y="14"/>
                        <a:pt x="8" y="14"/>
                        <a:pt x="8" y="14"/>
                      </a:cubicBezTo>
                      <a:cubicBezTo>
                        <a:pt x="8" y="15"/>
                        <a:pt x="8" y="15"/>
                        <a:pt x="8" y="15"/>
                      </a:cubicBezTo>
                      <a:cubicBezTo>
                        <a:pt x="8" y="16"/>
                        <a:pt x="8" y="16"/>
                        <a:pt x="8" y="16"/>
                      </a:cubicBezTo>
                      <a:cubicBezTo>
                        <a:pt x="8" y="16"/>
                        <a:pt x="8" y="16"/>
                        <a:pt x="8" y="16"/>
                      </a:cubicBezTo>
                      <a:cubicBezTo>
                        <a:pt x="7" y="15"/>
                        <a:pt x="7" y="15"/>
                        <a:pt x="7" y="15"/>
                      </a:cubicBezTo>
                      <a:cubicBezTo>
                        <a:pt x="7" y="15"/>
                        <a:pt x="7" y="15"/>
                        <a:pt x="7" y="15"/>
                      </a:cubicBezTo>
                      <a:close/>
                      <a:moveTo>
                        <a:pt x="8" y="1"/>
                      </a:moveTo>
                      <a:cubicBezTo>
                        <a:pt x="8" y="2"/>
                        <a:pt x="8" y="2"/>
                        <a:pt x="8" y="2"/>
                      </a:cubicBezTo>
                      <a:cubicBezTo>
                        <a:pt x="8" y="3"/>
                        <a:pt x="8" y="3"/>
                        <a:pt x="8" y="3"/>
                      </a:cubicBezTo>
                      <a:cubicBezTo>
                        <a:pt x="8" y="2"/>
                        <a:pt x="8" y="2"/>
                        <a:pt x="8" y="2"/>
                      </a:cubicBezTo>
                      <a:cubicBezTo>
                        <a:pt x="8" y="1"/>
                        <a:pt x="8" y="1"/>
                        <a:pt x="8" y="1"/>
                      </a:cubicBezTo>
                      <a:close/>
                      <a:moveTo>
                        <a:pt x="6" y="4"/>
                      </a:moveTo>
                      <a:cubicBezTo>
                        <a:pt x="6" y="4"/>
                        <a:pt x="6" y="4"/>
                        <a:pt x="6" y="4"/>
                      </a:cubicBezTo>
                      <a:cubicBezTo>
                        <a:pt x="7" y="3"/>
                        <a:pt x="7" y="3"/>
                        <a:pt x="7" y="3"/>
                      </a:cubicBezTo>
                      <a:cubicBezTo>
                        <a:pt x="7" y="3"/>
                        <a:pt x="7" y="3"/>
                        <a:pt x="7" y="3"/>
                      </a:cubicBezTo>
                      <a:cubicBezTo>
                        <a:pt x="6" y="3"/>
                        <a:pt x="6" y="3"/>
                        <a:pt x="6" y="3"/>
                      </a:cubicBezTo>
                      <a:cubicBezTo>
                        <a:pt x="6" y="3"/>
                        <a:pt x="6" y="4"/>
                        <a:pt x="6" y="4"/>
                      </a:cubicBezTo>
                      <a:close/>
                      <a:moveTo>
                        <a:pt x="8" y="4"/>
                      </a:moveTo>
                      <a:cubicBezTo>
                        <a:pt x="8" y="5"/>
                        <a:pt x="8" y="5"/>
                        <a:pt x="8" y="5"/>
                      </a:cubicBezTo>
                      <a:cubicBezTo>
                        <a:pt x="8" y="6"/>
                        <a:pt x="8" y="6"/>
                        <a:pt x="8" y="6"/>
                      </a:cubicBezTo>
                      <a:cubicBezTo>
                        <a:pt x="8" y="6"/>
                        <a:pt x="8" y="6"/>
                        <a:pt x="8" y="6"/>
                      </a:cubicBezTo>
                      <a:cubicBezTo>
                        <a:pt x="8" y="6"/>
                        <a:pt x="8" y="6"/>
                        <a:pt x="8" y="6"/>
                      </a:cubicBezTo>
                      <a:cubicBezTo>
                        <a:pt x="8" y="5"/>
                        <a:pt x="8" y="5"/>
                        <a:pt x="8" y="5"/>
                      </a:cubicBezTo>
                      <a:cubicBezTo>
                        <a:pt x="8" y="5"/>
                        <a:pt x="8" y="4"/>
                        <a:pt x="8" y="4"/>
                      </a:cubicBezTo>
                      <a:close/>
                      <a:moveTo>
                        <a:pt x="7" y="11"/>
                      </a:moveTo>
                      <a:cubicBezTo>
                        <a:pt x="7" y="10"/>
                        <a:pt x="7" y="10"/>
                        <a:pt x="7" y="10"/>
                      </a:cubicBezTo>
                      <a:cubicBezTo>
                        <a:pt x="8" y="11"/>
                        <a:pt x="8" y="11"/>
                        <a:pt x="8" y="11"/>
                      </a:cubicBezTo>
                      <a:cubicBezTo>
                        <a:pt x="8" y="11"/>
                        <a:pt x="8" y="11"/>
                        <a:pt x="8" y="11"/>
                      </a:cubicBezTo>
                      <a:cubicBezTo>
                        <a:pt x="7" y="11"/>
                        <a:pt x="7" y="11"/>
                        <a:pt x="7" y="11"/>
                      </a:cubicBezTo>
                      <a:cubicBezTo>
                        <a:pt x="7" y="11"/>
                        <a:pt x="7" y="11"/>
                        <a:pt x="7" y="11"/>
                      </a:cubicBezTo>
                      <a:close/>
                      <a:moveTo>
                        <a:pt x="6" y="8"/>
                      </a:moveTo>
                      <a:cubicBezTo>
                        <a:pt x="7" y="7"/>
                        <a:pt x="7" y="7"/>
                        <a:pt x="7" y="7"/>
                      </a:cubicBezTo>
                      <a:cubicBezTo>
                        <a:pt x="8" y="8"/>
                        <a:pt x="8" y="8"/>
                        <a:pt x="8" y="8"/>
                      </a:cubicBezTo>
                      <a:cubicBezTo>
                        <a:pt x="8" y="8"/>
                        <a:pt x="8" y="8"/>
                        <a:pt x="8" y="8"/>
                      </a:cubicBezTo>
                      <a:cubicBezTo>
                        <a:pt x="8" y="9"/>
                        <a:pt x="8" y="9"/>
                        <a:pt x="8" y="9"/>
                      </a:cubicBezTo>
                      <a:cubicBezTo>
                        <a:pt x="8" y="9"/>
                        <a:pt x="8" y="9"/>
                        <a:pt x="8" y="9"/>
                      </a:cubicBezTo>
                      <a:cubicBezTo>
                        <a:pt x="7" y="9"/>
                        <a:pt x="7" y="9"/>
                        <a:pt x="7" y="9"/>
                      </a:cubicBezTo>
                      <a:cubicBezTo>
                        <a:pt x="7" y="9"/>
                        <a:pt x="7" y="9"/>
                        <a:pt x="7" y="9"/>
                      </a:cubicBezTo>
                      <a:cubicBezTo>
                        <a:pt x="6" y="9"/>
                        <a:pt x="6" y="9"/>
                        <a:pt x="6" y="9"/>
                      </a:cubicBezTo>
                      <a:cubicBezTo>
                        <a:pt x="6" y="8"/>
                        <a:pt x="6" y="8"/>
                        <a:pt x="6" y="8"/>
                      </a:cubicBezTo>
                      <a:close/>
                      <a:moveTo>
                        <a:pt x="3" y="6"/>
                      </a:moveTo>
                      <a:cubicBezTo>
                        <a:pt x="4" y="6"/>
                        <a:pt x="4" y="6"/>
                        <a:pt x="4" y="6"/>
                      </a:cubicBezTo>
                      <a:cubicBezTo>
                        <a:pt x="4" y="7"/>
                        <a:pt x="4" y="7"/>
                        <a:pt x="4" y="7"/>
                      </a:cubicBezTo>
                      <a:cubicBezTo>
                        <a:pt x="4" y="7"/>
                        <a:pt x="4" y="7"/>
                        <a:pt x="4" y="7"/>
                      </a:cubicBezTo>
                      <a:cubicBezTo>
                        <a:pt x="5" y="9"/>
                        <a:pt x="5" y="9"/>
                        <a:pt x="5" y="9"/>
                      </a:cubicBezTo>
                      <a:cubicBezTo>
                        <a:pt x="6" y="9"/>
                        <a:pt x="6" y="9"/>
                        <a:pt x="6" y="9"/>
                      </a:cubicBezTo>
                      <a:cubicBezTo>
                        <a:pt x="5" y="9"/>
                        <a:pt x="5" y="9"/>
                        <a:pt x="5" y="9"/>
                      </a:cubicBezTo>
                      <a:cubicBezTo>
                        <a:pt x="4" y="10"/>
                        <a:pt x="4" y="10"/>
                        <a:pt x="4" y="10"/>
                      </a:cubicBezTo>
                      <a:cubicBezTo>
                        <a:pt x="3" y="9"/>
                        <a:pt x="3" y="9"/>
                        <a:pt x="3" y="9"/>
                      </a:cubicBezTo>
                      <a:cubicBezTo>
                        <a:pt x="4" y="8"/>
                        <a:pt x="4" y="8"/>
                        <a:pt x="4" y="8"/>
                      </a:cubicBezTo>
                      <a:cubicBezTo>
                        <a:pt x="4" y="8"/>
                        <a:pt x="4" y="8"/>
                        <a:pt x="4" y="8"/>
                      </a:cubicBezTo>
                      <a:cubicBezTo>
                        <a:pt x="3" y="7"/>
                        <a:pt x="3" y="7"/>
                        <a:pt x="3" y="7"/>
                      </a:cubicBezTo>
                      <a:cubicBezTo>
                        <a:pt x="3" y="7"/>
                        <a:pt x="3" y="7"/>
                        <a:pt x="3" y="7"/>
                      </a:cubicBezTo>
                      <a:cubicBezTo>
                        <a:pt x="3" y="7"/>
                        <a:pt x="3" y="7"/>
                        <a:pt x="3" y="7"/>
                      </a:cubicBezTo>
                      <a:cubicBezTo>
                        <a:pt x="3" y="6"/>
                        <a:pt x="3" y="6"/>
                        <a:pt x="3" y="6"/>
                      </a:cubicBezTo>
                      <a:close/>
                      <a:moveTo>
                        <a:pt x="1" y="0"/>
                      </a:moveTo>
                      <a:cubicBezTo>
                        <a:pt x="0" y="2"/>
                        <a:pt x="0" y="2"/>
                        <a:pt x="0" y="2"/>
                      </a:cubicBezTo>
                      <a:cubicBezTo>
                        <a:pt x="0" y="3"/>
                        <a:pt x="0" y="3"/>
                        <a:pt x="0" y="3"/>
                      </a:cubicBezTo>
                      <a:cubicBezTo>
                        <a:pt x="0" y="4"/>
                        <a:pt x="0" y="4"/>
                        <a:pt x="0" y="4"/>
                      </a:cubicBezTo>
                      <a:cubicBezTo>
                        <a:pt x="1" y="5"/>
                        <a:pt x="1" y="5"/>
                        <a:pt x="1" y="5"/>
                      </a:cubicBezTo>
                      <a:cubicBezTo>
                        <a:pt x="2" y="5"/>
                        <a:pt x="2" y="5"/>
                        <a:pt x="2" y="5"/>
                      </a:cubicBezTo>
                      <a:cubicBezTo>
                        <a:pt x="2" y="4"/>
                        <a:pt x="2" y="4"/>
                        <a:pt x="2" y="4"/>
                      </a:cubicBezTo>
                      <a:cubicBezTo>
                        <a:pt x="3" y="4"/>
                        <a:pt x="3" y="4"/>
                        <a:pt x="3" y="4"/>
                      </a:cubicBezTo>
                      <a:cubicBezTo>
                        <a:pt x="3" y="4"/>
                        <a:pt x="3" y="4"/>
                        <a:pt x="3" y="4"/>
                      </a:cubicBezTo>
                      <a:cubicBezTo>
                        <a:pt x="3" y="3"/>
                        <a:pt x="3" y="3"/>
                        <a:pt x="3" y="3"/>
                      </a:cubicBezTo>
                      <a:cubicBezTo>
                        <a:pt x="3" y="2"/>
                        <a:pt x="3" y="2"/>
                        <a:pt x="3" y="2"/>
                      </a:cubicBezTo>
                      <a:cubicBezTo>
                        <a:pt x="3" y="2"/>
                        <a:pt x="3" y="2"/>
                        <a:pt x="3" y="2"/>
                      </a:cubicBezTo>
                      <a:cubicBezTo>
                        <a:pt x="3" y="1"/>
                        <a:pt x="3" y="1"/>
                        <a:pt x="3" y="1"/>
                      </a:cubicBezTo>
                      <a:cubicBezTo>
                        <a:pt x="2" y="1"/>
                        <a:pt x="2" y="1"/>
                        <a:pt x="2" y="1"/>
                      </a:cubicBezTo>
                      <a:cubicBezTo>
                        <a:pt x="2" y="2"/>
                        <a:pt x="2" y="2"/>
                        <a:pt x="2" y="2"/>
                      </a:cubicBezTo>
                      <a:cubicBezTo>
                        <a:pt x="2" y="2"/>
                        <a:pt x="2" y="2"/>
                        <a:pt x="2" y="2"/>
                      </a:cubicBezTo>
                      <a:cubicBezTo>
                        <a:pt x="1" y="2"/>
                        <a:pt x="1" y="2"/>
                        <a:pt x="1" y="2"/>
                      </a:cubicBezTo>
                      <a:cubicBezTo>
                        <a:pt x="1" y="0"/>
                        <a:pt x="1" y="0"/>
                        <a:pt x="1" y="0"/>
                      </a:cubicBezTo>
                      <a:cubicBezTo>
                        <a:pt x="1" y="0"/>
                        <a:pt x="1" y="0"/>
                        <a:pt x="1" y="0"/>
                      </a:cubicBez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Freeform 22">
                  <a:extLst>
                    <a:ext uri="{FF2B5EF4-FFF2-40B4-BE49-F238E27FC236}">
                      <a16:creationId xmlns:a16="http://schemas.microsoft.com/office/drawing/2014/main" id="{666C0D6D-9089-BC3D-05F4-C9D93318C364}"/>
                    </a:ext>
                  </a:extLst>
                </p:cNvPr>
                <p:cNvSpPr>
                  <a:spLocks noEditPoints="1"/>
                </p:cNvSpPr>
                <p:nvPr/>
              </p:nvSpPr>
              <p:spPr bwMode="auto">
                <a:xfrm>
                  <a:off x="4426" y="2671"/>
                  <a:ext cx="111" cy="59"/>
                </a:xfrm>
                <a:custGeom>
                  <a:avLst/>
                  <a:gdLst>
                    <a:gd name="T0" fmla="*/ 47 w 47"/>
                    <a:gd name="T1" fmla="*/ 20 h 25"/>
                    <a:gd name="T2" fmla="*/ 45 w 47"/>
                    <a:gd name="T3" fmla="*/ 21 h 25"/>
                    <a:gd name="T4" fmla="*/ 19 w 47"/>
                    <a:gd name="T5" fmla="*/ 24 h 25"/>
                    <a:gd name="T6" fmla="*/ 20 w 47"/>
                    <a:gd name="T7" fmla="*/ 25 h 25"/>
                    <a:gd name="T8" fmla="*/ 18 w 47"/>
                    <a:gd name="T9" fmla="*/ 25 h 25"/>
                    <a:gd name="T10" fmla="*/ 25 w 47"/>
                    <a:gd name="T11" fmla="*/ 18 h 25"/>
                    <a:gd name="T12" fmla="*/ 29 w 47"/>
                    <a:gd name="T13" fmla="*/ 20 h 25"/>
                    <a:gd name="T14" fmla="*/ 28 w 47"/>
                    <a:gd name="T15" fmla="*/ 21 h 25"/>
                    <a:gd name="T16" fmla="*/ 25 w 47"/>
                    <a:gd name="T17" fmla="*/ 19 h 25"/>
                    <a:gd name="T18" fmla="*/ 18 w 47"/>
                    <a:gd name="T19" fmla="*/ 14 h 25"/>
                    <a:gd name="T20" fmla="*/ 22 w 47"/>
                    <a:gd name="T21" fmla="*/ 15 h 25"/>
                    <a:gd name="T22" fmla="*/ 22 w 47"/>
                    <a:gd name="T23" fmla="*/ 17 h 25"/>
                    <a:gd name="T24" fmla="*/ 19 w 47"/>
                    <a:gd name="T25" fmla="*/ 16 h 25"/>
                    <a:gd name="T26" fmla="*/ 17 w 47"/>
                    <a:gd name="T27" fmla="*/ 14 h 25"/>
                    <a:gd name="T28" fmla="*/ 20 w 47"/>
                    <a:gd name="T29" fmla="*/ 12 h 25"/>
                    <a:gd name="T30" fmla="*/ 21 w 47"/>
                    <a:gd name="T31" fmla="*/ 12 h 25"/>
                    <a:gd name="T32" fmla="*/ 22 w 47"/>
                    <a:gd name="T33" fmla="*/ 10 h 25"/>
                    <a:gd name="T34" fmla="*/ 23 w 47"/>
                    <a:gd name="T35" fmla="*/ 13 h 25"/>
                    <a:gd name="T36" fmla="*/ 26 w 47"/>
                    <a:gd name="T37" fmla="*/ 15 h 25"/>
                    <a:gd name="T38" fmla="*/ 26 w 47"/>
                    <a:gd name="T39" fmla="*/ 14 h 25"/>
                    <a:gd name="T40" fmla="*/ 23 w 47"/>
                    <a:gd name="T41" fmla="*/ 11 h 25"/>
                    <a:gd name="T42" fmla="*/ 21 w 47"/>
                    <a:gd name="T43" fmla="*/ 9 h 25"/>
                    <a:gd name="T44" fmla="*/ 15 w 47"/>
                    <a:gd name="T45" fmla="*/ 7 h 25"/>
                    <a:gd name="T46" fmla="*/ 17 w 47"/>
                    <a:gd name="T47" fmla="*/ 9 h 25"/>
                    <a:gd name="T48" fmla="*/ 17 w 47"/>
                    <a:gd name="T49" fmla="*/ 10 h 25"/>
                    <a:gd name="T50" fmla="*/ 15 w 47"/>
                    <a:gd name="T51" fmla="*/ 8 h 25"/>
                    <a:gd name="T52" fmla="*/ 9 w 47"/>
                    <a:gd name="T53" fmla="*/ 10 h 25"/>
                    <a:gd name="T54" fmla="*/ 9 w 47"/>
                    <a:gd name="T55" fmla="*/ 11 h 25"/>
                    <a:gd name="T56" fmla="*/ 6 w 47"/>
                    <a:gd name="T57" fmla="*/ 10 h 25"/>
                    <a:gd name="T58" fmla="*/ 7 w 47"/>
                    <a:gd name="T59" fmla="*/ 10 h 25"/>
                    <a:gd name="T60" fmla="*/ 7 w 47"/>
                    <a:gd name="T61" fmla="*/ 9 h 25"/>
                    <a:gd name="T62" fmla="*/ 8 w 47"/>
                    <a:gd name="T63" fmla="*/ 10 h 25"/>
                    <a:gd name="T64" fmla="*/ 8 w 47"/>
                    <a:gd name="T65" fmla="*/ 9 h 25"/>
                    <a:gd name="T66" fmla="*/ 7 w 47"/>
                    <a:gd name="T67" fmla="*/ 7 h 25"/>
                    <a:gd name="T68" fmla="*/ 5 w 47"/>
                    <a:gd name="T69" fmla="*/ 7 h 25"/>
                    <a:gd name="T70" fmla="*/ 6 w 47"/>
                    <a:gd name="T71" fmla="*/ 8 h 25"/>
                    <a:gd name="T72" fmla="*/ 5 w 47"/>
                    <a:gd name="T73" fmla="*/ 7 h 25"/>
                    <a:gd name="T74" fmla="*/ 4 w 47"/>
                    <a:gd name="T75" fmla="*/ 7 h 25"/>
                    <a:gd name="T76" fmla="*/ 3 w 47"/>
                    <a:gd name="T77" fmla="*/ 6 h 25"/>
                    <a:gd name="T78" fmla="*/ 2 w 47"/>
                    <a:gd name="T79" fmla="*/ 1 h 25"/>
                    <a:gd name="T80" fmla="*/ 3 w 47"/>
                    <a:gd name="T81" fmla="*/ 1 h 25"/>
                    <a:gd name="T82" fmla="*/ 5 w 47"/>
                    <a:gd name="T83" fmla="*/ 4 h 25"/>
                    <a:gd name="T84" fmla="*/ 8 w 47"/>
                    <a:gd name="T85" fmla="*/ 5 h 25"/>
                    <a:gd name="T86" fmla="*/ 6 w 47"/>
                    <a:gd name="T87" fmla="*/ 3 h 25"/>
                    <a:gd name="T88" fmla="*/ 3 w 47"/>
                    <a:gd name="T89" fmla="*/ 2 h 25"/>
                    <a:gd name="T90" fmla="*/ 1 w 47"/>
                    <a:gd name="T91" fmla="*/ 2 h 25"/>
                    <a:gd name="T92" fmla="*/ 1 w 47"/>
                    <a:gd name="T93" fmla="*/ 2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7" h="25">
                      <a:moveTo>
                        <a:pt x="45" y="21"/>
                      </a:moveTo>
                      <a:cubicBezTo>
                        <a:pt x="46" y="20"/>
                        <a:pt x="46" y="20"/>
                        <a:pt x="46" y="20"/>
                      </a:cubicBezTo>
                      <a:cubicBezTo>
                        <a:pt x="47" y="20"/>
                        <a:pt x="47" y="20"/>
                        <a:pt x="47" y="20"/>
                      </a:cubicBezTo>
                      <a:cubicBezTo>
                        <a:pt x="47" y="21"/>
                        <a:pt x="47" y="21"/>
                        <a:pt x="47" y="21"/>
                      </a:cubicBezTo>
                      <a:cubicBezTo>
                        <a:pt x="46" y="21"/>
                        <a:pt x="46" y="21"/>
                        <a:pt x="46" y="21"/>
                      </a:cubicBezTo>
                      <a:cubicBezTo>
                        <a:pt x="45" y="21"/>
                        <a:pt x="45" y="21"/>
                        <a:pt x="45" y="21"/>
                      </a:cubicBezTo>
                      <a:cubicBezTo>
                        <a:pt x="45" y="21"/>
                        <a:pt x="45" y="21"/>
                        <a:pt x="45" y="21"/>
                      </a:cubicBezTo>
                      <a:close/>
                      <a:moveTo>
                        <a:pt x="18" y="24"/>
                      </a:moveTo>
                      <a:cubicBezTo>
                        <a:pt x="19" y="24"/>
                        <a:pt x="19" y="24"/>
                        <a:pt x="19" y="24"/>
                      </a:cubicBezTo>
                      <a:cubicBezTo>
                        <a:pt x="20" y="24"/>
                        <a:pt x="20" y="24"/>
                        <a:pt x="20" y="24"/>
                      </a:cubicBezTo>
                      <a:cubicBezTo>
                        <a:pt x="21" y="25"/>
                        <a:pt x="21" y="25"/>
                        <a:pt x="21" y="25"/>
                      </a:cubicBezTo>
                      <a:cubicBezTo>
                        <a:pt x="20" y="25"/>
                        <a:pt x="20" y="25"/>
                        <a:pt x="20" y="25"/>
                      </a:cubicBezTo>
                      <a:cubicBezTo>
                        <a:pt x="19" y="25"/>
                        <a:pt x="19" y="25"/>
                        <a:pt x="19" y="25"/>
                      </a:cubicBezTo>
                      <a:cubicBezTo>
                        <a:pt x="18" y="25"/>
                        <a:pt x="18" y="25"/>
                        <a:pt x="18" y="25"/>
                      </a:cubicBezTo>
                      <a:cubicBezTo>
                        <a:pt x="18" y="25"/>
                        <a:pt x="18" y="25"/>
                        <a:pt x="18" y="25"/>
                      </a:cubicBezTo>
                      <a:cubicBezTo>
                        <a:pt x="18" y="24"/>
                        <a:pt x="18" y="24"/>
                        <a:pt x="18" y="24"/>
                      </a:cubicBezTo>
                      <a:close/>
                      <a:moveTo>
                        <a:pt x="24" y="18"/>
                      </a:moveTo>
                      <a:cubicBezTo>
                        <a:pt x="25" y="18"/>
                        <a:pt x="25" y="18"/>
                        <a:pt x="25" y="18"/>
                      </a:cubicBezTo>
                      <a:cubicBezTo>
                        <a:pt x="26" y="19"/>
                        <a:pt x="26" y="19"/>
                        <a:pt x="26" y="19"/>
                      </a:cubicBezTo>
                      <a:cubicBezTo>
                        <a:pt x="28" y="20"/>
                        <a:pt x="28" y="20"/>
                        <a:pt x="28" y="20"/>
                      </a:cubicBezTo>
                      <a:cubicBezTo>
                        <a:pt x="29" y="20"/>
                        <a:pt x="29" y="20"/>
                        <a:pt x="29" y="20"/>
                      </a:cubicBezTo>
                      <a:cubicBezTo>
                        <a:pt x="29" y="21"/>
                        <a:pt x="29" y="21"/>
                        <a:pt x="29" y="21"/>
                      </a:cubicBezTo>
                      <a:cubicBezTo>
                        <a:pt x="29" y="21"/>
                        <a:pt x="29" y="21"/>
                        <a:pt x="29" y="21"/>
                      </a:cubicBezTo>
                      <a:cubicBezTo>
                        <a:pt x="28" y="21"/>
                        <a:pt x="28" y="21"/>
                        <a:pt x="28" y="21"/>
                      </a:cubicBezTo>
                      <a:cubicBezTo>
                        <a:pt x="26" y="21"/>
                        <a:pt x="26" y="21"/>
                        <a:pt x="26" y="21"/>
                      </a:cubicBezTo>
                      <a:cubicBezTo>
                        <a:pt x="25" y="20"/>
                        <a:pt x="25" y="20"/>
                        <a:pt x="25" y="20"/>
                      </a:cubicBezTo>
                      <a:cubicBezTo>
                        <a:pt x="25" y="19"/>
                        <a:pt x="25" y="19"/>
                        <a:pt x="25" y="19"/>
                      </a:cubicBezTo>
                      <a:cubicBezTo>
                        <a:pt x="24" y="18"/>
                        <a:pt x="24" y="18"/>
                        <a:pt x="24" y="18"/>
                      </a:cubicBezTo>
                      <a:close/>
                      <a:moveTo>
                        <a:pt x="18" y="13"/>
                      </a:moveTo>
                      <a:cubicBezTo>
                        <a:pt x="18" y="14"/>
                        <a:pt x="18" y="14"/>
                        <a:pt x="18" y="14"/>
                      </a:cubicBezTo>
                      <a:cubicBezTo>
                        <a:pt x="20" y="14"/>
                        <a:pt x="20" y="14"/>
                        <a:pt x="20" y="14"/>
                      </a:cubicBezTo>
                      <a:cubicBezTo>
                        <a:pt x="21" y="15"/>
                        <a:pt x="21" y="15"/>
                        <a:pt x="21" y="15"/>
                      </a:cubicBezTo>
                      <a:cubicBezTo>
                        <a:pt x="22" y="15"/>
                        <a:pt x="22" y="15"/>
                        <a:pt x="22" y="15"/>
                      </a:cubicBezTo>
                      <a:cubicBezTo>
                        <a:pt x="22" y="15"/>
                        <a:pt x="22" y="15"/>
                        <a:pt x="22" y="15"/>
                      </a:cubicBezTo>
                      <a:cubicBezTo>
                        <a:pt x="22" y="16"/>
                        <a:pt x="22" y="16"/>
                        <a:pt x="22" y="16"/>
                      </a:cubicBezTo>
                      <a:cubicBezTo>
                        <a:pt x="22" y="17"/>
                        <a:pt x="22" y="17"/>
                        <a:pt x="22" y="17"/>
                      </a:cubicBezTo>
                      <a:cubicBezTo>
                        <a:pt x="21" y="17"/>
                        <a:pt x="21" y="17"/>
                        <a:pt x="21" y="17"/>
                      </a:cubicBezTo>
                      <a:cubicBezTo>
                        <a:pt x="20" y="16"/>
                        <a:pt x="20" y="16"/>
                        <a:pt x="20" y="16"/>
                      </a:cubicBezTo>
                      <a:cubicBezTo>
                        <a:pt x="19" y="16"/>
                        <a:pt x="19" y="16"/>
                        <a:pt x="19" y="16"/>
                      </a:cubicBezTo>
                      <a:cubicBezTo>
                        <a:pt x="18" y="16"/>
                        <a:pt x="18" y="16"/>
                        <a:pt x="18" y="16"/>
                      </a:cubicBezTo>
                      <a:cubicBezTo>
                        <a:pt x="17" y="14"/>
                        <a:pt x="17" y="14"/>
                        <a:pt x="17" y="14"/>
                      </a:cubicBezTo>
                      <a:cubicBezTo>
                        <a:pt x="17" y="14"/>
                        <a:pt x="17" y="14"/>
                        <a:pt x="17" y="14"/>
                      </a:cubicBezTo>
                      <a:cubicBezTo>
                        <a:pt x="18" y="13"/>
                        <a:pt x="18" y="13"/>
                        <a:pt x="18" y="13"/>
                      </a:cubicBezTo>
                      <a:close/>
                      <a:moveTo>
                        <a:pt x="21" y="12"/>
                      </a:moveTo>
                      <a:cubicBezTo>
                        <a:pt x="20" y="12"/>
                        <a:pt x="20" y="12"/>
                        <a:pt x="20" y="12"/>
                      </a:cubicBezTo>
                      <a:cubicBezTo>
                        <a:pt x="20" y="13"/>
                        <a:pt x="20" y="13"/>
                        <a:pt x="20" y="13"/>
                      </a:cubicBezTo>
                      <a:cubicBezTo>
                        <a:pt x="21" y="13"/>
                        <a:pt x="21" y="13"/>
                        <a:pt x="21" y="13"/>
                      </a:cubicBezTo>
                      <a:cubicBezTo>
                        <a:pt x="21" y="12"/>
                        <a:pt x="21" y="12"/>
                        <a:pt x="21" y="12"/>
                      </a:cubicBezTo>
                      <a:close/>
                      <a:moveTo>
                        <a:pt x="21" y="9"/>
                      </a:moveTo>
                      <a:cubicBezTo>
                        <a:pt x="21" y="10"/>
                        <a:pt x="21" y="10"/>
                        <a:pt x="21" y="10"/>
                      </a:cubicBezTo>
                      <a:cubicBezTo>
                        <a:pt x="22" y="10"/>
                        <a:pt x="22" y="10"/>
                        <a:pt x="22" y="10"/>
                      </a:cubicBezTo>
                      <a:cubicBezTo>
                        <a:pt x="22" y="11"/>
                        <a:pt x="22" y="11"/>
                        <a:pt x="22" y="11"/>
                      </a:cubicBezTo>
                      <a:cubicBezTo>
                        <a:pt x="22" y="11"/>
                        <a:pt x="22" y="11"/>
                        <a:pt x="22" y="11"/>
                      </a:cubicBezTo>
                      <a:cubicBezTo>
                        <a:pt x="23" y="13"/>
                        <a:pt x="23" y="13"/>
                        <a:pt x="23" y="13"/>
                      </a:cubicBezTo>
                      <a:cubicBezTo>
                        <a:pt x="25" y="14"/>
                        <a:pt x="25" y="14"/>
                        <a:pt x="25" y="14"/>
                      </a:cubicBezTo>
                      <a:cubicBezTo>
                        <a:pt x="25" y="14"/>
                        <a:pt x="25" y="14"/>
                        <a:pt x="25" y="14"/>
                      </a:cubicBezTo>
                      <a:cubicBezTo>
                        <a:pt x="26" y="15"/>
                        <a:pt x="26" y="15"/>
                        <a:pt x="26" y="15"/>
                      </a:cubicBezTo>
                      <a:cubicBezTo>
                        <a:pt x="26" y="15"/>
                        <a:pt x="26" y="15"/>
                        <a:pt x="26" y="15"/>
                      </a:cubicBezTo>
                      <a:cubicBezTo>
                        <a:pt x="26" y="15"/>
                        <a:pt x="26" y="15"/>
                        <a:pt x="26" y="15"/>
                      </a:cubicBezTo>
                      <a:cubicBezTo>
                        <a:pt x="26" y="14"/>
                        <a:pt x="26" y="14"/>
                        <a:pt x="26" y="14"/>
                      </a:cubicBezTo>
                      <a:cubicBezTo>
                        <a:pt x="25" y="13"/>
                        <a:pt x="25" y="13"/>
                        <a:pt x="25" y="13"/>
                      </a:cubicBezTo>
                      <a:cubicBezTo>
                        <a:pt x="24" y="13"/>
                        <a:pt x="24" y="13"/>
                        <a:pt x="24" y="13"/>
                      </a:cubicBezTo>
                      <a:cubicBezTo>
                        <a:pt x="23" y="11"/>
                        <a:pt x="23" y="11"/>
                        <a:pt x="23" y="11"/>
                      </a:cubicBezTo>
                      <a:cubicBezTo>
                        <a:pt x="23" y="10"/>
                        <a:pt x="23" y="10"/>
                        <a:pt x="23" y="10"/>
                      </a:cubicBezTo>
                      <a:cubicBezTo>
                        <a:pt x="22" y="9"/>
                        <a:pt x="22" y="9"/>
                        <a:pt x="22" y="9"/>
                      </a:cubicBezTo>
                      <a:cubicBezTo>
                        <a:pt x="21" y="9"/>
                        <a:pt x="21" y="9"/>
                        <a:pt x="21" y="9"/>
                      </a:cubicBezTo>
                      <a:close/>
                      <a:moveTo>
                        <a:pt x="12" y="5"/>
                      </a:moveTo>
                      <a:cubicBezTo>
                        <a:pt x="13" y="6"/>
                        <a:pt x="13" y="6"/>
                        <a:pt x="13" y="6"/>
                      </a:cubicBezTo>
                      <a:cubicBezTo>
                        <a:pt x="15" y="7"/>
                        <a:pt x="15" y="7"/>
                        <a:pt x="15" y="7"/>
                      </a:cubicBezTo>
                      <a:cubicBezTo>
                        <a:pt x="16" y="7"/>
                        <a:pt x="16" y="7"/>
                        <a:pt x="16" y="7"/>
                      </a:cubicBezTo>
                      <a:cubicBezTo>
                        <a:pt x="18" y="9"/>
                        <a:pt x="18" y="9"/>
                        <a:pt x="18" y="9"/>
                      </a:cubicBezTo>
                      <a:cubicBezTo>
                        <a:pt x="17" y="9"/>
                        <a:pt x="17" y="9"/>
                        <a:pt x="17" y="9"/>
                      </a:cubicBezTo>
                      <a:cubicBezTo>
                        <a:pt x="18" y="10"/>
                        <a:pt x="18" y="10"/>
                        <a:pt x="18" y="10"/>
                      </a:cubicBezTo>
                      <a:cubicBezTo>
                        <a:pt x="17" y="9"/>
                        <a:pt x="17" y="9"/>
                        <a:pt x="17" y="9"/>
                      </a:cubicBezTo>
                      <a:cubicBezTo>
                        <a:pt x="17" y="10"/>
                        <a:pt x="17" y="10"/>
                        <a:pt x="17" y="10"/>
                      </a:cubicBezTo>
                      <a:cubicBezTo>
                        <a:pt x="16" y="9"/>
                        <a:pt x="16" y="9"/>
                        <a:pt x="16" y="9"/>
                      </a:cubicBezTo>
                      <a:cubicBezTo>
                        <a:pt x="16" y="9"/>
                        <a:pt x="16" y="9"/>
                        <a:pt x="16" y="9"/>
                      </a:cubicBezTo>
                      <a:cubicBezTo>
                        <a:pt x="15" y="8"/>
                        <a:pt x="15" y="8"/>
                        <a:pt x="15" y="8"/>
                      </a:cubicBezTo>
                      <a:cubicBezTo>
                        <a:pt x="13" y="6"/>
                        <a:pt x="13" y="6"/>
                        <a:pt x="13" y="6"/>
                      </a:cubicBezTo>
                      <a:cubicBezTo>
                        <a:pt x="13" y="6"/>
                        <a:pt x="12" y="5"/>
                        <a:pt x="12" y="5"/>
                      </a:cubicBezTo>
                      <a:close/>
                      <a:moveTo>
                        <a:pt x="9" y="10"/>
                      </a:moveTo>
                      <a:cubicBezTo>
                        <a:pt x="10" y="10"/>
                        <a:pt x="10" y="10"/>
                        <a:pt x="10" y="10"/>
                      </a:cubicBezTo>
                      <a:cubicBezTo>
                        <a:pt x="10" y="11"/>
                        <a:pt x="10" y="11"/>
                        <a:pt x="10" y="11"/>
                      </a:cubicBezTo>
                      <a:cubicBezTo>
                        <a:pt x="9" y="11"/>
                        <a:pt x="9" y="11"/>
                        <a:pt x="9" y="11"/>
                      </a:cubicBezTo>
                      <a:cubicBezTo>
                        <a:pt x="9" y="11"/>
                        <a:pt x="9" y="11"/>
                        <a:pt x="9" y="11"/>
                      </a:cubicBezTo>
                      <a:cubicBezTo>
                        <a:pt x="9" y="10"/>
                        <a:pt x="9" y="10"/>
                        <a:pt x="9" y="10"/>
                      </a:cubicBezTo>
                      <a:close/>
                      <a:moveTo>
                        <a:pt x="6" y="10"/>
                      </a:moveTo>
                      <a:cubicBezTo>
                        <a:pt x="6" y="10"/>
                        <a:pt x="6" y="10"/>
                        <a:pt x="6" y="10"/>
                      </a:cubicBezTo>
                      <a:cubicBezTo>
                        <a:pt x="7" y="10"/>
                        <a:pt x="7" y="10"/>
                        <a:pt x="7" y="10"/>
                      </a:cubicBezTo>
                      <a:cubicBezTo>
                        <a:pt x="7" y="10"/>
                        <a:pt x="7" y="10"/>
                        <a:pt x="7" y="10"/>
                      </a:cubicBezTo>
                      <a:cubicBezTo>
                        <a:pt x="6" y="10"/>
                        <a:pt x="6" y="10"/>
                        <a:pt x="6" y="10"/>
                      </a:cubicBezTo>
                      <a:close/>
                      <a:moveTo>
                        <a:pt x="6" y="9"/>
                      </a:moveTo>
                      <a:cubicBezTo>
                        <a:pt x="7" y="9"/>
                        <a:pt x="7" y="9"/>
                        <a:pt x="7" y="9"/>
                      </a:cubicBezTo>
                      <a:cubicBezTo>
                        <a:pt x="7" y="9"/>
                        <a:pt x="7" y="9"/>
                        <a:pt x="7" y="9"/>
                      </a:cubicBezTo>
                      <a:cubicBezTo>
                        <a:pt x="7" y="10"/>
                        <a:pt x="7" y="10"/>
                        <a:pt x="7" y="10"/>
                      </a:cubicBezTo>
                      <a:cubicBezTo>
                        <a:pt x="8" y="10"/>
                        <a:pt x="8" y="10"/>
                        <a:pt x="8" y="10"/>
                      </a:cubicBezTo>
                      <a:cubicBezTo>
                        <a:pt x="9" y="10"/>
                        <a:pt x="9" y="10"/>
                        <a:pt x="9" y="10"/>
                      </a:cubicBezTo>
                      <a:cubicBezTo>
                        <a:pt x="9" y="9"/>
                        <a:pt x="9" y="9"/>
                        <a:pt x="9" y="9"/>
                      </a:cubicBezTo>
                      <a:cubicBezTo>
                        <a:pt x="8" y="9"/>
                        <a:pt x="8" y="9"/>
                        <a:pt x="8" y="9"/>
                      </a:cubicBezTo>
                      <a:cubicBezTo>
                        <a:pt x="8" y="8"/>
                        <a:pt x="8" y="8"/>
                        <a:pt x="8" y="8"/>
                      </a:cubicBezTo>
                      <a:cubicBezTo>
                        <a:pt x="7" y="8"/>
                        <a:pt x="7" y="8"/>
                        <a:pt x="7" y="8"/>
                      </a:cubicBezTo>
                      <a:cubicBezTo>
                        <a:pt x="7" y="7"/>
                        <a:pt x="7" y="7"/>
                        <a:pt x="7" y="7"/>
                      </a:cubicBezTo>
                      <a:cubicBezTo>
                        <a:pt x="6" y="8"/>
                        <a:pt x="6" y="8"/>
                        <a:pt x="6" y="8"/>
                      </a:cubicBezTo>
                      <a:cubicBezTo>
                        <a:pt x="6" y="9"/>
                        <a:pt x="6" y="9"/>
                        <a:pt x="6" y="9"/>
                      </a:cubicBezTo>
                      <a:close/>
                      <a:moveTo>
                        <a:pt x="5" y="7"/>
                      </a:moveTo>
                      <a:cubicBezTo>
                        <a:pt x="5" y="7"/>
                        <a:pt x="5" y="7"/>
                        <a:pt x="5" y="7"/>
                      </a:cubicBezTo>
                      <a:cubicBezTo>
                        <a:pt x="6" y="7"/>
                        <a:pt x="6" y="7"/>
                        <a:pt x="6" y="7"/>
                      </a:cubicBezTo>
                      <a:cubicBezTo>
                        <a:pt x="6" y="8"/>
                        <a:pt x="6" y="8"/>
                        <a:pt x="6" y="8"/>
                      </a:cubicBezTo>
                      <a:cubicBezTo>
                        <a:pt x="5" y="8"/>
                        <a:pt x="5" y="8"/>
                        <a:pt x="5" y="8"/>
                      </a:cubicBezTo>
                      <a:cubicBezTo>
                        <a:pt x="5" y="8"/>
                        <a:pt x="5" y="8"/>
                        <a:pt x="5" y="8"/>
                      </a:cubicBezTo>
                      <a:cubicBezTo>
                        <a:pt x="5" y="8"/>
                        <a:pt x="5" y="7"/>
                        <a:pt x="5" y="7"/>
                      </a:cubicBezTo>
                      <a:close/>
                      <a:moveTo>
                        <a:pt x="3" y="6"/>
                      </a:moveTo>
                      <a:cubicBezTo>
                        <a:pt x="4" y="7"/>
                        <a:pt x="4" y="7"/>
                        <a:pt x="4" y="7"/>
                      </a:cubicBezTo>
                      <a:cubicBezTo>
                        <a:pt x="4" y="7"/>
                        <a:pt x="4" y="7"/>
                        <a:pt x="4" y="7"/>
                      </a:cubicBezTo>
                      <a:cubicBezTo>
                        <a:pt x="3" y="7"/>
                        <a:pt x="3" y="7"/>
                        <a:pt x="3" y="7"/>
                      </a:cubicBezTo>
                      <a:cubicBezTo>
                        <a:pt x="3" y="7"/>
                        <a:pt x="3" y="7"/>
                        <a:pt x="3" y="7"/>
                      </a:cubicBezTo>
                      <a:cubicBezTo>
                        <a:pt x="3" y="6"/>
                        <a:pt x="3" y="6"/>
                        <a:pt x="3" y="6"/>
                      </a:cubicBezTo>
                      <a:cubicBezTo>
                        <a:pt x="3" y="6"/>
                        <a:pt x="3" y="6"/>
                        <a:pt x="3" y="6"/>
                      </a:cubicBezTo>
                      <a:close/>
                      <a:moveTo>
                        <a:pt x="3" y="0"/>
                      </a:moveTo>
                      <a:cubicBezTo>
                        <a:pt x="2" y="1"/>
                        <a:pt x="2" y="1"/>
                        <a:pt x="2" y="1"/>
                      </a:cubicBezTo>
                      <a:cubicBezTo>
                        <a:pt x="3" y="0"/>
                        <a:pt x="3" y="0"/>
                        <a:pt x="3" y="0"/>
                      </a:cubicBezTo>
                      <a:cubicBezTo>
                        <a:pt x="3" y="0"/>
                        <a:pt x="3" y="0"/>
                        <a:pt x="3" y="0"/>
                      </a:cubicBezTo>
                      <a:close/>
                      <a:moveTo>
                        <a:pt x="3" y="1"/>
                      </a:moveTo>
                      <a:cubicBezTo>
                        <a:pt x="2" y="2"/>
                        <a:pt x="2" y="2"/>
                        <a:pt x="2" y="2"/>
                      </a:cubicBezTo>
                      <a:cubicBezTo>
                        <a:pt x="3" y="3"/>
                        <a:pt x="3" y="3"/>
                        <a:pt x="3" y="3"/>
                      </a:cubicBezTo>
                      <a:cubicBezTo>
                        <a:pt x="5" y="4"/>
                        <a:pt x="5" y="4"/>
                        <a:pt x="5" y="4"/>
                      </a:cubicBezTo>
                      <a:cubicBezTo>
                        <a:pt x="6" y="5"/>
                        <a:pt x="6" y="5"/>
                        <a:pt x="6" y="5"/>
                      </a:cubicBezTo>
                      <a:cubicBezTo>
                        <a:pt x="7" y="5"/>
                        <a:pt x="7" y="5"/>
                        <a:pt x="7" y="5"/>
                      </a:cubicBezTo>
                      <a:cubicBezTo>
                        <a:pt x="8" y="5"/>
                        <a:pt x="8" y="5"/>
                        <a:pt x="8" y="5"/>
                      </a:cubicBezTo>
                      <a:cubicBezTo>
                        <a:pt x="7" y="4"/>
                        <a:pt x="7" y="4"/>
                        <a:pt x="7" y="4"/>
                      </a:cubicBezTo>
                      <a:cubicBezTo>
                        <a:pt x="6" y="3"/>
                        <a:pt x="6" y="3"/>
                        <a:pt x="6" y="3"/>
                      </a:cubicBezTo>
                      <a:cubicBezTo>
                        <a:pt x="6" y="3"/>
                        <a:pt x="6" y="3"/>
                        <a:pt x="6" y="3"/>
                      </a:cubicBezTo>
                      <a:cubicBezTo>
                        <a:pt x="6" y="3"/>
                        <a:pt x="6" y="3"/>
                        <a:pt x="6" y="3"/>
                      </a:cubicBezTo>
                      <a:cubicBezTo>
                        <a:pt x="5" y="2"/>
                        <a:pt x="5" y="2"/>
                        <a:pt x="5" y="2"/>
                      </a:cubicBezTo>
                      <a:cubicBezTo>
                        <a:pt x="3" y="2"/>
                        <a:pt x="3" y="2"/>
                        <a:pt x="3" y="2"/>
                      </a:cubicBezTo>
                      <a:cubicBezTo>
                        <a:pt x="3" y="1"/>
                        <a:pt x="3" y="1"/>
                        <a:pt x="3" y="1"/>
                      </a:cubicBezTo>
                      <a:cubicBezTo>
                        <a:pt x="3" y="1"/>
                        <a:pt x="3" y="1"/>
                        <a:pt x="3" y="1"/>
                      </a:cubicBezTo>
                      <a:close/>
                      <a:moveTo>
                        <a:pt x="1" y="2"/>
                      </a:moveTo>
                      <a:cubicBezTo>
                        <a:pt x="0" y="2"/>
                        <a:pt x="0" y="2"/>
                        <a:pt x="0" y="2"/>
                      </a:cubicBezTo>
                      <a:cubicBezTo>
                        <a:pt x="1" y="3"/>
                        <a:pt x="1" y="3"/>
                        <a:pt x="1" y="3"/>
                      </a:cubicBezTo>
                      <a:lnTo>
                        <a:pt x="1" y="2"/>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Freeform 23">
                  <a:extLst>
                    <a:ext uri="{FF2B5EF4-FFF2-40B4-BE49-F238E27FC236}">
                      <a16:creationId xmlns:a16="http://schemas.microsoft.com/office/drawing/2014/main" id="{2AC13E47-AA33-8603-5C3C-DDFF24EF51B5}"/>
                    </a:ext>
                  </a:extLst>
                </p:cNvPr>
                <p:cNvSpPr>
                  <a:spLocks noEditPoints="1"/>
                </p:cNvSpPr>
                <p:nvPr/>
              </p:nvSpPr>
              <p:spPr bwMode="auto">
                <a:xfrm>
                  <a:off x="4253" y="2616"/>
                  <a:ext cx="173" cy="114"/>
                </a:xfrm>
                <a:custGeom>
                  <a:avLst/>
                  <a:gdLst>
                    <a:gd name="T0" fmla="*/ 59 w 73"/>
                    <a:gd name="T1" fmla="*/ 46 h 48"/>
                    <a:gd name="T2" fmla="*/ 59 w 73"/>
                    <a:gd name="T3" fmla="*/ 46 h 48"/>
                    <a:gd name="T4" fmla="*/ 31 w 73"/>
                    <a:gd name="T5" fmla="*/ 5 h 48"/>
                    <a:gd name="T6" fmla="*/ 69 w 73"/>
                    <a:gd name="T7" fmla="*/ 21 h 48"/>
                    <a:gd name="T8" fmla="*/ 70 w 73"/>
                    <a:gd name="T9" fmla="*/ 25 h 48"/>
                    <a:gd name="T10" fmla="*/ 67 w 73"/>
                    <a:gd name="T11" fmla="*/ 19 h 48"/>
                    <a:gd name="T12" fmla="*/ 65 w 73"/>
                    <a:gd name="T13" fmla="*/ 15 h 48"/>
                    <a:gd name="T14" fmla="*/ 51 w 73"/>
                    <a:gd name="T15" fmla="*/ 7 h 48"/>
                    <a:gd name="T16" fmla="*/ 59 w 73"/>
                    <a:gd name="T17" fmla="*/ 14 h 48"/>
                    <a:gd name="T18" fmla="*/ 57 w 73"/>
                    <a:gd name="T19" fmla="*/ 12 h 48"/>
                    <a:gd name="T20" fmla="*/ 43 w 73"/>
                    <a:gd name="T21" fmla="*/ 0 h 48"/>
                    <a:gd name="T22" fmla="*/ 47 w 73"/>
                    <a:gd name="T23" fmla="*/ 7 h 48"/>
                    <a:gd name="T24" fmla="*/ 45 w 73"/>
                    <a:gd name="T25" fmla="*/ 16 h 48"/>
                    <a:gd name="T26" fmla="*/ 40 w 73"/>
                    <a:gd name="T27" fmla="*/ 22 h 48"/>
                    <a:gd name="T28" fmla="*/ 49 w 73"/>
                    <a:gd name="T29" fmla="*/ 23 h 48"/>
                    <a:gd name="T30" fmla="*/ 55 w 73"/>
                    <a:gd name="T31" fmla="*/ 19 h 48"/>
                    <a:gd name="T32" fmla="*/ 55 w 73"/>
                    <a:gd name="T33" fmla="*/ 13 h 48"/>
                    <a:gd name="T34" fmla="*/ 52 w 73"/>
                    <a:gd name="T35" fmla="*/ 17 h 48"/>
                    <a:gd name="T36" fmla="*/ 46 w 73"/>
                    <a:gd name="T37" fmla="*/ 19 h 48"/>
                    <a:gd name="T38" fmla="*/ 43 w 73"/>
                    <a:gd name="T39" fmla="*/ 19 h 48"/>
                    <a:gd name="T40" fmla="*/ 33 w 73"/>
                    <a:gd name="T41" fmla="*/ 20 h 48"/>
                    <a:gd name="T42" fmla="*/ 30 w 73"/>
                    <a:gd name="T43" fmla="*/ 19 h 48"/>
                    <a:gd name="T44" fmla="*/ 26 w 73"/>
                    <a:gd name="T45" fmla="*/ 16 h 48"/>
                    <a:gd name="T46" fmla="*/ 56 w 73"/>
                    <a:gd name="T47" fmla="*/ 35 h 48"/>
                    <a:gd name="T48" fmla="*/ 50 w 73"/>
                    <a:gd name="T49" fmla="*/ 33 h 48"/>
                    <a:gd name="T50" fmla="*/ 49 w 73"/>
                    <a:gd name="T51" fmla="*/ 40 h 48"/>
                    <a:gd name="T52" fmla="*/ 48 w 73"/>
                    <a:gd name="T53" fmla="*/ 40 h 48"/>
                    <a:gd name="T54" fmla="*/ 48 w 73"/>
                    <a:gd name="T55" fmla="*/ 38 h 48"/>
                    <a:gd name="T56" fmla="*/ 46 w 73"/>
                    <a:gd name="T57" fmla="*/ 37 h 48"/>
                    <a:gd name="T58" fmla="*/ 45 w 73"/>
                    <a:gd name="T59" fmla="*/ 37 h 48"/>
                    <a:gd name="T60" fmla="*/ 18 w 73"/>
                    <a:gd name="T61" fmla="*/ 29 h 48"/>
                    <a:gd name="T62" fmla="*/ 18 w 73"/>
                    <a:gd name="T63" fmla="*/ 30 h 48"/>
                    <a:gd name="T64" fmla="*/ 15 w 73"/>
                    <a:gd name="T65" fmla="*/ 30 h 48"/>
                    <a:gd name="T66" fmla="*/ 13 w 73"/>
                    <a:gd name="T67" fmla="*/ 34 h 48"/>
                    <a:gd name="T68" fmla="*/ 12 w 73"/>
                    <a:gd name="T69" fmla="*/ 33 h 48"/>
                    <a:gd name="T70" fmla="*/ 13 w 73"/>
                    <a:gd name="T71" fmla="*/ 31 h 48"/>
                    <a:gd name="T72" fmla="*/ 1 w 73"/>
                    <a:gd name="T73" fmla="*/ 7 h 48"/>
                    <a:gd name="T74" fmla="*/ 3 w 73"/>
                    <a:gd name="T75" fmla="*/ 36 h 48"/>
                    <a:gd name="T76" fmla="*/ 11 w 73"/>
                    <a:gd name="T77" fmla="*/ 36 h 48"/>
                    <a:gd name="T78" fmla="*/ 7 w 73"/>
                    <a:gd name="T79" fmla="*/ 32 h 48"/>
                    <a:gd name="T80" fmla="*/ 4 w 73"/>
                    <a:gd name="T81" fmla="*/ 29 h 48"/>
                    <a:gd name="T82" fmla="*/ 8 w 73"/>
                    <a:gd name="T83" fmla="*/ 33 h 48"/>
                    <a:gd name="T84" fmla="*/ 12 w 73"/>
                    <a:gd name="T85" fmla="*/ 31 h 48"/>
                    <a:gd name="T86" fmla="*/ 13 w 73"/>
                    <a:gd name="T87" fmla="*/ 30 h 48"/>
                    <a:gd name="T88" fmla="*/ 15 w 73"/>
                    <a:gd name="T89" fmla="*/ 30 h 48"/>
                    <a:gd name="T90" fmla="*/ 16 w 73"/>
                    <a:gd name="T91" fmla="*/ 29 h 48"/>
                    <a:gd name="T92" fmla="*/ 21 w 73"/>
                    <a:gd name="T93" fmla="*/ 29 h 48"/>
                    <a:gd name="T94" fmla="*/ 26 w 73"/>
                    <a:gd name="T95" fmla="*/ 34 h 48"/>
                    <a:gd name="T96" fmla="*/ 32 w 73"/>
                    <a:gd name="T97" fmla="*/ 40 h 48"/>
                    <a:gd name="T98" fmla="*/ 40 w 73"/>
                    <a:gd name="T99" fmla="*/ 41 h 48"/>
                    <a:gd name="T100" fmla="*/ 45 w 73"/>
                    <a:gd name="T101" fmla="*/ 43 h 48"/>
                    <a:gd name="T102" fmla="*/ 47 w 73"/>
                    <a:gd name="T103" fmla="*/ 41 h 48"/>
                    <a:gd name="T104" fmla="*/ 43 w 73"/>
                    <a:gd name="T105" fmla="*/ 38 h 48"/>
                    <a:gd name="T106" fmla="*/ 39 w 73"/>
                    <a:gd name="T107" fmla="*/ 35 h 48"/>
                    <a:gd name="T108" fmla="*/ 35 w 73"/>
                    <a:gd name="T109" fmla="*/ 31 h 48"/>
                    <a:gd name="T110" fmla="*/ 30 w 73"/>
                    <a:gd name="T111" fmla="*/ 26 h 48"/>
                    <a:gd name="T112" fmla="*/ 31 w 73"/>
                    <a:gd name="T113" fmla="*/ 22 h 48"/>
                    <a:gd name="T114" fmla="*/ 25 w 73"/>
                    <a:gd name="T115" fmla="*/ 17 h 48"/>
                    <a:gd name="T116" fmla="*/ 19 w 73"/>
                    <a:gd name="T117" fmla="*/ 13 h 48"/>
                    <a:gd name="T118" fmla="*/ 9 w 73"/>
                    <a:gd name="T119" fmla="*/ 10 h 48"/>
                    <a:gd name="T120" fmla="*/ 2 w 73"/>
                    <a:gd name="T121" fmla="*/ 7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3" h="48">
                      <a:moveTo>
                        <a:pt x="63" y="46"/>
                      </a:moveTo>
                      <a:cubicBezTo>
                        <a:pt x="63" y="46"/>
                        <a:pt x="63" y="46"/>
                        <a:pt x="63" y="46"/>
                      </a:cubicBezTo>
                      <a:cubicBezTo>
                        <a:pt x="64" y="46"/>
                        <a:pt x="64" y="46"/>
                        <a:pt x="64" y="46"/>
                      </a:cubicBezTo>
                      <a:cubicBezTo>
                        <a:pt x="64" y="47"/>
                        <a:pt x="64" y="47"/>
                        <a:pt x="64" y="47"/>
                      </a:cubicBezTo>
                      <a:cubicBezTo>
                        <a:pt x="63" y="47"/>
                        <a:pt x="63" y="47"/>
                        <a:pt x="63" y="47"/>
                      </a:cubicBezTo>
                      <a:cubicBezTo>
                        <a:pt x="63" y="47"/>
                        <a:pt x="63" y="47"/>
                        <a:pt x="63" y="47"/>
                      </a:cubicBezTo>
                      <a:cubicBezTo>
                        <a:pt x="63" y="46"/>
                        <a:pt x="63" y="46"/>
                        <a:pt x="63" y="46"/>
                      </a:cubicBezTo>
                      <a:close/>
                      <a:moveTo>
                        <a:pt x="59" y="46"/>
                      </a:moveTo>
                      <a:cubicBezTo>
                        <a:pt x="60" y="47"/>
                        <a:pt x="60" y="47"/>
                        <a:pt x="60" y="47"/>
                      </a:cubicBezTo>
                      <a:cubicBezTo>
                        <a:pt x="60" y="47"/>
                        <a:pt x="60" y="47"/>
                        <a:pt x="60" y="47"/>
                      </a:cubicBezTo>
                      <a:cubicBezTo>
                        <a:pt x="61" y="48"/>
                        <a:pt x="61" y="48"/>
                        <a:pt x="61" y="48"/>
                      </a:cubicBezTo>
                      <a:cubicBezTo>
                        <a:pt x="61" y="47"/>
                        <a:pt x="61" y="47"/>
                        <a:pt x="61" y="47"/>
                      </a:cubicBezTo>
                      <a:cubicBezTo>
                        <a:pt x="61" y="47"/>
                        <a:pt x="61" y="47"/>
                        <a:pt x="61" y="47"/>
                      </a:cubicBezTo>
                      <a:cubicBezTo>
                        <a:pt x="60" y="47"/>
                        <a:pt x="60" y="47"/>
                        <a:pt x="60" y="47"/>
                      </a:cubicBezTo>
                      <a:cubicBezTo>
                        <a:pt x="59" y="46"/>
                        <a:pt x="59" y="46"/>
                        <a:pt x="59" y="46"/>
                      </a:cubicBezTo>
                      <a:cubicBezTo>
                        <a:pt x="59" y="46"/>
                        <a:pt x="59" y="46"/>
                        <a:pt x="59" y="46"/>
                      </a:cubicBezTo>
                      <a:close/>
                      <a:moveTo>
                        <a:pt x="29" y="4"/>
                      </a:moveTo>
                      <a:cubicBezTo>
                        <a:pt x="29" y="3"/>
                        <a:pt x="29" y="3"/>
                        <a:pt x="29" y="3"/>
                      </a:cubicBezTo>
                      <a:cubicBezTo>
                        <a:pt x="30" y="4"/>
                        <a:pt x="30" y="4"/>
                        <a:pt x="30" y="4"/>
                      </a:cubicBezTo>
                      <a:cubicBezTo>
                        <a:pt x="30" y="3"/>
                        <a:pt x="30" y="3"/>
                        <a:pt x="30" y="3"/>
                      </a:cubicBezTo>
                      <a:cubicBezTo>
                        <a:pt x="31" y="4"/>
                        <a:pt x="31" y="4"/>
                        <a:pt x="31" y="4"/>
                      </a:cubicBezTo>
                      <a:cubicBezTo>
                        <a:pt x="32" y="4"/>
                        <a:pt x="32" y="4"/>
                        <a:pt x="32" y="4"/>
                      </a:cubicBezTo>
                      <a:cubicBezTo>
                        <a:pt x="32" y="4"/>
                        <a:pt x="32" y="4"/>
                        <a:pt x="32" y="4"/>
                      </a:cubicBezTo>
                      <a:cubicBezTo>
                        <a:pt x="31" y="5"/>
                        <a:pt x="31" y="5"/>
                        <a:pt x="31" y="5"/>
                      </a:cubicBezTo>
                      <a:cubicBezTo>
                        <a:pt x="30" y="5"/>
                        <a:pt x="30" y="5"/>
                        <a:pt x="30" y="5"/>
                      </a:cubicBezTo>
                      <a:cubicBezTo>
                        <a:pt x="30" y="4"/>
                        <a:pt x="30" y="4"/>
                        <a:pt x="30" y="4"/>
                      </a:cubicBezTo>
                      <a:cubicBezTo>
                        <a:pt x="29" y="4"/>
                        <a:pt x="29" y="4"/>
                        <a:pt x="29" y="4"/>
                      </a:cubicBezTo>
                      <a:cubicBezTo>
                        <a:pt x="29" y="4"/>
                        <a:pt x="28" y="4"/>
                        <a:pt x="29" y="4"/>
                      </a:cubicBezTo>
                      <a:close/>
                      <a:moveTo>
                        <a:pt x="67" y="19"/>
                      </a:moveTo>
                      <a:cubicBezTo>
                        <a:pt x="68" y="19"/>
                        <a:pt x="68" y="19"/>
                        <a:pt x="68" y="19"/>
                      </a:cubicBezTo>
                      <a:cubicBezTo>
                        <a:pt x="69" y="20"/>
                        <a:pt x="69" y="20"/>
                        <a:pt x="69" y="20"/>
                      </a:cubicBezTo>
                      <a:cubicBezTo>
                        <a:pt x="69" y="21"/>
                        <a:pt x="69" y="21"/>
                        <a:pt x="69" y="21"/>
                      </a:cubicBezTo>
                      <a:cubicBezTo>
                        <a:pt x="70" y="21"/>
                        <a:pt x="70" y="21"/>
                        <a:pt x="70" y="21"/>
                      </a:cubicBezTo>
                      <a:cubicBezTo>
                        <a:pt x="72" y="22"/>
                        <a:pt x="72" y="22"/>
                        <a:pt x="72" y="22"/>
                      </a:cubicBezTo>
                      <a:cubicBezTo>
                        <a:pt x="73" y="23"/>
                        <a:pt x="73" y="23"/>
                        <a:pt x="73" y="23"/>
                      </a:cubicBezTo>
                      <a:cubicBezTo>
                        <a:pt x="73" y="25"/>
                        <a:pt x="73" y="25"/>
                        <a:pt x="73" y="25"/>
                      </a:cubicBezTo>
                      <a:cubicBezTo>
                        <a:pt x="72" y="25"/>
                        <a:pt x="72" y="25"/>
                        <a:pt x="72" y="25"/>
                      </a:cubicBezTo>
                      <a:cubicBezTo>
                        <a:pt x="72" y="25"/>
                        <a:pt x="72" y="25"/>
                        <a:pt x="72" y="25"/>
                      </a:cubicBezTo>
                      <a:cubicBezTo>
                        <a:pt x="71" y="25"/>
                        <a:pt x="71" y="25"/>
                        <a:pt x="71" y="25"/>
                      </a:cubicBezTo>
                      <a:cubicBezTo>
                        <a:pt x="70" y="25"/>
                        <a:pt x="70" y="25"/>
                        <a:pt x="70" y="25"/>
                      </a:cubicBezTo>
                      <a:cubicBezTo>
                        <a:pt x="69" y="25"/>
                        <a:pt x="69" y="25"/>
                        <a:pt x="69" y="25"/>
                      </a:cubicBezTo>
                      <a:cubicBezTo>
                        <a:pt x="69" y="24"/>
                        <a:pt x="69" y="24"/>
                        <a:pt x="69" y="24"/>
                      </a:cubicBezTo>
                      <a:cubicBezTo>
                        <a:pt x="69" y="24"/>
                        <a:pt x="69" y="24"/>
                        <a:pt x="69" y="24"/>
                      </a:cubicBezTo>
                      <a:cubicBezTo>
                        <a:pt x="68" y="22"/>
                        <a:pt x="68" y="22"/>
                        <a:pt x="68" y="22"/>
                      </a:cubicBezTo>
                      <a:cubicBezTo>
                        <a:pt x="67" y="22"/>
                        <a:pt x="67" y="22"/>
                        <a:pt x="67" y="22"/>
                      </a:cubicBezTo>
                      <a:cubicBezTo>
                        <a:pt x="67" y="21"/>
                        <a:pt x="67" y="21"/>
                        <a:pt x="67" y="21"/>
                      </a:cubicBezTo>
                      <a:cubicBezTo>
                        <a:pt x="67" y="20"/>
                        <a:pt x="67" y="20"/>
                        <a:pt x="67" y="20"/>
                      </a:cubicBezTo>
                      <a:cubicBezTo>
                        <a:pt x="67" y="19"/>
                        <a:pt x="67" y="19"/>
                        <a:pt x="67" y="19"/>
                      </a:cubicBezTo>
                      <a:close/>
                      <a:moveTo>
                        <a:pt x="66" y="17"/>
                      </a:moveTo>
                      <a:cubicBezTo>
                        <a:pt x="66" y="18"/>
                        <a:pt x="66" y="18"/>
                        <a:pt x="66" y="18"/>
                      </a:cubicBezTo>
                      <a:cubicBezTo>
                        <a:pt x="66" y="18"/>
                        <a:pt x="66" y="18"/>
                        <a:pt x="66" y="18"/>
                      </a:cubicBezTo>
                      <a:cubicBezTo>
                        <a:pt x="67" y="19"/>
                        <a:pt x="67" y="19"/>
                        <a:pt x="67" y="19"/>
                      </a:cubicBezTo>
                      <a:cubicBezTo>
                        <a:pt x="67" y="18"/>
                        <a:pt x="67" y="18"/>
                        <a:pt x="67" y="18"/>
                      </a:cubicBezTo>
                      <a:cubicBezTo>
                        <a:pt x="67" y="17"/>
                        <a:pt x="67" y="17"/>
                        <a:pt x="67" y="17"/>
                      </a:cubicBezTo>
                      <a:cubicBezTo>
                        <a:pt x="66" y="17"/>
                        <a:pt x="66" y="17"/>
                        <a:pt x="66" y="17"/>
                      </a:cubicBezTo>
                      <a:close/>
                      <a:moveTo>
                        <a:pt x="65" y="15"/>
                      </a:moveTo>
                      <a:cubicBezTo>
                        <a:pt x="65" y="15"/>
                        <a:pt x="65" y="15"/>
                        <a:pt x="65" y="15"/>
                      </a:cubicBezTo>
                      <a:cubicBezTo>
                        <a:pt x="66" y="14"/>
                        <a:pt x="66" y="14"/>
                        <a:pt x="66" y="14"/>
                      </a:cubicBezTo>
                      <a:cubicBezTo>
                        <a:pt x="66" y="15"/>
                        <a:pt x="66" y="15"/>
                        <a:pt x="66" y="15"/>
                      </a:cubicBezTo>
                      <a:cubicBezTo>
                        <a:pt x="66" y="16"/>
                        <a:pt x="66" y="16"/>
                        <a:pt x="66" y="16"/>
                      </a:cubicBezTo>
                      <a:cubicBezTo>
                        <a:pt x="65" y="16"/>
                        <a:pt x="65" y="16"/>
                        <a:pt x="65" y="16"/>
                      </a:cubicBezTo>
                      <a:cubicBezTo>
                        <a:pt x="65" y="15"/>
                        <a:pt x="65" y="15"/>
                        <a:pt x="65" y="15"/>
                      </a:cubicBezTo>
                      <a:close/>
                      <a:moveTo>
                        <a:pt x="49" y="6"/>
                      </a:moveTo>
                      <a:cubicBezTo>
                        <a:pt x="51" y="7"/>
                        <a:pt x="51" y="7"/>
                        <a:pt x="51" y="7"/>
                      </a:cubicBezTo>
                      <a:cubicBezTo>
                        <a:pt x="52" y="8"/>
                        <a:pt x="52" y="8"/>
                        <a:pt x="52" y="8"/>
                      </a:cubicBezTo>
                      <a:cubicBezTo>
                        <a:pt x="54" y="9"/>
                        <a:pt x="54" y="9"/>
                        <a:pt x="54" y="9"/>
                      </a:cubicBezTo>
                      <a:cubicBezTo>
                        <a:pt x="55" y="9"/>
                        <a:pt x="55" y="9"/>
                        <a:pt x="55" y="9"/>
                      </a:cubicBezTo>
                      <a:cubicBezTo>
                        <a:pt x="56" y="10"/>
                        <a:pt x="56" y="10"/>
                        <a:pt x="56" y="10"/>
                      </a:cubicBezTo>
                      <a:cubicBezTo>
                        <a:pt x="57" y="11"/>
                        <a:pt x="57" y="11"/>
                        <a:pt x="57" y="11"/>
                      </a:cubicBezTo>
                      <a:cubicBezTo>
                        <a:pt x="58" y="12"/>
                        <a:pt x="58" y="12"/>
                        <a:pt x="58" y="12"/>
                      </a:cubicBezTo>
                      <a:cubicBezTo>
                        <a:pt x="59" y="12"/>
                        <a:pt x="59" y="12"/>
                        <a:pt x="59" y="12"/>
                      </a:cubicBezTo>
                      <a:cubicBezTo>
                        <a:pt x="59" y="14"/>
                        <a:pt x="59" y="14"/>
                        <a:pt x="59" y="14"/>
                      </a:cubicBezTo>
                      <a:cubicBezTo>
                        <a:pt x="60" y="14"/>
                        <a:pt x="60" y="14"/>
                        <a:pt x="60" y="14"/>
                      </a:cubicBezTo>
                      <a:cubicBezTo>
                        <a:pt x="60" y="15"/>
                        <a:pt x="60" y="15"/>
                        <a:pt x="60" y="15"/>
                      </a:cubicBezTo>
                      <a:cubicBezTo>
                        <a:pt x="59" y="16"/>
                        <a:pt x="59" y="16"/>
                        <a:pt x="59" y="16"/>
                      </a:cubicBezTo>
                      <a:cubicBezTo>
                        <a:pt x="59" y="17"/>
                        <a:pt x="59" y="17"/>
                        <a:pt x="59" y="17"/>
                      </a:cubicBezTo>
                      <a:cubicBezTo>
                        <a:pt x="58" y="16"/>
                        <a:pt x="58" y="16"/>
                        <a:pt x="58" y="16"/>
                      </a:cubicBezTo>
                      <a:cubicBezTo>
                        <a:pt x="58" y="15"/>
                        <a:pt x="58" y="15"/>
                        <a:pt x="58" y="15"/>
                      </a:cubicBezTo>
                      <a:cubicBezTo>
                        <a:pt x="58" y="14"/>
                        <a:pt x="58" y="14"/>
                        <a:pt x="58" y="14"/>
                      </a:cubicBezTo>
                      <a:cubicBezTo>
                        <a:pt x="57" y="12"/>
                        <a:pt x="57" y="12"/>
                        <a:pt x="57" y="12"/>
                      </a:cubicBezTo>
                      <a:cubicBezTo>
                        <a:pt x="56" y="10"/>
                        <a:pt x="56" y="10"/>
                        <a:pt x="56" y="10"/>
                      </a:cubicBezTo>
                      <a:cubicBezTo>
                        <a:pt x="54" y="10"/>
                        <a:pt x="54" y="10"/>
                        <a:pt x="54" y="10"/>
                      </a:cubicBezTo>
                      <a:cubicBezTo>
                        <a:pt x="53" y="9"/>
                        <a:pt x="53" y="9"/>
                        <a:pt x="53" y="9"/>
                      </a:cubicBezTo>
                      <a:cubicBezTo>
                        <a:pt x="49" y="7"/>
                        <a:pt x="49" y="7"/>
                        <a:pt x="49" y="7"/>
                      </a:cubicBezTo>
                      <a:cubicBezTo>
                        <a:pt x="49" y="7"/>
                        <a:pt x="49" y="7"/>
                        <a:pt x="49" y="7"/>
                      </a:cubicBezTo>
                      <a:cubicBezTo>
                        <a:pt x="49" y="6"/>
                        <a:pt x="49" y="6"/>
                        <a:pt x="49" y="6"/>
                      </a:cubicBezTo>
                      <a:close/>
                      <a:moveTo>
                        <a:pt x="42" y="0"/>
                      </a:moveTo>
                      <a:cubicBezTo>
                        <a:pt x="43" y="0"/>
                        <a:pt x="43" y="0"/>
                        <a:pt x="43" y="0"/>
                      </a:cubicBezTo>
                      <a:cubicBezTo>
                        <a:pt x="44" y="1"/>
                        <a:pt x="44" y="1"/>
                        <a:pt x="44" y="1"/>
                      </a:cubicBezTo>
                      <a:cubicBezTo>
                        <a:pt x="44" y="1"/>
                        <a:pt x="44" y="1"/>
                        <a:pt x="44" y="1"/>
                      </a:cubicBezTo>
                      <a:cubicBezTo>
                        <a:pt x="42" y="0"/>
                        <a:pt x="42" y="0"/>
                        <a:pt x="42" y="0"/>
                      </a:cubicBezTo>
                      <a:cubicBezTo>
                        <a:pt x="42" y="0"/>
                        <a:pt x="42" y="0"/>
                        <a:pt x="42" y="0"/>
                      </a:cubicBezTo>
                      <a:close/>
                      <a:moveTo>
                        <a:pt x="45" y="6"/>
                      </a:moveTo>
                      <a:cubicBezTo>
                        <a:pt x="46" y="6"/>
                        <a:pt x="46" y="6"/>
                        <a:pt x="46" y="6"/>
                      </a:cubicBezTo>
                      <a:cubicBezTo>
                        <a:pt x="47" y="6"/>
                        <a:pt x="47" y="6"/>
                        <a:pt x="47" y="6"/>
                      </a:cubicBezTo>
                      <a:cubicBezTo>
                        <a:pt x="47" y="7"/>
                        <a:pt x="47" y="7"/>
                        <a:pt x="47" y="7"/>
                      </a:cubicBezTo>
                      <a:cubicBezTo>
                        <a:pt x="46" y="7"/>
                        <a:pt x="46" y="7"/>
                        <a:pt x="46" y="7"/>
                      </a:cubicBezTo>
                      <a:cubicBezTo>
                        <a:pt x="45" y="7"/>
                        <a:pt x="45" y="7"/>
                        <a:pt x="45" y="7"/>
                      </a:cubicBezTo>
                      <a:cubicBezTo>
                        <a:pt x="45" y="6"/>
                        <a:pt x="45" y="6"/>
                        <a:pt x="45" y="6"/>
                      </a:cubicBezTo>
                      <a:close/>
                      <a:moveTo>
                        <a:pt x="44" y="17"/>
                      </a:moveTo>
                      <a:cubicBezTo>
                        <a:pt x="45" y="18"/>
                        <a:pt x="45" y="18"/>
                        <a:pt x="45" y="18"/>
                      </a:cubicBezTo>
                      <a:cubicBezTo>
                        <a:pt x="46" y="17"/>
                        <a:pt x="46" y="17"/>
                        <a:pt x="46" y="17"/>
                      </a:cubicBezTo>
                      <a:cubicBezTo>
                        <a:pt x="45" y="16"/>
                        <a:pt x="45" y="16"/>
                        <a:pt x="45" y="16"/>
                      </a:cubicBezTo>
                      <a:cubicBezTo>
                        <a:pt x="45" y="16"/>
                        <a:pt x="45" y="16"/>
                        <a:pt x="45" y="16"/>
                      </a:cubicBezTo>
                      <a:cubicBezTo>
                        <a:pt x="44" y="17"/>
                        <a:pt x="44" y="17"/>
                        <a:pt x="44" y="17"/>
                      </a:cubicBezTo>
                      <a:close/>
                      <a:moveTo>
                        <a:pt x="37" y="19"/>
                      </a:moveTo>
                      <a:cubicBezTo>
                        <a:pt x="36" y="20"/>
                        <a:pt x="36" y="20"/>
                        <a:pt x="36" y="20"/>
                      </a:cubicBezTo>
                      <a:cubicBezTo>
                        <a:pt x="37" y="21"/>
                        <a:pt x="37" y="21"/>
                        <a:pt x="37" y="21"/>
                      </a:cubicBezTo>
                      <a:cubicBezTo>
                        <a:pt x="38" y="21"/>
                        <a:pt x="38" y="21"/>
                        <a:pt x="38" y="21"/>
                      </a:cubicBezTo>
                      <a:cubicBezTo>
                        <a:pt x="39" y="22"/>
                        <a:pt x="39" y="22"/>
                        <a:pt x="39" y="22"/>
                      </a:cubicBezTo>
                      <a:cubicBezTo>
                        <a:pt x="40" y="23"/>
                        <a:pt x="40" y="23"/>
                        <a:pt x="40" y="23"/>
                      </a:cubicBezTo>
                      <a:cubicBezTo>
                        <a:pt x="40" y="22"/>
                        <a:pt x="40" y="22"/>
                        <a:pt x="40" y="22"/>
                      </a:cubicBezTo>
                      <a:cubicBezTo>
                        <a:pt x="42" y="22"/>
                        <a:pt x="42" y="22"/>
                        <a:pt x="42" y="22"/>
                      </a:cubicBezTo>
                      <a:cubicBezTo>
                        <a:pt x="42" y="23"/>
                        <a:pt x="42" y="23"/>
                        <a:pt x="42" y="23"/>
                      </a:cubicBezTo>
                      <a:cubicBezTo>
                        <a:pt x="44" y="23"/>
                        <a:pt x="44" y="23"/>
                        <a:pt x="44" y="23"/>
                      </a:cubicBezTo>
                      <a:cubicBezTo>
                        <a:pt x="44" y="23"/>
                        <a:pt x="44" y="23"/>
                        <a:pt x="44" y="23"/>
                      </a:cubicBezTo>
                      <a:cubicBezTo>
                        <a:pt x="46" y="23"/>
                        <a:pt x="46" y="23"/>
                        <a:pt x="46" y="23"/>
                      </a:cubicBezTo>
                      <a:cubicBezTo>
                        <a:pt x="47" y="23"/>
                        <a:pt x="47" y="23"/>
                        <a:pt x="47" y="23"/>
                      </a:cubicBezTo>
                      <a:cubicBezTo>
                        <a:pt x="48" y="23"/>
                        <a:pt x="48" y="23"/>
                        <a:pt x="48" y="23"/>
                      </a:cubicBezTo>
                      <a:cubicBezTo>
                        <a:pt x="49" y="23"/>
                        <a:pt x="49" y="23"/>
                        <a:pt x="49" y="23"/>
                      </a:cubicBezTo>
                      <a:cubicBezTo>
                        <a:pt x="49" y="23"/>
                        <a:pt x="49" y="23"/>
                        <a:pt x="49" y="23"/>
                      </a:cubicBezTo>
                      <a:cubicBezTo>
                        <a:pt x="49" y="22"/>
                        <a:pt x="49" y="22"/>
                        <a:pt x="49" y="22"/>
                      </a:cubicBezTo>
                      <a:cubicBezTo>
                        <a:pt x="51" y="22"/>
                        <a:pt x="51" y="22"/>
                        <a:pt x="51" y="22"/>
                      </a:cubicBezTo>
                      <a:cubicBezTo>
                        <a:pt x="52" y="20"/>
                        <a:pt x="52" y="20"/>
                        <a:pt x="52" y="20"/>
                      </a:cubicBezTo>
                      <a:cubicBezTo>
                        <a:pt x="52" y="20"/>
                        <a:pt x="52" y="20"/>
                        <a:pt x="52" y="20"/>
                      </a:cubicBezTo>
                      <a:cubicBezTo>
                        <a:pt x="53" y="19"/>
                        <a:pt x="53" y="19"/>
                        <a:pt x="53" y="19"/>
                      </a:cubicBezTo>
                      <a:cubicBezTo>
                        <a:pt x="53" y="20"/>
                        <a:pt x="53" y="20"/>
                        <a:pt x="53" y="20"/>
                      </a:cubicBezTo>
                      <a:cubicBezTo>
                        <a:pt x="55" y="19"/>
                        <a:pt x="55" y="19"/>
                        <a:pt x="55" y="19"/>
                      </a:cubicBezTo>
                      <a:cubicBezTo>
                        <a:pt x="55" y="19"/>
                        <a:pt x="55" y="19"/>
                        <a:pt x="55" y="19"/>
                      </a:cubicBezTo>
                      <a:cubicBezTo>
                        <a:pt x="54" y="18"/>
                        <a:pt x="54" y="18"/>
                        <a:pt x="54" y="18"/>
                      </a:cubicBezTo>
                      <a:cubicBezTo>
                        <a:pt x="54" y="17"/>
                        <a:pt x="54" y="17"/>
                        <a:pt x="54" y="17"/>
                      </a:cubicBezTo>
                      <a:cubicBezTo>
                        <a:pt x="55" y="17"/>
                        <a:pt x="55" y="17"/>
                        <a:pt x="55" y="17"/>
                      </a:cubicBezTo>
                      <a:cubicBezTo>
                        <a:pt x="55" y="17"/>
                        <a:pt x="55" y="17"/>
                        <a:pt x="55" y="17"/>
                      </a:cubicBezTo>
                      <a:cubicBezTo>
                        <a:pt x="56" y="16"/>
                        <a:pt x="56" y="16"/>
                        <a:pt x="56" y="16"/>
                      </a:cubicBezTo>
                      <a:cubicBezTo>
                        <a:pt x="56" y="14"/>
                        <a:pt x="56" y="14"/>
                        <a:pt x="56" y="14"/>
                      </a:cubicBezTo>
                      <a:cubicBezTo>
                        <a:pt x="55" y="13"/>
                        <a:pt x="55" y="13"/>
                        <a:pt x="55" y="13"/>
                      </a:cubicBezTo>
                      <a:cubicBezTo>
                        <a:pt x="55" y="14"/>
                        <a:pt x="55" y="14"/>
                        <a:pt x="55" y="14"/>
                      </a:cubicBezTo>
                      <a:cubicBezTo>
                        <a:pt x="54" y="14"/>
                        <a:pt x="54" y="14"/>
                        <a:pt x="54" y="14"/>
                      </a:cubicBezTo>
                      <a:cubicBezTo>
                        <a:pt x="54" y="14"/>
                        <a:pt x="54" y="14"/>
                        <a:pt x="54" y="14"/>
                      </a:cubicBezTo>
                      <a:cubicBezTo>
                        <a:pt x="53" y="14"/>
                        <a:pt x="53" y="14"/>
                        <a:pt x="53" y="14"/>
                      </a:cubicBezTo>
                      <a:cubicBezTo>
                        <a:pt x="52" y="14"/>
                        <a:pt x="52" y="14"/>
                        <a:pt x="52" y="14"/>
                      </a:cubicBezTo>
                      <a:cubicBezTo>
                        <a:pt x="53" y="16"/>
                        <a:pt x="53" y="16"/>
                        <a:pt x="53" y="16"/>
                      </a:cubicBezTo>
                      <a:cubicBezTo>
                        <a:pt x="53" y="17"/>
                        <a:pt x="53" y="17"/>
                        <a:pt x="53" y="17"/>
                      </a:cubicBezTo>
                      <a:cubicBezTo>
                        <a:pt x="52" y="17"/>
                        <a:pt x="52" y="17"/>
                        <a:pt x="52" y="17"/>
                      </a:cubicBezTo>
                      <a:cubicBezTo>
                        <a:pt x="52" y="17"/>
                        <a:pt x="52" y="17"/>
                        <a:pt x="52" y="17"/>
                      </a:cubicBezTo>
                      <a:cubicBezTo>
                        <a:pt x="50" y="18"/>
                        <a:pt x="50" y="18"/>
                        <a:pt x="50" y="18"/>
                      </a:cubicBezTo>
                      <a:cubicBezTo>
                        <a:pt x="49" y="19"/>
                        <a:pt x="49" y="19"/>
                        <a:pt x="49" y="19"/>
                      </a:cubicBezTo>
                      <a:cubicBezTo>
                        <a:pt x="49" y="20"/>
                        <a:pt x="49" y="20"/>
                        <a:pt x="49" y="20"/>
                      </a:cubicBezTo>
                      <a:cubicBezTo>
                        <a:pt x="48" y="19"/>
                        <a:pt x="48" y="19"/>
                        <a:pt x="48" y="19"/>
                      </a:cubicBezTo>
                      <a:cubicBezTo>
                        <a:pt x="48" y="20"/>
                        <a:pt x="48" y="20"/>
                        <a:pt x="48" y="20"/>
                      </a:cubicBezTo>
                      <a:cubicBezTo>
                        <a:pt x="47" y="19"/>
                        <a:pt x="47" y="19"/>
                        <a:pt x="47" y="19"/>
                      </a:cubicBezTo>
                      <a:cubicBezTo>
                        <a:pt x="46" y="19"/>
                        <a:pt x="46" y="19"/>
                        <a:pt x="46" y="19"/>
                      </a:cubicBezTo>
                      <a:cubicBezTo>
                        <a:pt x="46" y="20"/>
                        <a:pt x="46" y="20"/>
                        <a:pt x="46" y="20"/>
                      </a:cubicBezTo>
                      <a:cubicBezTo>
                        <a:pt x="45" y="20"/>
                        <a:pt x="45" y="20"/>
                        <a:pt x="45" y="20"/>
                      </a:cubicBezTo>
                      <a:cubicBezTo>
                        <a:pt x="45" y="19"/>
                        <a:pt x="45" y="19"/>
                        <a:pt x="45" y="19"/>
                      </a:cubicBezTo>
                      <a:cubicBezTo>
                        <a:pt x="45" y="18"/>
                        <a:pt x="45" y="18"/>
                        <a:pt x="45" y="18"/>
                      </a:cubicBezTo>
                      <a:cubicBezTo>
                        <a:pt x="44" y="18"/>
                        <a:pt x="44" y="18"/>
                        <a:pt x="44" y="18"/>
                      </a:cubicBezTo>
                      <a:cubicBezTo>
                        <a:pt x="44" y="18"/>
                        <a:pt x="44" y="18"/>
                        <a:pt x="44" y="18"/>
                      </a:cubicBezTo>
                      <a:cubicBezTo>
                        <a:pt x="44" y="19"/>
                        <a:pt x="44" y="19"/>
                        <a:pt x="44" y="19"/>
                      </a:cubicBezTo>
                      <a:cubicBezTo>
                        <a:pt x="43" y="19"/>
                        <a:pt x="43" y="19"/>
                        <a:pt x="43" y="19"/>
                      </a:cubicBezTo>
                      <a:cubicBezTo>
                        <a:pt x="42" y="19"/>
                        <a:pt x="42" y="19"/>
                        <a:pt x="42" y="19"/>
                      </a:cubicBezTo>
                      <a:cubicBezTo>
                        <a:pt x="41" y="19"/>
                        <a:pt x="41" y="19"/>
                        <a:pt x="41" y="19"/>
                      </a:cubicBezTo>
                      <a:cubicBezTo>
                        <a:pt x="40" y="19"/>
                        <a:pt x="40" y="19"/>
                        <a:pt x="40" y="19"/>
                      </a:cubicBezTo>
                      <a:cubicBezTo>
                        <a:pt x="40" y="19"/>
                        <a:pt x="40" y="19"/>
                        <a:pt x="40" y="19"/>
                      </a:cubicBezTo>
                      <a:cubicBezTo>
                        <a:pt x="39" y="19"/>
                        <a:pt x="39" y="19"/>
                        <a:pt x="39" y="19"/>
                      </a:cubicBezTo>
                      <a:cubicBezTo>
                        <a:pt x="38" y="19"/>
                        <a:pt x="38" y="19"/>
                        <a:pt x="38" y="19"/>
                      </a:cubicBezTo>
                      <a:cubicBezTo>
                        <a:pt x="37" y="19"/>
                        <a:pt x="37" y="19"/>
                        <a:pt x="37" y="19"/>
                      </a:cubicBezTo>
                      <a:close/>
                      <a:moveTo>
                        <a:pt x="33" y="20"/>
                      </a:moveTo>
                      <a:cubicBezTo>
                        <a:pt x="34" y="19"/>
                        <a:pt x="34" y="19"/>
                        <a:pt x="34" y="19"/>
                      </a:cubicBezTo>
                      <a:cubicBezTo>
                        <a:pt x="35" y="20"/>
                        <a:pt x="35" y="20"/>
                        <a:pt x="35" y="20"/>
                      </a:cubicBezTo>
                      <a:cubicBezTo>
                        <a:pt x="35" y="20"/>
                        <a:pt x="35" y="20"/>
                        <a:pt x="35" y="20"/>
                      </a:cubicBezTo>
                      <a:cubicBezTo>
                        <a:pt x="35" y="21"/>
                        <a:pt x="35" y="21"/>
                        <a:pt x="35" y="21"/>
                      </a:cubicBezTo>
                      <a:cubicBezTo>
                        <a:pt x="34" y="20"/>
                        <a:pt x="34" y="20"/>
                        <a:pt x="34" y="20"/>
                      </a:cubicBezTo>
                      <a:cubicBezTo>
                        <a:pt x="33" y="20"/>
                        <a:pt x="33" y="20"/>
                        <a:pt x="33" y="20"/>
                      </a:cubicBezTo>
                      <a:close/>
                      <a:moveTo>
                        <a:pt x="31" y="18"/>
                      </a:moveTo>
                      <a:cubicBezTo>
                        <a:pt x="30" y="19"/>
                        <a:pt x="30" y="19"/>
                        <a:pt x="30" y="19"/>
                      </a:cubicBezTo>
                      <a:cubicBezTo>
                        <a:pt x="31" y="19"/>
                        <a:pt x="31" y="19"/>
                        <a:pt x="31" y="19"/>
                      </a:cubicBezTo>
                      <a:cubicBezTo>
                        <a:pt x="31" y="19"/>
                        <a:pt x="31" y="19"/>
                        <a:pt x="31" y="19"/>
                      </a:cubicBezTo>
                      <a:cubicBezTo>
                        <a:pt x="31" y="18"/>
                        <a:pt x="31" y="18"/>
                        <a:pt x="31" y="18"/>
                      </a:cubicBezTo>
                      <a:cubicBezTo>
                        <a:pt x="31" y="18"/>
                        <a:pt x="31" y="18"/>
                        <a:pt x="31" y="18"/>
                      </a:cubicBezTo>
                      <a:close/>
                      <a:moveTo>
                        <a:pt x="26" y="15"/>
                      </a:moveTo>
                      <a:cubicBezTo>
                        <a:pt x="25" y="16"/>
                        <a:pt x="25" y="16"/>
                        <a:pt x="25" y="16"/>
                      </a:cubicBezTo>
                      <a:cubicBezTo>
                        <a:pt x="25" y="16"/>
                        <a:pt x="25" y="16"/>
                        <a:pt x="25" y="16"/>
                      </a:cubicBezTo>
                      <a:cubicBezTo>
                        <a:pt x="26" y="16"/>
                        <a:pt x="26" y="16"/>
                        <a:pt x="26" y="16"/>
                      </a:cubicBezTo>
                      <a:cubicBezTo>
                        <a:pt x="26" y="15"/>
                        <a:pt x="26" y="15"/>
                        <a:pt x="26" y="15"/>
                      </a:cubicBezTo>
                      <a:close/>
                      <a:moveTo>
                        <a:pt x="56" y="35"/>
                      </a:moveTo>
                      <a:cubicBezTo>
                        <a:pt x="56" y="36"/>
                        <a:pt x="56" y="36"/>
                        <a:pt x="56" y="36"/>
                      </a:cubicBezTo>
                      <a:cubicBezTo>
                        <a:pt x="56" y="36"/>
                        <a:pt x="56" y="36"/>
                        <a:pt x="56" y="36"/>
                      </a:cubicBezTo>
                      <a:cubicBezTo>
                        <a:pt x="57" y="36"/>
                        <a:pt x="57" y="36"/>
                        <a:pt x="57" y="36"/>
                      </a:cubicBezTo>
                      <a:cubicBezTo>
                        <a:pt x="58" y="37"/>
                        <a:pt x="58" y="37"/>
                        <a:pt x="58" y="37"/>
                      </a:cubicBezTo>
                      <a:cubicBezTo>
                        <a:pt x="58" y="36"/>
                        <a:pt x="58" y="36"/>
                        <a:pt x="58" y="36"/>
                      </a:cubicBezTo>
                      <a:cubicBezTo>
                        <a:pt x="56" y="35"/>
                        <a:pt x="56" y="35"/>
                        <a:pt x="56" y="35"/>
                      </a:cubicBezTo>
                      <a:close/>
                      <a:moveTo>
                        <a:pt x="49" y="32"/>
                      </a:moveTo>
                      <a:cubicBezTo>
                        <a:pt x="49" y="33"/>
                        <a:pt x="49" y="33"/>
                        <a:pt x="49" y="33"/>
                      </a:cubicBezTo>
                      <a:cubicBezTo>
                        <a:pt x="49" y="33"/>
                        <a:pt x="49" y="33"/>
                        <a:pt x="49" y="33"/>
                      </a:cubicBezTo>
                      <a:cubicBezTo>
                        <a:pt x="49" y="33"/>
                        <a:pt x="49" y="33"/>
                        <a:pt x="49" y="33"/>
                      </a:cubicBezTo>
                      <a:cubicBezTo>
                        <a:pt x="50" y="34"/>
                        <a:pt x="50" y="34"/>
                        <a:pt x="50" y="34"/>
                      </a:cubicBezTo>
                      <a:cubicBezTo>
                        <a:pt x="49" y="34"/>
                        <a:pt x="49" y="34"/>
                        <a:pt x="49" y="34"/>
                      </a:cubicBezTo>
                      <a:cubicBezTo>
                        <a:pt x="50" y="34"/>
                        <a:pt x="50" y="34"/>
                        <a:pt x="50" y="34"/>
                      </a:cubicBezTo>
                      <a:cubicBezTo>
                        <a:pt x="50" y="33"/>
                        <a:pt x="50" y="33"/>
                        <a:pt x="50" y="33"/>
                      </a:cubicBezTo>
                      <a:cubicBezTo>
                        <a:pt x="50" y="32"/>
                        <a:pt x="50" y="32"/>
                        <a:pt x="50" y="32"/>
                      </a:cubicBezTo>
                      <a:cubicBezTo>
                        <a:pt x="49" y="32"/>
                        <a:pt x="49" y="32"/>
                        <a:pt x="49" y="32"/>
                      </a:cubicBezTo>
                      <a:close/>
                      <a:moveTo>
                        <a:pt x="47" y="39"/>
                      </a:moveTo>
                      <a:cubicBezTo>
                        <a:pt x="48" y="39"/>
                        <a:pt x="48" y="39"/>
                        <a:pt x="48" y="39"/>
                      </a:cubicBezTo>
                      <a:cubicBezTo>
                        <a:pt x="48" y="39"/>
                        <a:pt x="48" y="39"/>
                        <a:pt x="48" y="39"/>
                      </a:cubicBezTo>
                      <a:cubicBezTo>
                        <a:pt x="48" y="39"/>
                        <a:pt x="48" y="39"/>
                        <a:pt x="48" y="39"/>
                      </a:cubicBezTo>
                      <a:cubicBezTo>
                        <a:pt x="49" y="40"/>
                        <a:pt x="49" y="40"/>
                        <a:pt x="49" y="40"/>
                      </a:cubicBezTo>
                      <a:cubicBezTo>
                        <a:pt x="49" y="40"/>
                        <a:pt x="49" y="40"/>
                        <a:pt x="49" y="40"/>
                      </a:cubicBezTo>
                      <a:cubicBezTo>
                        <a:pt x="49" y="39"/>
                        <a:pt x="49" y="39"/>
                        <a:pt x="49" y="39"/>
                      </a:cubicBezTo>
                      <a:cubicBezTo>
                        <a:pt x="50" y="39"/>
                        <a:pt x="50" y="39"/>
                        <a:pt x="50" y="39"/>
                      </a:cubicBezTo>
                      <a:cubicBezTo>
                        <a:pt x="50" y="40"/>
                        <a:pt x="50" y="40"/>
                        <a:pt x="50" y="40"/>
                      </a:cubicBezTo>
                      <a:cubicBezTo>
                        <a:pt x="49" y="40"/>
                        <a:pt x="49" y="40"/>
                        <a:pt x="49" y="40"/>
                      </a:cubicBezTo>
                      <a:cubicBezTo>
                        <a:pt x="49" y="40"/>
                        <a:pt x="49" y="40"/>
                        <a:pt x="49" y="40"/>
                      </a:cubicBezTo>
                      <a:cubicBezTo>
                        <a:pt x="49" y="41"/>
                        <a:pt x="49" y="41"/>
                        <a:pt x="49" y="41"/>
                      </a:cubicBezTo>
                      <a:cubicBezTo>
                        <a:pt x="48" y="40"/>
                        <a:pt x="48" y="40"/>
                        <a:pt x="48" y="40"/>
                      </a:cubicBezTo>
                      <a:cubicBezTo>
                        <a:pt x="48" y="40"/>
                        <a:pt x="48" y="40"/>
                        <a:pt x="48" y="40"/>
                      </a:cubicBezTo>
                      <a:cubicBezTo>
                        <a:pt x="48" y="40"/>
                        <a:pt x="48" y="40"/>
                        <a:pt x="48" y="40"/>
                      </a:cubicBezTo>
                      <a:cubicBezTo>
                        <a:pt x="48" y="39"/>
                        <a:pt x="48" y="39"/>
                        <a:pt x="48" y="39"/>
                      </a:cubicBezTo>
                      <a:cubicBezTo>
                        <a:pt x="47" y="39"/>
                        <a:pt x="47" y="39"/>
                        <a:pt x="47" y="39"/>
                      </a:cubicBezTo>
                      <a:cubicBezTo>
                        <a:pt x="47" y="39"/>
                        <a:pt x="47" y="39"/>
                        <a:pt x="47" y="39"/>
                      </a:cubicBezTo>
                      <a:close/>
                      <a:moveTo>
                        <a:pt x="46" y="37"/>
                      </a:moveTo>
                      <a:cubicBezTo>
                        <a:pt x="46" y="38"/>
                        <a:pt x="46" y="38"/>
                        <a:pt x="46" y="38"/>
                      </a:cubicBezTo>
                      <a:cubicBezTo>
                        <a:pt x="47" y="38"/>
                        <a:pt x="47" y="38"/>
                        <a:pt x="47" y="38"/>
                      </a:cubicBezTo>
                      <a:cubicBezTo>
                        <a:pt x="48" y="38"/>
                        <a:pt x="48" y="38"/>
                        <a:pt x="48" y="38"/>
                      </a:cubicBezTo>
                      <a:cubicBezTo>
                        <a:pt x="48" y="39"/>
                        <a:pt x="48" y="39"/>
                        <a:pt x="48" y="39"/>
                      </a:cubicBezTo>
                      <a:cubicBezTo>
                        <a:pt x="48" y="38"/>
                        <a:pt x="48" y="38"/>
                        <a:pt x="48" y="38"/>
                      </a:cubicBezTo>
                      <a:cubicBezTo>
                        <a:pt x="48" y="38"/>
                        <a:pt x="48" y="38"/>
                        <a:pt x="48" y="38"/>
                      </a:cubicBezTo>
                      <a:cubicBezTo>
                        <a:pt x="47" y="38"/>
                        <a:pt x="47" y="38"/>
                        <a:pt x="47" y="38"/>
                      </a:cubicBezTo>
                      <a:cubicBezTo>
                        <a:pt x="48" y="38"/>
                        <a:pt x="48" y="38"/>
                        <a:pt x="48" y="38"/>
                      </a:cubicBezTo>
                      <a:cubicBezTo>
                        <a:pt x="47" y="37"/>
                        <a:pt x="47" y="37"/>
                        <a:pt x="47" y="37"/>
                      </a:cubicBezTo>
                      <a:cubicBezTo>
                        <a:pt x="47" y="37"/>
                        <a:pt x="47" y="37"/>
                        <a:pt x="47" y="37"/>
                      </a:cubicBezTo>
                      <a:cubicBezTo>
                        <a:pt x="46" y="37"/>
                        <a:pt x="46" y="37"/>
                        <a:pt x="46" y="37"/>
                      </a:cubicBezTo>
                      <a:cubicBezTo>
                        <a:pt x="46" y="37"/>
                        <a:pt x="46" y="37"/>
                        <a:pt x="46" y="37"/>
                      </a:cubicBezTo>
                      <a:close/>
                      <a:moveTo>
                        <a:pt x="44" y="37"/>
                      </a:moveTo>
                      <a:cubicBezTo>
                        <a:pt x="45" y="37"/>
                        <a:pt x="45" y="37"/>
                        <a:pt x="45" y="37"/>
                      </a:cubicBezTo>
                      <a:cubicBezTo>
                        <a:pt x="45" y="37"/>
                        <a:pt x="45" y="37"/>
                        <a:pt x="45" y="37"/>
                      </a:cubicBezTo>
                      <a:cubicBezTo>
                        <a:pt x="45" y="38"/>
                        <a:pt x="45" y="38"/>
                        <a:pt x="45" y="38"/>
                      </a:cubicBezTo>
                      <a:cubicBezTo>
                        <a:pt x="46" y="38"/>
                        <a:pt x="46" y="38"/>
                        <a:pt x="46" y="38"/>
                      </a:cubicBezTo>
                      <a:cubicBezTo>
                        <a:pt x="46" y="37"/>
                        <a:pt x="46" y="37"/>
                        <a:pt x="46" y="37"/>
                      </a:cubicBezTo>
                      <a:cubicBezTo>
                        <a:pt x="45" y="37"/>
                        <a:pt x="45" y="37"/>
                        <a:pt x="45" y="37"/>
                      </a:cubicBezTo>
                      <a:cubicBezTo>
                        <a:pt x="45" y="36"/>
                        <a:pt x="45" y="36"/>
                        <a:pt x="45" y="36"/>
                      </a:cubicBezTo>
                      <a:cubicBezTo>
                        <a:pt x="44" y="37"/>
                        <a:pt x="44" y="37"/>
                        <a:pt x="44" y="37"/>
                      </a:cubicBezTo>
                      <a:close/>
                      <a:moveTo>
                        <a:pt x="20" y="29"/>
                      </a:moveTo>
                      <a:cubicBezTo>
                        <a:pt x="20" y="30"/>
                        <a:pt x="20" y="30"/>
                        <a:pt x="20" y="30"/>
                      </a:cubicBezTo>
                      <a:cubicBezTo>
                        <a:pt x="20" y="30"/>
                        <a:pt x="20" y="30"/>
                        <a:pt x="20" y="30"/>
                      </a:cubicBezTo>
                      <a:cubicBezTo>
                        <a:pt x="20" y="30"/>
                        <a:pt x="20" y="29"/>
                        <a:pt x="20" y="29"/>
                      </a:cubicBezTo>
                      <a:close/>
                      <a:moveTo>
                        <a:pt x="18" y="30"/>
                      </a:moveTo>
                      <a:cubicBezTo>
                        <a:pt x="18" y="29"/>
                        <a:pt x="18" y="29"/>
                        <a:pt x="18" y="29"/>
                      </a:cubicBezTo>
                      <a:cubicBezTo>
                        <a:pt x="19" y="29"/>
                        <a:pt x="19" y="29"/>
                        <a:pt x="19" y="29"/>
                      </a:cubicBezTo>
                      <a:cubicBezTo>
                        <a:pt x="18" y="30"/>
                        <a:pt x="18" y="30"/>
                        <a:pt x="18" y="30"/>
                      </a:cubicBezTo>
                      <a:close/>
                      <a:moveTo>
                        <a:pt x="17" y="29"/>
                      </a:moveTo>
                      <a:cubicBezTo>
                        <a:pt x="17" y="30"/>
                        <a:pt x="17" y="30"/>
                        <a:pt x="17" y="30"/>
                      </a:cubicBezTo>
                      <a:cubicBezTo>
                        <a:pt x="17" y="30"/>
                        <a:pt x="17" y="30"/>
                        <a:pt x="17" y="30"/>
                      </a:cubicBezTo>
                      <a:cubicBezTo>
                        <a:pt x="17" y="30"/>
                        <a:pt x="17" y="30"/>
                        <a:pt x="17" y="30"/>
                      </a:cubicBezTo>
                      <a:cubicBezTo>
                        <a:pt x="17" y="29"/>
                        <a:pt x="17" y="29"/>
                        <a:pt x="17" y="29"/>
                      </a:cubicBezTo>
                      <a:close/>
                      <a:moveTo>
                        <a:pt x="18" y="30"/>
                      </a:moveTo>
                      <a:cubicBezTo>
                        <a:pt x="17" y="29"/>
                        <a:pt x="17" y="29"/>
                        <a:pt x="17" y="29"/>
                      </a:cubicBezTo>
                      <a:cubicBezTo>
                        <a:pt x="18" y="29"/>
                        <a:pt x="18" y="29"/>
                        <a:pt x="18" y="29"/>
                      </a:cubicBezTo>
                      <a:cubicBezTo>
                        <a:pt x="18" y="29"/>
                        <a:pt x="18" y="29"/>
                        <a:pt x="18" y="29"/>
                      </a:cubicBezTo>
                      <a:cubicBezTo>
                        <a:pt x="18" y="29"/>
                        <a:pt x="18" y="29"/>
                        <a:pt x="18" y="29"/>
                      </a:cubicBezTo>
                      <a:cubicBezTo>
                        <a:pt x="18" y="30"/>
                        <a:pt x="18" y="30"/>
                        <a:pt x="18" y="30"/>
                      </a:cubicBezTo>
                      <a:close/>
                      <a:moveTo>
                        <a:pt x="15" y="30"/>
                      </a:moveTo>
                      <a:cubicBezTo>
                        <a:pt x="15" y="30"/>
                        <a:pt x="15" y="30"/>
                        <a:pt x="15" y="30"/>
                      </a:cubicBezTo>
                      <a:cubicBezTo>
                        <a:pt x="15" y="30"/>
                        <a:pt x="15" y="30"/>
                        <a:pt x="15" y="30"/>
                      </a:cubicBezTo>
                      <a:cubicBezTo>
                        <a:pt x="15" y="30"/>
                        <a:pt x="15" y="30"/>
                        <a:pt x="15" y="30"/>
                      </a:cubicBezTo>
                      <a:cubicBezTo>
                        <a:pt x="15" y="30"/>
                        <a:pt x="15" y="30"/>
                        <a:pt x="15" y="30"/>
                      </a:cubicBezTo>
                      <a:close/>
                      <a:moveTo>
                        <a:pt x="13" y="33"/>
                      </a:moveTo>
                      <a:cubicBezTo>
                        <a:pt x="14" y="33"/>
                        <a:pt x="14" y="33"/>
                        <a:pt x="14" y="33"/>
                      </a:cubicBezTo>
                      <a:cubicBezTo>
                        <a:pt x="14" y="33"/>
                        <a:pt x="14" y="33"/>
                        <a:pt x="14" y="33"/>
                      </a:cubicBezTo>
                      <a:cubicBezTo>
                        <a:pt x="14" y="33"/>
                        <a:pt x="14" y="33"/>
                        <a:pt x="14" y="33"/>
                      </a:cubicBezTo>
                      <a:cubicBezTo>
                        <a:pt x="14" y="33"/>
                        <a:pt x="13" y="33"/>
                        <a:pt x="13" y="33"/>
                      </a:cubicBezTo>
                      <a:close/>
                      <a:moveTo>
                        <a:pt x="13" y="34"/>
                      </a:moveTo>
                      <a:cubicBezTo>
                        <a:pt x="13" y="34"/>
                        <a:pt x="13" y="34"/>
                        <a:pt x="13" y="34"/>
                      </a:cubicBezTo>
                      <a:cubicBezTo>
                        <a:pt x="13" y="33"/>
                        <a:pt x="13" y="33"/>
                        <a:pt x="13" y="33"/>
                      </a:cubicBezTo>
                      <a:cubicBezTo>
                        <a:pt x="13" y="34"/>
                        <a:pt x="13" y="34"/>
                        <a:pt x="13" y="34"/>
                      </a:cubicBezTo>
                      <a:close/>
                      <a:moveTo>
                        <a:pt x="12" y="33"/>
                      </a:moveTo>
                      <a:cubicBezTo>
                        <a:pt x="12" y="33"/>
                        <a:pt x="12" y="33"/>
                        <a:pt x="12" y="33"/>
                      </a:cubicBezTo>
                      <a:cubicBezTo>
                        <a:pt x="13" y="33"/>
                        <a:pt x="13" y="33"/>
                        <a:pt x="13" y="33"/>
                      </a:cubicBezTo>
                      <a:cubicBezTo>
                        <a:pt x="12" y="33"/>
                        <a:pt x="12" y="33"/>
                        <a:pt x="12" y="33"/>
                      </a:cubicBezTo>
                      <a:close/>
                      <a:moveTo>
                        <a:pt x="12" y="33"/>
                      </a:moveTo>
                      <a:cubicBezTo>
                        <a:pt x="12" y="33"/>
                        <a:pt x="13" y="34"/>
                        <a:pt x="13" y="34"/>
                      </a:cubicBezTo>
                      <a:cubicBezTo>
                        <a:pt x="13" y="35"/>
                        <a:pt x="13" y="35"/>
                        <a:pt x="13" y="35"/>
                      </a:cubicBezTo>
                      <a:cubicBezTo>
                        <a:pt x="12" y="33"/>
                        <a:pt x="12" y="33"/>
                        <a:pt x="12" y="33"/>
                      </a:cubicBezTo>
                      <a:close/>
                      <a:moveTo>
                        <a:pt x="13" y="31"/>
                      </a:moveTo>
                      <a:cubicBezTo>
                        <a:pt x="14" y="31"/>
                        <a:pt x="14" y="31"/>
                        <a:pt x="14" y="31"/>
                      </a:cubicBezTo>
                      <a:cubicBezTo>
                        <a:pt x="13" y="32"/>
                        <a:pt x="13" y="32"/>
                        <a:pt x="13" y="32"/>
                      </a:cubicBezTo>
                      <a:cubicBezTo>
                        <a:pt x="13" y="32"/>
                        <a:pt x="13" y="32"/>
                        <a:pt x="13" y="32"/>
                      </a:cubicBezTo>
                      <a:cubicBezTo>
                        <a:pt x="13" y="31"/>
                        <a:pt x="13" y="31"/>
                        <a:pt x="13" y="31"/>
                      </a:cubicBezTo>
                      <a:close/>
                      <a:moveTo>
                        <a:pt x="14" y="31"/>
                      </a:moveTo>
                      <a:cubicBezTo>
                        <a:pt x="14" y="31"/>
                        <a:pt x="14" y="31"/>
                        <a:pt x="14" y="31"/>
                      </a:cubicBezTo>
                      <a:cubicBezTo>
                        <a:pt x="14" y="30"/>
                        <a:pt x="14" y="30"/>
                        <a:pt x="14" y="30"/>
                      </a:cubicBezTo>
                      <a:cubicBezTo>
                        <a:pt x="14" y="30"/>
                        <a:pt x="14" y="30"/>
                        <a:pt x="14" y="30"/>
                      </a:cubicBezTo>
                      <a:cubicBezTo>
                        <a:pt x="15" y="31"/>
                        <a:pt x="15" y="31"/>
                        <a:pt x="15" y="31"/>
                      </a:cubicBezTo>
                      <a:cubicBezTo>
                        <a:pt x="14" y="31"/>
                        <a:pt x="14" y="31"/>
                        <a:pt x="14" y="31"/>
                      </a:cubicBezTo>
                      <a:cubicBezTo>
                        <a:pt x="14" y="31"/>
                        <a:pt x="14" y="31"/>
                        <a:pt x="14" y="31"/>
                      </a:cubicBezTo>
                      <a:close/>
                      <a:moveTo>
                        <a:pt x="1" y="7"/>
                      </a:moveTo>
                      <a:cubicBezTo>
                        <a:pt x="1" y="23"/>
                        <a:pt x="1" y="23"/>
                        <a:pt x="1" y="23"/>
                      </a:cubicBezTo>
                      <a:cubicBezTo>
                        <a:pt x="1" y="24"/>
                        <a:pt x="1" y="24"/>
                        <a:pt x="1" y="24"/>
                      </a:cubicBezTo>
                      <a:cubicBezTo>
                        <a:pt x="1" y="25"/>
                        <a:pt x="1" y="25"/>
                        <a:pt x="1" y="25"/>
                      </a:cubicBezTo>
                      <a:cubicBezTo>
                        <a:pt x="1" y="25"/>
                        <a:pt x="1" y="25"/>
                        <a:pt x="1" y="25"/>
                      </a:cubicBezTo>
                      <a:cubicBezTo>
                        <a:pt x="0" y="36"/>
                        <a:pt x="0" y="36"/>
                        <a:pt x="0" y="36"/>
                      </a:cubicBezTo>
                      <a:cubicBezTo>
                        <a:pt x="2" y="36"/>
                        <a:pt x="2" y="36"/>
                        <a:pt x="2" y="36"/>
                      </a:cubicBezTo>
                      <a:cubicBezTo>
                        <a:pt x="3" y="36"/>
                        <a:pt x="3" y="36"/>
                        <a:pt x="3" y="36"/>
                      </a:cubicBezTo>
                      <a:cubicBezTo>
                        <a:pt x="3" y="36"/>
                        <a:pt x="3" y="36"/>
                        <a:pt x="3" y="36"/>
                      </a:cubicBezTo>
                      <a:cubicBezTo>
                        <a:pt x="6" y="36"/>
                        <a:pt x="6" y="36"/>
                        <a:pt x="6" y="36"/>
                      </a:cubicBezTo>
                      <a:cubicBezTo>
                        <a:pt x="7" y="36"/>
                        <a:pt x="7" y="36"/>
                        <a:pt x="7" y="36"/>
                      </a:cubicBezTo>
                      <a:cubicBezTo>
                        <a:pt x="7" y="36"/>
                        <a:pt x="7" y="36"/>
                        <a:pt x="7" y="36"/>
                      </a:cubicBezTo>
                      <a:cubicBezTo>
                        <a:pt x="7" y="37"/>
                        <a:pt x="7" y="37"/>
                        <a:pt x="7" y="37"/>
                      </a:cubicBezTo>
                      <a:cubicBezTo>
                        <a:pt x="8" y="37"/>
                        <a:pt x="8" y="37"/>
                        <a:pt x="8" y="37"/>
                      </a:cubicBezTo>
                      <a:cubicBezTo>
                        <a:pt x="9" y="37"/>
                        <a:pt x="9" y="37"/>
                        <a:pt x="9" y="37"/>
                      </a:cubicBezTo>
                      <a:cubicBezTo>
                        <a:pt x="11" y="36"/>
                        <a:pt x="11" y="36"/>
                        <a:pt x="11" y="36"/>
                      </a:cubicBezTo>
                      <a:cubicBezTo>
                        <a:pt x="11" y="36"/>
                        <a:pt x="11" y="36"/>
                        <a:pt x="11" y="36"/>
                      </a:cubicBezTo>
                      <a:cubicBezTo>
                        <a:pt x="11" y="36"/>
                        <a:pt x="11" y="36"/>
                        <a:pt x="11" y="36"/>
                      </a:cubicBezTo>
                      <a:cubicBezTo>
                        <a:pt x="12" y="36"/>
                        <a:pt x="12" y="36"/>
                        <a:pt x="12" y="36"/>
                      </a:cubicBezTo>
                      <a:cubicBezTo>
                        <a:pt x="12" y="34"/>
                        <a:pt x="12" y="34"/>
                        <a:pt x="12" y="34"/>
                      </a:cubicBezTo>
                      <a:cubicBezTo>
                        <a:pt x="11" y="33"/>
                        <a:pt x="11" y="33"/>
                        <a:pt x="11" y="33"/>
                      </a:cubicBezTo>
                      <a:cubicBezTo>
                        <a:pt x="9" y="33"/>
                        <a:pt x="9" y="33"/>
                        <a:pt x="9" y="33"/>
                      </a:cubicBezTo>
                      <a:cubicBezTo>
                        <a:pt x="8" y="33"/>
                        <a:pt x="8" y="33"/>
                        <a:pt x="8" y="33"/>
                      </a:cubicBezTo>
                      <a:cubicBezTo>
                        <a:pt x="8" y="32"/>
                        <a:pt x="8" y="32"/>
                        <a:pt x="8" y="32"/>
                      </a:cubicBezTo>
                      <a:cubicBezTo>
                        <a:pt x="7" y="32"/>
                        <a:pt x="7" y="32"/>
                        <a:pt x="7" y="32"/>
                      </a:cubicBezTo>
                      <a:cubicBezTo>
                        <a:pt x="7" y="32"/>
                        <a:pt x="7" y="32"/>
                        <a:pt x="7" y="32"/>
                      </a:cubicBezTo>
                      <a:cubicBezTo>
                        <a:pt x="6" y="32"/>
                        <a:pt x="6" y="32"/>
                        <a:pt x="6" y="32"/>
                      </a:cubicBezTo>
                      <a:cubicBezTo>
                        <a:pt x="6" y="31"/>
                        <a:pt x="6" y="31"/>
                        <a:pt x="6" y="31"/>
                      </a:cubicBezTo>
                      <a:cubicBezTo>
                        <a:pt x="5" y="30"/>
                        <a:pt x="5" y="30"/>
                        <a:pt x="5" y="30"/>
                      </a:cubicBezTo>
                      <a:cubicBezTo>
                        <a:pt x="4" y="29"/>
                        <a:pt x="4" y="29"/>
                        <a:pt x="4" y="29"/>
                      </a:cubicBezTo>
                      <a:cubicBezTo>
                        <a:pt x="4" y="29"/>
                        <a:pt x="4" y="29"/>
                        <a:pt x="4" y="29"/>
                      </a:cubicBezTo>
                      <a:cubicBezTo>
                        <a:pt x="3" y="28"/>
                        <a:pt x="3" y="28"/>
                        <a:pt x="3" y="28"/>
                      </a:cubicBezTo>
                      <a:cubicBezTo>
                        <a:pt x="4" y="29"/>
                        <a:pt x="4" y="29"/>
                        <a:pt x="4" y="29"/>
                      </a:cubicBezTo>
                      <a:cubicBezTo>
                        <a:pt x="4" y="29"/>
                        <a:pt x="4" y="29"/>
                        <a:pt x="4" y="29"/>
                      </a:cubicBezTo>
                      <a:cubicBezTo>
                        <a:pt x="5" y="29"/>
                        <a:pt x="5" y="29"/>
                        <a:pt x="5" y="29"/>
                      </a:cubicBezTo>
                      <a:cubicBezTo>
                        <a:pt x="6" y="30"/>
                        <a:pt x="6" y="30"/>
                        <a:pt x="6" y="30"/>
                      </a:cubicBezTo>
                      <a:cubicBezTo>
                        <a:pt x="6" y="31"/>
                        <a:pt x="6" y="31"/>
                        <a:pt x="6" y="31"/>
                      </a:cubicBezTo>
                      <a:cubicBezTo>
                        <a:pt x="6" y="32"/>
                        <a:pt x="6" y="32"/>
                        <a:pt x="6" y="32"/>
                      </a:cubicBezTo>
                      <a:cubicBezTo>
                        <a:pt x="7" y="32"/>
                        <a:pt x="7" y="32"/>
                        <a:pt x="7" y="32"/>
                      </a:cubicBezTo>
                      <a:cubicBezTo>
                        <a:pt x="8" y="32"/>
                        <a:pt x="8" y="32"/>
                        <a:pt x="8" y="32"/>
                      </a:cubicBezTo>
                      <a:cubicBezTo>
                        <a:pt x="8" y="33"/>
                        <a:pt x="8" y="33"/>
                        <a:pt x="8" y="33"/>
                      </a:cubicBezTo>
                      <a:cubicBezTo>
                        <a:pt x="9" y="32"/>
                        <a:pt x="9" y="32"/>
                        <a:pt x="9" y="32"/>
                      </a:cubicBezTo>
                      <a:cubicBezTo>
                        <a:pt x="10" y="33"/>
                        <a:pt x="10" y="33"/>
                        <a:pt x="10" y="33"/>
                      </a:cubicBezTo>
                      <a:cubicBezTo>
                        <a:pt x="11" y="32"/>
                        <a:pt x="11" y="32"/>
                        <a:pt x="11" y="32"/>
                      </a:cubicBezTo>
                      <a:cubicBezTo>
                        <a:pt x="12" y="32"/>
                        <a:pt x="12" y="32"/>
                        <a:pt x="12" y="32"/>
                      </a:cubicBezTo>
                      <a:cubicBezTo>
                        <a:pt x="13" y="32"/>
                        <a:pt x="13" y="32"/>
                        <a:pt x="13" y="32"/>
                      </a:cubicBezTo>
                      <a:cubicBezTo>
                        <a:pt x="13" y="32"/>
                        <a:pt x="13" y="32"/>
                        <a:pt x="13" y="32"/>
                      </a:cubicBezTo>
                      <a:cubicBezTo>
                        <a:pt x="12" y="31"/>
                        <a:pt x="12" y="31"/>
                        <a:pt x="12" y="31"/>
                      </a:cubicBezTo>
                      <a:cubicBezTo>
                        <a:pt x="12" y="31"/>
                        <a:pt x="12" y="31"/>
                        <a:pt x="12" y="31"/>
                      </a:cubicBezTo>
                      <a:cubicBezTo>
                        <a:pt x="11" y="31"/>
                        <a:pt x="11" y="31"/>
                        <a:pt x="11" y="31"/>
                      </a:cubicBezTo>
                      <a:cubicBezTo>
                        <a:pt x="11" y="30"/>
                        <a:pt x="11" y="30"/>
                        <a:pt x="11" y="30"/>
                      </a:cubicBezTo>
                      <a:cubicBezTo>
                        <a:pt x="11" y="31"/>
                        <a:pt x="11" y="31"/>
                        <a:pt x="11" y="31"/>
                      </a:cubicBezTo>
                      <a:cubicBezTo>
                        <a:pt x="12" y="30"/>
                        <a:pt x="12" y="30"/>
                        <a:pt x="12" y="30"/>
                      </a:cubicBezTo>
                      <a:cubicBezTo>
                        <a:pt x="13" y="31"/>
                        <a:pt x="13" y="31"/>
                        <a:pt x="13" y="31"/>
                      </a:cubicBezTo>
                      <a:cubicBezTo>
                        <a:pt x="14" y="31"/>
                        <a:pt x="14" y="31"/>
                        <a:pt x="14" y="31"/>
                      </a:cubicBezTo>
                      <a:cubicBezTo>
                        <a:pt x="13" y="31"/>
                        <a:pt x="13" y="31"/>
                        <a:pt x="13" y="31"/>
                      </a:cubicBezTo>
                      <a:cubicBezTo>
                        <a:pt x="13" y="30"/>
                        <a:pt x="13" y="30"/>
                        <a:pt x="13" y="30"/>
                      </a:cubicBezTo>
                      <a:cubicBezTo>
                        <a:pt x="14" y="30"/>
                        <a:pt x="14" y="30"/>
                        <a:pt x="14" y="30"/>
                      </a:cubicBezTo>
                      <a:cubicBezTo>
                        <a:pt x="14" y="29"/>
                        <a:pt x="14" y="29"/>
                        <a:pt x="14" y="29"/>
                      </a:cubicBezTo>
                      <a:cubicBezTo>
                        <a:pt x="14" y="29"/>
                        <a:pt x="14" y="29"/>
                        <a:pt x="14" y="29"/>
                      </a:cubicBezTo>
                      <a:cubicBezTo>
                        <a:pt x="13" y="28"/>
                        <a:pt x="13" y="28"/>
                        <a:pt x="13" y="28"/>
                      </a:cubicBezTo>
                      <a:cubicBezTo>
                        <a:pt x="13" y="28"/>
                        <a:pt x="13" y="28"/>
                        <a:pt x="13" y="28"/>
                      </a:cubicBezTo>
                      <a:cubicBezTo>
                        <a:pt x="14" y="28"/>
                        <a:pt x="14" y="28"/>
                        <a:pt x="14" y="28"/>
                      </a:cubicBezTo>
                      <a:cubicBezTo>
                        <a:pt x="14" y="29"/>
                        <a:pt x="14" y="29"/>
                        <a:pt x="14" y="29"/>
                      </a:cubicBezTo>
                      <a:cubicBezTo>
                        <a:pt x="15" y="30"/>
                        <a:pt x="15" y="30"/>
                        <a:pt x="15" y="30"/>
                      </a:cubicBezTo>
                      <a:cubicBezTo>
                        <a:pt x="16" y="30"/>
                        <a:pt x="16" y="30"/>
                        <a:pt x="16" y="30"/>
                      </a:cubicBezTo>
                      <a:cubicBezTo>
                        <a:pt x="16" y="29"/>
                        <a:pt x="16" y="29"/>
                        <a:pt x="16" y="29"/>
                      </a:cubicBezTo>
                      <a:cubicBezTo>
                        <a:pt x="16" y="29"/>
                        <a:pt x="16" y="29"/>
                        <a:pt x="16" y="29"/>
                      </a:cubicBezTo>
                      <a:cubicBezTo>
                        <a:pt x="16" y="29"/>
                        <a:pt x="16" y="29"/>
                        <a:pt x="16" y="29"/>
                      </a:cubicBezTo>
                      <a:cubicBezTo>
                        <a:pt x="16" y="30"/>
                        <a:pt x="16" y="30"/>
                        <a:pt x="16" y="30"/>
                      </a:cubicBezTo>
                      <a:cubicBezTo>
                        <a:pt x="17" y="30"/>
                        <a:pt x="17" y="30"/>
                        <a:pt x="17" y="30"/>
                      </a:cubicBezTo>
                      <a:cubicBezTo>
                        <a:pt x="17" y="29"/>
                        <a:pt x="17" y="29"/>
                        <a:pt x="17" y="29"/>
                      </a:cubicBezTo>
                      <a:cubicBezTo>
                        <a:pt x="16" y="29"/>
                        <a:pt x="16" y="29"/>
                        <a:pt x="16" y="29"/>
                      </a:cubicBezTo>
                      <a:cubicBezTo>
                        <a:pt x="17" y="28"/>
                        <a:pt x="17" y="28"/>
                        <a:pt x="17" y="28"/>
                      </a:cubicBezTo>
                      <a:cubicBezTo>
                        <a:pt x="17" y="28"/>
                        <a:pt x="17" y="28"/>
                        <a:pt x="17" y="28"/>
                      </a:cubicBezTo>
                      <a:cubicBezTo>
                        <a:pt x="18" y="28"/>
                        <a:pt x="18" y="28"/>
                        <a:pt x="18" y="28"/>
                      </a:cubicBezTo>
                      <a:cubicBezTo>
                        <a:pt x="19" y="29"/>
                        <a:pt x="19" y="29"/>
                        <a:pt x="19" y="29"/>
                      </a:cubicBezTo>
                      <a:cubicBezTo>
                        <a:pt x="19" y="29"/>
                        <a:pt x="19" y="29"/>
                        <a:pt x="19" y="29"/>
                      </a:cubicBezTo>
                      <a:cubicBezTo>
                        <a:pt x="20" y="29"/>
                        <a:pt x="20" y="29"/>
                        <a:pt x="20" y="29"/>
                      </a:cubicBezTo>
                      <a:cubicBezTo>
                        <a:pt x="20" y="29"/>
                        <a:pt x="20" y="29"/>
                        <a:pt x="20" y="29"/>
                      </a:cubicBezTo>
                      <a:cubicBezTo>
                        <a:pt x="21" y="29"/>
                        <a:pt x="21" y="29"/>
                        <a:pt x="21" y="29"/>
                      </a:cubicBezTo>
                      <a:cubicBezTo>
                        <a:pt x="21" y="29"/>
                        <a:pt x="21" y="29"/>
                        <a:pt x="21" y="29"/>
                      </a:cubicBezTo>
                      <a:cubicBezTo>
                        <a:pt x="21" y="30"/>
                        <a:pt x="21" y="30"/>
                        <a:pt x="21" y="30"/>
                      </a:cubicBezTo>
                      <a:cubicBezTo>
                        <a:pt x="21" y="30"/>
                        <a:pt x="21" y="30"/>
                        <a:pt x="21" y="30"/>
                      </a:cubicBezTo>
                      <a:cubicBezTo>
                        <a:pt x="22" y="31"/>
                        <a:pt x="22" y="31"/>
                        <a:pt x="22" y="31"/>
                      </a:cubicBezTo>
                      <a:cubicBezTo>
                        <a:pt x="24" y="31"/>
                        <a:pt x="24" y="31"/>
                        <a:pt x="24" y="31"/>
                      </a:cubicBezTo>
                      <a:cubicBezTo>
                        <a:pt x="25" y="32"/>
                        <a:pt x="25" y="32"/>
                        <a:pt x="25" y="32"/>
                      </a:cubicBezTo>
                      <a:cubicBezTo>
                        <a:pt x="26" y="32"/>
                        <a:pt x="26" y="32"/>
                        <a:pt x="26" y="32"/>
                      </a:cubicBezTo>
                      <a:cubicBezTo>
                        <a:pt x="26" y="34"/>
                        <a:pt x="26" y="34"/>
                        <a:pt x="26" y="34"/>
                      </a:cubicBezTo>
                      <a:cubicBezTo>
                        <a:pt x="27" y="35"/>
                        <a:pt x="27" y="35"/>
                        <a:pt x="27" y="35"/>
                      </a:cubicBezTo>
                      <a:cubicBezTo>
                        <a:pt x="28" y="36"/>
                        <a:pt x="28" y="36"/>
                        <a:pt x="28" y="36"/>
                      </a:cubicBezTo>
                      <a:cubicBezTo>
                        <a:pt x="29" y="36"/>
                        <a:pt x="29" y="36"/>
                        <a:pt x="29" y="36"/>
                      </a:cubicBezTo>
                      <a:cubicBezTo>
                        <a:pt x="29" y="37"/>
                        <a:pt x="29" y="37"/>
                        <a:pt x="29" y="37"/>
                      </a:cubicBezTo>
                      <a:cubicBezTo>
                        <a:pt x="29" y="37"/>
                        <a:pt x="29" y="37"/>
                        <a:pt x="29" y="37"/>
                      </a:cubicBezTo>
                      <a:cubicBezTo>
                        <a:pt x="31" y="39"/>
                        <a:pt x="31" y="39"/>
                        <a:pt x="31" y="39"/>
                      </a:cubicBezTo>
                      <a:cubicBezTo>
                        <a:pt x="31" y="40"/>
                        <a:pt x="31" y="40"/>
                        <a:pt x="31" y="40"/>
                      </a:cubicBezTo>
                      <a:cubicBezTo>
                        <a:pt x="32" y="40"/>
                        <a:pt x="32" y="40"/>
                        <a:pt x="32" y="40"/>
                      </a:cubicBezTo>
                      <a:cubicBezTo>
                        <a:pt x="34" y="41"/>
                        <a:pt x="34" y="41"/>
                        <a:pt x="34" y="41"/>
                      </a:cubicBezTo>
                      <a:cubicBezTo>
                        <a:pt x="34" y="40"/>
                        <a:pt x="34" y="40"/>
                        <a:pt x="34" y="40"/>
                      </a:cubicBezTo>
                      <a:cubicBezTo>
                        <a:pt x="35" y="40"/>
                        <a:pt x="35" y="40"/>
                        <a:pt x="35" y="40"/>
                      </a:cubicBezTo>
                      <a:cubicBezTo>
                        <a:pt x="35" y="41"/>
                        <a:pt x="35" y="41"/>
                        <a:pt x="35" y="41"/>
                      </a:cubicBezTo>
                      <a:cubicBezTo>
                        <a:pt x="37" y="41"/>
                        <a:pt x="37" y="41"/>
                        <a:pt x="37" y="41"/>
                      </a:cubicBezTo>
                      <a:cubicBezTo>
                        <a:pt x="38" y="41"/>
                        <a:pt x="38" y="41"/>
                        <a:pt x="38" y="41"/>
                      </a:cubicBezTo>
                      <a:cubicBezTo>
                        <a:pt x="39" y="41"/>
                        <a:pt x="39" y="41"/>
                        <a:pt x="39" y="41"/>
                      </a:cubicBezTo>
                      <a:cubicBezTo>
                        <a:pt x="40" y="41"/>
                        <a:pt x="40" y="41"/>
                        <a:pt x="40" y="41"/>
                      </a:cubicBezTo>
                      <a:cubicBezTo>
                        <a:pt x="41" y="41"/>
                        <a:pt x="41" y="41"/>
                        <a:pt x="41" y="41"/>
                      </a:cubicBezTo>
                      <a:cubicBezTo>
                        <a:pt x="42" y="41"/>
                        <a:pt x="42" y="41"/>
                        <a:pt x="42" y="41"/>
                      </a:cubicBezTo>
                      <a:cubicBezTo>
                        <a:pt x="42" y="42"/>
                        <a:pt x="42" y="42"/>
                        <a:pt x="42" y="42"/>
                      </a:cubicBezTo>
                      <a:cubicBezTo>
                        <a:pt x="43" y="42"/>
                        <a:pt x="43" y="42"/>
                        <a:pt x="43" y="42"/>
                      </a:cubicBezTo>
                      <a:cubicBezTo>
                        <a:pt x="44" y="42"/>
                        <a:pt x="44" y="42"/>
                        <a:pt x="44" y="42"/>
                      </a:cubicBezTo>
                      <a:cubicBezTo>
                        <a:pt x="43" y="42"/>
                        <a:pt x="43" y="42"/>
                        <a:pt x="43" y="42"/>
                      </a:cubicBezTo>
                      <a:cubicBezTo>
                        <a:pt x="44" y="43"/>
                        <a:pt x="44" y="43"/>
                        <a:pt x="44" y="43"/>
                      </a:cubicBezTo>
                      <a:cubicBezTo>
                        <a:pt x="45" y="43"/>
                        <a:pt x="45" y="43"/>
                        <a:pt x="45" y="43"/>
                      </a:cubicBezTo>
                      <a:cubicBezTo>
                        <a:pt x="46" y="43"/>
                        <a:pt x="46" y="43"/>
                        <a:pt x="46" y="43"/>
                      </a:cubicBezTo>
                      <a:cubicBezTo>
                        <a:pt x="46" y="42"/>
                        <a:pt x="46" y="42"/>
                        <a:pt x="46" y="42"/>
                      </a:cubicBezTo>
                      <a:cubicBezTo>
                        <a:pt x="45" y="42"/>
                        <a:pt x="45" y="42"/>
                        <a:pt x="45" y="42"/>
                      </a:cubicBezTo>
                      <a:cubicBezTo>
                        <a:pt x="45" y="42"/>
                        <a:pt x="45" y="42"/>
                        <a:pt x="45" y="42"/>
                      </a:cubicBezTo>
                      <a:cubicBezTo>
                        <a:pt x="45" y="41"/>
                        <a:pt x="45" y="41"/>
                        <a:pt x="45" y="41"/>
                      </a:cubicBezTo>
                      <a:cubicBezTo>
                        <a:pt x="46" y="41"/>
                        <a:pt x="46" y="41"/>
                        <a:pt x="46" y="41"/>
                      </a:cubicBezTo>
                      <a:cubicBezTo>
                        <a:pt x="47" y="41"/>
                        <a:pt x="47" y="41"/>
                        <a:pt x="47" y="41"/>
                      </a:cubicBezTo>
                      <a:cubicBezTo>
                        <a:pt x="47" y="41"/>
                        <a:pt x="47" y="41"/>
                        <a:pt x="47" y="41"/>
                      </a:cubicBezTo>
                      <a:cubicBezTo>
                        <a:pt x="46" y="41"/>
                        <a:pt x="46" y="41"/>
                        <a:pt x="46" y="41"/>
                      </a:cubicBezTo>
                      <a:cubicBezTo>
                        <a:pt x="43" y="40"/>
                        <a:pt x="43" y="40"/>
                        <a:pt x="43" y="40"/>
                      </a:cubicBezTo>
                      <a:cubicBezTo>
                        <a:pt x="42" y="40"/>
                        <a:pt x="42" y="40"/>
                        <a:pt x="42" y="40"/>
                      </a:cubicBezTo>
                      <a:cubicBezTo>
                        <a:pt x="42" y="39"/>
                        <a:pt x="42" y="39"/>
                        <a:pt x="42" y="39"/>
                      </a:cubicBezTo>
                      <a:cubicBezTo>
                        <a:pt x="43" y="39"/>
                        <a:pt x="43" y="39"/>
                        <a:pt x="43" y="39"/>
                      </a:cubicBezTo>
                      <a:cubicBezTo>
                        <a:pt x="44" y="39"/>
                        <a:pt x="44" y="39"/>
                        <a:pt x="44" y="39"/>
                      </a:cubicBezTo>
                      <a:cubicBezTo>
                        <a:pt x="44" y="39"/>
                        <a:pt x="44" y="39"/>
                        <a:pt x="44" y="39"/>
                      </a:cubicBezTo>
                      <a:cubicBezTo>
                        <a:pt x="43" y="38"/>
                        <a:pt x="43" y="38"/>
                        <a:pt x="43" y="38"/>
                      </a:cubicBezTo>
                      <a:cubicBezTo>
                        <a:pt x="42" y="38"/>
                        <a:pt x="42" y="38"/>
                        <a:pt x="42" y="38"/>
                      </a:cubicBezTo>
                      <a:cubicBezTo>
                        <a:pt x="40" y="38"/>
                        <a:pt x="40" y="38"/>
                        <a:pt x="40" y="38"/>
                      </a:cubicBezTo>
                      <a:cubicBezTo>
                        <a:pt x="40" y="38"/>
                        <a:pt x="40" y="38"/>
                        <a:pt x="40" y="38"/>
                      </a:cubicBezTo>
                      <a:cubicBezTo>
                        <a:pt x="40" y="37"/>
                        <a:pt x="40" y="37"/>
                        <a:pt x="40" y="37"/>
                      </a:cubicBezTo>
                      <a:cubicBezTo>
                        <a:pt x="40" y="36"/>
                        <a:pt x="40" y="36"/>
                        <a:pt x="40" y="36"/>
                      </a:cubicBezTo>
                      <a:cubicBezTo>
                        <a:pt x="40" y="36"/>
                        <a:pt x="40" y="36"/>
                        <a:pt x="40" y="36"/>
                      </a:cubicBezTo>
                      <a:cubicBezTo>
                        <a:pt x="40" y="35"/>
                        <a:pt x="40" y="35"/>
                        <a:pt x="40" y="35"/>
                      </a:cubicBezTo>
                      <a:cubicBezTo>
                        <a:pt x="39" y="35"/>
                        <a:pt x="39" y="35"/>
                        <a:pt x="39" y="35"/>
                      </a:cubicBezTo>
                      <a:cubicBezTo>
                        <a:pt x="39" y="36"/>
                        <a:pt x="39" y="36"/>
                        <a:pt x="39" y="36"/>
                      </a:cubicBezTo>
                      <a:cubicBezTo>
                        <a:pt x="38" y="35"/>
                        <a:pt x="38" y="35"/>
                        <a:pt x="38" y="35"/>
                      </a:cubicBezTo>
                      <a:cubicBezTo>
                        <a:pt x="38" y="35"/>
                        <a:pt x="38" y="35"/>
                        <a:pt x="38" y="35"/>
                      </a:cubicBezTo>
                      <a:cubicBezTo>
                        <a:pt x="37" y="35"/>
                        <a:pt x="37" y="35"/>
                        <a:pt x="37" y="35"/>
                      </a:cubicBezTo>
                      <a:cubicBezTo>
                        <a:pt x="37" y="33"/>
                        <a:pt x="37" y="33"/>
                        <a:pt x="37" y="33"/>
                      </a:cubicBezTo>
                      <a:cubicBezTo>
                        <a:pt x="36" y="33"/>
                        <a:pt x="36" y="33"/>
                        <a:pt x="36" y="33"/>
                      </a:cubicBezTo>
                      <a:cubicBezTo>
                        <a:pt x="35" y="31"/>
                        <a:pt x="35" y="31"/>
                        <a:pt x="35" y="31"/>
                      </a:cubicBezTo>
                      <a:cubicBezTo>
                        <a:pt x="35" y="31"/>
                        <a:pt x="35" y="31"/>
                        <a:pt x="35" y="31"/>
                      </a:cubicBezTo>
                      <a:cubicBezTo>
                        <a:pt x="34" y="30"/>
                        <a:pt x="34" y="30"/>
                        <a:pt x="34" y="30"/>
                      </a:cubicBezTo>
                      <a:cubicBezTo>
                        <a:pt x="33" y="30"/>
                        <a:pt x="33" y="30"/>
                        <a:pt x="33" y="30"/>
                      </a:cubicBezTo>
                      <a:cubicBezTo>
                        <a:pt x="33" y="30"/>
                        <a:pt x="33" y="30"/>
                        <a:pt x="33" y="30"/>
                      </a:cubicBezTo>
                      <a:cubicBezTo>
                        <a:pt x="32" y="29"/>
                        <a:pt x="32" y="29"/>
                        <a:pt x="32" y="29"/>
                      </a:cubicBezTo>
                      <a:cubicBezTo>
                        <a:pt x="31" y="28"/>
                        <a:pt x="31" y="28"/>
                        <a:pt x="31" y="28"/>
                      </a:cubicBezTo>
                      <a:cubicBezTo>
                        <a:pt x="31" y="27"/>
                        <a:pt x="31" y="27"/>
                        <a:pt x="31" y="27"/>
                      </a:cubicBezTo>
                      <a:cubicBezTo>
                        <a:pt x="30" y="27"/>
                        <a:pt x="30" y="27"/>
                        <a:pt x="30" y="27"/>
                      </a:cubicBezTo>
                      <a:cubicBezTo>
                        <a:pt x="30" y="26"/>
                        <a:pt x="30" y="26"/>
                        <a:pt x="30" y="26"/>
                      </a:cubicBezTo>
                      <a:cubicBezTo>
                        <a:pt x="30" y="25"/>
                        <a:pt x="30" y="25"/>
                        <a:pt x="30" y="25"/>
                      </a:cubicBezTo>
                      <a:cubicBezTo>
                        <a:pt x="32" y="25"/>
                        <a:pt x="32" y="25"/>
                        <a:pt x="32" y="25"/>
                      </a:cubicBezTo>
                      <a:cubicBezTo>
                        <a:pt x="33" y="25"/>
                        <a:pt x="33" y="25"/>
                        <a:pt x="33" y="25"/>
                      </a:cubicBezTo>
                      <a:cubicBezTo>
                        <a:pt x="34" y="24"/>
                        <a:pt x="34" y="24"/>
                        <a:pt x="34" y="24"/>
                      </a:cubicBezTo>
                      <a:cubicBezTo>
                        <a:pt x="34" y="23"/>
                        <a:pt x="34" y="23"/>
                        <a:pt x="34" y="23"/>
                      </a:cubicBezTo>
                      <a:cubicBezTo>
                        <a:pt x="32" y="22"/>
                        <a:pt x="32" y="22"/>
                        <a:pt x="32" y="22"/>
                      </a:cubicBezTo>
                      <a:cubicBezTo>
                        <a:pt x="31" y="22"/>
                        <a:pt x="31" y="22"/>
                        <a:pt x="31" y="22"/>
                      </a:cubicBezTo>
                      <a:cubicBezTo>
                        <a:pt x="31" y="22"/>
                        <a:pt x="31" y="22"/>
                        <a:pt x="31" y="22"/>
                      </a:cubicBezTo>
                      <a:cubicBezTo>
                        <a:pt x="30" y="21"/>
                        <a:pt x="30" y="21"/>
                        <a:pt x="30" y="21"/>
                      </a:cubicBezTo>
                      <a:cubicBezTo>
                        <a:pt x="28" y="21"/>
                        <a:pt x="28" y="21"/>
                        <a:pt x="28" y="21"/>
                      </a:cubicBezTo>
                      <a:cubicBezTo>
                        <a:pt x="27" y="20"/>
                        <a:pt x="27" y="20"/>
                        <a:pt x="27" y="20"/>
                      </a:cubicBezTo>
                      <a:cubicBezTo>
                        <a:pt x="26" y="20"/>
                        <a:pt x="26" y="20"/>
                        <a:pt x="26" y="20"/>
                      </a:cubicBezTo>
                      <a:cubicBezTo>
                        <a:pt x="24" y="19"/>
                        <a:pt x="24" y="19"/>
                        <a:pt x="24" y="19"/>
                      </a:cubicBezTo>
                      <a:cubicBezTo>
                        <a:pt x="24" y="19"/>
                        <a:pt x="24" y="19"/>
                        <a:pt x="24" y="19"/>
                      </a:cubicBezTo>
                      <a:cubicBezTo>
                        <a:pt x="24" y="18"/>
                        <a:pt x="24" y="18"/>
                        <a:pt x="24" y="18"/>
                      </a:cubicBezTo>
                      <a:cubicBezTo>
                        <a:pt x="25" y="17"/>
                        <a:pt x="25" y="17"/>
                        <a:pt x="25" y="17"/>
                      </a:cubicBezTo>
                      <a:cubicBezTo>
                        <a:pt x="24" y="16"/>
                        <a:pt x="24" y="16"/>
                        <a:pt x="24" y="16"/>
                      </a:cubicBezTo>
                      <a:cubicBezTo>
                        <a:pt x="22" y="15"/>
                        <a:pt x="22" y="15"/>
                        <a:pt x="22" y="15"/>
                      </a:cubicBezTo>
                      <a:cubicBezTo>
                        <a:pt x="22" y="15"/>
                        <a:pt x="22" y="15"/>
                        <a:pt x="22" y="15"/>
                      </a:cubicBezTo>
                      <a:cubicBezTo>
                        <a:pt x="21" y="15"/>
                        <a:pt x="21" y="15"/>
                        <a:pt x="21" y="15"/>
                      </a:cubicBezTo>
                      <a:cubicBezTo>
                        <a:pt x="21" y="14"/>
                        <a:pt x="21" y="14"/>
                        <a:pt x="21" y="14"/>
                      </a:cubicBezTo>
                      <a:cubicBezTo>
                        <a:pt x="20" y="14"/>
                        <a:pt x="20" y="14"/>
                        <a:pt x="20" y="14"/>
                      </a:cubicBezTo>
                      <a:cubicBezTo>
                        <a:pt x="20" y="13"/>
                        <a:pt x="20" y="13"/>
                        <a:pt x="20" y="13"/>
                      </a:cubicBezTo>
                      <a:cubicBezTo>
                        <a:pt x="19" y="13"/>
                        <a:pt x="19" y="13"/>
                        <a:pt x="19" y="13"/>
                      </a:cubicBezTo>
                      <a:cubicBezTo>
                        <a:pt x="18" y="12"/>
                        <a:pt x="18" y="12"/>
                        <a:pt x="18" y="12"/>
                      </a:cubicBezTo>
                      <a:cubicBezTo>
                        <a:pt x="18" y="12"/>
                        <a:pt x="18" y="12"/>
                        <a:pt x="18" y="12"/>
                      </a:cubicBezTo>
                      <a:cubicBezTo>
                        <a:pt x="17" y="12"/>
                        <a:pt x="17" y="12"/>
                        <a:pt x="17" y="12"/>
                      </a:cubicBezTo>
                      <a:cubicBezTo>
                        <a:pt x="16" y="12"/>
                        <a:pt x="16" y="12"/>
                        <a:pt x="16" y="12"/>
                      </a:cubicBezTo>
                      <a:cubicBezTo>
                        <a:pt x="15" y="11"/>
                        <a:pt x="15" y="11"/>
                        <a:pt x="15" y="11"/>
                      </a:cubicBezTo>
                      <a:cubicBezTo>
                        <a:pt x="14" y="11"/>
                        <a:pt x="14" y="11"/>
                        <a:pt x="14" y="11"/>
                      </a:cubicBezTo>
                      <a:cubicBezTo>
                        <a:pt x="12" y="10"/>
                        <a:pt x="12" y="10"/>
                        <a:pt x="12" y="10"/>
                      </a:cubicBezTo>
                      <a:cubicBezTo>
                        <a:pt x="9" y="10"/>
                        <a:pt x="9" y="10"/>
                        <a:pt x="9" y="10"/>
                      </a:cubicBezTo>
                      <a:cubicBezTo>
                        <a:pt x="8" y="9"/>
                        <a:pt x="8" y="9"/>
                        <a:pt x="8" y="9"/>
                      </a:cubicBezTo>
                      <a:cubicBezTo>
                        <a:pt x="8" y="9"/>
                        <a:pt x="8" y="9"/>
                        <a:pt x="8" y="9"/>
                      </a:cubicBezTo>
                      <a:cubicBezTo>
                        <a:pt x="7" y="9"/>
                        <a:pt x="7" y="9"/>
                        <a:pt x="7" y="9"/>
                      </a:cubicBezTo>
                      <a:cubicBezTo>
                        <a:pt x="7" y="9"/>
                        <a:pt x="7" y="9"/>
                        <a:pt x="7" y="9"/>
                      </a:cubicBezTo>
                      <a:cubicBezTo>
                        <a:pt x="5" y="8"/>
                        <a:pt x="5" y="8"/>
                        <a:pt x="5" y="8"/>
                      </a:cubicBezTo>
                      <a:cubicBezTo>
                        <a:pt x="5" y="8"/>
                        <a:pt x="5" y="8"/>
                        <a:pt x="5" y="8"/>
                      </a:cubicBezTo>
                      <a:cubicBezTo>
                        <a:pt x="4" y="7"/>
                        <a:pt x="4" y="7"/>
                        <a:pt x="4" y="7"/>
                      </a:cubicBezTo>
                      <a:cubicBezTo>
                        <a:pt x="2" y="7"/>
                        <a:pt x="2" y="7"/>
                        <a:pt x="2" y="7"/>
                      </a:cubicBezTo>
                      <a:lnTo>
                        <a:pt x="1" y="7"/>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Freeform 24">
                  <a:extLst>
                    <a:ext uri="{FF2B5EF4-FFF2-40B4-BE49-F238E27FC236}">
                      <a16:creationId xmlns:a16="http://schemas.microsoft.com/office/drawing/2014/main" id="{6D26A8B8-AD0E-B635-A470-6737CFD6AB85}"/>
                    </a:ext>
                  </a:extLst>
                </p:cNvPr>
                <p:cNvSpPr>
                  <a:spLocks noEditPoints="1"/>
                </p:cNvSpPr>
                <p:nvPr/>
              </p:nvSpPr>
              <p:spPr bwMode="auto">
                <a:xfrm>
                  <a:off x="3979" y="2391"/>
                  <a:ext cx="114" cy="154"/>
                </a:xfrm>
                <a:custGeom>
                  <a:avLst/>
                  <a:gdLst>
                    <a:gd name="T0" fmla="*/ 19 w 48"/>
                    <a:gd name="T1" fmla="*/ 1 h 65"/>
                    <a:gd name="T2" fmla="*/ 24 w 48"/>
                    <a:gd name="T3" fmla="*/ 25 h 65"/>
                    <a:gd name="T4" fmla="*/ 31 w 48"/>
                    <a:gd name="T5" fmla="*/ 26 h 65"/>
                    <a:gd name="T6" fmla="*/ 34 w 48"/>
                    <a:gd name="T7" fmla="*/ 30 h 65"/>
                    <a:gd name="T8" fmla="*/ 33 w 48"/>
                    <a:gd name="T9" fmla="*/ 31 h 65"/>
                    <a:gd name="T10" fmla="*/ 26 w 48"/>
                    <a:gd name="T11" fmla="*/ 26 h 65"/>
                    <a:gd name="T12" fmla="*/ 20 w 48"/>
                    <a:gd name="T13" fmla="*/ 28 h 65"/>
                    <a:gd name="T14" fmla="*/ 17 w 48"/>
                    <a:gd name="T15" fmla="*/ 24 h 65"/>
                    <a:gd name="T16" fmla="*/ 14 w 48"/>
                    <a:gd name="T17" fmla="*/ 22 h 65"/>
                    <a:gd name="T18" fmla="*/ 13 w 48"/>
                    <a:gd name="T19" fmla="*/ 16 h 65"/>
                    <a:gd name="T20" fmla="*/ 18 w 48"/>
                    <a:gd name="T21" fmla="*/ 4 h 65"/>
                    <a:gd name="T22" fmla="*/ 22 w 48"/>
                    <a:gd name="T23" fmla="*/ 8 h 65"/>
                    <a:gd name="T24" fmla="*/ 22 w 48"/>
                    <a:gd name="T25" fmla="*/ 16 h 65"/>
                    <a:gd name="T26" fmla="*/ 23 w 48"/>
                    <a:gd name="T27" fmla="*/ 24 h 65"/>
                    <a:gd name="T28" fmla="*/ 24 w 48"/>
                    <a:gd name="T29" fmla="*/ 21 h 65"/>
                    <a:gd name="T30" fmla="*/ 16 w 48"/>
                    <a:gd name="T31" fmla="*/ 29 h 65"/>
                    <a:gd name="T32" fmla="*/ 22 w 48"/>
                    <a:gd name="T33" fmla="*/ 33 h 65"/>
                    <a:gd name="T34" fmla="*/ 34 w 48"/>
                    <a:gd name="T35" fmla="*/ 26 h 65"/>
                    <a:gd name="T36" fmla="*/ 24 w 48"/>
                    <a:gd name="T37" fmla="*/ 29 h 65"/>
                    <a:gd name="T38" fmla="*/ 25 w 48"/>
                    <a:gd name="T39" fmla="*/ 34 h 65"/>
                    <a:gd name="T40" fmla="*/ 29 w 48"/>
                    <a:gd name="T41" fmla="*/ 30 h 65"/>
                    <a:gd name="T42" fmla="*/ 32 w 48"/>
                    <a:gd name="T43" fmla="*/ 32 h 65"/>
                    <a:gd name="T44" fmla="*/ 31 w 48"/>
                    <a:gd name="T45" fmla="*/ 33 h 65"/>
                    <a:gd name="T46" fmla="*/ 25 w 48"/>
                    <a:gd name="T47" fmla="*/ 42 h 65"/>
                    <a:gd name="T48" fmla="*/ 26 w 48"/>
                    <a:gd name="T49" fmla="*/ 36 h 65"/>
                    <a:gd name="T50" fmla="*/ 29 w 48"/>
                    <a:gd name="T51" fmla="*/ 39 h 65"/>
                    <a:gd name="T52" fmla="*/ 28 w 48"/>
                    <a:gd name="T53" fmla="*/ 42 h 65"/>
                    <a:gd name="T54" fmla="*/ 34 w 48"/>
                    <a:gd name="T55" fmla="*/ 42 h 65"/>
                    <a:gd name="T56" fmla="*/ 32 w 48"/>
                    <a:gd name="T57" fmla="*/ 47 h 65"/>
                    <a:gd name="T58" fmla="*/ 29 w 48"/>
                    <a:gd name="T59" fmla="*/ 42 h 65"/>
                    <a:gd name="T60" fmla="*/ 31 w 48"/>
                    <a:gd name="T61" fmla="*/ 48 h 65"/>
                    <a:gd name="T62" fmla="*/ 37 w 48"/>
                    <a:gd name="T63" fmla="*/ 44 h 65"/>
                    <a:gd name="T64" fmla="*/ 41 w 48"/>
                    <a:gd name="T65" fmla="*/ 45 h 65"/>
                    <a:gd name="T66" fmla="*/ 37 w 48"/>
                    <a:gd name="T67" fmla="*/ 38 h 65"/>
                    <a:gd name="T68" fmla="*/ 43 w 48"/>
                    <a:gd name="T69" fmla="*/ 39 h 65"/>
                    <a:gd name="T70" fmla="*/ 39 w 48"/>
                    <a:gd name="T71" fmla="*/ 32 h 65"/>
                    <a:gd name="T72" fmla="*/ 39 w 48"/>
                    <a:gd name="T73" fmla="*/ 37 h 65"/>
                    <a:gd name="T74" fmla="*/ 36 w 48"/>
                    <a:gd name="T75" fmla="*/ 39 h 65"/>
                    <a:gd name="T76" fmla="*/ 41 w 48"/>
                    <a:gd name="T77" fmla="*/ 43 h 65"/>
                    <a:gd name="T78" fmla="*/ 43 w 48"/>
                    <a:gd name="T79" fmla="*/ 40 h 65"/>
                    <a:gd name="T80" fmla="*/ 43 w 48"/>
                    <a:gd name="T81" fmla="*/ 42 h 65"/>
                    <a:gd name="T82" fmla="*/ 44 w 48"/>
                    <a:gd name="T83" fmla="*/ 46 h 65"/>
                    <a:gd name="T84" fmla="*/ 26 w 48"/>
                    <a:gd name="T85" fmla="*/ 55 h 65"/>
                    <a:gd name="T86" fmla="*/ 33 w 48"/>
                    <a:gd name="T87" fmla="*/ 50 h 65"/>
                    <a:gd name="T88" fmla="*/ 39 w 48"/>
                    <a:gd name="T89" fmla="*/ 51 h 65"/>
                    <a:gd name="T90" fmla="*/ 41 w 48"/>
                    <a:gd name="T91" fmla="*/ 45 h 65"/>
                    <a:gd name="T92" fmla="*/ 45 w 48"/>
                    <a:gd name="T93" fmla="*/ 51 h 65"/>
                    <a:gd name="T94" fmla="*/ 48 w 48"/>
                    <a:gd name="T95" fmla="*/ 58 h 65"/>
                    <a:gd name="T96" fmla="*/ 46 w 48"/>
                    <a:gd name="T97" fmla="*/ 59 h 65"/>
                    <a:gd name="T98" fmla="*/ 43 w 48"/>
                    <a:gd name="T99" fmla="*/ 64 h 65"/>
                    <a:gd name="T100" fmla="*/ 37 w 48"/>
                    <a:gd name="T101" fmla="*/ 63 h 65"/>
                    <a:gd name="T102" fmla="*/ 36 w 48"/>
                    <a:gd name="T103" fmla="*/ 57 h 65"/>
                    <a:gd name="T104" fmla="*/ 32 w 48"/>
                    <a:gd name="T105" fmla="*/ 56 h 65"/>
                    <a:gd name="T106" fmla="*/ 28 w 48"/>
                    <a:gd name="T107" fmla="*/ 55 h 65"/>
                    <a:gd name="T108" fmla="*/ 26 w 48"/>
                    <a:gd name="T109" fmla="*/ 60 h 65"/>
                    <a:gd name="T110" fmla="*/ 16 w 48"/>
                    <a:gd name="T111" fmla="*/ 35 h 65"/>
                    <a:gd name="T112" fmla="*/ 13 w 48"/>
                    <a:gd name="T113" fmla="*/ 35 h 65"/>
                    <a:gd name="T114" fmla="*/ 3 w 48"/>
                    <a:gd name="T115" fmla="*/ 51 h 65"/>
                    <a:gd name="T116" fmla="*/ 11 w 48"/>
                    <a:gd name="T117" fmla="*/ 44 h 65"/>
                    <a:gd name="T118" fmla="*/ 11 w 48"/>
                    <a:gd name="T119" fmla="*/ 41 h 65"/>
                    <a:gd name="T120" fmla="*/ 5 w 48"/>
                    <a:gd name="T121" fmla="*/ 48 h 65"/>
                    <a:gd name="T122" fmla="*/ 2 w 48"/>
                    <a:gd name="T123" fmla="*/ 52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8" h="65">
                      <a:moveTo>
                        <a:pt x="17" y="3"/>
                      </a:moveTo>
                      <a:cubicBezTo>
                        <a:pt x="19" y="3"/>
                        <a:pt x="19" y="3"/>
                        <a:pt x="19" y="3"/>
                      </a:cubicBezTo>
                      <a:cubicBezTo>
                        <a:pt x="18" y="3"/>
                        <a:pt x="18" y="3"/>
                        <a:pt x="18" y="3"/>
                      </a:cubicBezTo>
                      <a:cubicBezTo>
                        <a:pt x="17" y="3"/>
                        <a:pt x="17" y="3"/>
                        <a:pt x="17" y="3"/>
                      </a:cubicBezTo>
                      <a:close/>
                      <a:moveTo>
                        <a:pt x="17" y="1"/>
                      </a:moveTo>
                      <a:cubicBezTo>
                        <a:pt x="17" y="2"/>
                        <a:pt x="17" y="2"/>
                        <a:pt x="17" y="2"/>
                      </a:cubicBezTo>
                      <a:cubicBezTo>
                        <a:pt x="17" y="2"/>
                        <a:pt x="17" y="2"/>
                        <a:pt x="17" y="2"/>
                      </a:cubicBezTo>
                      <a:cubicBezTo>
                        <a:pt x="17" y="1"/>
                        <a:pt x="17" y="1"/>
                        <a:pt x="17" y="1"/>
                      </a:cubicBezTo>
                      <a:close/>
                      <a:moveTo>
                        <a:pt x="19" y="0"/>
                      </a:moveTo>
                      <a:cubicBezTo>
                        <a:pt x="18" y="0"/>
                        <a:pt x="18" y="0"/>
                        <a:pt x="18" y="0"/>
                      </a:cubicBezTo>
                      <a:cubicBezTo>
                        <a:pt x="19" y="1"/>
                        <a:pt x="19" y="1"/>
                        <a:pt x="19" y="1"/>
                      </a:cubicBezTo>
                      <a:cubicBezTo>
                        <a:pt x="19" y="0"/>
                        <a:pt x="19" y="0"/>
                        <a:pt x="19" y="0"/>
                      </a:cubicBezTo>
                      <a:close/>
                      <a:moveTo>
                        <a:pt x="21" y="2"/>
                      </a:moveTo>
                      <a:cubicBezTo>
                        <a:pt x="20" y="3"/>
                        <a:pt x="20" y="3"/>
                        <a:pt x="20" y="3"/>
                      </a:cubicBezTo>
                      <a:cubicBezTo>
                        <a:pt x="21" y="3"/>
                        <a:pt x="21" y="3"/>
                        <a:pt x="21" y="3"/>
                      </a:cubicBezTo>
                      <a:cubicBezTo>
                        <a:pt x="21" y="2"/>
                        <a:pt x="21" y="2"/>
                        <a:pt x="21" y="2"/>
                      </a:cubicBezTo>
                      <a:cubicBezTo>
                        <a:pt x="21" y="2"/>
                        <a:pt x="21" y="2"/>
                        <a:pt x="21" y="2"/>
                      </a:cubicBezTo>
                      <a:close/>
                      <a:moveTo>
                        <a:pt x="21" y="24"/>
                      </a:moveTo>
                      <a:cubicBezTo>
                        <a:pt x="22" y="24"/>
                        <a:pt x="22" y="24"/>
                        <a:pt x="22" y="24"/>
                      </a:cubicBezTo>
                      <a:cubicBezTo>
                        <a:pt x="23" y="25"/>
                        <a:pt x="23" y="25"/>
                        <a:pt x="23" y="25"/>
                      </a:cubicBezTo>
                      <a:cubicBezTo>
                        <a:pt x="24" y="26"/>
                        <a:pt x="24" y="26"/>
                        <a:pt x="24" y="26"/>
                      </a:cubicBezTo>
                      <a:cubicBezTo>
                        <a:pt x="24" y="25"/>
                        <a:pt x="24" y="25"/>
                        <a:pt x="24" y="25"/>
                      </a:cubicBezTo>
                      <a:cubicBezTo>
                        <a:pt x="25" y="25"/>
                        <a:pt x="25" y="25"/>
                        <a:pt x="25" y="25"/>
                      </a:cubicBezTo>
                      <a:cubicBezTo>
                        <a:pt x="26" y="24"/>
                        <a:pt x="26" y="24"/>
                        <a:pt x="26" y="24"/>
                      </a:cubicBezTo>
                      <a:cubicBezTo>
                        <a:pt x="27" y="24"/>
                        <a:pt x="27" y="24"/>
                        <a:pt x="27" y="24"/>
                      </a:cubicBezTo>
                      <a:cubicBezTo>
                        <a:pt x="28" y="25"/>
                        <a:pt x="28" y="25"/>
                        <a:pt x="28" y="25"/>
                      </a:cubicBezTo>
                      <a:cubicBezTo>
                        <a:pt x="29" y="26"/>
                        <a:pt x="29" y="26"/>
                        <a:pt x="29" y="26"/>
                      </a:cubicBezTo>
                      <a:cubicBezTo>
                        <a:pt x="29" y="26"/>
                        <a:pt x="29" y="26"/>
                        <a:pt x="29" y="26"/>
                      </a:cubicBezTo>
                      <a:cubicBezTo>
                        <a:pt x="29" y="27"/>
                        <a:pt x="29" y="27"/>
                        <a:pt x="29" y="27"/>
                      </a:cubicBezTo>
                      <a:cubicBezTo>
                        <a:pt x="30" y="27"/>
                        <a:pt x="30" y="27"/>
                        <a:pt x="30" y="27"/>
                      </a:cubicBezTo>
                      <a:cubicBezTo>
                        <a:pt x="30" y="26"/>
                        <a:pt x="30" y="26"/>
                        <a:pt x="30" y="26"/>
                      </a:cubicBezTo>
                      <a:cubicBezTo>
                        <a:pt x="30" y="25"/>
                        <a:pt x="30" y="25"/>
                        <a:pt x="30" y="25"/>
                      </a:cubicBezTo>
                      <a:cubicBezTo>
                        <a:pt x="31" y="26"/>
                        <a:pt x="31" y="26"/>
                        <a:pt x="31" y="26"/>
                      </a:cubicBezTo>
                      <a:cubicBezTo>
                        <a:pt x="32" y="26"/>
                        <a:pt x="32" y="26"/>
                        <a:pt x="32" y="26"/>
                      </a:cubicBezTo>
                      <a:cubicBezTo>
                        <a:pt x="33" y="27"/>
                        <a:pt x="33" y="27"/>
                        <a:pt x="33" y="27"/>
                      </a:cubicBezTo>
                      <a:cubicBezTo>
                        <a:pt x="33" y="27"/>
                        <a:pt x="33" y="27"/>
                        <a:pt x="33" y="27"/>
                      </a:cubicBezTo>
                      <a:cubicBezTo>
                        <a:pt x="32" y="27"/>
                        <a:pt x="32" y="27"/>
                        <a:pt x="32" y="27"/>
                      </a:cubicBezTo>
                      <a:cubicBezTo>
                        <a:pt x="32" y="27"/>
                        <a:pt x="32" y="27"/>
                        <a:pt x="32" y="27"/>
                      </a:cubicBezTo>
                      <a:cubicBezTo>
                        <a:pt x="31" y="27"/>
                        <a:pt x="31" y="27"/>
                        <a:pt x="31" y="27"/>
                      </a:cubicBezTo>
                      <a:cubicBezTo>
                        <a:pt x="31" y="28"/>
                        <a:pt x="31" y="28"/>
                        <a:pt x="31" y="28"/>
                      </a:cubicBezTo>
                      <a:cubicBezTo>
                        <a:pt x="32" y="30"/>
                        <a:pt x="32" y="30"/>
                        <a:pt x="32" y="30"/>
                      </a:cubicBezTo>
                      <a:cubicBezTo>
                        <a:pt x="32" y="30"/>
                        <a:pt x="32" y="30"/>
                        <a:pt x="32" y="30"/>
                      </a:cubicBezTo>
                      <a:cubicBezTo>
                        <a:pt x="33" y="30"/>
                        <a:pt x="33" y="30"/>
                        <a:pt x="33" y="30"/>
                      </a:cubicBezTo>
                      <a:cubicBezTo>
                        <a:pt x="34" y="30"/>
                        <a:pt x="34" y="30"/>
                        <a:pt x="34" y="30"/>
                      </a:cubicBezTo>
                      <a:cubicBezTo>
                        <a:pt x="35" y="30"/>
                        <a:pt x="35" y="30"/>
                        <a:pt x="35" y="30"/>
                      </a:cubicBezTo>
                      <a:cubicBezTo>
                        <a:pt x="35" y="31"/>
                        <a:pt x="35" y="31"/>
                        <a:pt x="35" y="31"/>
                      </a:cubicBezTo>
                      <a:cubicBezTo>
                        <a:pt x="34" y="31"/>
                        <a:pt x="34" y="31"/>
                        <a:pt x="34" y="31"/>
                      </a:cubicBezTo>
                      <a:cubicBezTo>
                        <a:pt x="35" y="32"/>
                        <a:pt x="35" y="32"/>
                        <a:pt x="35" y="32"/>
                      </a:cubicBezTo>
                      <a:cubicBezTo>
                        <a:pt x="34" y="33"/>
                        <a:pt x="34" y="33"/>
                        <a:pt x="34" y="33"/>
                      </a:cubicBezTo>
                      <a:cubicBezTo>
                        <a:pt x="33" y="33"/>
                        <a:pt x="33" y="33"/>
                        <a:pt x="33" y="33"/>
                      </a:cubicBezTo>
                      <a:cubicBezTo>
                        <a:pt x="33" y="32"/>
                        <a:pt x="33" y="32"/>
                        <a:pt x="33" y="32"/>
                      </a:cubicBezTo>
                      <a:cubicBezTo>
                        <a:pt x="33" y="31"/>
                        <a:pt x="33" y="31"/>
                        <a:pt x="33" y="31"/>
                      </a:cubicBezTo>
                      <a:cubicBezTo>
                        <a:pt x="33" y="31"/>
                        <a:pt x="33" y="31"/>
                        <a:pt x="33" y="31"/>
                      </a:cubicBezTo>
                      <a:cubicBezTo>
                        <a:pt x="33" y="31"/>
                        <a:pt x="33" y="31"/>
                        <a:pt x="33" y="31"/>
                      </a:cubicBezTo>
                      <a:cubicBezTo>
                        <a:pt x="33" y="31"/>
                        <a:pt x="33" y="31"/>
                        <a:pt x="33" y="31"/>
                      </a:cubicBezTo>
                      <a:cubicBezTo>
                        <a:pt x="32" y="31"/>
                        <a:pt x="32" y="31"/>
                        <a:pt x="32" y="31"/>
                      </a:cubicBezTo>
                      <a:cubicBezTo>
                        <a:pt x="31" y="30"/>
                        <a:pt x="31" y="30"/>
                        <a:pt x="31" y="30"/>
                      </a:cubicBezTo>
                      <a:cubicBezTo>
                        <a:pt x="30" y="30"/>
                        <a:pt x="30" y="30"/>
                        <a:pt x="30" y="30"/>
                      </a:cubicBezTo>
                      <a:cubicBezTo>
                        <a:pt x="30" y="29"/>
                        <a:pt x="30" y="29"/>
                        <a:pt x="30" y="29"/>
                      </a:cubicBezTo>
                      <a:cubicBezTo>
                        <a:pt x="30" y="28"/>
                        <a:pt x="30" y="28"/>
                        <a:pt x="30" y="28"/>
                      </a:cubicBezTo>
                      <a:cubicBezTo>
                        <a:pt x="28" y="28"/>
                        <a:pt x="28" y="28"/>
                        <a:pt x="28" y="28"/>
                      </a:cubicBezTo>
                      <a:cubicBezTo>
                        <a:pt x="28" y="27"/>
                        <a:pt x="28" y="27"/>
                        <a:pt x="28" y="27"/>
                      </a:cubicBezTo>
                      <a:cubicBezTo>
                        <a:pt x="27" y="27"/>
                        <a:pt x="27" y="27"/>
                        <a:pt x="27" y="27"/>
                      </a:cubicBezTo>
                      <a:cubicBezTo>
                        <a:pt x="27" y="26"/>
                        <a:pt x="27" y="26"/>
                        <a:pt x="27" y="26"/>
                      </a:cubicBezTo>
                      <a:cubicBezTo>
                        <a:pt x="26" y="26"/>
                        <a:pt x="26" y="26"/>
                        <a:pt x="26" y="26"/>
                      </a:cubicBezTo>
                      <a:cubicBezTo>
                        <a:pt x="26" y="26"/>
                        <a:pt x="26" y="26"/>
                        <a:pt x="26" y="26"/>
                      </a:cubicBezTo>
                      <a:cubicBezTo>
                        <a:pt x="27" y="28"/>
                        <a:pt x="27" y="28"/>
                        <a:pt x="27" y="28"/>
                      </a:cubicBezTo>
                      <a:cubicBezTo>
                        <a:pt x="27" y="29"/>
                        <a:pt x="27" y="29"/>
                        <a:pt x="27" y="29"/>
                      </a:cubicBezTo>
                      <a:cubicBezTo>
                        <a:pt x="27" y="30"/>
                        <a:pt x="27" y="30"/>
                        <a:pt x="27" y="30"/>
                      </a:cubicBezTo>
                      <a:cubicBezTo>
                        <a:pt x="26" y="28"/>
                        <a:pt x="26" y="28"/>
                        <a:pt x="26" y="28"/>
                      </a:cubicBezTo>
                      <a:cubicBezTo>
                        <a:pt x="25" y="27"/>
                        <a:pt x="25" y="27"/>
                        <a:pt x="25" y="27"/>
                      </a:cubicBezTo>
                      <a:cubicBezTo>
                        <a:pt x="24" y="27"/>
                        <a:pt x="24" y="27"/>
                        <a:pt x="24" y="27"/>
                      </a:cubicBezTo>
                      <a:cubicBezTo>
                        <a:pt x="22" y="26"/>
                        <a:pt x="22" y="26"/>
                        <a:pt x="22" y="26"/>
                      </a:cubicBezTo>
                      <a:cubicBezTo>
                        <a:pt x="21" y="26"/>
                        <a:pt x="21" y="26"/>
                        <a:pt x="21" y="26"/>
                      </a:cubicBezTo>
                      <a:cubicBezTo>
                        <a:pt x="21" y="27"/>
                        <a:pt x="21" y="27"/>
                        <a:pt x="21" y="27"/>
                      </a:cubicBezTo>
                      <a:cubicBezTo>
                        <a:pt x="21" y="27"/>
                        <a:pt x="21" y="27"/>
                        <a:pt x="21" y="27"/>
                      </a:cubicBezTo>
                      <a:cubicBezTo>
                        <a:pt x="20" y="28"/>
                        <a:pt x="20" y="28"/>
                        <a:pt x="20" y="28"/>
                      </a:cubicBezTo>
                      <a:cubicBezTo>
                        <a:pt x="19" y="27"/>
                        <a:pt x="19" y="27"/>
                        <a:pt x="19" y="27"/>
                      </a:cubicBezTo>
                      <a:cubicBezTo>
                        <a:pt x="19" y="27"/>
                        <a:pt x="19" y="27"/>
                        <a:pt x="19" y="27"/>
                      </a:cubicBezTo>
                      <a:cubicBezTo>
                        <a:pt x="18" y="27"/>
                        <a:pt x="18" y="27"/>
                        <a:pt x="18" y="27"/>
                      </a:cubicBezTo>
                      <a:cubicBezTo>
                        <a:pt x="18" y="27"/>
                        <a:pt x="18" y="27"/>
                        <a:pt x="18" y="27"/>
                      </a:cubicBezTo>
                      <a:cubicBezTo>
                        <a:pt x="18" y="26"/>
                        <a:pt x="18" y="26"/>
                        <a:pt x="18" y="26"/>
                      </a:cubicBezTo>
                      <a:cubicBezTo>
                        <a:pt x="17" y="26"/>
                        <a:pt x="17" y="26"/>
                        <a:pt x="17" y="26"/>
                      </a:cubicBezTo>
                      <a:cubicBezTo>
                        <a:pt x="17" y="27"/>
                        <a:pt x="17" y="27"/>
                        <a:pt x="17" y="27"/>
                      </a:cubicBezTo>
                      <a:cubicBezTo>
                        <a:pt x="16" y="26"/>
                        <a:pt x="16" y="26"/>
                        <a:pt x="16" y="26"/>
                      </a:cubicBezTo>
                      <a:cubicBezTo>
                        <a:pt x="16" y="25"/>
                        <a:pt x="16" y="25"/>
                        <a:pt x="16" y="25"/>
                      </a:cubicBezTo>
                      <a:cubicBezTo>
                        <a:pt x="16" y="25"/>
                        <a:pt x="16" y="25"/>
                        <a:pt x="16" y="25"/>
                      </a:cubicBezTo>
                      <a:cubicBezTo>
                        <a:pt x="17" y="24"/>
                        <a:pt x="17" y="24"/>
                        <a:pt x="17" y="24"/>
                      </a:cubicBezTo>
                      <a:cubicBezTo>
                        <a:pt x="18" y="23"/>
                        <a:pt x="18" y="23"/>
                        <a:pt x="18" y="23"/>
                      </a:cubicBezTo>
                      <a:cubicBezTo>
                        <a:pt x="17" y="22"/>
                        <a:pt x="17" y="22"/>
                        <a:pt x="17" y="22"/>
                      </a:cubicBezTo>
                      <a:cubicBezTo>
                        <a:pt x="16" y="22"/>
                        <a:pt x="16" y="22"/>
                        <a:pt x="16" y="22"/>
                      </a:cubicBezTo>
                      <a:cubicBezTo>
                        <a:pt x="16" y="23"/>
                        <a:pt x="16" y="23"/>
                        <a:pt x="16" y="23"/>
                      </a:cubicBezTo>
                      <a:cubicBezTo>
                        <a:pt x="17" y="23"/>
                        <a:pt x="17" y="23"/>
                        <a:pt x="17" y="23"/>
                      </a:cubicBezTo>
                      <a:cubicBezTo>
                        <a:pt x="16" y="24"/>
                        <a:pt x="16" y="24"/>
                        <a:pt x="16" y="24"/>
                      </a:cubicBezTo>
                      <a:cubicBezTo>
                        <a:pt x="15" y="24"/>
                        <a:pt x="15" y="24"/>
                        <a:pt x="15" y="24"/>
                      </a:cubicBezTo>
                      <a:cubicBezTo>
                        <a:pt x="14" y="23"/>
                        <a:pt x="14" y="23"/>
                        <a:pt x="14" y="23"/>
                      </a:cubicBezTo>
                      <a:cubicBezTo>
                        <a:pt x="14" y="22"/>
                        <a:pt x="14" y="22"/>
                        <a:pt x="14" y="22"/>
                      </a:cubicBezTo>
                      <a:cubicBezTo>
                        <a:pt x="14" y="22"/>
                        <a:pt x="14" y="22"/>
                        <a:pt x="14" y="22"/>
                      </a:cubicBezTo>
                      <a:cubicBezTo>
                        <a:pt x="14" y="22"/>
                        <a:pt x="14" y="22"/>
                        <a:pt x="14" y="22"/>
                      </a:cubicBezTo>
                      <a:cubicBezTo>
                        <a:pt x="13" y="22"/>
                        <a:pt x="13" y="22"/>
                        <a:pt x="13" y="22"/>
                      </a:cubicBezTo>
                      <a:cubicBezTo>
                        <a:pt x="13" y="20"/>
                        <a:pt x="13" y="20"/>
                        <a:pt x="13" y="20"/>
                      </a:cubicBezTo>
                      <a:cubicBezTo>
                        <a:pt x="13" y="19"/>
                        <a:pt x="13" y="19"/>
                        <a:pt x="13" y="19"/>
                      </a:cubicBezTo>
                      <a:cubicBezTo>
                        <a:pt x="12" y="18"/>
                        <a:pt x="12" y="18"/>
                        <a:pt x="12" y="18"/>
                      </a:cubicBezTo>
                      <a:cubicBezTo>
                        <a:pt x="13" y="17"/>
                        <a:pt x="13" y="17"/>
                        <a:pt x="13" y="17"/>
                      </a:cubicBezTo>
                      <a:cubicBezTo>
                        <a:pt x="12" y="17"/>
                        <a:pt x="12" y="17"/>
                        <a:pt x="12" y="17"/>
                      </a:cubicBezTo>
                      <a:cubicBezTo>
                        <a:pt x="12" y="17"/>
                        <a:pt x="12" y="17"/>
                        <a:pt x="12" y="17"/>
                      </a:cubicBezTo>
                      <a:cubicBezTo>
                        <a:pt x="12" y="16"/>
                        <a:pt x="12" y="16"/>
                        <a:pt x="12" y="16"/>
                      </a:cubicBezTo>
                      <a:cubicBezTo>
                        <a:pt x="12" y="15"/>
                        <a:pt x="12" y="15"/>
                        <a:pt x="12" y="15"/>
                      </a:cubicBezTo>
                      <a:cubicBezTo>
                        <a:pt x="12" y="15"/>
                        <a:pt x="12" y="15"/>
                        <a:pt x="12" y="15"/>
                      </a:cubicBezTo>
                      <a:cubicBezTo>
                        <a:pt x="13" y="16"/>
                        <a:pt x="13" y="16"/>
                        <a:pt x="13" y="16"/>
                      </a:cubicBezTo>
                      <a:cubicBezTo>
                        <a:pt x="14" y="15"/>
                        <a:pt x="14" y="15"/>
                        <a:pt x="14" y="15"/>
                      </a:cubicBezTo>
                      <a:cubicBezTo>
                        <a:pt x="14" y="15"/>
                        <a:pt x="14" y="15"/>
                        <a:pt x="14" y="15"/>
                      </a:cubicBezTo>
                      <a:cubicBezTo>
                        <a:pt x="13" y="13"/>
                        <a:pt x="13" y="13"/>
                        <a:pt x="13" y="13"/>
                      </a:cubicBezTo>
                      <a:cubicBezTo>
                        <a:pt x="14" y="12"/>
                        <a:pt x="14" y="12"/>
                        <a:pt x="14" y="12"/>
                      </a:cubicBezTo>
                      <a:cubicBezTo>
                        <a:pt x="14" y="10"/>
                        <a:pt x="14" y="10"/>
                        <a:pt x="14" y="10"/>
                      </a:cubicBezTo>
                      <a:cubicBezTo>
                        <a:pt x="14" y="8"/>
                        <a:pt x="14" y="8"/>
                        <a:pt x="14" y="8"/>
                      </a:cubicBezTo>
                      <a:cubicBezTo>
                        <a:pt x="14" y="7"/>
                        <a:pt x="14" y="7"/>
                        <a:pt x="14" y="7"/>
                      </a:cubicBezTo>
                      <a:cubicBezTo>
                        <a:pt x="15" y="6"/>
                        <a:pt x="15" y="6"/>
                        <a:pt x="15" y="6"/>
                      </a:cubicBezTo>
                      <a:cubicBezTo>
                        <a:pt x="15" y="5"/>
                        <a:pt x="15" y="5"/>
                        <a:pt x="15" y="5"/>
                      </a:cubicBezTo>
                      <a:cubicBezTo>
                        <a:pt x="16" y="4"/>
                        <a:pt x="16" y="4"/>
                        <a:pt x="16" y="4"/>
                      </a:cubicBezTo>
                      <a:cubicBezTo>
                        <a:pt x="18" y="4"/>
                        <a:pt x="18" y="4"/>
                        <a:pt x="18" y="4"/>
                      </a:cubicBezTo>
                      <a:cubicBezTo>
                        <a:pt x="19" y="5"/>
                        <a:pt x="19" y="5"/>
                        <a:pt x="19" y="5"/>
                      </a:cubicBezTo>
                      <a:cubicBezTo>
                        <a:pt x="20" y="6"/>
                        <a:pt x="20" y="6"/>
                        <a:pt x="20" y="6"/>
                      </a:cubicBezTo>
                      <a:cubicBezTo>
                        <a:pt x="20" y="5"/>
                        <a:pt x="20" y="5"/>
                        <a:pt x="20" y="5"/>
                      </a:cubicBezTo>
                      <a:cubicBezTo>
                        <a:pt x="21" y="5"/>
                        <a:pt x="21" y="5"/>
                        <a:pt x="21" y="5"/>
                      </a:cubicBezTo>
                      <a:cubicBezTo>
                        <a:pt x="22" y="5"/>
                        <a:pt x="22" y="5"/>
                        <a:pt x="22" y="5"/>
                      </a:cubicBezTo>
                      <a:cubicBezTo>
                        <a:pt x="22" y="4"/>
                        <a:pt x="22" y="4"/>
                        <a:pt x="22" y="4"/>
                      </a:cubicBezTo>
                      <a:cubicBezTo>
                        <a:pt x="22" y="4"/>
                        <a:pt x="22" y="4"/>
                        <a:pt x="22" y="4"/>
                      </a:cubicBezTo>
                      <a:cubicBezTo>
                        <a:pt x="23" y="5"/>
                        <a:pt x="23" y="5"/>
                        <a:pt x="23" y="5"/>
                      </a:cubicBezTo>
                      <a:cubicBezTo>
                        <a:pt x="23" y="6"/>
                        <a:pt x="23" y="6"/>
                        <a:pt x="23" y="6"/>
                      </a:cubicBezTo>
                      <a:cubicBezTo>
                        <a:pt x="22" y="6"/>
                        <a:pt x="22" y="6"/>
                        <a:pt x="22" y="6"/>
                      </a:cubicBezTo>
                      <a:cubicBezTo>
                        <a:pt x="22" y="8"/>
                        <a:pt x="22" y="8"/>
                        <a:pt x="22" y="8"/>
                      </a:cubicBezTo>
                      <a:cubicBezTo>
                        <a:pt x="23" y="9"/>
                        <a:pt x="23" y="9"/>
                        <a:pt x="23" y="9"/>
                      </a:cubicBezTo>
                      <a:cubicBezTo>
                        <a:pt x="24" y="9"/>
                        <a:pt x="24" y="9"/>
                        <a:pt x="24" y="9"/>
                      </a:cubicBezTo>
                      <a:cubicBezTo>
                        <a:pt x="24" y="10"/>
                        <a:pt x="24" y="10"/>
                        <a:pt x="24" y="10"/>
                      </a:cubicBezTo>
                      <a:cubicBezTo>
                        <a:pt x="24" y="11"/>
                        <a:pt x="24" y="11"/>
                        <a:pt x="24" y="11"/>
                      </a:cubicBezTo>
                      <a:cubicBezTo>
                        <a:pt x="24" y="13"/>
                        <a:pt x="24" y="13"/>
                        <a:pt x="24" y="13"/>
                      </a:cubicBezTo>
                      <a:cubicBezTo>
                        <a:pt x="23" y="14"/>
                        <a:pt x="23" y="14"/>
                        <a:pt x="23" y="14"/>
                      </a:cubicBezTo>
                      <a:cubicBezTo>
                        <a:pt x="24" y="15"/>
                        <a:pt x="24" y="15"/>
                        <a:pt x="24" y="15"/>
                      </a:cubicBezTo>
                      <a:cubicBezTo>
                        <a:pt x="23" y="16"/>
                        <a:pt x="23" y="16"/>
                        <a:pt x="23" y="16"/>
                      </a:cubicBezTo>
                      <a:cubicBezTo>
                        <a:pt x="23" y="16"/>
                        <a:pt x="23" y="16"/>
                        <a:pt x="23" y="16"/>
                      </a:cubicBezTo>
                      <a:cubicBezTo>
                        <a:pt x="23" y="15"/>
                        <a:pt x="23" y="15"/>
                        <a:pt x="23" y="15"/>
                      </a:cubicBezTo>
                      <a:cubicBezTo>
                        <a:pt x="22" y="16"/>
                        <a:pt x="22" y="16"/>
                        <a:pt x="22" y="16"/>
                      </a:cubicBezTo>
                      <a:cubicBezTo>
                        <a:pt x="21" y="17"/>
                        <a:pt x="21" y="17"/>
                        <a:pt x="21" y="17"/>
                      </a:cubicBezTo>
                      <a:cubicBezTo>
                        <a:pt x="21" y="18"/>
                        <a:pt x="21" y="18"/>
                        <a:pt x="21" y="18"/>
                      </a:cubicBezTo>
                      <a:cubicBezTo>
                        <a:pt x="21" y="19"/>
                        <a:pt x="21" y="19"/>
                        <a:pt x="21" y="19"/>
                      </a:cubicBezTo>
                      <a:cubicBezTo>
                        <a:pt x="20" y="19"/>
                        <a:pt x="20" y="19"/>
                        <a:pt x="20" y="19"/>
                      </a:cubicBezTo>
                      <a:cubicBezTo>
                        <a:pt x="20" y="20"/>
                        <a:pt x="20" y="20"/>
                        <a:pt x="20" y="20"/>
                      </a:cubicBezTo>
                      <a:cubicBezTo>
                        <a:pt x="21" y="21"/>
                        <a:pt x="21" y="21"/>
                        <a:pt x="21" y="21"/>
                      </a:cubicBezTo>
                      <a:cubicBezTo>
                        <a:pt x="21" y="22"/>
                        <a:pt x="21" y="22"/>
                        <a:pt x="21" y="22"/>
                      </a:cubicBezTo>
                      <a:cubicBezTo>
                        <a:pt x="22" y="22"/>
                        <a:pt x="22" y="22"/>
                        <a:pt x="22" y="22"/>
                      </a:cubicBezTo>
                      <a:cubicBezTo>
                        <a:pt x="21" y="23"/>
                        <a:pt x="21" y="23"/>
                        <a:pt x="21" y="23"/>
                      </a:cubicBezTo>
                      <a:cubicBezTo>
                        <a:pt x="21" y="24"/>
                        <a:pt x="21" y="24"/>
                        <a:pt x="21" y="24"/>
                      </a:cubicBezTo>
                      <a:close/>
                      <a:moveTo>
                        <a:pt x="23" y="24"/>
                      </a:moveTo>
                      <a:cubicBezTo>
                        <a:pt x="23" y="25"/>
                        <a:pt x="23" y="25"/>
                        <a:pt x="23" y="25"/>
                      </a:cubicBezTo>
                      <a:cubicBezTo>
                        <a:pt x="24" y="25"/>
                        <a:pt x="24" y="25"/>
                        <a:pt x="24" y="25"/>
                      </a:cubicBezTo>
                      <a:cubicBezTo>
                        <a:pt x="24" y="25"/>
                        <a:pt x="24" y="25"/>
                        <a:pt x="24" y="25"/>
                      </a:cubicBezTo>
                      <a:cubicBezTo>
                        <a:pt x="23" y="24"/>
                        <a:pt x="23" y="24"/>
                        <a:pt x="23" y="24"/>
                      </a:cubicBezTo>
                      <a:close/>
                      <a:moveTo>
                        <a:pt x="22" y="21"/>
                      </a:moveTo>
                      <a:cubicBezTo>
                        <a:pt x="23" y="22"/>
                        <a:pt x="23" y="22"/>
                        <a:pt x="23" y="22"/>
                      </a:cubicBezTo>
                      <a:cubicBezTo>
                        <a:pt x="23" y="22"/>
                        <a:pt x="23" y="22"/>
                        <a:pt x="23" y="22"/>
                      </a:cubicBezTo>
                      <a:cubicBezTo>
                        <a:pt x="23" y="23"/>
                        <a:pt x="23" y="23"/>
                        <a:pt x="23" y="23"/>
                      </a:cubicBezTo>
                      <a:cubicBezTo>
                        <a:pt x="23" y="23"/>
                        <a:pt x="23" y="23"/>
                        <a:pt x="23" y="23"/>
                      </a:cubicBezTo>
                      <a:cubicBezTo>
                        <a:pt x="24" y="21"/>
                        <a:pt x="24" y="21"/>
                        <a:pt x="24" y="21"/>
                      </a:cubicBezTo>
                      <a:cubicBezTo>
                        <a:pt x="24" y="21"/>
                        <a:pt x="24" y="21"/>
                        <a:pt x="24" y="21"/>
                      </a:cubicBezTo>
                      <a:cubicBezTo>
                        <a:pt x="23" y="20"/>
                        <a:pt x="23" y="20"/>
                        <a:pt x="23" y="20"/>
                      </a:cubicBezTo>
                      <a:cubicBezTo>
                        <a:pt x="22" y="21"/>
                        <a:pt x="22" y="21"/>
                        <a:pt x="22" y="21"/>
                      </a:cubicBezTo>
                      <a:close/>
                      <a:moveTo>
                        <a:pt x="14" y="26"/>
                      </a:moveTo>
                      <a:cubicBezTo>
                        <a:pt x="14" y="27"/>
                        <a:pt x="14" y="27"/>
                        <a:pt x="14" y="27"/>
                      </a:cubicBezTo>
                      <a:cubicBezTo>
                        <a:pt x="15" y="27"/>
                        <a:pt x="15" y="27"/>
                        <a:pt x="15" y="27"/>
                      </a:cubicBezTo>
                      <a:cubicBezTo>
                        <a:pt x="15" y="27"/>
                        <a:pt x="15" y="27"/>
                        <a:pt x="15" y="27"/>
                      </a:cubicBezTo>
                      <a:cubicBezTo>
                        <a:pt x="14" y="26"/>
                        <a:pt x="14" y="26"/>
                        <a:pt x="14" y="26"/>
                      </a:cubicBezTo>
                      <a:cubicBezTo>
                        <a:pt x="14" y="26"/>
                        <a:pt x="14" y="26"/>
                        <a:pt x="14" y="26"/>
                      </a:cubicBezTo>
                      <a:close/>
                      <a:moveTo>
                        <a:pt x="15" y="28"/>
                      </a:moveTo>
                      <a:cubicBezTo>
                        <a:pt x="16" y="29"/>
                        <a:pt x="16" y="29"/>
                        <a:pt x="16" y="29"/>
                      </a:cubicBezTo>
                      <a:cubicBezTo>
                        <a:pt x="16" y="29"/>
                        <a:pt x="16" y="29"/>
                        <a:pt x="16" y="29"/>
                      </a:cubicBezTo>
                      <a:cubicBezTo>
                        <a:pt x="17" y="30"/>
                        <a:pt x="17" y="30"/>
                        <a:pt x="17" y="30"/>
                      </a:cubicBezTo>
                      <a:cubicBezTo>
                        <a:pt x="17" y="30"/>
                        <a:pt x="17" y="30"/>
                        <a:pt x="17" y="30"/>
                      </a:cubicBezTo>
                      <a:cubicBezTo>
                        <a:pt x="18" y="31"/>
                        <a:pt x="18" y="31"/>
                        <a:pt x="18" y="31"/>
                      </a:cubicBezTo>
                      <a:cubicBezTo>
                        <a:pt x="18" y="32"/>
                        <a:pt x="18" y="32"/>
                        <a:pt x="18" y="32"/>
                      </a:cubicBezTo>
                      <a:cubicBezTo>
                        <a:pt x="19" y="32"/>
                        <a:pt x="19" y="32"/>
                        <a:pt x="19" y="32"/>
                      </a:cubicBezTo>
                      <a:cubicBezTo>
                        <a:pt x="19" y="33"/>
                        <a:pt x="19" y="33"/>
                        <a:pt x="19" y="33"/>
                      </a:cubicBezTo>
                      <a:cubicBezTo>
                        <a:pt x="20" y="34"/>
                        <a:pt x="20" y="34"/>
                        <a:pt x="20" y="34"/>
                      </a:cubicBezTo>
                      <a:cubicBezTo>
                        <a:pt x="20" y="34"/>
                        <a:pt x="20" y="34"/>
                        <a:pt x="20" y="34"/>
                      </a:cubicBezTo>
                      <a:cubicBezTo>
                        <a:pt x="21" y="34"/>
                        <a:pt x="21" y="34"/>
                        <a:pt x="21" y="34"/>
                      </a:cubicBezTo>
                      <a:cubicBezTo>
                        <a:pt x="21" y="33"/>
                        <a:pt x="21" y="33"/>
                        <a:pt x="21" y="33"/>
                      </a:cubicBezTo>
                      <a:cubicBezTo>
                        <a:pt x="22" y="33"/>
                        <a:pt x="22" y="33"/>
                        <a:pt x="22" y="33"/>
                      </a:cubicBezTo>
                      <a:cubicBezTo>
                        <a:pt x="22" y="32"/>
                        <a:pt x="22" y="32"/>
                        <a:pt x="22" y="32"/>
                      </a:cubicBezTo>
                      <a:cubicBezTo>
                        <a:pt x="21" y="31"/>
                        <a:pt x="21" y="31"/>
                        <a:pt x="21" y="31"/>
                      </a:cubicBezTo>
                      <a:cubicBezTo>
                        <a:pt x="22" y="31"/>
                        <a:pt x="22" y="31"/>
                        <a:pt x="22" y="31"/>
                      </a:cubicBezTo>
                      <a:cubicBezTo>
                        <a:pt x="22" y="30"/>
                        <a:pt x="22" y="30"/>
                        <a:pt x="22" y="30"/>
                      </a:cubicBezTo>
                      <a:cubicBezTo>
                        <a:pt x="21" y="30"/>
                        <a:pt x="21" y="30"/>
                        <a:pt x="21" y="30"/>
                      </a:cubicBezTo>
                      <a:cubicBezTo>
                        <a:pt x="19" y="28"/>
                        <a:pt x="19" y="28"/>
                        <a:pt x="19" y="28"/>
                      </a:cubicBezTo>
                      <a:cubicBezTo>
                        <a:pt x="17" y="28"/>
                        <a:pt x="17" y="28"/>
                        <a:pt x="17" y="28"/>
                      </a:cubicBezTo>
                      <a:cubicBezTo>
                        <a:pt x="16" y="28"/>
                        <a:pt x="16" y="28"/>
                        <a:pt x="16" y="28"/>
                      </a:cubicBezTo>
                      <a:cubicBezTo>
                        <a:pt x="15" y="28"/>
                        <a:pt x="15" y="28"/>
                        <a:pt x="15" y="28"/>
                      </a:cubicBezTo>
                      <a:close/>
                      <a:moveTo>
                        <a:pt x="34" y="25"/>
                      </a:moveTo>
                      <a:cubicBezTo>
                        <a:pt x="34" y="26"/>
                        <a:pt x="34" y="26"/>
                        <a:pt x="34" y="26"/>
                      </a:cubicBezTo>
                      <a:cubicBezTo>
                        <a:pt x="34" y="27"/>
                        <a:pt x="34" y="27"/>
                        <a:pt x="34" y="27"/>
                      </a:cubicBezTo>
                      <a:cubicBezTo>
                        <a:pt x="34" y="27"/>
                        <a:pt x="34" y="27"/>
                        <a:pt x="34" y="27"/>
                      </a:cubicBezTo>
                      <a:cubicBezTo>
                        <a:pt x="34" y="27"/>
                        <a:pt x="34" y="27"/>
                        <a:pt x="34" y="27"/>
                      </a:cubicBezTo>
                      <a:cubicBezTo>
                        <a:pt x="34" y="28"/>
                        <a:pt x="34" y="28"/>
                        <a:pt x="34" y="28"/>
                      </a:cubicBezTo>
                      <a:cubicBezTo>
                        <a:pt x="35" y="28"/>
                        <a:pt x="35" y="28"/>
                        <a:pt x="35" y="28"/>
                      </a:cubicBezTo>
                      <a:cubicBezTo>
                        <a:pt x="36" y="27"/>
                        <a:pt x="36" y="27"/>
                        <a:pt x="36" y="27"/>
                      </a:cubicBezTo>
                      <a:cubicBezTo>
                        <a:pt x="35" y="26"/>
                        <a:pt x="35" y="26"/>
                        <a:pt x="35" y="26"/>
                      </a:cubicBezTo>
                      <a:cubicBezTo>
                        <a:pt x="34" y="25"/>
                        <a:pt x="34" y="25"/>
                        <a:pt x="34" y="25"/>
                      </a:cubicBezTo>
                      <a:close/>
                      <a:moveTo>
                        <a:pt x="23" y="29"/>
                      </a:moveTo>
                      <a:cubicBezTo>
                        <a:pt x="24" y="30"/>
                        <a:pt x="24" y="30"/>
                        <a:pt x="24" y="30"/>
                      </a:cubicBezTo>
                      <a:cubicBezTo>
                        <a:pt x="24" y="29"/>
                        <a:pt x="24" y="29"/>
                        <a:pt x="24" y="29"/>
                      </a:cubicBezTo>
                      <a:cubicBezTo>
                        <a:pt x="25" y="29"/>
                        <a:pt x="25" y="29"/>
                        <a:pt x="25" y="29"/>
                      </a:cubicBezTo>
                      <a:cubicBezTo>
                        <a:pt x="24" y="28"/>
                        <a:pt x="24" y="28"/>
                        <a:pt x="24" y="28"/>
                      </a:cubicBezTo>
                      <a:cubicBezTo>
                        <a:pt x="23" y="28"/>
                        <a:pt x="23" y="28"/>
                        <a:pt x="23" y="28"/>
                      </a:cubicBezTo>
                      <a:cubicBezTo>
                        <a:pt x="23" y="28"/>
                        <a:pt x="23" y="28"/>
                        <a:pt x="23" y="28"/>
                      </a:cubicBezTo>
                      <a:cubicBezTo>
                        <a:pt x="23" y="29"/>
                        <a:pt x="23" y="29"/>
                        <a:pt x="23" y="29"/>
                      </a:cubicBezTo>
                      <a:close/>
                      <a:moveTo>
                        <a:pt x="25" y="32"/>
                      </a:moveTo>
                      <a:cubicBezTo>
                        <a:pt x="24" y="33"/>
                        <a:pt x="24" y="33"/>
                        <a:pt x="24" y="33"/>
                      </a:cubicBezTo>
                      <a:cubicBezTo>
                        <a:pt x="24" y="34"/>
                        <a:pt x="24" y="34"/>
                        <a:pt x="24" y="34"/>
                      </a:cubicBezTo>
                      <a:cubicBezTo>
                        <a:pt x="24" y="35"/>
                        <a:pt x="24" y="35"/>
                        <a:pt x="24" y="35"/>
                      </a:cubicBezTo>
                      <a:cubicBezTo>
                        <a:pt x="25" y="35"/>
                        <a:pt x="25" y="35"/>
                        <a:pt x="25" y="35"/>
                      </a:cubicBezTo>
                      <a:cubicBezTo>
                        <a:pt x="25" y="34"/>
                        <a:pt x="25" y="34"/>
                        <a:pt x="25" y="34"/>
                      </a:cubicBezTo>
                      <a:cubicBezTo>
                        <a:pt x="25" y="33"/>
                        <a:pt x="25" y="33"/>
                        <a:pt x="25" y="33"/>
                      </a:cubicBezTo>
                      <a:cubicBezTo>
                        <a:pt x="25" y="32"/>
                        <a:pt x="25" y="32"/>
                        <a:pt x="25" y="32"/>
                      </a:cubicBezTo>
                      <a:cubicBezTo>
                        <a:pt x="25" y="32"/>
                        <a:pt x="25" y="32"/>
                        <a:pt x="25" y="32"/>
                      </a:cubicBezTo>
                      <a:close/>
                      <a:moveTo>
                        <a:pt x="27" y="33"/>
                      </a:moveTo>
                      <a:cubicBezTo>
                        <a:pt x="27" y="33"/>
                        <a:pt x="27" y="33"/>
                        <a:pt x="27" y="33"/>
                      </a:cubicBezTo>
                      <a:cubicBezTo>
                        <a:pt x="27" y="34"/>
                        <a:pt x="27" y="34"/>
                        <a:pt x="27" y="34"/>
                      </a:cubicBezTo>
                      <a:cubicBezTo>
                        <a:pt x="28" y="34"/>
                        <a:pt x="28" y="34"/>
                        <a:pt x="28" y="34"/>
                      </a:cubicBezTo>
                      <a:cubicBezTo>
                        <a:pt x="28" y="33"/>
                        <a:pt x="28" y="33"/>
                        <a:pt x="28" y="33"/>
                      </a:cubicBezTo>
                      <a:cubicBezTo>
                        <a:pt x="27" y="33"/>
                        <a:pt x="27" y="33"/>
                        <a:pt x="27" y="33"/>
                      </a:cubicBezTo>
                      <a:close/>
                      <a:moveTo>
                        <a:pt x="30" y="31"/>
                      </a:moveTo>
                      <a:cubicBezTo>
                        <a:pt x="29" y="30"/>
                        <a:pt x="29" y="30"/>
                        <a:pt x="29" y="30"/>
                      </a:cubicBezTo>
                      <a:cubicBezTo>
                        <a:pt x="29" y="30"/>
                        <a:pt x="29" y="30"/>
                        <a:pt x="29" y="30"/>
                      </a:cubicBezTo>
                      <a:cubicBezTo>
                        <a:pt x="29" y="30"/>
                        <a:pt x="29" y="30"/>
                        <a:pt x="29" y="30"/>
                      </a:cubicBezTo>
                      <a:cubicBezTo>
                        <a:pt x="30" y="32"/>
                        <a:pt x="30" y="32"/>
                        <a:pt x="30" y="32"/>
                      </a:cubicBezTo>
                      <a:cubicBezTo>
                        <a:pt x="30" y="31"/>
                        <a:pt x="30" y="31"/>
                        <a:pt x="30" y="31"/>
                      </a:cubicBezTo>
                      <a:cubicBezTo>
                        <a:pt x="30" y="31"/>
                        <a:pt x="30" y="31"/>
                        <a:pt x="30" y="31"/>
                      </a:cubicBezTo>
                      <a:close/>
                      <a:moveTo>
                        <a:pt x="32" y="32"/>
                      </a:moveTo>
                      <a:cubicBezTo>
                        <a:pt x="32" y="33"/>
                        <a:pt x="32" y="33"/>
                        <a:pt x="32" y="33"/>
                      </a:cubicBezTo>
                      <a:cubicBezTo>
                        <a:pt x="33" y="33"/>
                        <a:pt x="33" y="33"/>
                        <a:pt x="33" y="33"/>
                      </a:cubicBezTo>
                      <a:cubicBezTo>
                        <a:pt x="33" y="33"/>
                        <a:pt x="33" y="33"/>
                        <a:pt x="33" y="33"/>
                      </a:cubicBezTo>
                      <a:cubicBezTo>
                        <a:pt x="32" y="32"/>
                        <a:pt x="32" y="32"/>
                        <a:pt x="32" y="32"/>
                      </a:cubicBezTo>
                      <a:cubicBezTo>
                        <a:pt x="32" y="32"/>
                        <a:pt x="32" y="32"/>
                        <a:pt x="32" y="32"/>
                      </a:cubicBezTo>
                      <a:close/>
                      <a:moveTo>
                        <a:pt x="30" y="35"/>
                      </a:moveTo>
                      <a:cubicBezTo>
                        <a:pt x="31" y="34"/>
                        <a:pt x="31" y="34"/>
                        <a:pt x="31" y="34"/>
                      </a:cubicBezTo>
                      <a:cubicBezTo>
                        <a:pt x="32" y="34"/>
                        <a:pt x="32" y="34"/>
                        <a:pt x="32" y="34"/>
                      </a:cubicBezTo>
                      <a:cubicBezTo>
                        <a:pt x="33" y="35"/>
                        <a:pt x="33" y="35"/>
                        <a:pt x="33" y="35"/>
                      </a:cubicBezTo>
                      <a:cubicBezTo>
                        <a:pt x="34" y="36"/>
                        <a:pt x="34" y="36"/>
                        <a:pt x="34" y="36"/>
                      </a:cubicBezTo>
                      <a:cubicBezTo>
                        <a:pt x="35" y="36"/>
                        <a:pt x="35" y="36"/>
                        <a:pt x="35" y="36"/>
                      </a:cubicBezTo>
                      <a:cubicBezTo>
                        <a:pt x="35" y="35"/>
                        <a:pt x="35" y="35"/>
                        <a:pt x="35" y="35"/>
                      </a:cubicBezTo>
                      <a:cubicBezTo>
                        <a:pt x="34" y="35"/>
                        <a:pt x="34" y="35"/>
                        <a:pt x="34" y="35"/>
                      </a:cubicBezTo>
                      <a:cubicBezTo>
                        <a:pt x="33" y="34"/>
                        <a:pt x="33" y="34"/>
                        <a:pt x="33" y="34"/>
                      </a:cubicBezTo>
                      <a:cubicBezTo>
                        <a:pt x="32" y="34"/>
                        <a:pt x="32" y="34"/>
                        <a:pt x="32" y="34"/>
                      </a:cubicBezTo>
                      <a:cubicBezTo>
                        <a:pt x="31" y="33"/>
                        <a:pt x="31" y="33"/>
                        <a:pt x="31" y="33"/>
                      </a:cubicBezTo>
                      <a:cubicBezTo>
                        <a:pt x="31" y="33"/>
                        <a:pt x="31" y="33"/>
                        <a:pt x="31" y="33"/>
                      </a:cubicBezTo>
                      <a:cubicBezTo>
                        <a:pt x="31" y="33"/>
                        <a:pt x="31" y="33"/>
                        <a:pt x="31" y="33"/>
                      </a:cubicBezTo>
                      <a:cubicBezTo>
                        <a:pt x="30" y="32"/>
                        <a:pt x="30" y="32"/>
                        <a:pt x="30" y="32"/>
                      </a:cubicBezTo>
                      <a:cubicBezTo>
                        <a:pt x="30" y="33"/>
                        <a:pt x="30" y="33"/>
                        <a:pt x="30" y="33"/>
                      </a:cubicBezTo>
                      <a:cubicBezTo>
                        <a:pt x="30" y="34"/>
                        <a:pt x="30" y="34"/>
                        <a:pt x="30" y="34"/>
                      </a:cubicBezTo>
                      <a:cubicBezTo>
                        <a:pt x="30" y="34"/>
                        <a:pt x="30" y="34"/>
                        <a:pt x="30" y="34"/>
                      </a:cubicBezTo>
                      <a:cubicBezTo>
                        <a:pt x="30" y="35"/>
                        <a:pt x="30" y="35"/>
                        <a:pt x="30" y="35"/>
                      </a:cubicBezTo>
                      <a:cubicBezTo>
                        <a:pt x="30" y="35"/>
                        <a:pt x="30" y="35"/>
                        <a:pt x="30" y="35"/>
                      </a:cubicBezTo>
                      <a:close/>
                      <a:moveTo>
                        <a:pt x="25" y="42"/>
                      </a:moveTo>
                      <a:cubicBezTo>
                        <a:pt x="25" y="42"/>
                        <a:pt x="25" y="42"/>
                        <a:pt x="25" y="42"/>
                      </a:cubicBezTo>
                      <a:cubicBezTo>
                        <a:pt x="25" y="42"/>
                        <a:pt x="25" y="42"/>
                        <a:pt x="25" y="42"/>
                      </a:cubicBezTo>
                      <a:cubicBezTo>
                        <a:pt x="24" y="41"/>
                        <a:pt x="24" y="41"/>
                        <a:pt x="24" y="41"/>
                      </a:cubicBezTo>
                      <a:cubicBezTo>
                        <a:pt x="25" y="40"/>
                        <a:pt x="25" y="40"/>
                        <a:pt x="25" y="40"/>
                      </a:cubicBezTo>
                      <a:cubicBezTo>
                        <a:pt x="25" y="38"/>
                        <a:pt x="25" y="38"/>
                        <a:pt x="25" y="38"/>
                      </a:cubicBezTo>
                      <a:cubicBezTo>
                        <a:pt x="25" y="37"/>
                        <a:pt x="25" y="37"/>
                        <a:pt x="25" y="37"/>
                      </a:cubicBezTo>
                      <a:cubicBezTo>
                        <a:pt x="25" y="37"/>
                        <a:pt x="25" y="37"/>
                        <a:pt x="25" y="37"/>
                      </a:cubicBezTo>
                      <a:cubicBezTo>
                        <a:pt x="24" y="36"/>
                        <a:pt x="24" y="36"/>
                        <a:pt x="24" y="36"/>
                      </a:cubicBezTo>
                      <a:cubicBezTo>
                        <a:pt x="23" y="36"/>
                        <a:pt x="23" y="36"/>
                        <a:pt x="23" y="36"/>
                      </a:cubicBezTo>
                      <a:cubicBezTo>
                        <a:pt x="24" y="36"/>
                        <a:pt x="24" y="36"/>
                        <a:pt x="24" y="36"/>
                      </a:cubicBezTo>
                      <a:cubicBezTo>
                        <a:pt x="25" y="35"/>
                        <a:pt x="25" y="35"/>
                        <a:pt x="25" y="35"/>
                      </a:cubicBezTo>
                      <a:cubicBezTo>
                        <a:pt x="26" y="36"/>
                        <a:pt x="26" y="36"/>
                        <a:pt x="26" y="36"/>
                      </a:cubicBezTo>
                      <a:cubicBezTo>
                        <a:pt x="26" y="36"/>
                        <a:pt x="26" y="36"/>
                        <a:pt x="26" y="36"/>
                      </a:cubicBezTo>
                      <a:cubicBezTo>
                        <a:pt x="26" y="37"/>
                        <a:pt x="26" y="37"/>
                        <a:pt x="26" y="37"/>
                      </a:cubicBezTo>
                      <a:cubicBezTo>
                        <a:pt x="27" y="37"/>
                        <a:pt x="27" y="37"/>
                        <a:pt x="27" y="37"/>
                      </a:cubicBezTo>
                      <a:cubicBezTo>
                        <a:pt x="28" y="37"/>
                        <a:pt x="28" y="37"/>
                        <a:pt x="28" y="37"/>
                      </a:cubicBezTo>
                      <a:cubicBezTo>
                        <a:pt x="28" y="37"/>
                        <a:pt x="28" y="37"/>
                        <a:pt x="28" y="37"/>
                      </a:cubicBezTo>
                      <a:cubicBezTo>
                        <a:pt x="29" y="38"/>
                        <a:pt x="29" y="38"/>
                        <a:pt x="29" y="38"/>
                      </a:cubicBezTo>
                      <a:cubicBezTo>
                        <a:pt x="29" y="37"/>
                        <a:pt x="29" y="37"/>
                        <a:pt x="29" y="37"/>
                      </a:cubicBezTo>
                      <a:cubicBezTo>
                        <a:pt x="30" y="37"/>
                        <a:pt x="30" y="37"/>
                        <a:pt x="30" y="37"/>
                      </a:cubicBezTo>
                      <a:cubicBezTo>
                        <a:pt x="30" y="37"/>
                        <a:pt x="30" y="37"/>
                        <a:pt x="30" y="37"/>
                      </a:cubicBezTo>
                      <a:cubicBezTo>
                        <a:pt x="30" y="38"/>
                        <a:pt x="30" y="38"/>
                        <a:pt x="30" y="38"/>
                      </a:cubicBezTo>
                      <a:cubicBezTo>
                        <a:pt x="30" y="38"/>
                        <a:pt x="30" y="38"/>
                        <a:pt x="30" y="38"/>
                      </a:cubicBezTo>
                      <a:cubicBezTo>
                        <a:pt x="29" y="39"/>
                        <a:pt x="29" y="39"/>
                        <a:pt x="29" y="39"/>
                      </a:cubicBezTo>
                      <a:cubicBezTo>
                        <a:pt x="28" y="40"/>
                        <a:pt x="28" y="40"/>
                        <a:pt x="28" y="40"/>
                      </a:cubicBezTo>
                      <a:cubicBezTo>
                        <a:pt x="28" y="41"/>
                        <a:pt x="28" y="41"/>
                        <a:pt x="28" y="41"/>
                      </a:cubicBezTo>
                      <a:cubicBezTo>
                        <a:pt x="27" y="41"/>
                        <a:pt x="27" y="41"/>
                        <a:pt x="27" y="41"/>
                      </a:cubicBezTo>
                      <a:cubicBezTo>
                        <a:pt x="27" y="41"/>
                        <a:pt x="27" y="41"/>
                        <a:pt x="27" y="41"/>
                      </a:cubicBezTo>
                      <a:cubicBezTo>
                        <a:pt x="27" y="41"/>
                        <a:pt x="27" y="41"/>
                        <a:pt x="27" y="41"/>
                      </a:cubicBezTo>
                      <a:cubicBezTo>
                        <a:pt x="25" y="42"/>
                        <a:pt x="25" y="42"/>
                        <a:pt x="25" y="42"/>
                      </a:cubicBezTo>
                      <a:close/>
                      <a:moveTo>
                        <a:pt x="28" y="41"/>
                      </a:moveTo>
                      <a:cubicBezTo>
                        <a:pt x="27" y="41"/>
                        <a:pt x="27" y="41"/>
                        <a:pt x="27" y="41"/>
                      </a:cubicBezTo>
                      <a:cubicBezTo>
                        <a:pt x="27" y="42"/>
                        <a:pt x="27" y="42"/>
                        <a:pt x="27" y="42"/>
                      </a:cubicBezTo>
                      <a:cubicBezTo>
                        <a:pt x="27" y="43"/>
                        <a:pt x="27" y="43"/>
                        <a:pt x="27" y="43"/>
                      </a:cubicBezTo>
                      <a:cubicBezTo>
                        <a:pt x="28" y="42"/>
                        <a:pt x="28" y="42"/>
                        <a:pt x="28" y="42"/>
                      </a:cubicBezTo>
                      <a:cubicBezTo>
                        <a:pt x="28" y="41"/>
                        <a:pt x="28" y="41"/>
                        <a:pt x="28" y="41"/>
                      </a:cubicBezTo>
                      <a:cubicBezTo>
                        <a:pt x="28" y="41"/>
                        <a:pt x="28" y="41"/>
                        <a:pt x="28" y="41"/>
                      </a:cubicBezTo>
                      <a:close/>
                      <a:moveTo>
                        <a:pt x="36" y="41"/>
                      </a:moveTo>
                      <a:cubicBezTo>
                        <a:pt x="36" y="42"/>
                        <a:pt x="36" y="42"/>
                        <a:pt x="36" y="42"/>
                      </a:cubicBezTo>
                      <a:cubicBezTo>
                        <a:pt x="36" y="41"/>
                        <a:pt x="36" y="41"/>
                        <a:pt x="36" y="41"/>
                      </a:cubicBezTo>
                      <a:cubicBezTo>
                        <a:pt x="36" y="41"/>
                        <a:pt x="36" y="41"/>
                        <a:pt x="36" y="41"/>
                      </a:cubicBezTo>
                      <a:close/>
                      <a:moveTo>
                        <a:pt x="32" y="47"/>
                      </a:moveTo>
                      <a:cubicBezTo>
                        <a:pt x="32" y="46"/>
                        <a:pt x="32" y="46"/>
                        <a:pt x="32" y="46"/>
                      </a:cubicBezTo>
                      <a:cubicBezTo>
                        <a:pt x="33" y="44"/>
                        <a:pt x="33" y="44"/>
                        <a:pt x="33" y="44"/>
                      </a:cubicBezTo>
                      <a:cubicBezTo>
                        <a:pt x="34" y="43"/>
                        <a:pt x="34" y="43"/>
                        <a:pt x="34" y="43"/>
                      </a:cubicBezTo>
                      <a:cubicBezTo>
                        <a:pt x="34" y="42"/>
                        <a:pt x="34" y="42"/>
                        <a:pt x="34" y="42"/>
                      </a:cubicBezTo>
                      <a:cubicBezTo>
                        <a:pt x="34" y="41"/>
                        <a:pt x="34" y="41"/>
                        <a:pt x="34" y="41"/>
                      </a:cubicBezTo>
                      <a:cubicBezTo>
                        <a:pt x="35" y="41"/>
                        <a:pt x="35" y="41"/>
                        <a:pt x="35" y="41"/>
                      </a:cubicBezTo>
                      <a:cubicBezTo>
                        <a:pt x="35" y="39"/>
                        <a:pt x="35" y="39"/>
                        <a:pt x="35" y="39"/>
                      </a:cubicBezTo>
                      <a:cubicBezTo>
                        <a:pt x="34" y="39"/>
                        <a:pt x="34" y="39"/>
                        <a:pt x="34" y="39"/>
                      </a:cubicBezTo>
                      <a:cubicBezTo>
                        <a:pt x="34" y="41"/>
                        <a:pt x="34" y="41"/>
                        <a:pt x="34" y="41"/>
                      </a:cubicBezTo>
                      <a:cubicBezTo>
                        <a:pt x="33" y="42"/>
                        <a:pt x="33" y="42"/>
                        <a:pt x="33" y="42"/>
                      </a:cubicBezTo>
                      <a:cubicBezTo>
                        <a:pt x="33" y="43"/>
                        <a:pt x="33" y="43"/>
                        <a:pt x="33" y="43"/>
                      </a:cubicBezTo>
                      <a:cubicBezTo>
                        <a:pt x="32" y="44"/>
                        <a:pt x="32" y="44"/>
                        <a:pt x="32" y="44"/>
                      </a:cubicBezTo>
                      <a:cubicBezTo>
                        <a:pt x="32" y="45"/>
                        <a:pt x="32" y="45"/>
                        <a:pt x="32" y="45"/>
                      </a:cubicBezTo>
                      <a:cubicBezTo>
                        <a:pt x="32" y="46"/>
                        <a:pt x="32" y="46"/>
                        <a:pt x="32" y="46"/>
                      </a:cubicBezTo>
                      <a:cubicBezTo>
                        <a:pt x="32" y="47"/>
                        <a:pt x="32" y="47"/>
                        <a:pt x="32" y="47"/>
                      </a:cubicBezTo>
                      <a:close/>
                      <a:moveTo>
                        <a:pt x="31" y="46"/>
                      </a:moveTo>
                      <a:cubicBezTo>
                        <a:pt x="31" y="45"/>
                        <a:pt x="31" y="45"/>
                        <a:pt x="31" y="45"/>
                      </a:cubicBezTo>
                      <a:cubicBezTo>
                        <a:pt x="31" y="42"/>
                        <a:pt x="31" y="42"/>
                        <a:pt x="31" y="42"/>
                      </a:cubicBezTo>
                      <a:cubicBezTo>
                        <a:pt x="32" y="41"/>
                        <a:pt x="32" y="41"/>
                        <a:pt x="32" y="41"/>
                      </a:cubicBezTo>
                      <a:cubicBezTo>
                        <a:pt x="32" y="41"/>
                        <a:pt x="32" y="41"/>
                        <a:pt x="32" y="41"/>
                      </a:cubicBezTo>
                      <a:cubicBezTo>
                        <a:pt x="31" y="40"/>
                        <a:pt x="31" y="40"/>
                        <a:pt x="31" y="40"/>
                      </a:cubicBezTo>
                      <a:cubicBezTo>
                        <a:pt x="31" y="40"/>
                        <a:pt x="31" y="40"/>
                        <a:pt x="31" y="40"/>
                      </a:cubicBezTo>
                      <a:cubicBezTo>
                        <a:pt x="30" y="40"/>
                        <a:pt x="30" y="40"/>
                        <a:pt x="30" y="40"/>
                      </a:cubicBezTo>
                      <a:cubicBezTo>
                        <a:pt x="30" y="41"/>
                        <a:pt x="30" y="41"/>
                        <a:pt x="30" y="41"/>
                      </a:cubicBezTo>
                      <a:cubicBezTo>
                        <a:pt x="30" y="41"/>
                        <a:pt x="30" y="41"/>
                        <a:pt x="30" y="41"/>
                      </a:cubicBezTo>
                      <a:cubicBezTo>
                        <a:pt x="29" y="42"/>
                        <a:pt x="29" y="42"/>
                        <a:pt x="29" y="42"/>
                      </a:cubicBezTo>
                      <a:cubicBezTo>
                        <a:pt x="29" y="43"/>
                        <a:pt x="29" y="43"/>
                        <a:pt x="29" y="43"/>
                      </a:cubicBezTo>
                      <a:cubicBezTo>
                        <a:pt x="29" y="44"/>
                        <a:pt x="29" y="44"/>
                        <a:pt x="29" y="44"/>
                      </a:cubicBezTo>
                      <a:cubicBezTo>
                        <a:pt x="27" y="45"/>
                        <a:pt x="27" y="45"/>
                        <a:pt x="27" y="45"/>
                      </a:cubicBezTo>
                      <a:cubicBezTo>
                        <a:pt x="27" y="45"/>
                        <a:pt x="27" y="45"/>
                        <a:pt x="27" y="45"/>
                      </a:cubicBezTo>
                      <a:cubicBezTo>
                        <a:pt x="27" y="46"/>
                        <a:pt x="27" y="46"/>
                        <a:pt x="27" y="46"/>
                      </a:cubicBezTo>
                      <a:cubicBezTo>
                        <a:pt x="28" y="47"/>
                        <a:pt x="28" y="47"/>
                        <a:pt x="28" y="47"/>
                      </a:cubicBezTo>
                      <a:cubicBezTo>
                        <a:pt x="29" y="47"/>
                        <a:pt x="29" y="47"/>
                        <a:pt x="29" y="47"/>
                      </a:cubicBezTo>
                      <a:cubicBezTo>
                        <a:pt x="30" y="47"/>
                        <a:pt x="30" y="47"/>
                        <a:pt x="30" y="47"/>
                      </a:cubicBezTo>
                      <a:cubicBezTo>
                        <a:pt x="30" y="48"/>
                        <a:pt x="30" y="48"/>
                        <a:pt x="30" y="48"/>
                      </a:cubicBezTo>
                      <a:cubicBezTo>
                        <a:pt x="30" y="49"/>
                        <a:pt x="30" y="49"/>
                        <a:pt x="30" y="49"/>
                      </a:cubicBezTo>
                      <a:cubicBezTo>
                        <a:pt x="31" y="48"/>
                        <a:pt x="31" y="48"/>
                        <a:pt x="31" y="48"/>
                      </a:cubicBezTo>
                      <a:cubicBezTo>
                        <a:pt x="31" y="47"/>
                        <a:pt x="31" y="47"/>
                        <a:pt x="31" y="47"/>
                      </a:cubicBezTo>
                      <a:cubicBezTo>
                        <a:pt x="31" y="46"/>
                        <a:pt x="31" y="46"/>
                        <a:pt x="31" y="46"/>
                      </a:cubicBezTo>
                      <a:close/>
                      <a:moveTo>
                        <a:pt x="33" y="48"/>
                      </a:moveTo>
                      <a:cubicBezTo>
                        <a:pt x="33" y="48"/>
                        <a:pt x="33" y="48"/>
                        <a:pt x="33" y="48"/>
                      </a:cubicBezTo>
                      <a:cubicBezTo>
                        <a:pt x="33" y="48"/>
                        <a:pt x="33" y="48"/>
                        <a:pt x="33" y="48"/>
                      </a:cubicBezTo>
                      <a:cubicBezTo>
                        <a:pt x="33" y="49"/>
                        <a:pt x="33" y="49"/>
                        <a:pt x="33" y="49"/>
                      </a:cubicBezTo>
                      <a:cubicBezTo>
                        <a:pt x="32" y="48"/>
                        <a:pt x="32" y="48"/>
                        <a:pt x="32" y="48"/>
                      </a:cubicBezTo>
                      <a:cubicBezTo>
                        <a:pt x="32" y="48"/>
                        <a:pt x="32" y="48"/>
                        <a:pt x="32" y="48"/>
                      </a:cubicBezTo>
                      <a:cubicBezTo>
                        <a:pt x="33" y="48"/>
                        <a:pt x="33" y="48"/>
                        <a:pt x="33" y="48"/>
                      </a:cubicBezTo>
                      <a:close/>
                      <a:moveTo>
                        <a:pt x="36" y="44"/>
                      </a:moveTo>
                      <a:cubicBezTo>
                        <a:pt x="37" y="44"/>
                        <a:pt x="37" y="44"/>
                        <a:pt x="37" y="44"/>
                      </a:cubicBezTo>
                      <a:cubicBezTo>
                        <a:pt x="37" y="44"/>
                        <a:pt x="37" y="44"/>
                        <a:pt x="37" y="44"/>
                      </a:cubicBezTo>
                      <a:cubicBezTo>
                        <a:pt x="37" y="45"/>
                        <a:pt x="37" y="45"/>
                        <a:pt x="37" y="45"/>
                      </a:cubicBezTo>
                      <a:cubicBezTo>
                        <a:pt x="37" y="46"/>
                        <a:pt x="37" y="46"/>
                        <a:pt x="37" y="46"/>
                      </a:cubicBezTo>
                      <a:cubicBezTo>
                        <a:pt x="35" y="46"/>
                        <a:pt x="35" y="46"/>
                        <a:pt x="35" y="46"/>
                      </a:cubicBezTo>
                      <a:cubicBezTo>
                        <a:pt x="34" y="46"/>
                        <a:pt x="34" y="46"/>
                        <a:pt x="34" y="46"/>
                      </a:cubicBezTo>
                      <a:cubicBezTo>
                        <a:pt x="34" y="46"/>
                        <a:pt x="34" y="46"/>
                        <a:pt x="34" y="46"/>
                      </a:cubicBezTo>
                      <a:cubicBezTo>
                        <a:pt x="34" y="45"/>
                        <a:pt x="34" y="45"/>
                        <a:pt x="34" y="45"/>
                      </a:cubicBezTo>
                      <a:cubicBezTo>
                        <a:pt x="34" y="45"/>
                        <a:pt x="34" y="45"/>
                        <a:pt x="34" y="45"/>
                      </a:cubicBezTo>
                      <a:cubicBezTo>
                        <a:pt x="36" y="44"/>
                        <a:pt x="36" y="44"/>
                        <a:pt x="36" y="44"/>
                      </a:cubicBezTo>
                      <a:close/>
                      <a:moveTo>
                        <a:pt x="40" y="44"/>
                      </a:moveTo>
                      <a:cubicBezTo>
                        <a:pt x="41" y="45"/>
                        <a:pt x="41" y="45"/>
                        <a:pt x="41" y="45"/>
                      </a:cubicBezTo>
                      <a:cubicBezTo>
                        <a:pt x="41" y="45"/>
                        <a:pt x="41" y="45"/>
                        <a:pt x="41" y="45"/>
                      </a:cubicBezTo>
                      <a:cubicBezTo>
                        <a:pt x="40" y="45"/>
                        <a:pt x="40" y="45"/>
                        <a:pt x="40" y="45"/>
                      </a:cubicBezTo>
                      <a:cubicBezTo>
                        <a:pt x="40" y="44"/>
                        <a:pt x="40" y="44"/>
                        <a:pt x="40" y="44"/>
                      </a:cubicBezTo>
                      <a:close/>
                      <a:moveTo>
                        <a:pt x="38" y="47"/>
                      </a:moveTo>
                      <a:cubicBezTo>
                        <a:pt x="39" y="48"/>
                        <a:pt x="39" y="48"/>
                        <a:pt x="39" y="48"/>
                      </a:cubicBezTo>
                      <a:cubicBezTo>
                        <a:pt x="38" y="49"/>
                        <a:pt x="38" y="49"/>
                        <a:pt x="38" y="49"/>
                      </a:cubicBezTo>
                      <a:cubicBezTo>
                        <a:pt x="38" y="48"/>
                        <a:pt x="38" y="48"/>
                        <a:pt x="38" y="48"/>
                      </a:cubicBezTo>
                      <a:cubicBezTo>
                        <a:pt x="38" y="48"/>
                        <a:pt x="38" y="48"/>
                        <a:pt x="38" y="48"/>
                      </a:cubicBezTo>
                      <a:cubicBezTo>
                        <a:pt x="38" y="47"/>
                        <a:pt x="38" y="47"/>
                        <a:pt x="38" y="47"/>
                      </a:cubicBezTo>
                      <a:close/>
                      <a:moveTo>
                        <a:pt x="37" y="37"/>
                      </a:moveTo>
                      <a:cubicBezTo>
                        <a:pt x="37" y="38"/>
                        <a:pt x="37" y="38"/>
                        <a:pt x="37" y="38"/>
                      </a:cubicBezTo>
                      <a:cubicBezTo>
                        <a:pt x="36" y="38"/>
                        <a:pt x="36" y="38"/>
                        <a:pt x="36" y="38"/>
                      </a:cubicBezTo>
                      <a:cubicBezTo>
                        <a:pt x="35" y="37"/>
                        <a:pt x="35" y="37"/>
                        <a:pt x="35" y="37"/>
                      </a:cubicBezTo>
                      <a:cubicBezTo>
                        <a:pt x="36" y="37"/>
                        <a:pt x="36" y="37"/>
                        <a:pt x="36" y="37"/>
                      </a:cubicBezTo>
                      <a:cubicBezTo>
                        <a:pt x="37" y="37"/>
                        <a:pt x="37" y="37"/>
                        <a:pt x="37" y="37"/>
                      </a:cubicBezTo>
                      <a:close/>
                      <a:moveTo>
                        <a:pt x="39" y="38"/>
                      </a:moveTo>
                      <a:cubicBezTo>
                        <a:pt x="40" y="39"/>
                        <a:pt x="40" y="39"/>
                        <a:pt x="40" y="39"/>
                      </a:cubicBezTo>
                      <a:cubicBezTo>
                        <a:pt x="40" y="39"/>
                        <a:pt x="40" y="39"/>
                        <a:pt x="40" y="39"/>
                      </a:cubicBezTo>
                      <a:cubicBezTo>
                        <a:pt x="42" y="39"/>
                        <a:pt x="42" y="39"/>
                        <a:pt x="42" y="39"/>
                      </a:cubicBezTo>
                      <a:cubicBezTo>
                        <a:pt x="42" y="39"/>
                        <a:pt x="42" y="39"/>
                        <a:pt x="42" y="39"/>
                      </a:cubicBezTo>
                      <a:cubicBezTo>
                        <a:pt x="42" y="39"/>
                        <a:pt x="42" y="39"/>
                        <a:pt x="42" y="39"/>
                      </a:cubicBezTo>
                      <a:cubicBezTo>
                        <a:pt x="43" y="39"/>
                        <a:pt x="43" y="39"/>
                        <a:pt x="43" y="39"/>
                      </a:cubicBezTo>
                      <a:cubicBezTo>
                        <a:pt x="42" y="39"/>
                        <a:pt x="42" y="39"/>
                        <a:pt x="42" y="39"/>
                      </a:cubicBezTo>
                      <a:cubicBezTo>
                        <a:pt x="42" y="38"/>
                        <a:pt x="42" y="38"/>
                        <a:pt x="42" y="38"/>
                      </a:cubicBezTo>
                      <a:cubicBezTo>
                        <a:pt x="41" y="38"/>
                        <a:pt x="41" y="38"/>
                        <a:pt x="41" y="38"/>
                      </a:cubicBezTo>
                      <a:cubicBezTo>
                        <a:pt x="41" y="36"/>
                        <a:pt x="41" y="36"/>
                        <a:pt x="41" y="36"/>
                      </a:cubicBezTo>
                      <a:cubicBezTo>
                        <a:pt x="41" y="35"/>
                        <a:pt x="41" y="35"/>
                        <a:pt x="41" y="35"/>
                      </a:cubicBezTo>
                      <a:cubicBezTo>
                        <a:pt x="41" y="34"/>
                        <a:pt x="41" y="34"/>
                        <a:pt x="41" y="34"/>
                      </a:cubicBezTo>
                      <a:cubicBezTo>
                        <a:pt x="41" y="34"/>
                        <a:pt x="41" y="34"/>
                        <a:pt x="41" y="34"/>
                      </a:cubicBezTo>
                      <a:cubicBezTo>
                        <a:pt x="40" y="33"/>
                        <a:pt x="40" y="33"/>
                        <a:pt x="40" y="33"/>
                      </a:cubicBezTo>
                      <a:cubicBezTo>
                        <a:pt x="40" y="32"/>
                        <a:pt x="40" y="32"/>
                        <a:pt x="40" y="32"/>
                      </a:cubicBezTo>
                      <a:cubicBezTo>
                        <a:pt x="39" y="32"/>
                        <a:pt x="39" y="32"/>
                        <a:pt x="39" y="32"/>
                      </a:cubicBezTo>
                      <a:cubicBezTo>
                        <a:pt x="39" y="32"/>
                        <a:pt x="39" y="32"/>
                        <a:pt x="39" y="32"/>
                      </a:cubicBezTo>
                      <a:cubicBezTo>
                        <a:pt x="38" y="32"/>
                        <a:pt x="38" y="32"/>
                        <a:pt x="38" y="32"/>
                      </a:cubicBezTo>
                      <a:cubicBezTo>
                        <a:pt x="38" y="32"/>
                        <a:pt x="38" y="32"/>
                        <a:pt x="38" y="32"/>
                      </a:cubicBezTo>
                      <a:cubicBezTo>
                        <a:pt x="37" y="33"/>
                        <a:pt x="37" y="33"/>
                        <a:pt x="37" y="33"/>
                      </a:cubicBezTo>
                      <a:cubicBezTo>
                        <a:pt x="37" y="33"/>
                        <a:pt x="37" y="33"/>
                        <a:pt x="37" y="33"/>
                      </a:cubicBezTo>
                      <a:cubicBezTo>
                        <a:pt x="36" y="33"/>
                        <a:pt x="36" y="33"/>
                        <a:pt x="36" y="33"/>
                      </a:cubicBezTo>
                      <a:cubicBezTo>
                        <a:pt x="35" y="32"/>
                        <a:pt x="35" y="32"/>
                        <a:pt x="35" y="32"/>
                      </a:cubicBezTo>
                      <a:cubicBezTo>
                        <a:pt x="35" y="33"/>
                        <a:pt x="35" y="33"/>
                        <a:pt x="35" y="33"/>
                      </a:cubicBezTo>
                      <a:cubicBezTo>
                        <a:pt x="36" y="34"/>
                        <a:pt x="36" y="34"/>
                        <a:pt x="36" y="34"/>
                      </a:cubicBezTo>
                      <a:cubicBezTo>
                        <a:pt x="37" y="35"/>
                        <a:pt x="37" y="35"/>
                        <a:pt x="37" y="35"/>
                      </a:cubicBezTo>
                      <a:cubicBezTo>
                        <a:pt x="38" y="36"/>
                        <a:pt x="38" y="36"/>
                        <a:pt x="38" y="36"/>
                      </a:cubicBezTo>
                      <a:cubicBezTo>
                        <a:pt x="39" y="37"/>
                        <a:pt x="39" y="37"/>
                        <a:pt x="39" y="37"/>
                      </a:cubicBezTo>
                      <a:cubicBezTo>
                        <a:pt x="39" y="37"/>
                        <a:pt x="39" y="37"/>
                        <a:pt x="39" y="37"/>
                      </a:cubicBezTo>
                      <a:cubicBezTo>
                        <a:pt x="38" y="38"/>
                        <a:pt x="38" y="38"/>
                        <a:pt x="38" y="38"/>
                      </a:cubicBezTo>
                      <a:cubicBezTo>
                        <a:pt x="38" y="38"/>
                        <a:pt x="38" y="38"/>
                        <a:pt x="38" y="38"/>
                      </a:cubicBezTo>
                      <a:cubicBezTo>
                        <a:pt x="39" y="38"/>
                        <a:pt x="39" y="38"/>
                        <a:pt x="39" y="38"/>
                      </a:cubicBezTo>
                      <a:cubicBezTo>
                        <a:pt x="39" y="38"/>
                        <a:pt x="39" y="38"/>
                        <a:pt x="39" y="38"/>
                      </a:cubicBezTo>
                      <a:cubicBezTo>
                        <a:pt x="39" y="38"/>
                        <a:pt x="39" y="38"/>
                        <a:pt x="39" y="38"/>
                      </a:cubicBezTo>
                      <a:close/>
                      <a:moveTo>
                        <a:pt x="38" y="38"/>
                      </a:moveTo>
                      <a:cubicBezTo>
                        <a:pt x="37" y="39"/>
                        <a:pt x="37" y="39"/>
                        <a:pt x="37" y="39"/>
                      </a:cubicBezTo>
                      <a:cubicBezTo>
                        <a:pt x="36" y="38"/>
                        <a:pt x="36" y="38"/>
                        <a:pt x="36" y="38"/>
                      </a:cubicBezTo>
                      <a:cubicBezTo>
                        <a:pt x="36" y="38"/>
                        <a:pt x="36" y="38"/>
                        <a:pt x="36" y="38"/>
                      </a:cubicBezTo>
                      <a:cubicBezTo>
                        <a:pt x="36" y="39"/>
                        <a:pt x="36" y="39"/>
                        <a:pt x="36" y="39"/>
                      </a:cubicBezTo>
                      <a:cubicBezTo>
                        <a:pt x="36" y="40"/>
                        <a:pt x="36" y="40"/>
                        <a:pt x="36" y="40"/>
                      </a:cubicBezTo>
                      <a:cubicBezTo>
                        <a:pt x="37" y="40"/>
                        <a:pt x="37" y="40"/>
                        <a:pt x="37" y="40"/>
                      </a:cubicBezTo>
                      <a:cubicBezTo>
                        <a:pt x="37" y="40"/>
                        <a:pt x="37" y="40"/>
                        <a:pt x="37" y="40"/>
                      </a:cubicBezTo>
                      <a:cubicBezTo>
                        <a:pt x="38" y="40"/>
                        <a:pt x="38" y="40"/>
                        <a:pt x="38" y="40"/>
                      </a:cubicBezTo>
                      <a:cubicBezTo>
                        <a:pt x="38" y="42"/>
                        <a:pt x="38" y="42"/>
                        <a:pt x="38" y="42"/>
                      </a:cubicBezTo>
                      <a:cubicBezTo>
                        <a:pt x="38" y="42"/>
                        <a:pt x="38" y="42"/>
                        <a:pt x="38" y="42"/>
                      </a:cubicBezTo>
                      <a:cubicBezTo>
                        <a:pt x="38" y="44"/>
                        <a:pt x="38" y="44"/>
                        <a:pt x="38" y="44"/>
                      </a:cubicBezTo>
                      <a:cubicBezTo>
                        <a:pt x="39" y="44"/>
                        <a:pt x="39" y="44"/>
                        <a:pt x="39" y="44"/>
                      </a:cubicBezTo>
                      <a:cubicBezTo>
                        <a:pt x="39" y="43"/>
                        <a:pt x="39" y="43"/>
                        <a:pt x="39" y="43"/>
                      </a:cubicBezTo>
                      <a:cubicBezTo>
                        <a:pt x="40" y="44"/>
                        <a:pt x="40" y="44"/>
                        <a:pt x="40" y="44"/>
                      </a:cubicBezTo>
                      <a:cubicBezTo>
                        <a:pt x="41" y="43"/>
                        <a:pt x="41" y="43"/>
                        <a:pt x="41" y="43"/>
                      </a:cubicBezTo>
                      <a:cubicBezTo>
                        <a:pt x="41" y="43"/>
                        <a:pt x="41" y="43"/>
                        <a:pt x="41" y="43"/>
                      </a:cubicBezTo>
                      <a:cubicBezTo>
                        <a:pt x="40" y="41"/>
                        <a:pt x="40" y="41"/>
                        <a:pt x="40" y="41"/>
                      </a:cubicBezTo>
                      <a:cubicBezTo>
                        <a:pt x="39" y="41"/>
                        <a:pt x="39" y="41"/>
                        <a:pt x="39" y="41"/>
                      </a:cubicBezTo>
                      <a:cubicBezTo>
                        <a:pt x="39" y="40"/>
                        <a:pt x="39" y="40"/>
                        <a:pt x="39" y="40"/>
                      </a:cubicBezTo>
                      <a:cubicBezTo>
                        <a:pt x="38" y="39"/>
                        <a:pt x="38" y="39"/>
                        <a:pt x="38" y="39"/>
                      </a:cubicBezTo>
                      <a:cubicBezTo>
                        <a:pt x="38" y="38"/>
                        <a:pt x="38" y="38"/>
                        <a:pt x="38" y="38"/>
                      </a:cubicBezTo>
                      <a:close/>
                      <a:moveTo>
                        <a:pt x="43" y="40"/>
                      </a:moveTo>
                      <a:cubicBezTo>
                        <a:pt x="43" y="40"/>
                        <a:pt x="43" y="40"/>
                        <a:pt x="43" y="40"/>
                      </a:cubicBezTo>
                      <a:cubicBezTo>
                        <a:pt x="43" y="40"/>
                        <a:pt x="43" y="40"/>
                        <a:pt x="43" y="40"/>
                      </a:cubicBezTo>
                      <a:cubicBezTo>
                        <a:pt x="43" y="40"/>
                        <a:pt x="43" y="40"/>
                        <a:pt x="43" y="40"/>
                      </a:cubicBezTo>
                      <a:cubicBezTo>
                        <a:pt x="43" y="40"/>
                        <a:pt x="43" y="40"/>
                        <a:pt x="43" y="40"/>
                      </a:cubicBezTo>
                      <a:close/>
                      <a:moveTo>
                        <a:pt x="43" y="41"/>
                      </a:moveTo>
                      <a:cubicBezTo>
                        <a:pt x="43" y="41"/>
                        <a:pt x="43" y="41"/>
                        <a:pt x="43" y="41"/>
                      </a:cubicBezTo>
                      <a:cubicBezTo>
                        <a:pt x="43" y="41"/>
                        <a:pt x="43" y="41"/>
                        <a:pt x="43" y="41"/>
                      </a:cubicBezTo>
                      <a:cubicBezTo>
                        <a:pt x="43" y="42"/>
                        <a:pt x="43" y="42"/>
                        <a:pt x="43" y="42"/>
                      </a:cubicBezTo>
                      <a:cubicBezTo>
                        <a:pt x="43" y="41"/>
                        <a:pt x="43" y="41"/>
                        <a:pt x="43" y="41"/>
                      </a:cubicBezTo>
                      <a:close/>
                      <a:moveTo>
                        <a:pt x="43" y="45"/>
                      </a:moveTo>
                      <a:cubicBezTo>
                        <a:pt x="43" y="44"/>
                        <a:pt x="43" y="44"/>
                        <a:pt x="43" y="44"/>
                      </a:cubicBezTo>
                      <a:cubicBezTo>
                        <a:pt x="43" y="44"/>
                        <a:pt x="43" y="44"/>
                        <a:pt x="43" y="44"/>
                      </a:cubicBezTo>
                      <a:cubicBezTo>
                        <a:pt x="43" y="43"/>
                        <a:pt x="43" y="43"/>
                        <a:pt x="43" y="43"/>
                      </a:cubicBezTo>
                      <a:cubicBezTo>
                        <a:pt x="43" y="43"/>
                        <a:pt x="43" y="43"/>
                        <a:pt x="43" y="43"/>
                      </a:cubicBezTo>
                      <a:cubicBezTo>
                        <a:pt x="43" y="42"/>
                        <a:pt x="43" y="42"/>
                        <a:pt x="43" y="42"/>
                      </a:cubicBezTo>
                      <a:cubicBezTo>
                        <a:pt x="42" y="42"/>
                        <a:pt x="42" y="42"/>
                        <a:pt x="42" y="42"/>
                      </a:cubicBezTo>
                      <a:cubicBezTo>
                        <a:pt x="42" y="43"/>
                        <a:pt x="42" y="43"/>
                        <a:pt x="42" y="43"/>
                      </a:cubicBezTo>
                      <a:cubicBezTo>
                        <a:pt x="43" y="44"/>
                        <a:pt x="43" y="44"/>
                        <a:pt x="43" y="44"/>
                      </a:cubicBezTo>
                      <a:cubicBezTo>
                        <a:pt x="42" y="45"/>
                        <a:pt x="42" y="45"/>
                        <a:pt x="42" y="45"/>
                      </a:cubicBezTo>
                      <a:cubicBezTo>
                        <a:pt x="43" y="45"/>
                        <a:pt x="43" y="45"/>
                        <a:pt x="43" y="45"/>
                      </a:cubicBezTo>
                      <a:cubicBezTo>
                        <a:pt x="43" y="45"/>
                        <a:pt x="43" y="45"/>
                        <a:pt x="43" y="45"/>
                      </a:cubicBezTo>
                      <a:close/>
                      <a:moveTo>
                        <a:pt x="44" y="46"/>
                      </a:moveTo>
                      <a:cubicBezTo>
                        <a:pt x="44" y="46"/>
                        <a:pt x="44" y="46"/>
                        <a:pt x="44" y="46"/>
                      </a:cubicBezTo>
                      <a:cubicBezTo>
                        <a:pt x="44" y="47"/>
                        <a:pt x="44" y="47"/>
                        <a:pt x="44" y="47"/>
                      </a:cubicBezTo>
                      <a:cubicBezTo>
                        <a:pt x="44" y="46"/>
                        <a:pt x="44" y="46"/>
                        <a:pt x="44" y="46"/>
                      </a:cubicBezTo>
                      <a:cubicBezTo>
                        <a:pt x="44" y="46"/>
                        <a:pt x="44" y="46"/>
                        <a:pt x="44" y="46"/>
                      </a:cubicBezTo>
                      <a:close/>
                      <a:moveTo>
                        <a:pt x="45" y="44"/>
                      </a:moveTo>
                      <a:cubicBezTo>
                        <a:pt x="44" y="45"/>
                        <a:pt x="44" y="45"/>
                        <a:pt x="44" y="45"/>
                      </a:cubicBezTo>
                      <a:cubicBezTo>
                        <a:pt x="44" y="45"/>
                        <a:pt x="44" y="45"/>
                        <a:pt x="44" y="45"/>
                      </a:cubicBezTo>
                      <a:cubicBezTo>
                        <a:pt x="45" y="46"/>
                        <a:pt x="45" y="46"/>
                        <a:pt x="45" y="46"/>
                      </a:cubicBezTo>
                      <a:cubicBezTo>
                        <a:pt x="45" y="45"/>
                        <a:pt x="45" y="45"/>
                        <a:pt x="45" y="45"/>
                      </a:cubicBezTo>
                      <a:cubicBezTo>
                        <a:pt x="45" y="45"/>
                        <a:pt x="45" y="45"/>
                        <a:pt x="45" y="45"/>
                      </a:cubicBezTo>
                      <a:cubicBezTo>
                        <a:pt x="45" y="44"/>
                        <a:pt x="45" y="44"/>
                        <a:pt x="45" y="44"/>
                      </a:cubicBezTo>
                      <a:close/>
                      <a:moveTo>
                        <a:pt x="26" y="59"/>
                      </a:moveTo>
                      <a:cubicBezTo>
                        <a:pt x="25" y="58"/>
                        <a:pt x="25" y="58"/>
                        <a:pt x="25" y="58"/>
                      </a:cubicBezTo>
                      <a:cubicBezTo>
                        <a:pt x="26" y="57"/>
                        <a:pt x="26" y="57"/>
                        <a:pt x="26" y="57"/>
                      </a:cubicBezTo>
                      <a:cubicBezTo>
                        <a:pt x="26" y="55"/>
                        <a:pt x="26" y="55"/>
                        <a:pt x="26" y="55"/>
                      </a:cubicBezTo>
                      <a:cubicBezTo>
                        <a:pt x="26" y="55"/>
                        <a:pt x="26" y="55"/>
                        <a:pt x="26" y="55"/>
                      </a:cubicBezTo>
                      <a:cubicBezTo>
                        <a:pt x="27" y="54"/>
                        <a:pt x="27" y="54"/>
                        <a:pt x="27" y="54"/>
                      </a:cubicBezTo>
                      <a:cubicBezTo>
                        <a:pt x="27" y="54"/>
                        <a:pt x="27" y="54"/>
                        <a:pt x="27" y="54"/>
                      </a:cubicBezTo>
                      <a:cubicBezTo>
                        <a:pt x="28" y="53"/>
                        <a:pt x="28" y="53"/>
                        <a:pt x="28" y="53"/>
                      </a:cubicBezTo>
                      <a:cubicBezTo>
                        <a:pt x="29" y="53"/>
                        <a:pt x="29" y="53"/>
                        <a:pt x="29" y="53"/>
                      </a:cubicBezTo>
                      <a:cubicBezTo>
                        <a:pt x="30" y="53"/>
                        <a:pt x="30" y="53"/>
                        <a:pt x="30" y="53"/>
                      </a:cubicBezTo>
                      <a:cubicBezTo>
                        <a:pt x="30" y="52"/>
                        <a:pt x="30" y="52"/>
                        <a:pt x="30" y="52"/>
                      </a:cubicBezTo>
                      <a:cubicBezTo>
                        <a:pt x="30" y="52"/>
                        <a:pt x="30" y="52"/>
                        <a:pt x="30" y="52"/>
                      </a:cubicBezTo>
                      <a:cubicBezTo>
                        <a:pt x="32" y="51"/>
                        <a:pt x="32" y="51"/>
                        <a:pt x="32" y="51"/>
                      </a:cubicBezTo>
                      <a:cubicBezTo>
                        <a:pt x="32" y="50"/>
                        <a:pt x="32" y="50"/>
                        <a:pt x="32" y="50"/>
                      </a:cubicBezTo>
                      <a:cubicBezTo>
                        <a:pt x="33" y="50"/>
                        <a:pt x="33" y="50"/>
                        <a:pt x="33" y="50"/>
                      </a:cubicBezTo>
                      <a:cubicBezTo>
                        <a:pt x="34" y="51"/>
                        <a:pt x="34" y="51"/>
                        <a:pt x="34" y="51"/>
                      </a:cubicBezTo>
                      <a:cubicBezTo>
                        <a:pt x="34" y="53"/>
                        <a:pt x="34" y="53"/>
                        <a:pt x="34" y="53"/>
                      </a:cubicBezTo>
                      <a:cubicBezTo>
                        <a:pt x="33" y="54"/>
                        <a:pt x="33" y="54"/>
                        <a:pt x="33" y="54"/>
                      </a:cubicBezTo>
                      <a:cubicBezTo>
                        <a:pt x="34" y="53"/>
                        <a:pt x="34" y="53"/>
                        <a:pt x="34" y="53"/>
                      </a:cubicBezTo>
                      <a:cubicBezTo>
                        <a:pt x="35" y="53"/>
                        <a:pt x="35" y="53"/>
                        <a:pt x="35" y="53"/>
                      </a:cubicBezTo>
                      <a:cubicBezTo>
                        <a:pt x="36" y="53"/>
                        <a:pt x="36" y="53"/>
                        <a:pt x="36" y="53"/>
                      </a:cubicBezTo>
                      <a:cubicBezTo>
                        <a:pt x="37" y="51"/>
                        <a:pt x="37" y="51"/>
                        <a:pt x="37" y="51"/>
                      </a:cubicBezTo>
                      <a:cubicBezTo>
                        <a:pt x="38" y="51"/>
                        <a:pt x="38" y="51"/>
                        <a:pt x="38" y="51"/>
                      </a:cubicBezTo>
                      <a:cubicBezTo>
                        <a:pt x="38" y="52"/>
                        <a:pt x="38" y="52"/>
                        <a:pt x="38" y="52"/>
                      </a:cubicBezTo>
                      <a:cubicBezTo>
                        <a:pt x="39" y="51"/>
                        <a:pt x="39" y="51"/>
                        <a:pt x="39" y="51"/>
                      </a:cubicBezTo>
                      <a:cubicBezTo>
                        <a:pt x="39" y="51"/>
                        <a:pt x="39" y="51"/>
                        <a:pt x="39" y="51"/>
                      </a:cubicBezTo>
                      <a:cubicBezTo>
                        <a:pt x="38" y="51"/>
                        <a:pt x="38" y="51"/>
                        <a:pt x="38" y="51"/>
                      </a:cubicBezTo>
                      <a:cubicBezTo>
                        <a:pt x="39" y="49"/>
                        <a:pt x="39" y="49"/>
                        <a:pt x="39" y="49"/>
                      </a:cubicBezTo>
                      <a:cubicBezTo>
                        <a:pt x="40" y="49"/>
                        <a:pt x="40" y="49"/>
                        <a:pt x="40" y="49"/>
                      </a:cubicBezTo>
                      <a:cubicBezTo>
                        <a:pt x="40" y="50"/>
                        <a:pt x="40" y="50"/>
                        <a:pt x="40" y="50"/>
                      </a:cubicBezTo>
                      <a:cubicBezTo>
                        <a:pt x="41" y="49"/>
                        <a:pt x="41" y="49"/>
                        <a:pt x="41" y="49"/>
                      </a:cubicBezTo>
                      <a:cubicBezTo>
                        <a:pt x="41" y="48"/>
                        <a:pt x="41" y="48"/>
                        <a:pt x="41" y="48"/>
                      </a:cubicBezTo>
                      <a:cubicBezTo>
                        <a:pt x="41" y="48"/>
                        <a:pt x="41" y="48"/>
                        <a:pt x="41" y="48"/>
                      </a:cubicBezTo>
                      <a:cubicBezTo>
                        <a:pt x="42" y="49"/>
                        <a:pt x="42" y="49"/>
                        <a:pt x="42" y="49"/>
                      </a:cubicBezTo>
                      <a:cubicBezTo>
                        <a:pt x="42" y="48"/>
                        <a:pt x="42" y="48"/>
                        <a:pt x="42" y="48"/>
                      </a:cubicBezTo>
                      <a:cubicBezTo>
                        <a:pt x="41" y="46"/>
                        <a:pt x="41" y="46"/>
                        <a:pt x="41" y="46"/>
                      </a:cubicBezTo>
                      <a:cubicBezTo>
                        <a:pt x="41" y="45"/>
                        <a:pt x="41" y="45"/>
                        <a:pt x="41" y="45"/>
                      </a:cubicBezTo>
                      <a:cubicBezTo>
                        <a:pt x="42" y="46"/>
                        <a:pt x="42" y="46"/>
                        <a:pt x="42" y="46"/>
                      </a:cubicBezTo>
                      <a:cubicBezTo>
                        <a:pt x="42" y="46"/>
                        <a:pt x="42" y="46"/>
                        <a:pt x="42" y="46"/>
                      </a:cubicBezTo>
                      <a:cubicBezTo>
                        <a:pt x="43" y="46"/>
                        <a:pt x="43" y="46"/>
                        <a:pt x="43" y="46"/>
                      </a:cubicBezTo>
                      <a:cubicBezTo>
                        <a:pt x="44" y="47"/>
                        <a:pt x="44" y="47"/>
                        <a:pt x="44" y="47"/>
                      </a:cubicBezTo>
                      <a:cubicBezTo>
                        <a:pt x="45" y="48"/>
                        <a:pt x="45" y="48"/>
                        <a:pt x="45" y="48"/>
                      </a:cubicBezTo>
                      <a:cubicBezTo>
                        <a:pt x="46" y="48"/>
                        <a:pt x="46" y="48"/>
                        <a:pt x="46" y="48"/>
                      </a:cubicBezTo>
                      <a:cubicBezTo>
                        <a:pt x="46" y="48"/>
                        <a:pt x="46" y="48"/>
                        <a:pt x="46" y="48"/>
                      </a:cubicBezTo>
                      <a:cubicBezTo>
                        <a:pt x="46" y="49"/>
                        <a:pt x="46" y="49"/>
                        <a:pt x="46" y="49"/>
                      </a:cubicBezTo>
                      <a:cubicBezTo>
                        <a:pt x="46" y="50"/>
                        <a:pt x="46" y="50"/>
                        <a:pt x="46" y="50"/>
                      </a:cubicBezTo>
                      <a:cubicBezTo>
                        <a:pt x="46" y="50"/>
                        <a:pt x="46" y="50"/>
                        <a:pt x="46" y="50"/>
                      </a:cubicBezTo>
                      <a:cubicBezTo>
                        <a:pt x="45" y="51"/>
                        <a:pt x="45" y="51"/>
                        <a:pt x="45" y="51"/>
                      </a:cubicBezTo>
                      <a:cubicBezTo>
                        <a:pt x="46" y="51"/>
                        <a:pt x="46" y="51"/>
                        <a:pt x="46" y="51"/>
                      </a:cubicBezTo>
                      <a:cubicBezTo>
                        <a:pt x="46" y="51"/>
                        <a:pt x="46" y="51"/>
                        <a:pt x="46" y="51"/>
                      </a:cubicBezTo>
                      <a:cubicBezTo>
                        <a:pt x="46" y="52"/>
                        <a:pt x="46" y="52"/>
                        <a:pt x="46" y="52"/>
                      </a:cubicBezTo>
                      <a:cubicBezTo>
                        <a:pt x="46" y="53"/>
                        <a:pt x="46" y="53"/>
                        <a:pt x="46" y="53"/>
                      </a:cubicBezTo>
                      <a:cubicBezTo>
                        <a:pt x="47" y="52"/>
                        <a:pt x="47" y="52"/>
                        <a:pt x="47" y="52"/>
                      </a:cubicBezTo>
                      <a:cubicBezTo>
                        <a:pt x="47" y="53"/>
                        <a:pt x="47" y="53"/>
                        <a:pt x="47" y="53"/>
                      </a:cubicBezTo>
                      <a:cubicBezTo>
                        <a:pt x="47" y="54"/>
                        <a:pt x="47" y="54"/>
                        <a:pt x="47" y="54"/>
                      </a:cubicBezTo>
                      <a:cubicBezTo>
                        <a:pt x="47" y="55"/>
                        <a:pt x="47" y="55"/>
                        <a:pt x="47" y="55"/>
                      </a:cubicBezTo>
                      <a:cubicBezTo>
                        <a:pt x="48" y="56"/>
                        <a:pt x="48" y="56"/>
                        <a:pt x="48" y="56"/>
                      </a:cubicBezTo>
                      <a:cubicBezTo>
                        <a:pt x="48" y="57"/>
                        <a:pt x="48" y="57"/>
                        <a:pt x="48" y="57"/>
                      </a:cubicBezTo>
                      <a:cubicBezTo>
                        <a:pt x="48" y="58"/>
                        <a:pt x="48" y="58"/>
                        <a:pt x="48" y="58"/>
                      </a:cubicBezTo>
                      <a:cubicBezTo>
                        <a:pt x="47" y="58"/>
                        <a:pt x="47" y="58"/>
                        <a:pt x="47" y="58"/>
                      </a:cubicBezTo>
                      <a:cubicBezTo>
                        <a:pt x="47" y="59"/>
                        <a:pt x="47" y="59"/>
                        <a:pt x="47" y="59"/>
                      </a:cubicBezTo>
                      <a:cubicBezTo>
                        <a:pt x="47" y="58"/>
                        <a:pt x="47" y="58"/>
                        <a:pt x="47" y="58"/>
                      </a:cubicBezTo>
                      <a:cubicBezTo>
                        <a:pt x="46" y="58"/>
                        <a:pt x="46" y="58"/>
                        <a:pt x="46" y="58"/>
                      </a:cubicBezTo>
                      <a:cubicBezTo>
                        <a:pt x="46" y="59"/>
                        <a:pt x="46" y="59"/>
                        <a:pt x="46" y="59"/>
                      </a:cubicBezTo>
                      <a:cubicBezTo>
                        <a:pt x="46" y="60"/>
                        <a:pt x="46" y="60"/>
                        <a:pt x="46" y="60"/>
                      </a:cubicBezTo>
                      <a:cubicBezTo>
                        <a:pt x="46" y="61"/>
                        <a:pt x="46" y="61"/>
                        <a:pt x="46" y="61"/>
                      </a:cubicBezTo>
                      <a:cubicBezTo>
                        <a:pt x="46" y="62"/>
                        <a:pt x="46" y="62"/>
                        <a:pt x="46" y="62"/>
                      </a:cubicBezTo>
                      <a:cubicBezTo>
                        <a:pt x="46" y="61"/>
                        <a:pt x="46" y="61"/>
                        <a:pt x="46" y="61"/>
                      </a:cubicBezTo>
                      <a:cubicBezTo>
                        <a:pt x="46" y="60"/>
                        <a:pt x="46" y="60"/>
                        <a:pt x="46" y="60"/>
                      </a:cubicBezTo>
                      <a:cubicBezTo>
                        <a:pt x="46" y="59"/>
                        <a:pt x="46" y="59"/>
                        <a:pt x="46" y="59"/>
                      </a:cubicBezTo>
                      <a:cubicBezTo>
                        <a:pt x="45" y="58"/>
                        <a:pt x="45" y="58"/>
                        <a:pt x="45" y="58"/>
                      </a:cubicBezTo>
                      <a:cubicBezTo>
                        <a:pt x="45" y="58"/>
                        <a:pt x="45" y="58"/>
                        <a:pt x="45" y="58"/>
                      </a:cubicBezTo>
                      <a:cubicBezTo>
                        <a:pt x="44" y="57"/>
                        <a:pt x="44" y="57"/>
                        <a:pt x="44" y="57"/>
                      </a:cubicBezTo>
                      <a:cubicBezTo>
                        <a:pt x="44" y="57"/>
                        <a:pt x="44" y="57"/>
                        <a:pt x="44" y="57"/>
                      </a:cubicBezTo>
                      <a:cubicBezTo>
                        <a:pt x="42" y="59"/>
                        <a:pt x="42" y="59"/>
                        <a:pt x="42" y="59"/>
                      </a:cubicBezTo>
                      <a:cubicBezTo>
                        <a:pt x="42" y="60"/>
                        <a:pt x="42" y="60"/>
                        <a:pt x="42" y="60"/>
                      </a:cubicBezTo>
                      <a:cubicBezTo>
                        <a:pt x="43" y="60"/>
                        <a:pt x="43" y="60"/>
                        <a:pt x="43" y="60"/>
                      </a:cubicBezTo>
                      <a:cubicBezTo>
                        <a:pt x="44" y="61"/>
                        <a:pt x="44" y="61"/>
                        <a:pt x="44" y="61"/>
                      </a:cubicBezTo>
                      <a:cubicBezTo>
                        <a:pt x="44" y="62"/>
                        <a:pt x="44" y="62"/>
                        <a:pt x="44" y="62"/>
                      </a:cubicBezTo>
                      <a:cubicBezTo>
                        <a:pt x="44" y="63"/>
                        <a:pt x="44" y="63"/>
                        <a:pt x="44" y="63"/>
                      </a:cubicBezTo>
                      <a:cubicBezTo>
                        <a:pt x="43" y="64"/>
                        <a:pt x="43" y="64"/>
                        <a:pt x="43" y="64"/>
                      </a:cubicBezTo>
                      <a:cubicBezTo>
                        <a:pt x="42" y="65"/>
                        <a:pt x="42" y="65"/>
                        <a:pt x="42" y="65"/>
                      </a:cubicBezTo>
                      <a:cubicBezTo>
                        <a:pt x="42" y="64"/>
                        <a:pt x="42" y="64"/>
                        <a:pt x="42" y="64"/>
                      </a:cubicBezTo>
                      <a:cubicBezTo>
                        <a:pt x="41" y="64"/>
                        <a:pt x="41" y="64"/>
                        <a:pt x="41" y="64"/>
                      </a:cubicBezTo>
                      <a:cubicBezTo>
                        <a:pt x="42" y="63"/>
                        <a:pt x="42" y="63"/>
                        <a:pt x="42" y="63"/>
                      </a:cubicBezTo>
                      <a:cubicBezTo>
                        <a:pt x="41" y="63"/>
                        <a:pt x="41" y="63"/>
                        <a:pt x="41" y="63"/>
                      </a:cubicBezTo>
                      <a:cubicBezTo>
                        <a:pt x="41" y="63"/>
                        <a:pt x="41" y="63"/>
                        <a:pt x="41" y="63"/>
                      </a:cubicBezTo>
                      <a:cubicBezTo>
                        <a:pt x="41" y="63"/>
                        <a:pt x="41" y="63"/>
                        <a:pt x="41" y="63"/>
                      </a:cubicBezTo>
                      <a:cubicBezTo>
                        <a:pt x="40" y="64"/>
                        <a:pt x="40" y="64"/>
                        <a:pt x="40" y="64"/>
                      </a:cubicBezTo>
                      <a:cubicBezTo>
                        <a:pt x="39" y="63"/>
                        <a:pt x="39" y="63"/>
                        <a:pt x="39" y="63"/>
                      </a:cubicBezTo>
                      <a:cubicBezTo>
                        <a:pt x="38" y="63"/>
                        <a:pt x="38" y="63"/>
                        <a:pt x="38" y="63"/>
                      </a:cubicBezTo>
                      <a:cubicBezTo>
                        <a:pt x="37" y="63"/>
                        <a:pt x="37" y="63"/>
                        <a:pt x="37" y="63"/>
                      </a:cubicBezTo>
                      <a:cubicBezTo>
                        <a:pt x="36" y="62"/>
                        <a:pt x="36" y="62"/>
                        <a:pt x="36" y="62"/>
                      </a:cubicBezTo>
                      <a:cubicBezTo>
                        <a:pt x="36" y="61"/>
                        <a:pt x="36" y="61"/>
                        <a:pt x="36" y="61"/>
                      </a:cubicBezTo>
                      <a:cubicBezTo>
                        <a:pt x="35" y="60"/>
                        <a:pt x="35" y="60"/>
                        <a:pt x="35" y="60"/>
                      </a:cubicBezTo>
                      <a:cubicBezTo>
                        <a:pt x="36" y="60"/>
                        <a:pt x="36" y="60"/>
                        <a:pt x="36" y="60"/>
                      </a:cubicBezTo>
                      <a:cubicBezTo>
                        <a:pt x="36" y="59"/>
                        <a:pt x="36" y="59"/>
                        <a:pt x="36" y="59"/>
                      </a:cubicBezTo>
                      <a:cubicBezTo>
                        <a:pt x="35" y="59"/>
                        <a:pt x="35" y="59"/>
                        <a:pt x="35" y="59"/>
                      </a:cubicBezTo>
                      <a:cubicBezTo>
                        <a:pt x="36" y="58"/>
                        <a:pt x="36" y="58"/>
                        <a:pt x="36" y="58"/>
                      </a:cubicBezTo>
                      <a:cubicBezTo>
                        <a:pt x="35" y="58"/>
                        <a:pt x="35" y="58"/>
                        <a:pt x="35" y="58"/>
                      </a:cubicBezTo>
                      <a:cubicBezTo>
                        <a:pt x="36" y="58"/>
                        <a:pt x="36" y="58"/>
                        <a:pt x="36" y="58"/>
                      </a:cubicBezTo>
                      <a:cubicBezTo>
                        <a:pt x="37" y="58"/>
                        <a:pt x="37" y="58"/>
                        <a:pt x="37" y="58"/>
                      </a:cubicBezTo>
                      <a:cubicBezTo>
                        <a:pt x="36" y="57"/>
                        <a:pt x="36" y="57"/>
                        <a:pt x="36" y="57"/>
                      </a:cubicBezTo>
                      <a:cubicBezTo>
                        <a:pt x="36" y="56"/>
                        <a:pt x="36" y="56"/>
                        <a:pt x="36" y="56"/>
                      </a:cubicBezTo>
                      <a:cubicBezTo>
                        <a:pt x="35" y="56"/>
                        <a:pt x="35" y="56"/>
                        <a:pt x="35" y="56"/>
                      </a:cubicBezTo>
                      <a:cubicBezTo>
                        <a:pt x="34" y="56"/>
                        <a:pt x="34" y="56"/>
                        <a:pt x="34" y="56"/>
                      </a:cubicBezTo>
                      <a:cubicBezTo>
                        <a:pt x="33" y="55"/>
                        <a:pt x="33" y="55"/>
                        <a:pt x="33" y="55"/>
                      </a:cubicBezTo>
                      <a:cubicBezTo>
                        <a:pt x="33" y="55"/>
                        <a:pt x="33" y="55"/>
                        <a:pt x="33" y="55"/>
                      </a:cubicBezTo>
                      <a:cubicBezTo>
                        <a:pt x="32" y="55"/>
                        <a:pt x="32" y="55"/>
                        <a:pt x="32" y="55"/>
                      </a:cubicBezTo>
                      <a:cubicBezTo>
                        <a:pt x="33" y="56"/>
                        <a:pt x="33" y="56"/>
                        <a:pt x="33" y="56"/>
                      </a:cubicBezTo>
                      <a:cubicBezTo>
                        <a:pt x="32" y="56"/>
                        <a:pt x="32" y="56"/>
                        <a:pt x="32" y="56"/>
                      </a:cubicBezTo>
                      <a:cubicBezTo>
                        <a:pt x="33" y="57"/>
                        <a:pt x="33" y="57"/>
                        <a:pt x="33" y="57"/>
                      </a:cubicBezTo>
                      <a:cubicBezTo>
                        <a:pt x="32" y="57"/>
                        <a:pt x="32" y="57"/>
                        <a:pt x="32" y="57"/>
                      </a:cubicBezTo>
                      <a:cubicBezTo>
                        <a:pt x="32" y="56"/>
                        <a:pt x="32" y="56"/>
                        <a:pt x="32" y="56"/>
                      </a:cubicBezTo>
                      <a:cubicBezTo>
                        <a:pt x="31" y="56"/>
                        <a:pt x="31" y="56"/>
                        <a:pt x="31" y="56"/>
                      </a:cubicBezTo>
                      <a:cubicBezTo>
                        <a:pt x="31" y="56"/>
                        <a:pt x="31" y="56"/>
                        <a:pt x="31" y="56"/>
                      </a:cubicBezTo>
                      <a:cubicBezTo>
                        <a:pt x="31" y="55"/>
                        <a:pt x="31" y="55"/>
                        <a:pt x="31" y="55"/>
                      </a:cubicBezTo>
                      <a:cubicBezTo>
                        <a:pt x="30" y="56"/>
                        <a:pt x="30" y="56"/>
                        <a:pt x="30" y="56"/>
                      </a:cubicBezTo>
                      <a:cubicBezTo>
                        <a:pt x="30" y="56"/>
                        <a:pt x="30" y="56"/>
                        <a:pt x="30" y="56"/>
                      </a:cubicBezTo>
                      <a:cubicBezTo>
                        <a:pt x="30" y="56"/>
                        <a:pt x="30" y="56"/>
                        <a:pt x="30" y="56"/>
                      </a:cubicBezTo>
                      <a:cubicBezTo>
                        <a:pt x="29" y="56"/>
                        <a:pt x="29" y="56"/>
                        <a:pt x="29" y="56"/>
                      </a:cubicBezTo>
                      <a:cubicBezTo>
                        <a:pt x="29" y="56"/>
                        <a:pt x="29" y="56"/>
                        <a:pt x="29" y="56"/>
                      </a:cubicBezTo>
                      <a:cubicBezTo>
                        <a:pt x="29" y="55"/>
                        <a:pt x="29" y="55"/>
                        <a:pt x="29" y="55"/>
                      </a:cubicBezTo>
                      <a:cubicBezTo>
                        <a:pt x="29" y="55"/>
                        <a:pt x="29" y="55"/>
                        <a:pt x="29" y="55"/>
                      </a:cubicBezTo>
                      <a:cubicBezTo>
                        <a:pt x="28" y="55"/>
                        <a:pt x="28" y="55"/>
                        <a:pt x="28" y="55"/>
                      </a:cubicBezTo>
                      <a:cubicBezTo>
                        <a:pt x="28" y="56"/>
                        <a:pt x="28" y="56"/>
                        <a:pt x="28" y="56"/>
                      </a:cubicBezTo>
                      <a:cubicBezTo>
                        <a:pt x="27" y="56"/>
                        <a:pt x="27" y="56"/>
                        <a:pt x="27" y="56"/>
                      </a:cubicBezTo>
                      <a:cubicBezTo>
                        <a:pt x="26" y="58"/>
                        <a:pt x="26" y="58"/>
                        <a:pt x="26" y="58"/>
                      </a:cubicBezTo>
                      <a:cubicBezTo>
                        <a:pt x="26" y="59"/>
                        <a:pt x="26" y="59"/>
                        <a:pt x="26" y="59"/>
                      </a:cubicBezTo>
                      <a:close/>
                      <a:moveTo>
                        <a:pt x="25" y="60"/>
                      </a:moveTo>
                      <a:cubicBezTo>
                        <a:pt x="25" y="60"/>
                        <a:pt x="25" y="60"/>
                        <a:pt x="25" y="60"/>
                      </a:cubicBezTo>
                      <a:cubicBezTo>
                        <a:pt x="25" y="61"/>
                        <a:pt x="25" y="61"/>
                        <a:pt x="25" y="61"/>
                      </a:cubicBezTo>
                      <a:cubicBezTo>
                        <a:pt x="26" y="61"/>
                        <a:pt x="26" y="61"/>
                        <a:pt x="26" y="61"/>
                      </a:cubicBezTo>
                      <a:cubicBezTo>
                        <a:pt x="27" y="60"/>
                        <a:pt x="27" y="60"/>
                        <a:pt x="27" y="60"/>
                      </a:cubicBezTo>
                      <a:cubicBezTo>
                        <a:pt x="27" y="60"/>
                        <a:pt x="27" y="60"/>
                        <a:pt x="27" y="60"/>
                      </a:cubicBezTo>
                      <a:cubicBezTo>
                        <a:pt x="26" y="60"/>
                        <a:pt x="26" y="60"/>
                        <a:pt x="26" y="60"/>
                      </a:cubicBezTo>
                      <a:cubicBezTo>
                        <a:pt x="26" y="59"/>
                        <a:pt x="26" y="59"/>
                        <a:pt x="26" y="59"/>
                      </a:cubicBezTo>
                      <a:cubicBezTo>
                        <a:pt x="25" y="60"/>
                        <a:pt x="25" y="60"/>
                        <a:pt x="25" y="60"/>
                      </a:cubicBezTo>
                      <a:cubicBezTo>
                        <a:pt x="25" y="60"/>
                        <a:pt x="25" y="60"/>
                        <a:pt x="25" y="60"/>
                      </a:cubicBezTo>
                      <a:close/>
                      <a:moveTo>
                        <a:pt x="14" y="35"/>
                      </a:moveTo>
                      <a:cubicBezTo>
                        <a:pt x="13" y="35"/>
                        <a:pt x="13" y="35"/>
                        <a:pt x="13" y="35"/>
                      </a:cubicBezTo>
                      <a:cubicBezTo>
                        <a:pt x="13" y="34"/>
                        <a:pt x="13" y="34"/>
                        <a:pt x="13" y="34"/>
                      </a:cubicBezTo>
                      <a:cubicBezTo>
                        <a:pt x="13" y="34"/>
                        <a:pt x="13" y="34"/>
                        <a:pt x="13" y="34"/>
                      </a:cubicBezTo>
                      <a:cubicBezTo>
                        <a:pt x="14" y="34"/>
                        <a:pt x="14" y="34"/>
                        <a:pt x="14" y="34"/>
                      </a:cubicBezTo>
                      <a:cubicBezTo>
                        <a:pt x="15" y="34"/>
                        <a:pt x="15" y="34"/>
                        <a:pt x="15" y="34"/>
                      </a:cubicBezTo>
                      <a:cubicBezTo>
                        <a:pt x="16" y="34"/>
                        <a:pt x="16" y="34"/>
                        <a:pt x="16" y="34"/>
                      </a:cubicBezTo>
                      <a:cubicBezTo>
                        <a:pt x="16" y="35"/>
                        <a:pt x="16" y="35"/>
                        <a:pt x="16" y="35"/>
                      </a:cubicBezTo>
                      <a:cubicBezTo>
                        <a:pt x="15" y="35"/>
                        <a:pt x="15" y="35"/>
                        <a:pt x="15" y="35"/>
                      </a:cubicBezTo>
                      <a:cubicBezTo>
                        <a:pt x="15" y="35"/>
                        <a:pt x="15" y="35"/>
                        <a:pt x="15" y="35"/>
                      </a:cubicBezTo>
                      <a:cubicBezTo>
                        <a:pt x="14" y="35"/>
                        <a:pt x="14" y="35"/>
                        <a:pt x="14" y="35"/>
                      </a:cubicBezTo>
                      <a:close/>
                      <a:moveTo>
                        <a:pt x="13" y="35"/>
                      </a:moveTo>
                      <a:cubicBezTo>
                        <a:pt x="14" y="36"/>
                        <a:pt x="14" y="36"/>
                        <a:pt x="14" y="36"/>
                      </a:cubicBezTo>
                      <a:cubicBezTo>
                        <a:pt x="14" y="36"/>
                        <a:pt x="14" y="36"/>
                        <a:pt x="14" y="36"/>
                      </a:cubicBezTo>
                      <a:cubicBezTo>
                        <a:pt x="14" y="37"/>
                        <a:pt x="14" y="37"/>
                        <a:pt x="14" y="37"/>
                      </a:cubicBezTo>
                      <a:cubicBezTo>
                        <a:pt x="14" y="37"/>
                        <a:pt x="14" y="37"/>
                        <a:pt x="14" y="37"/>
                      </a:cubicBezTo>
                      <a:cubicBezTo>
                        <a:pt x="13" y="37"/>
                        <a:pt x="13" y="37"/>
                        <a:pt x="13" y="37"/>
                      </a:cubicBezTo>
                      <a:cubicBezTo>
                        <a:pt x="13" y="36"/>
                        <a:pt x="13" y="36"/>
                        <a:pt x="13" y="36"/>
                      </a:cubicBezTo>
                      <a:cubicBezTo>
                        <a:pt x="13" y="35"/>
                        <a:pt x="13" y="35"/>
                        <a:pt x="13" y="35"/>
                      </a:cubicBezTo>
                      <a:close/>
                      <a:moveTo>
                        <a:pt x="14" y="42"/>
                      </a:moveTo>
                      <a:cubicBezTo>
                        <a:pt x="14" y="42"/>
                        <a:pt x="14" y="42"/>
                        <a:pt x="14" y="42"/>
                      </a:cubicBezTo>
                      <a:cubicBezTo>
                        <a:pt x="14" y="41"/>
                        <a:pt x="14" y="41"/>
                        <a:pt x="14" y="41"/>
                      </a:cubicBezTo>
                      <a:cubicBezTo>
                        <a:pt x="14" y="42"/>
                        <a:pt x="14" y="42"/>
                        <a:pt x="14" y="42"/>
                      </a:cubicBezTo>
                      <a:cubicBezTo>
                        <a:pt x="15" y="42"/>
                        <a:pt x="15" y="42"/>
                        <a:pt x="15" y="42"/>
                      </a:cubicBezTo>
                      <a:cubicBezTo>
                        <a:pt x="15" y="43"/>
                        <a:pt x="15" y="43"/>
                        <a:pt x="15" y="43"/>
                      </a:cubicBezTo>
                      <a:cubicBezTo>
                        <a:pt x="14" y="43"/>
                        <a:pt x="14" y="43"/>
                        <a:pt x="14" y="43"/>
                      </a:cubicBezTo>
                      <a:cubicBezTo>
                        <a:pt x="13" y="42"/>
                        <a:pt x="13" y="42"/>
                        <a:pt x="13" y="42"/>
                      </a:cubicBezTo>
                      <a:cubicBezTo>
                        <a:pt x="14" y="42"/>
                        <a:pt x="14" y="42"/>
                        <a:pt x="14" y="42"/>
                      </a:cubicBezTo>
                      <a:close/>
                      <a:moveTo>
                        <a:pt x="2" y="52"/>
                      </a:moveTo>
                      <a:cubicBezTo>
                        <a:pt x="3" y="51"/>
                        <a:pt x="3" y="51"/>
                        <a:pt x="3" y="51"/>
                      </a:cubicBezTo>
                      <a:cubicBezTo>
                        <a:pt x="4" y="51"/>
                        <a:pt x="4" y="51"/>
                        <a:pt x="4" y="51"/>
                      </a:cubicBezTo>
                      <a:cubicBezTo>
                        <a:pt x="4" y="50"/>
                        <a:pt x="4" y="50"/>
                        <a:pt x="4" y="50"/>
                      </a:cubicBezTo>
                      <a:cubicBezTo>
                        <a:pt x="5" y="50"/>
                        <a:pt x="5" y="50"/>
                        <a:pt x="5" y="50"/>
                      </a:cubicBezTo>
                      <a:cubicBezTo>
                        <a:pt x="6" y="48"/>
                        <a:pt x="6" y="48"/>
                        <a:pt x="6" y="48"/>
                      </a:cubicBezTo>
                      <a:cubicBezTo>
                        <a:pt x="7" y="48"/>
                        <a:pt x="7" y="48"/>
                        <a:pt x="7" y="48"/>
                      </a:cubicBezTo>
                      <a:cubicBezTo>
                        <a:pt x="8" y="47"/>
                        <a:pt x="8" y="47"/>
                        <a:pt x="8" y="47"/>
                      </a:cubicBezTo>
                      <a:cubicBezTo>
                        <a:pt x="8" y="47"/>
                        <a:pt x="8" y="47"/>
                        <a:pt x="8" y="47"/>
                      </a:cubicBezTo>
                      <a:cubicBezTo>
                        <a:pt x="9" y="46"/>
                        <a:pt x="9" y="46"/>
                        <a:pt x="9" y="46"/>
                      </a:cubicBezTo>
                      <a:cubicBezTo>
                        <a:pt x="9" y="45"/>
                        <a:pt x="9" y="45"/>
                        <a:pt x="9" y="45"/>
                      </a:cubicBezTo>
                      <a:cubicBezTo>
                        <a:pt x="9" y="44"/>
                        <a:pt x="9" y="44"/>
                        <a:pt x="9" y="44"/>
                      </a:cubicBezTo>
                      <a:cubicBezTo>
                        <a:pt x="11" y="44"/>
                        <a:pt x="11" y="44"/>
                        <a:pt x="11" y="44"/>
                      </a:cubicBezTo>
                      <a:cubicBezTo>
                        <a:pt x="11" y="43"/>
                        <a:pt x="11" y="43"/>
                        <a:pt x="11" y="43"/>
                      </a:cubicBezTo>
                      <a:cubicBezTo>
                        <a:pt x="12" y="43"/>
                        <a:pt x="12" y="43"/>
                        <a:pt x="12" y="43"/>
                      </a:cubicBezTo>
                      <a:cubicBezTo>
                        <a:pt x="13" y="43"/>
                        <a:pt x="13" y="43"/>
                        <a:pt x="13" y="43"/>
                      </a:cubicBezTo>
                      <a:cubicBezTo>
                        <a:pt x="13" y="42"/>
                        <a:pt x="13" y="42"/>
                        <a:pt x="13" y="42"/>
                      </a:cubicBezTo>
                      <a:cubicBezTo>
                        <a:pt x="13" y="41"/>
                        <a:pt x="13" y="41"/>
                        <a:pt x="13" y="41"/>
                      </a:cubicBezTo>
                      <a:cubicBezTo>
                        <a:pt x="12" y="40"/>
                        <a:pt x="12" y="40"/>
                        <a:pt x="12" y="40"/>
                      </a:cubicBezTo>
                      <a:cubicBezTo>
                        <a:pt x="12" y="39"/>
                        <a:pt x="12" y="39"/>
                        <a:pt x="12" y="39"/>
                      </a:cubicBezTo>
                      <a:cubicBezTo>
                        <a:pt x="12" y="38"/>
                        <a:pt x="12" y="38"/>
                        <a:pt x="12" y="38"/>
                      </a:cubicBezTo>
                      <a:cubicBezTo>
                        <a:pt x="11" y="38"/>
                        <a:pt x="11" y="38"/>
                        <a:pt x="11" y="38"/>
                      </a:cubicBezTo>
                      <a:cubicBezTo>
                        <a:pt x="11" y="40"/>
                        <a:pt x="11" y="40"/>
                        <a:pt x="11" y="40"/>
                      </a:cubicBezTo>
                      <a:cubicBezTo>
                        <a:pt x="11" y="41"/>
                        <a:pt x="11" y="41"/>
                        <a:pt x="11" y="41"/>
                      </a:cubicBezTo>
                      <a:cubicBezTo>
                        <a:pt x="11" y="40"/>
                        <a:pt x="11" y="40"/>
                        <a:pt x="11" y="40"/>
                      </a:cubicBezTo>
                      <a:cubicBezTo>
                        <a:pt x="11" y="41"/>
                        <a:pt x="11" y="41"/>
                        <a:pt x="11" y="41"/>
                      </a:cubicBezTo>
                      <a:cubicBezTo>
                        <a:pt x="11" y="42"/>
                        <a:pt x="11" y="42"/>
                        <a:pt x="11" y="42"/>
                      </a:cubicBezTo>
                      <a:cubicBezTo>
                        <a:pt x="10" y="43"/>
                        <a:pt x="10" y="43"/>
                        <a:pt x="10" y="43"/>
                      </a:cubicBezTo>
                      <a:cubicBezTo>
                        <a:pt x="10" y="43"/>
                        <a:pt x="10" y="43"/>
                        <a:pt x="10" y="43"/>
                      </a:cubicBezTo>
                      <a:cubicBezTo>
                        <a:pt x="9" y="44"/>
                        <a:pt x="9" y="44"/>
                        <a:pt x="9" y="44"/>
                      </a:cubicBezTo>
                      <a:cubicBezTo>
                        <a:pt x="9" y="44"/>
                        <a:pt x="9" y="44"/>
                        <a:pt x="9" y="44"/>
                      </a:cubicBezTo>
                      <a:cubicBezTo>
                        <a:pt x="8" y="45"/>
                        <a:pt x="8" y="45"/>
                        <a:pt x="8" y="45"/>
                      </a:cubicBezTo>
                      <a:cubicBezTo>
                        <a:pt x="7" y="47"/>
                        <a:pt x="7" y="47"/>
                        <a:pt x="7" y="47"/>
                      </a:cubicBezTo>
                      <a:cubicBezTo>
                        <a:pt x="6" y="48"/>
                        <a:pt x="6" y="48"/>
                        <a:pt x="6" y="48"/>
                      </a:cubicBezTo>
                      <a:cubicBezTo>
                        <a:pt x="5" y="48"/>
                        <a:pt x="5" y="48"/>
                        <a:pt x="5" y="48"/>
                      </a:cubicBezTo>
                      <a:cubicBezTo>
                        <a:pt x="4" y="49"/>
                        <a:pt x="4" y="49"/>
                        <a:pt x="4" y="49"/>
                      </a:cubicBezTo>
                      <a:cubicBezTo>
                        <a:pt x="4" y="49"/>
                        <a:pt x="4" y="49"/>
                        <a:pt x="4" y="49"/>
                      </a:cubicBezTo>
                      <a:cubicBezTo>
                        <a:pt x="2" y="51"/>
                        <a:pt x="2" y="51"/>
                        <a:pt x="2" y="51"/>
                      </a:cubicBezTo>
                      <a:cubicBezTo>
                        <a:pt x="2" y="51"/>
                        <a:pt x="2" y="51"/>
                        <a:pt x="2" y="51"/>
                      </a:cubicBezTo>
                      <a:cubicBezTo>
                        <a:pt x="2" y="52"/>
                        <a:pt x="2" y="52"/>
                        <a:pt x="2" y="52"/>
                      </a:cubicBezTo>
                      <a:close/>
                      <a:moveTo>
                        <a:pt x="2" y="52"/>
                      </a:moveTo>
                      <a:cubicBezTo>
                        <a:pt x="2" y="52"/>
                        <a:pt x="2" y="52"/>
                        <a:pt x="2" y="52"/>
                      </a:cubicBezTo>
                      <a:cubicBezTo>
                        <a:pt x="2" y="52"/>
                        <a:pt x="2" y="52"/>
                        <a:pt x="2" y="52"/>
                      </a:cubicBezTo>
                      <a:cubicBezTo>
                        <a:pt x="2" y="52"/>
                        <a:pt x="2" y="52"/>
                        <a:pt x="2" y="52"/>
                      </a:cubicBezTo>
                      <a:close/>
                      <a:moveTo>
                        <a:pt x="3" y="52"/>
                      </a:moveTo>
                      <a:cubicBezTo>
                        <a:pt x="2" y="52"/>
                        <a:pt x="2" y="52"/>
                        <a:pt x="2" y="52"/>
                      </a:cubicBezTo>
                      <a:cubicBezTo>
                        <a:pt x="3" y="53"/>
                        <a:pt x="3" y="53"/>
                        <a:pt x="3" y="53"/>
                      </a:cubicBezTo>
                      <a:cubicBezTo>
                        <a:pt x="3" y="52"/>
                        <a:pt x="3" y="52"/>
                        <a:pt x="3" y="52"/>
                      </a:cubicBezTo>
                      <a:close/>
                      <a:moveTo>
                        <a:pt x="1" y="53"/>
                      </a:moveTo>
                      <a:cubicBezTo>
                        <a:pt x="0" y="53"/>
                        <a:pt x="0" y="53"/>
                        <a:pt x="0" y="53"/>
                      </a:cubicBezTo>
                      <a:cubicBezTo>
                        <a:pt x="0" y="54"/>
                        <a:pt x="0" y="54"/>
                        <a:pt x="0" y="54"/>
                      </a:cubicBezTo>
                      <a:cubicBezTo>
                        <a:pt x="1" y="55"/>
                        <a:pt x="1" y="55"/>
                        <a:pt x="1" y="55"/>
                      </a:cubicBezTo>
                      <a:cubicBezTo>
                        <a:pt x="1" y="55"/>
                        <a:pt x="1" y="55"/>
                        <a:pt x="1" y="55"/>
                      </a:cubicBezTo>
                      <a:cubicBezTo>
                        <a:pt x="1" y="54"/>
                        <a:pt x="1" y="54"/>
                        <a:pt x="1" y="54"/>
                      </a:cubicBezTo>
                      <a:cubicBezTo>
                        <a:pt x="2" y="53"/>
                        <a:pt x="2" y="53"/>
                        <a:pt x="2" y="53"/>
                      </a:cubicBezTo>
                      <a:lnTo>
                        <a:pt x="1" y="53"/>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Freeform 25">
                  <a:extLst>
                    <a:ext uri="{FF2B5EF4-FFF2-40B4-BE49-F238E27FC236}">
                      <a16:creationId xmlns:a16="http://schemas.microsoft.com/office/drawing/2014/main" id="{E078C7AE-05F6-3D33-25F4-41A9491B5CF2}"/>
                    </a:ext>
                  </a:extLst>
                </p:cNvPr>
                <p:cNvSpPr>
                  <a:spLocks noEditPoints="1"/>
                </p:cNvSpPr>
                <p:nvPr/>
              </p:nvSpPr>
              <p:spPr bwMode="auto">
                <a:xfrm>
                  <a:off x="3735" y="2533"/>
                  <a:ext cx="521" cy="188"/>
                </a:xfrm>
                <a:custGeom>
                  <a:avLst/>
                  <a:gdLst>
                    <a:gd name="T0" fmla="*/ 210 w 220"/>
                    <a:gd name="T1" fmla="*/ 62 h 79"/>
                    <a:gd name="T2" fmla="*/ 199 w 220"/>
                    <a:gd name="T3" fmla="*/ 52 h 79"/>
                    <a:gd name="T4" fmla="*/ 183 w 220"/>
                    <a:gd name="T5" fmla="*/ 48 h 79"/>
                    <a:gd name="T6" fmla="*/ 182 w 220"/>
                    <a:gd name="T7" fmla="*/ 40 h 79"/>
                    <a:gd name="T8" fmla="*/ 188 w 220"/>
                    <a:gd name="T9" fmla="*/ 36 h 79"/>
                    <a:gd name="T10" fmla="*/ 202 w 220"/>
                    <a:gd name="T11" fmla="*/ 39 h 79"/>
                    <a:gd name="T12" fmla="*/ 171 w 220"/>
                    <a:gd name="T13" fmla="*/ 31 h 79"/>
                    <a:gd name="T14" fmla="*/ 145 w 220"/>
                    <a:gd name="T15" fmla="*/ 15 h 79"/>
                    <a:gd name="T16" fmla="*/ 158 w 220"/>
                    <a:gd name="T17" fmla="*/ 33 h 79"/>
                    <a:gd name="T18" fmla="*/ 161 w 220"/>
                    <a:gd name="T19" fmla="*/ 23 h 79"/>
                    <a:gd name="T20" fmla="*/ 156 w 220"/>
                    <a:gd name="T21" fmla="*/ 34 h 79"/>
                    <a:gd name="T22" fmla="*/ 160 w 220"/>
                    <a:gd name="T23" fmla="*/ 46 h 79"/>
                    <a:gd name="T24" fmla="*/ 169 w 220"/>
                    <a:gd name="T25" fmla="*/ 46 h 79"/>
                    <a:gd name="T26" fmla="*/ 148 w 220"/>
                    <a:gd name="T27" fmla="*/ 47 h 79"/>
                    <a:gd name="T28" fmla="*/ 146 w 220"/>
                    <a:gd name="T29" fmla="*/ 39 h 79"/>
                    <a:gd name="T30" fmla="*/ 133 w 220"/>
                    <a:gd name="T31" fmla="*/ 53 h 79"/>
                    <a:gd name="T32" fmla="*/ 134 w 220"/>
                    <a:gd name="T33" fmla="*/ 39 h 79"/>
                    <a:gd name="T34" fmla="*/ 128 w 220"/>
                    <a:gd name="T35" fmla="*/ 33 h 79"/>
                    <a:gd name="T36" fmla="*/ 141 w 220"/>
                    <a:gd name="T37" fmla="*/ 25 h 79"/>
                    <a:gd name="T38" fmla="*/ 118 w 220"/>
                    <a:gd name="T39" fmla="*/ 34 h 79"/>
                    <a:gd name="T40" fmla="*/ 117 w 220"/>
                    <a:gd name="T41" fmla="*/ 55 h 79"/>
                    <a:gd name="T42" fmla="*/ 126 w 220"/>
                    <a:gd name="T43" fmla="*/ 49 h 79"/>
                    <a:gd name="T44" fmla="*/ 130 w 220"/>
                    <a:gd name="T45" fmla="*/ 45 h 79"/>
                    <a:gd name="T46" fmla="*/ 130 w 220"/>
                    <a:gd name="T47" fmla="*/ 34 h 79"/>
                    <a:gd name="T48" fmla="*/ 116 w 220"/>
                    <a:gd name="T49" fmla="*/ 8 h 79"/>
                    <a:gd name="T50" fmla="*/ 101 w 220"/>
                    <a:gd name="T51" fmla="*/ 47 h 79"/>
                    <a:gd name="T52" fmla="*/ 69 w 220"/>
                    <a:gd name="T53" fmla="*/ 36 h 79"/>
                    <a:gd name="T54" fmla="*/ 99 w 220"/>
                    <a:gd name="T55" fmla="*/ 12 h 79"/>
                    <a:gd name="T56" fmla="*/ 111 w 220"/>
                    <a:gd name="T57" fmla="*/ 24 h 79"/>
                    <a:gd name="T58" fmla="*/ 101 w 220"/>
                    <a:gd name="T59" fmla="*/ 39 h 79"/>
                    <a:gd name="T60" fmla="*/ 90 w 220"/>
                    <a:gd name="T61" fmla="*/ 46 h 79"/>
                    <a:gd name="T62" fmla="*/ 73 w 220"/>
                    <a:gd name="T63" fmla="*/ 42 h 79"/>
                    <a:gd name="T64" fmla="*/ 191 w 220"/>
                    <a:gd name="T65" fmla="*/ 34 h 79"/>
                    <a:gd name="T66" fmla="*/ 196 w 220"/>
                    <a:gd name="T67" fmla="*/ 33 h 79"/>
                    <a:gd name="T68" fmla="*/ 188 w 220"/>
                    <a:gd name="T69" fmla="*/ 60 h 79"/>
                    <a:gd name="T70" fmla="*/ 187 w 220"/>
                    <a:gd name="T71" fmla="*/ 56 h 79"/>
                    <a:gd name="T72" fmla="*/ 171 w 220"/>
                    <a:gd name="T73" fmla="*/ 64 h 79"/>
                    <a:gd name="T74" fmla="*/ 167 w 220"/>
                    <a:gd name="T75" fmla="*/ 58 h 79"/>
                    <a:gd name="T76" fmla="*/ 153 w 220"/>
                    <a:gd name="T77" fmla="*/ 64 h 79"/>
                    <a:gd name="T78" fmla="*/ 140 w 220"/>
                    <a:gd name="T79" fmla="*/ 72 h 79"/>
                    <a:gd name="T80" fmla="*/ 127 w 220"/>
                    <a:gd name="T81" fmla="*/ 77 h 79"/>
                    <a:gd name="T82" fmla="*/ 97 w 220"/>
                    <a:gd name="T83" fmla="*/ 61 h 79"/>
                    <a:gd name="T84" fmla="*/ 142 w 220"/>
                    <a:gd name="T85" fmla="*/ 67 h 79"/>
                    <a:gd name="T86" fmla="*/ 117 w 220"/>
                    <a:gd name="T87" fmla="*/ 68 h 79"/>
                    <a:gd name="T88" fmla="*/ 120 w 220"/>
                    <a:gd name="T89" fmla="*/ 70 h 79"/>
                    <a:gd name="T90" fmla="*/ 113 w 220"/>
                    <a:gd name="T91" fmla="*/ 70 h 79"/>
                    <a:gd name="T92" fmla="*/ 101 w 220"/>
                    <a:gd name="T93" fmla="*/ 70 h 79"/>
                    <a:gd name="T94" fmla="*/ 209 w 220"/>
                    <a:gd name="T95" fmla="*/ 66 h 79"/>
                    <a:gd name="T96" fmla="*/ 88 w 220"/>
                    <a:gd name="T97" fmla="*/ 61 h 79"/>
                    <a:gd name="T98" fmla="*/ 74 w 220"/>
                    <a:gd name="T99" fmla="*/ 61 h 79"/>
                    <a:gd name="T100" fmla="*/ 88 w 220"/>
                    <a:gd name="T101" fmla="*/ 68 h 79"/>
                    <a:gd name="T102" fmla="*/ 54 w 220"/>
                    <a:gd name="T103" fmla="*/ 62 h 79"/>
                    <a:gd name="T104" fmla="*/ 51 w 220"/>
                    <a:gd name="T105" fmla="*/ 16 h 79"/>
                    <a:gd name="T106" fmla="*/ 61 w 220"/>
                    <a:gd name="T107" fmla="*/ 45 h 79"/>
                    <a:gd name="T108" fmla="*/ 53 w 220"/>
                    <a:gd name="T109" fmla="*/ 38 h 79"/>
                    <a:gd name="T110" fmla="*/ 34 w 220"/>
                    <a:gd name="T111" fmla="*/ 24 h 79"/>
                    <a:gd name="T112" fmla="*/ 17 w 220"/>
                    <a:gd name="T113" fmla="*/ 35 h 79"/>
                    <a:gd name="T114" fmla="*/ 10 w 220"/>
                    <a:gd name="T115" fmla="*/ 24 h 79"/>
                    <a:gd name="T116" fmla="*/ 18 w 220"/>
                    <a:gd name="T117" fmla="*/ 23 h 79"/>
                    <a:gd name="T118" fmla="*/ 46 w 220"/>
                    <a:gd name="T119" fmla="*/ 56 h 79"/>
                    <a:gd name="T120" fmla="*/ 46 w 220"/>
                    <a:gd name="T121" fmla="*/ 38 h 79"/>
                    <a:gd name="T122" fmla="*/ 32 w 220"/>
                    <a:gd name="T123" fmla="*/ 23 h 79"/>
                    <a:gd name="T124" fmla="*/ 5 w 220"/>
                    <a:gd name="T125" fmla="*/ 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0" h="79">
                      <a:moveTo>
                        <a:pt x="220" y="42"/>
                      </a:moveTo>
                      <a:cubicBezTo>
                        <a:pt x="220" y="58"/>
                        <a:pt x="220" y="58"/>
                        <a:pt x="220" y="58"/>
                      </a:cubicBezTo>
                      <a:cubicBezTo>
                        <a:pt x="220" y="59"/>
                        <a:pt x="220" y="59"/>
                        <a:pt x="220" y="59"/>
                      </a:cubicBezTo>
                      <a:cubicBezTo>
                        <a:pt x="220" y="60"/>
                        <a:pt x="220" y="60"/>
                        <a:pt x="220" y="60"/>
                      </a:cubicBezTo>
                      <a:cubicBezTo>
                        <a:pt x="220" y="60"/>
                        <a:pt x="220" y="60"/>
                        <a:pt x="220" y="60"/>
                      </a:cubicBezTo>
                      <a:cubicBezTo>
                        <a:pt x="219" y="71"/>
                        <a:pt x="219" y="71"/>
                        <a:pt x="219" y="71"/>
                      </a:cubicBezTo>
                      <a:cubicBezTo>
                        <a:pt x="219" y="71"/>
                        <a:pt x="219" y="71"/>
                        <a:pt x="219" y="71"/>
                      </a:cubicBezTo>
                      <a:cubicBezTo>
                        <a:pt x="218" y="70"/>
                        <a:pt x="218" y="70"/>
                        <a:pt x="218" y="70"/>
                      </a:cubicBezTo>
                      <a:cubicBezTo>
                        <a:pt x="217" y="69"/>
                        <a:pt x="217" y="69"/>
                        <a:pt x="217" y="69"/>
                      </a:cubicBezTo>
                      <a:cubicBezTo>
                        <a:pt x="216" y="69"/>
                        <a:pt x="216" y="69"/>
                        <a:pt x="216" y="69"/>
                      </a:cubicBezTo>
                      <a:cubicBezTo>
                        <a:pt x="216" y="68"/>
                        <a:pt x="216" y="68"/>
                        <a:pt x="216" y="68"/>
                      </a:cubicBezTo>
                      <a:cubicBezTo>
                        <a:pt x="215" y="67"/>
                        <a:pt x="215" y="67"/>
                        <a:pt x="215" y="67"/>
                      </a:cubicBezTo>
                      <a:cubicBezTo>
                        <a:pt x="215" y="67"/>
                        <a:pt x="215" y="67"/>
                        <a:pt x="215" y="67"/>
                      </a:cubicBezTo>
                      <a:cubicBezTo>
                        <a:pt x="215" y="67"/>
                        <a:pt x="215" y="67"/>
                        <a:pt x="215" y="67"/>
                      </a:cubicBezTo>
                      <a:cubicBezTo>
                        <a:pt x="215" y="66"/>
                        <a:pt x="215" y="66"/>
                        <a:pt x="215" y="66"/>
                      </a:cubicBezTo>
                      <a:cubicBezTo>
                        <a:pt x="215" y="65"/>
                        <a:pt x="215" y="65"/>
                        <a:pt x="215" y="65"/>
                      </a:cubicBezTo>
                      <a:cubicBezTo>
                        <a:pt x="215" y="66"/>
                        <a:pt x="215" y="66"/>
                        <a:pt x="215" y="66"/>
                      </a:cubicBezTo>
                      <a:cubicBezTo>
                        <a:pt x="214" y="66"/>
                        <a:pt x="214" y="66"/>
                        <a:pt x="214" y="66"/>
                      </a:cubicBezTo>
                      <a:cubicBezTo>
                        <a:pt x="213" y="66"/>
                        <a:pt x="213" y="66"/>
                        <a:pt x="213" y="66"/>
                      </a:cubicBezTo>
                      <a:cubicBezTo>
                        <a:pt x="212" y="67"/>
                        <a:pt x="212" y="67"/>
                        <a:pt x="212" y="67"/>
                      </a:cubicBezTo>
                      <a:cubicBezTo>
                        <a:pt x="211" y="67"/>
                        <a:pt x="211" y="67"/>
                        <a:pt x="211" y="67"/>
                      </a:cubicBezTo>
                      <a:cubicBezTo>
                        <a:pt x="211" y="66"/>
                        <a:pt x="211" y="66"/>
                        <a:pt x="211" y="66"/>
                      </a:cubicBezTo>
                      <a:cubicBezTo>
                        <a:pt x="210" y="67"/>
                        <a:pt x="210" y="67"/>
                        <a:pt x="210" y="67"/>
                      </a:cubicBezTo>
                      <a:cubicBezTo>
                        <a:pt x="209" y="66"/>
                        <a:pt x="209" y="66"/>
                        <a:pt x="209" y="66"/>
                      </a:cubicBezTo>
                      <a:cubicBezTo>
                        <a:pt x="210" y="66"/>
                        <a:pt x="210" y="66"/>
                        <a:pt x="210" y="66"/>
                      </a:cubicBezTo>
                      <a:cubicBezTo>
                        <a:pt x="210" y="65"/>
                        <a:pt x="210" y="65"/>
                        <a:pt x="210" y="65"/>
                      </a:cubicBezTo>
                      <a:cubicBezTo>
                        <a:pt x="210" y="65"/>
                        <a:pt x="210" y="65"/>
                        <a:pt x="210" y="65"/>
                      </a:cubicBezTo>
                      <a:cubicBezTo>
                        <a:pt x="210" y="64"/>
                        <a:pt x="210" y="64"/>
                        <a:pt x="210" y="64"/>
                      </a:cubicBezTo>
                      <a:cubicBezTo>
                        <a:pt x="210" y="63"/>
                        <a:pt x="210" y="63"/>
                        <a:pt x="210" y="63"/>
                      </a:cubicBezTo>
                      <a:cubicBezTo>
                        <a:pt x="210" y="63"/>
                        <a:pt x="210" y="63"/>
                        <a:pt x="210" y="63"/>
                      </a:cubicBezTo>
                      <a:cubicBezTo>
                        <a:pt x="209" y="62"/>
                        <a:pt x="209" y="62"/>
                        <a:pt x="209" y="62"/>
                      </a:cubicBezTo>
                      <a:cubicBezTo>
                        <a:pt x="210" y="62"/>
                        <a:pt x="210" y="62"/>
                        <a:pt x="210" y="62"/>
                      </a:cubicBezTo>
                      <a:cubicBezTo>
                        <a:pt x="210" y="62"/>
                        <a:pt x="210" y="62"/>
                        <a:pt x="210" y="62"/>
                      </a:cubicBezTo>
                      <a:cubicBezTo>
                        <a:pt x="211" y="62"/>
                        <a:pt x="211" y="62"/>
                        <a:pt x="211" y="62"/>
                      </a:cubicBezTo>
                      <a:cubicBezTo>
                        <a:pt x="212" y="62"/>
                        <a:pt x="212" y="62"/>
                        <a:pt x="212" y="62"/>
                      </a:cubicBezTo>
                      <a:cubicBezTo>
                        <a:pt x="211" y="62"/>
                        <a:pt x="211" y="62"/>
                        <a:pt x="211" y="62"/>
                      </a:cubicBezTo>
                      <a:cubicBezTo>
                        <a:pt x="210" y="62"/>
                        <a:pt x="210" y="62"/>
                        <a:pt x="210" y="62"/>
                      </a:cubicBezTo>
                      <a:cubicBezTo>
                        <a:pt x="209" y="62"/>
                        <a:pt x="209" y="62"/>
                        <a:pt x="209" y="62"/>
                      </a:cubicBezTo>
                      <a:cubicBezTo>
                        <a:pt x="208" y="61"/>
                        <a:pt x="208" y="61"/>
                        <a:pt x="208" y="61"/>
                      </a:cubicBezTo>
                      <a:cubicBezTo>
                        <a:pt x="209" y="61"/>
                        <a:pt x="209" y="61"/>
                        <a:pt x="209" y="61"/>
                      </a:cubicBezTo>
                      <a:cubicBezTo>
                        <a:pt x="209" y="61"/>
                        <a:pt x="209" y="61"/>
                        <a:pt x="209" y="61"/>
                      </a:cubicBezTo>
                      <a:cubicBezTo>
                        <a:pt x="210" y="61"/>
                        <a:pt x="210" y="61"/>
                        <a:pt x="210" y="61"/>
                      </a:cubicBezTo>
                      <a:cubicBezTo>
                        <a:pt x="209" y="60"/>
                        <a:pt x="209" y="60"/>
                        <a:pt x="209" y="60"/>
                      </a:cubicBezTo>
                      <a:cubicBezTo>
                        <a:pt x="208" y="59"/>
                        <a:pt x="208" y="59"/>
                        <a:pt x="208" y="59"/>
                      </a:cubicBezTo>
                      <a:cubicBezTo>
                        <a:pt x="207" y="59"/>
                        <a:pt x="207" y="59"/>
                        <a:pt x="207" y="59"/>
                      </a:cubicBezTo>
                      <a:cubicBezTo>
                        <a:pt x="207" y="58"/>
                        <a:pt x="207" y="58"/>
                        <a:pt x="207" y="58"/>
                      </a:cubicBezTo>
                      <a:cubicBezTo>
                        <a:pt x="207" y="57"/>
                        <a:pt x="207" y="57"/>
                        <a:pt x="207" y="57"/>
                      </a:cubicBezTo>
                      <a:cubicBezTo>
                        <a:pt x="206" y="56"/>
                        <a:pt x="206" y="56"/>
                        <a:pt x="206" y="56"/>
                      </a:cubicBezTo>
                      <a:cubicBezTo>
                        <a:pt x="206" y="56"/>
                        <a:pt x="206" y="56"/>
                        <a:pt x="206" y="56"/>
                      </a:cubicBezTo>
                      <a:cubicBezTo>
                        <a:pt x="207" y="55"/>
                        <a:pt x="207" y="55"/>
                        <a:pt x="207" y="55"/>
                      </a:cubicBezTo>
                      <a:cubicBezTo>
                        <a:pt x="206" y="55"/>
                        <a:pt x="206" y="55"/>
                        <a:pt x="206" y="55"/>
                      </a:cubicBezTo>
                      <a:cubicBezTo>
                        <a:pt x="206" y="55"/>
                        <a:pt x="206" y="55"/>
                        <a:pt x="206" y="55"/>
                      </a:cubicBezTo>
                      <a:cubicBezTo>
                        <a:pt x="206" y="55"/>
                        <a:pt x="206" y="55"/>
                        <a:pt x="206" y="55"/>
                      </a:cubicBezTo>
                      <a:cubicBezTo>
                        <a:pt x="206" y="54"/>
                        <a:pt x="206" y="54"/>
                        <a:pt x="206" y="54"/>
                      </a:cubicBezTo>
                      <a:cubicBezTo>
                        <a:pt x="206" y="54"/>
                        <a:pt x="206" y="54"/>
                        <a:pt x="206" y="54"/>
                      </a:cubicBezTo>
                      <a:cubicBezTo>
                        <a:pt x="205" y="54"/>
                        <a:pt x="205" y="54"/>
                        <a:pt x="205" y="54"/>
                      </a:cubicBezTo>
                      <a:cubicBezTo>
                        <a:pt x="205" y="54"/>
                        <a:pt x="205" y="54"/>
                        <a:pt x="205" y="54"/>
                      </a:cubicBezTo>
                      <a:cubicBezTo>
                        <a:pt x="204" y="54"/>
                        <a:pt x="204" y="54"/>
                        <a:pt x="204" y="54"/>
                      </a:cubicBezTo>
                      <a:cubicBezTo>
                        <a:pt x="204" y="54"/>
                        <a:pt x="204" y="54"/>
                        <a:pt x="204" y="54"/>
                      </a:cubicBezTo>
                      <a:cubicBezTo>
                        <a:pt x="205" y="53"/>
                        <a:pt x="205" y="53"/>
                        <a:pt x="205" y="53"/>
                      </a:cubicBezTo>
                      <a:cubicBezTo>
                        <a:pt x="204" y="53"/>
                        <a:pt x="204" y="53"/>
                        <a:pt x="204" y="53"/>
                      </a:cubicBezTo>
                      <a:cubicBezTo>
                        <a:pt x="203" y="53"/>
                        <a:pt x="203" y="53"/>
                        <a:pt x="203" y="53"/>
                      </a:cubicBezTo>
                      <a:cubicBezTo>
                        <a:pt x="202" y="53"/>
                        <a:pt x="202" y="53"/>
                        <a:pt x="202" y="53"/>
                      </a:cubicBezTo>
                      <a:cubicBezTo>
                        <a:pt x="202" y="52"/>
                        <a:pt x="202" y="52"/>
                        <a:pt x="202" y="52"/>
                      </a:cubicBezTo>
                      <a:cubicBezTo>
                        <a:pt x="200" y="51"/>
                        <a:pt x="200" y="51"/>
                        <a:pt x="200" y="51"/>
                      </a:cubicBezTo>
                      <a:cubicBezTo>
                        <a:pt x="199" y="52"/>
                        <a:pt x="199" y="52"/>
                        <a:pt x="199" y="52"/>
                      </a:cubicBezTo>
                      <a:cubicBezTo>
                        <a:pt x="197" y="51"/>
                        <a:pt x="197" y="51"/>
                        <a:pt x="197" y="51"/>
                      </a:cubicBezTo>
                      <a:cubicBezTo>
                        <a:pt x="194" y="50"/>
                        <a:pt x="194" y="50"/>
                        <a:pt x="194" y="50"/>
                      </a:cubicBezTo>
                      <a:cubicBezTo>
                        <a:pt x="192" y="50"/>
                        <a:pt x="192" y="50"/>
                        <a:pt x="192" y="50"/>
                      </a:cubicBezTo>
                      <a:cubicBezTo>
                        <a:pt x="191" y="49"/>
                        <a:pt x="191" y="49"/>
                        <a:pt x="191" y="49"/>
                      </a:cubicBezTo>
                      <a:cubicBezTo>
                        <a:pt x="191" y="49"/>
                        <a:pt x="191" y="49"/>
                        <a:pt x="191" y="49"/>
                      </a:cubicBezTo>
                      <a:cubicBezTo>
                        <a:pt x="191" y="49"/>
                        <a:pt x="191" y="49"/>
                        <a:pt x="191" y="49"/>
                      </a:cubicBezTo>
                      <a:cubicBezTo>
                        <a:pt x="190" y="48"/>
                        <a:pt x="190" y="48"/>
                        <a:pt x="190" y="48"/>
                      </a:cubicBezTo>
                      <a:cubicBezTo>
                        <a:pt x="190" y="48"/>
                        <a:pt x="190" y="48"/>
                        <a:pt x="190" y="48"/>
                      </a:cubicBezTo>
                      <a:cubicBezTo>
                        <a:pt x="191" y="48"/>
                        <a:pt x="191" y="48"/>
                        <a:pt x="191" y="48"/>
                      </a:cubicBezTo>
                      <a:cubicBezTo>
                        <a:pt x="191" y="48"/>
                        <a:pt x="191" y="48"/>
                        <a:pt x="191" y="48"/>
                      </a:cubicBezTo>
                      <a:cubicBezTo>
                        <a:pt x="191" y="48"/>
                        <a:pt x="191" y="48"/>
                        <a:pt x="191" y="48"/>
                      </a:cubicBezTo>
                      <a:cubicBezTo>
                        <a:pt x="190" y="48"/>
                        <a:pt x="190" y="48"/>
                        <a:pt x="190" y="48"/>
                      </a:cubicBezTo>
                      <a:cubicBezTo>
                        <a:pt x="189" y="48"/>
                        <a:pt x="189" y="48"/>
                        <a:pt x="189" y="48"/>
                      </a:cubicBezTo>
                      <a:cubicBezTo>
                        <a:pt x="189" y="48"/>
                        <a:pt x="189" y="48"/>
                        <a:pt x="189" y="48"/>
                      </a:cubicBezTo>
                      <a:cubicBezTo>
                        <a:pt x="188" y="47"/>
                        <a:pt x="188" y="47"/>
                        <a:pt x="188" y="47"/>
                      </a:cubicBezTo>
                      <a:cubicBezTo>
                        <a:pt x="188" y="47"/>
                        <a:pt x="188" y="47"/>
                        <a:pt x="188" y="47"/>
                      </a:cubicBezTo>
                      <a:cubicBezTo>
                        <a:pt x="188" y="48"/>
                        <a:pt x="188" y="48"/>
                        <a:pt x="188" y="48"/>
                      </a:cubicBezTo>
                      <a:cubicBezTo>
                        <a:pt x="188" y="47"/>
                        <a:pt x="188" y="47"/>
                        <a:pt x="188" y="47"/>
                      </a:cubicBezTo>
                      <a:cubicBezTo>
                        <a:pt x="187" y="47"/>
                        <a:pt x="187" y="47"/>
                        <a:pt x="187" y="47"/>
                      </a:cubicBezTo>
                      <a:cubicBezTo>
                        <a:pt x="187" y="47"/>
                        <a:pt x="187" y="47"/>
                        <a:pt x="187" y="47"/>
                      </a:cubicBezTo>
                      <a:cubicBezTo>
                        <a:pt x="187" y="47"/>
                        <a:pt x="187" y="47"/>
                        <a:pt x="187" y="47"/>
                      </a:cubicBezTo>
                      <a:cubicBezTo>
                        <a:pt x="186" y="47"/>
                        <a:pt x="186" y="47"/>
                        <a:pt x="186" y="47"/>
                      </a:cubicBezTo>
                      <a:cubicBezTo>
                        <a:pt x="186" y="45"/>
                        <a:pt x="186" y="45"/>
                        <a:pt x="186" y="45"/>
                      </a:cubicBezTo>
                      <a:cubicBezTo>
                        <a:pt x="185" y="45"/>
                        <a:pt x="185" y="45"/>
                        <a:pt x="185" y="45"/>
                      </a:cubicBezTo>
                      <a:cubicBezTo>
                        <a:pt x="186" y="44"/>
                        <a:pt x="186" y="44"/>
                        <a:pt x="186" y="44"/>
                      </a:cubicBezTo>
                      <a:cubicBezTo>
                        <a:pt x="186" y="43"/>
                        <a:pt x="186" y="43"/>
                        <a:pt x="186" y="43"/>
                      </a:cubicBezTo>
                      <a:cubicBezTo>
                        <a:pt x="185" y="44"/>
                        <a:pt x="185" y="44"/>
                        <a:pt x="185" y="44"/>
                      </a:cubicBezTo>
                      <a:cubicBezTo>
                        <a:pt x="185" y="45"/>
                        <a:pt x="185" y="45"/>
                        <a:pt x="185" y="45"/>
                      </a:cubicBezTo>
                      <a:cubicBezTo>
                        <a:pt x="185" y="45"/>
                        <a:pt x="185" y="45"/>
                        <a:pt x="185" y="45"/>
                      </a:cubicBezTo>
                      <a:cubicBezTo>
                        <a:pt x="184" y="45"/>
                        <a:pt x="184" y="45"/>
                        <a:pt x="184" y="45"/>
                      </a:cubicBezTo>
                      <a:cubicBezTo>
                        <a:pt x="184" y="47"/>
                        <a:pt x="184" y="47"/>
                        <a:pt x="184" y="47"/>
                      </a:cubicBezTo>
                      <a:cubicBezTo>
                        <a:pt x="184" y="47"/>
                        <a:pt x="184" y="47"/>
                        <a:pt x="184" y="47"/>
                      </a:cubicBezTo>
                      <a:cubicBezTo>
                        <a:pt x="183" y="48"/>
                        <a:pt x="183" y="48"/>
                        <a:pt x="183" y="48"/>
                      </a:cubicBezTo>
                      <a:cubicBezTo>
                        <a:pt x="182" y="49"/>
                        <a:pt x="182" y="49"/>
                        <a:pt x="182" y="49"/>
                      </a:cubicBezTo>
                      <a:cubicBezTo>
                        <a:pt x="181" y="48"/>
                        <a:pt x="181" y="48"/>
                        <a:pt x="181" y="48"/>
                      </a:cubicBezTo>
                      <a:cubicBezTo>
                        <a:pt x="180" y="47"/>
                        <a:pt x="180" y="47"/>
                        <a:pt x="180" y="47"/>
                      </a:cubicBezTo>
                      <a:cubicBezTo>
                        <a:pt x="180" y="46"/>
                        <a:pt x="180" y="46"/>
                        <a:pt x="180" y="46"/>
                      </a:cubicBezTo>
                      <a:cubicBezTo>
                        <a:pt x="181" y="46"/>
                        <a:pt x="181" y="46"/>
                        <a:pt x="181" y="46"/>
                      </a:cubicBezTo>
                      <a:cubicBezTo>
                        <a:pt x="181" y="46"/>
                        <a:pt x="181" y="46"/>
                        <a:pt x="181" y="46"/>
                      </a:cubicBezTo>
                      <a:cubicBezTo>
                        <a:pt x="181" y="45"/>
                        <a:pt x="181" y="45"/>
                        <a:pt x="181" y="45"/>
                      </a:cubicBezTo>
                      <a:cubicBezTo>
                        <a:pt x="180" y="45"/>
                        <a:pt x="180" y="45"/>
                        <a:pt x="180" y="45"/>
                      </a:cubicBezTo>
                      <a:cubicBezTo>
                        <a:pt x="180" y="45"/>
                        <a:pt x="180" y="45"/>
                        <a:pt x="180" y="45"/>
                      </a:cubicBezTo>
                      <a:cubicBezTo>
                        <a:pt x="179" y="44"/>
                        <a:pt x="179" y="44"/>
                        <a:pt x="179" y="44"/>
                      </a:cubicBezTo>
                      <a:cubicBezTo>
                        <a:pt x="178" y="43"/>
                        <a:pt x="178" y="43"/>
                        <a:pt x="178" y="43"/>
                      </a:cubicBezTo>
                      <a:cubicBezTo>
                        <a:pt x="177" y="43"/>
                        <a:pt x="177" y="43"/>
                        <a:pt x="177" y="43"/>
                      </a:cubicBezTo>
                      <a:cubicBezTo>
                        <a:pt x="177" y="43"/>
                        <a:pt x="177" y="43"/>
                        <a:pt x="177" y="43"/>
                      </a:cubicBezTo>
                      <a:cubicBezTo>
                        <a:pt x="178" y="42"/>
                        <a:pt x="178" y="42"/>
                        <a:pt x="178" y="42"/>
                      </a:cubicBezTo>
                      <a:cubicBezTo>
                        <a:pt x="179" y="42"/>
                        <a:pt x="179" y="42"/>
                        <a:pt x="179" y="42"/>
                      </a:cubicBezTo>
                      <a:cubicBezTo>
                        <a:pt x="179" y="42"/>
                        <a:pt x="179" y="42"/>
                        <a:pt x="179" y="42"/>
                      </a:cubicBezTo>
                      <a:cubicBezTo>
                        <a:pt x="180" y="43"/>
                        <a:pt x="180" y="43"/>
                        <a:pt x="180" y="43"/>
                      </a:cubicBezTo>
                      <a:cubicBezTo>
                        <a:pt x="181" y="43"/>
                        <a:pt x="181" y="43"/>
                        <a:pt x="181" y="43"/>
                      </a:cubicBezTo>
                      <a:cubicBezTo>
                        <a:pt x="182" y="42"/>
                        <a:pt x="182" y="42"/>
                        <a:pt x="182" y="42"/>
                      </a:cubicBezTo>
                      <a:cubicBezTo>
                        <a:pt x="182" y="41"/>
                        <a:pt x="182" y="41"/>
                        <a:pt x="182" y="41"/>
                      </a:cubicBezTo>
                      <a:cubicBezTo>
                        <a:pt x="183" y="41"/>
                        <a:pt x="183" y="41"/>
                        <a:pt x="183" y="41"/>
                      </a:cubicBezTo>
                      <a:cubicBezTo>
                        <a:pt x="184" y="42"/>
                        <a:pt x="184" y="42"/>
                        <a:pt x="184" y="42"/>
                      </a:cubicBezTo>
                      <a:cubicBezTo>
                        <a:pt x="185" y="43"/>
                        <a:pt x="185" y="43"/>
                        <a:pt x="185" y="43"/>
                      </a:cubicBezTo>
                      <a:cubicBezTo>
                        <a:pt x="185" y="42"/>
                        <a:pt x="185" y="42"/>
                        <a:pt x="185" y="42"/>
                      </a:cubicBezTo>
                      <a:cubicBezTo>
                        <a:pt x="186" y="41"/>
                        <a:pt x="186" y="41"/>
                        <a:pt x="186" y="41"/>
                      </a:cubicBezTo>
                      <a:cubicBezTo>
                        <a:pt x="186" y="41"/>
                        <a:pt x="186" y="41"/>
                        <a:pt x="186" y="41"/>
                      </a:cubicBezTo>
                      <a:cubicBezTo>
                        <a:pt x="186" y="40"/>
                        <a:pt x="186" y="40"/>
                        <a:pt x="186" y="40"/>
                      </a:cubicBezTo>
                      <a:cubicBezTo>
                        <a:pt x="186" y="40"/>
                        <a:pt x="186" y="40"/>
                        <a:pt x="186" y="40"/>
                      </a:cubicBezTo>
                      <a:cubicBezTo>
                        <a:pt x="184" y="40"/>
                        <a:pt x="184" y="40"/>
                        <a:pt x="184" y="40"/>
                      </a:cubicBezTo>
                      <a:cubicBezTo>
                        <a:pt x="184" y="40"/>
                        <a:pt x="184" y="40"/>
                        <a:pt x="184" y="40"/>
                      </a:cubicBezTo>
                      <a:cubicBezTo>
                        <a:pt x="183" y="40"/>
                        <a:pt x="183" y="40"/>
                        <a:pt x="183" y="40"/>
                      </a:cubicBezTo>
                      <a:cubicBezTo>
                        <a:pt x="183" y="40"/>
                        <a:pt x="183" y="40"/>
                        <a:pt x="183" y="40"/>
                      </a:cubicBezTo>
                      <a:cubicBezTo>
                        <a:pt x="182" y="40"/>
                        <a:pt x="182" y="40"/>
                        <a:pt x="182" y="40"/>
                      </a:cubicBezTo>
                      <a:cubicBezTo>
                        <a:pt x="181" y="40"/>
                        <a:pt x="181" y="40"/>
                        <a:pt x="181" y="40"/>
                      </a:cubicBezTo>
                      <a:cubicBezTo>
                        <a:pt x="180" y="40"/>
                        <a:pt x="180" y="40"/>
                        <a:pt x="180" y="40"/>
                      </a:cubicBezTo>
                      <a:cubicBezTo>
                        <a:pt x="180" y="40"/>
                        <a:pt x="180" y="40"/>
                        <a:pt x="180" y="40"/>
                      </a:cubicBezTo>
                      <a:cubicBezTo>
                        <a:pt x="179" y="40"/>
                        <a:pt x="179" y="40"/>
                        <a:pt x="179" y="40"/>
                      </a:cubicBezTo>
                      <a:cubicBezTo>
                        <a:pt x="178" y="40"/>
                        <a:pt x="178" y="40"/>
                        <a:pt x="178" y="40"/>
                      </a:cubicBezTo>
                      <a:cubicBezTo>
                        <a:pt x="177" y="39"/>
                        <a:pt x="177" y="39"/>
                        <a:pt x="177" y="39"/>
                      </a:cubicBezTo>
                      <a:cubicBezTo>
                        <a:pt x="177" y="38"/>
                        <a:pt x="177" y="38"/>
                        <a:pt x="177" y="38"/>
                      </a:cubicBezTo>
                      <a:cubicBezTo>
                        <a:pt x="177" y="38"/>
                        <a:pt x="177" y="38"/>
                        <a:pt x="177" y="38"/>
                      </a:cubicBezTo>
                      <a:cubicBezTo>
                        <a:pt x="176" y="37"/>
                        <a:pt x="176" y="37"/>
                        <a:pt x="176" y="37"/>
                      </a:cubicBezTo>
                      <a:cubicBezTo>
                        <a:pt x="175" y="37"/>
                        <a:pt x="175" y="37"/>
                        <a:pt x="175" y="37"/>
                      </a:cubicBezTo>
                      <a:cubicBezTo>
                        <a:pt x="175" y="36"/>
                        <a:pt x="175" y="36"/>
                        <a:pt x="175" y="36"/>
                      </a:cubicBezTo>
                      <a:cubicBezTo>
                        <a:pt x="174" y="36"/>
                        <a:pt x="174" y="36"/>
                        <a:pt x="174" y="36"/>
                      </a:cubicBezTo>
                      <a:cubicBezTo>
                        <a:pt x="174" y="37"/>
                        <a:pt x="174" y="37"/>
                        <a:pt x="174" y="37"/>
                      </a:cubicBezTo>
                      <a:cubicBezTo>
                        <a:pt x="172" y="37"/>
                        <a:pt x="172" y="37"/>
                        <a:pt x="172" y="37"/>
                      </a:cubicBezTo>
                      <a:cubicBezTo>
                        <a:pt x="173" y="36"/>
                        <a:pt x="173" y="36"/>
                        <a:pt x="173" y="36"/>
                      </a:cubicBezTo>
                      <a:cubicBezTo>
                        <a:pt x="174" y="35"/>
                        <a:pt x="174" y="35"/>
                        <a:pt x="174" y="35"/>
                      </a:cubicBezTo>
                      <a:cubicBezTo>
                        <a:pt x="174" y="35"/>
                        <a:pt x="174" y="35"/>
                        <a:pt x="174" y="35"/>
                      </a:cubicBezTo>
                      <a:cubicBezTo>
                        <a:pt x="174" y="34"/>
                        <a:pt x="174" y="34"/>
                        <a:pt x="174" y="34"/>
                      </a:cubicBezTo>
                      <a:cubicBezTo>
                        <a:pt x="174" y="34"/>
                        <a:pt x="174" y="34"/>
                        <a:pt x="174" y="34"/>
                      </a:cubicBezTo>
                      <a:cubicBezTo>
                        <a:pt x="176" y="34"/>
                        <a:pt x="176" y="34"/>
                        <a:pt x="176" y="34"/>
                      </a:cubicBezTo>
                      <a:cubicBezTo>
                        <a:pt x="176" y="33"/>
                        <a:pt x="176" y="33"/>
                        <a:pt x="176" y="33"/>
                      </a:cubicBezTo>
                      <a:cubicBezTo>
                        <a:pt x="177" y="33"/>
                        <a:pt x="177" y="33"/>
                        <a:pt x="177" y="33"/>
                      </a:cubicBezTo>
                      <a:cubicBezTo>
                        <a:pt x="178" y="32"/>
                        <a:pt x="178" y="32"/>
                        <a:pt x="178" y="32"/>
                      </a:cubicBezTo>
                      <a:cubicBezTo>
                        <a:pt x="179" y="32"/>
                        <a:pt x="179" y="32"/>
                        <a:pt x="179" y="32"/>
                      </a:cubicBezTo>
                      <a:cubicBezTo>
                        <a:pt x="180" y="31"/>
                        <a:pt x="180" y="31"/>
                        <a:pt x="180" y="31"/>
                      </a:cubicBezTo>
                      <a:cubicBezTo>
                        <a:pt x="183" y="32"/>
                        <a:pt x="183" y="32"/>
                        <a:pt x="183" y="32"/>
                      </a:cubicBezTo>
                      <a:cubicBezTo>
                        <a:pt x="184" y="33"/>
                        <a:pt x="184" y="33"/>
                        <a:pt x="184" y="33"/>
                      </a:cubicBezTo>
                      <a:cubicBezTo>
                        <a:pt x="186" y="33"/>
                        <a:pt x="186" y="33"/>
                        <a:pt x="186" y="33"/>
                      </a:cubicBezTo>
                      <a:cubicBezTo>
                        <a:pt x="187" y="33"/>
                        <a:pt x="187" y="33"/>
                        <a:pt x="187" y="33"/>
                      </a:cubicBezTo>
                      <a:cubicBezTo>
                        <a:pt x="188" y="34"/>
                        <a:pt x="188" y="34"/>
                        <a:pt x="188" y="34"/>
                      </a:cubicBezTo>
                      <a:cubicBezTo>
                        <a:pt x="187" y="34"/>
                        <a:pt x="187" y="34"/>
                        <a:pt x="187" y="34"/>
                      </a:cubicBezTo>
                      <a:cubicBezTo>
                        <a:pt x="187" y="35"/>
                        <a:pt x="187" y="35"/>
                        <a:pt x="187" y="35"/>
                      </a:cubicBezTo>
                      <a:cubicBezTo>
                        <a:pt x="188" y="36"/>
                        <a:pt x="188" y="36"/>
                        <a:pt x="188" y="36"/>
                      </a:cubicBezTo>
                      <a:cubicBezTo>
                        <a:pt x="188" y="37"/>
                        <a:pt x="188" y="37"/>
                        <a:pt x="188" y="37"/>
                      </a:cubicBezTo>
                      <a:cubicBezTo>
                        <a:pt x="188" y="37"/>
                        <a:pt x="188" y="37"/>
                        <a:pt x="188" y="37"/>
                      </a:cubicBezTo>
                      <a:cubicBezTo>
                        <a:pt x="187" y="38"/>
                        <a:pt x="187" y="38"/>
                        <a:pt x="187" y="38"/>
                      </a:cubicBezTo>
                      <a:cubicBezTo>
                        <a:pt x="188" y="39"/>
                        <a:pt x="188" y="39"/>
                        <a:pt x="188" y="39"/>
                      </a:cubicBezTo>
                      <a:cubicBezTo>
                        <a:pt x="188" y="41"/>
                        <a:pt x="188" y="41"/>
                        <a:pt x="188" y="41"/>
                      </a:cubicBezTo>
                      <a:cubicBezTo>
                        <a:pt x="188" y="42"/>
                        <a:pt x="188" y="42"/>
                        <a:pt x="188" y="42"/>
                      </a:cubicBezTo>
                      <a:cubicBezTo>
                        <a:pt x="189" y="43"/>
                        <a:pt x="189" y="43"/>
                        <a:pt x="189" y="43"/>
                      </a:cubicBezTo>
                      <a:cubicBezTo>
                        <a:pt x="189" y="43"/>
                        <a:pt x="189" y="43"/>
                        <a:pt x="189" y="43"/>
                      </a:cubicBezTo>
                      <a:cubicBezTo>
                        <a:pt x="189" y="42"/>
                        <a:pt x="189" y="42"/>
                        <a:pt x="189" y="42"/>
                      </a:cubicBezTo>
                      <a:cubicBezTo>
                        <a:pt x="190" y="41"/>
                        <a:pt x="190" y="41"/>
                        <a:pt x="190" y="41"/>
                      </a:cubicBezTo>
                      <a:cubicBezTo>
                        <a:pt x="190" y="42"/>
                        <a:pt x="190" y="42"/>
                        <a:pt x="190" y="42"/>
                      </a:cubicBezTo>
                      <a:cubicBezTo>
                        <a:pt x="190" y="43"/>
                        <a:pt x="190" y="43"/>
                        <a:pt x="190" y="43"/>
                      </a:cubicBezTo>
                      <a:cubicBezTo>
                        <a:pt x="190" y="43"/>
                        <a:pt x="190" y="43"/>
                        <a:pt x="190" y="43"/>
                      </a:cubicBezTo>
                      <a:cubicBezTo>
                        <a:pt x="191" y="43"/>
                        <a:pt x="191" y="43"/>
                        <a:pt x="191" y="43"/>
                      </a:cubicBezTo>
                      <a:cubicBezTo>
                        <a:pt x="191" y="44"/>
                        <a:pt x="191" y="44"/>
                        <a:pt x="191" y="44"/>
                      </a:cubicBezTo>
                      <a:cubicBezTo>
                        <a:pt x="192" y="45"/>
                        <a:pt x="192" y="45"/>
                        <a:pt x="192" y="45"/>
                      </a:cubicBezTo>
                      <a:cubicBezTo>
                        <a:pt x="193" y="45"/>
                        <a:pt x="193" y="45"/>
                        <a:pt x="193" y="45"/>
                      </a:cubicBezTo>
                      <a:cubicBezTo>
                        <a:pt x="193" y="45"/>
                        <a:pt x="193" y="45"/>
                        <a:pt x="193" y="45"/>
                      </a:cubicBezTo>
                      <a:cubicBezTo>
                        <a:pt x="194" y="45"/>
                        <a:pt x="194" y="45"/>
                        <a:pt x="194" y="45"/>
                      </a:cubicBezTo>
                      <a:cubicBezTo>
                        <a:pt x="195" y="44"/>
                        <a:pt x="195" y="44"/>
                        <a:pt x="195" y="44"/>
                      </a:cubicBezTo>
                      <a:cubicBezTo>
                        <a:pt x="195" y="44"/>
                        <a:pt x="195" y="44"/>
                        <a:pt x="195" y="44"/>
                      </a:cubicBezTo>
                      <a:cubicBezTo>
                        <a:pt x="196" y="44"/>
                        <a:pt x="196" y="44"/>
                        <a:pt x="196" y="44"/>
                      </a:cubicBezTo>
                      <a:cubicBezTo>
                        <a:pt x="196" y="43"/>
                        <a:pt x="196" y="43"/>
                        <a:pt x="196" y="43"/>
                      </a:cubicBezTo>
                      <a:cubicBezTo>
                        <a:pt x="196" y="42"/>
                        <a:pt x="196" y="42"/>
                        <a:pt x="196" y="42"/>
                      </a:cubicBezTo>
                      <a:cubicBezTo>
                        <a:pt x="197" y="42"/>
                        <a:pt x="197" y="42"/>
                        <a:pt x="197" y="42"/>
                      </a:cubicBezTo>
                      <a:cubicBezTo>
                        <a:pt x="198" y="41"/>
                        <a:pt x="198" y="41"/>
                        <a:pt x="198" y="41"/>
                      </a:cubicBezTo>
                      <a:cubicBezTo>
                        <a:pt x="198" y="40"/>
                        <a:pt x="198" y="40"/>
                        <a:pt x="198" y="40"/>
                      </a:cubicBezTo>
                      <a:cubicBezTo>
                        <a:pt x="199" y="40"/>
                        <a:pt x="199" y="40"/>
                        <a:pt x="199" y="40"/>
                      </a:cubicBezTo>
                      <a:cubicBezTo>
                        <a:pt x="199" y="40"/>
                        <a:pt x="199" y="40"/>
                        <a:pt x="199" y="40"/>
                      </a:cubicBezTo>
                      <a:cubicBezTo>
                        <a:pt x="200" y="40"/>
                        <a:pt x="200" y="40"/>
                        <a:pt x="200" y="40"/>
                      </a:cubicBezTo>
                      <a:cubicBezTo>
                        <a:pt x="200" y="40"/>
                        <a:pt x="200" y="40"/>
                        <a:pt x="200" y="40"/>
                      </a:cubicBezTo>
                      <a:cubicBezTo>
                        <a:pt x="202" y="40"/>
                        <a:pt x="202" y="40"/>
                        <a:pt x="202" y="40"/>
                      </a:cubicBezTo>
                      <a:cubicBezTo>
                        <a:pt x="202" y="39"/>
                        <a:pt x="202" y="39"/>
                        <a:pt x="202" y="39"/>
                      </a:cubicBezTo>
                      <a:cubicBezTo>
                        <a:pt x="202" y="38"/>
                        <a:pt x="202" y="38"/>
                        <a:pt x="202" y="38"/>
                      </a:cubicBezTo>
                      <a:cubicBezTo>
                        <a:pt x="202" y="38"/>
                        <a:pt x="202" y="38"/>
                        <a:pt x="202" y="38"/>
                      </a:cubicBezTo>
                      <a:cubicBezTo>
                        <a:pt x="204" y="36"/>
                        <a:pt x="204" y="36"/>
                        <a:pt x="204" y="36"/>
                      </a:cubicBezTo>
                      <a:cubicBezTo>
                        <a:pt x="205" y="37"/>
                        <a:pt x="205" y="37"/>
                        <a:pt x="205" y="37"/>
                      </a:cubicBezTo>
                      <a:cubicBezTo>
                        <a:pt x="206" y="37"/>
                        <a:pt x="206" y="37"/>
                        <a:pt x="206" y="37"/>
                      </a:cubicBezTo>
                      <a:cubicBezTo>
                        <a:pt x="208" y="38"/>
                        <a:pt x="208" y="38"/>
                        <a:pt x="208" y="38"/>
                      </a:cubicBezTo>
                      <a:cubicBezTo>
                        <a:pt x="209" y="38"/>
                        <a:pt x="209" y="38"/>
                        <a:pt x="209" y="38"/>
                      </a:cubicBezTo>
                      <a:cubicBezTo>
                        <a:pt x="210" y="39"/>
                        <a:pt x="210" y="39"/>
                        <a:pt x="210" y="39"/>
                      </a:cubicBezTo>
                      <a:cubicBezTo>
                        <a:pt x="211" y="39"/>
                        <a:pt x="211" y="39"/>
                        <a:pt x="211" y="39"/>
                      </a:cubicBezTo>
                      <a:cubicBezTo>
                        <a:pt x="212" y="39"/>
                        <a:pt x="212" y="39"/>
                        <a:pt x="212" y="39"/>
                      </a:cubicBezTo>
                      <a:cubicBezTo>
                        <a:pt x="215" y="40"/>
                        <a:pt x="215" y="40"/>
                        <a:pt x="215" y="40"/>
                      </a:cubicBezTo>
                      <a:cubicBezTo>
                        <a:pt x="216" y="40"/>
                        <a:pt x="216" y="40"/>
                        <a:pt x="216" y="40"/>
                      </a:cubicBezTo>
                      <a:cubicBezTo>
                        <a:pt x="216" y="40"/>
                        <a:pt x="216" y="40"/>
                        <a:pt x="216" y="40"/>
                      </a:cubicBezTo>
                      <a:cubicBezTo>
                        <a:pt x="218" y="41"/>
                        <a:pt x="218" y="41"/>
                        <a:pt x="218" y="41"/>
                      </a:cubicBezTo>
                      <a:cubicBezTo>
                        <a:pt x="218" y="41"/>
                        <a:pt x="218" y="41"/>
                        <a:pt x="218" y="41"/>
                      </a:cubicBezTo>
                      <a:cubicBezTo>
                        <a:pt x="219" y="41"/>
                        <a:pt x="219" y="41"/>
                        <a:pt x="219" y="41"/>
                      </a:cubicBezTo>
                      <a:cubicBezTo>
                        <a:pt x="219" y="41"/>
                        <a:pt x="219" y="41"/>
                        <a:pt x="219" y="41"/>
                      </a:cubicBezTo>
                      <a:cubicBezTo>
                        <a:pt x="219" y="42"/>
                        <a:pt x="219" y="42"/>
                        <a:pt x="219" y="42"/>
                      </a:cubicBezTo>
                      <a:cubicBezTo>
                        <a:pt x="220" y="42"/>
                        <a:pt x="220" y="42"/>
                        <a:pt x="220" y="42"/>
                      </a:cubicBezTo>
                      <a:cubicBezTo>
                        <a:pt x="220" y="42"/>
                        <a:pt x="220" y="42"/>
                        <a:pt x="220" y="42"/>
                      </a:cubicBezTo>
                      <a:cubicBezTo>
                        <a:pt x="220" y="42"/>
                        <a:pt x="220" y="42"/>
                        <a:pt x="220" y="42"/>
                      </a:cubicBezTo>
                      <a:close/>
                      <a:moveTo>
                        <a:pt x="164" y="30"/>
                      </a:moveTo>
                      <a:cubicBezTo>
                        <a:pt x="165" y="31"/>
                        <a:pt x="165" y="31"/>
                        <a:pt x="165" y="31"/>
                      </a:cubicBezTo>
                      <a:cubicBezTo>
                        <a:pt x="166" y="31"/>
                        <a:pt x="166" y="31"/>
                        <a:pt x="166" y="31"/>
                      </a:cubicBezTo>
                      <a:cubicBezTo>
                        <a:pt x="164" y="30"/>
                        <a:pt x="164" y="30"/>
                        <a:pt x="164" y="30"/>
                      </a:cubicBezTo>
                      <a:cubicBezTo>
                        <a:pt x="164" y="30"/>
                        <a:pt x="164" y="30"/>
                        <a:pt x="164" y="30"/>
                      </a:cubicBezTo>
                      <a:close/>
                      <a:moveTo>
                        <a:pt x="173" y="32"/>
                      </a:moveTo>
                      <a:cubicBezTo>
                        <a:pt x="174" y="32"/>
                        <a:pt x="174" y="32"/>
                        <a:pt x="174" y="32"/>
                      </a:cubicBezTo>
                      <a:cubicBezTo>
                        <a:pt x="175" y="32"/>
                        <a:pt x="175" y="32"/>
                        <a:pt x="175" y="32"/>
                      </a:cubicBezTo>
                      <a:cubicBezTo>
                        <a:pt x="174" y="31"/>
                        <a:pt x="174" y="31"/>
                        <a:pt x="174" y="31"/>
                      </a:cubicBezTo>
                      <a:cubicBezTo>
                        <a:pt x="173" y="30"/>
                        <a:pt x="173" y="30"/>
                        <a:pt x="173" y="30"/>
                      </a:cubicBezTo>
                      <a:cubicBezTo>
                        <a:pt x="172" y="30"/>
                        <a:pt x="172" y="30"/>
                        <a:pt x="172" y="30"/>
                      </a:cubicBezTo>
                      <a:cubicBezTo>
                        <a:pt x="171" y="31"/>
                        <a:pt x="171" y="31"/>
                        <a:pt x="171" y="31"/>
                      </a:cubicBezTo>
                      <a:cubicBezTo>
                        <a:pt x="170" y="31"/>
                        <a:pt x="170" y="31"/>
                        <a:pt x="170" y="31"/>
                      </a:cubicBezTo>
                      <a:cubicBezTo>
                        <a:pt x="170" y="31"/>
                        <a:pt x="170" y="31"/>
                        <a:pt x="170" y="31"/>
                      </a:cubicBezTo>
                      <a:cubicBezTo>
                        <a:pt x="170" y="31"/>
                        <a:pt x="170" y="31"/>
                        <a:pt x="170" y="31"/>
                      </a:cubicBezTo>
                      <a:cubicBezTo>
                        <a:pt x="169" y="31"/>
                        <a:pt x="169" y="31"/>
                        <a:pt x="169" y="31"/>
                      </a:cubicBezTo>
                      <a:cubicBezTo>
                        <a:pt x="171" y="32"/>
                        <a:pt x="171" y="32"/>
                        <a:pt x="171" y="32"/>
                      </a:cubicBezTo>
                      <a:cubicBezTo>
                        <a:pt x="172" y="32"/>
                        <a:pt x="172" y="32"/>
                        <a:pt x="172" y="32"/>
                      </a:cubicBezTo>
                      <a:cubicBezTo>
                        <a:pt x="172" y="32"/>
                        <a:pt x="172" y="32"/>
                        <a:pt x="172" y="32"/>
                      </a:cubicBezTo>
                      <a:cubicBezTo>
                        <a:pt x="172" y="32"/>
                        <a:pt x="172" y="32"/>
                        <a:pt x="172" y="32"/>
                      </a:cubicBezTo>
                      <a:cubicBezTo>
                        <a:pt x="172" y="31"/>
                        <a:pt x="172" y="31"/>
                        <a:pt x="172" y="31"/>
                      </a:cubicBezTo>
                      <a:cubicBezTo>
                        <a:pt x="171" y="31"/>
                        <a:pt x="171" y="31"/>
                        <a:pt x="171" y="31"/>
                      </a:cubicBezTo>
                      <a:cubicBezTo>
                        <a:pt x="172" y="31"/>
                        <a:pt x="172" y="31"/>
                        <a:pt x="172" y="31"/>
                      </a:cubicBezTo>
                      <a:cubicBezTo>
                        <a:pt x="173" y="32"/>
                        <a:pt x="173" y="32"/>
                        <a:pt x="173" y="32"/>
                      </a:cubicBezTo>
                      <a:close/>
                      <a:moveTo>
                        <a:pt x="172" y="34"/>
                      </a:moveTo>
                      <a:cubicBezTo>
                        <a:pt x="171" y="34"/>
                        <a:pt x="171" y="34"/>
                        <a:pt x="171" y="34"/>
                      </a:cubicBezTo>
                      <a:cubicBezTo>
                        <a:pt x="170" y="34"/>
                        <a:pt x="170" y="34"/>
                        <a:pt x="170" y="34"/>
                      </a:cubicBezTo>
                      <a:cubicBezTo>
                        <a:pt x="170" y="34"/>
                        <a:pt x="170" y="34"/>
                        <a:pt x="170" y="34"/>
                      </a:cubicBezTo>
                      <a:cubicBezTo>
                        <a:pt x="172" y="34"/>
                        <a:pt x="172" y="34"/>
                        <a:pt x="172" y="34"/>
                      </a:cubicBezTo>
                      <a:close/>
                      <a:moveTo>
                        <a:pt x="172" y="34"/>
                      </a:moveTo>
                      <a:cubicBezTo>
                        <a:pt x="172" y="34"/>
                        <a:pt x="172" y="34"/>
                        <a:pt x="172" y="34"/>
                      </a:cubicBezTo>
                      <a:cubicBezTo>
                        <a:pt x="171" y="34"/>
                        <a:pt x="171" y="34"/>
                        <a:pt x="171" y="34"/>
                      </a:cubicBezTo>
                      <a:cubicBezTo>
                        <a:pt x="172" y="34"/>
                        <a:pt x="172" y="34"/>
                        <a:pt x="172" y="34"/>
                      </a:cubicBezTo>
                      <a:close/>
                      <a:moveTo>
                        <a:pt x="172" y="34"/>
                      </a:moveTo>
                      <a:cubicBezTo>
                        <a:pt x="171" y="35"/>
                        <a:pt x="171" y="35"/>
                        <a:pt x="171" y="35"/>
                      </a:cubicBezTo>
                      <a:cubicBezTo>
                        <a:pt x="171" y="36"/>
                        <a:pt x="171" y="36"/>
                        <a:pt x="171" y="36"/>
                      </a:cubicBezTo>
                      <a:cubicBezTo>
                        <a:pt x="172" y="36"/>
                        <a:pt x="172" y="36"/>
                        <a:pt x="172" y="36"/>
                      </a:cubicBezTo>
                      <a:cubicBezTo>
                        <a:pt x="173" y="36"/>
                        <a:pt x="173" y="36"/>
                        <a:pt x="173" y="36"/>
                      </a:cubicBezTo>
                      <a:cubicBezTo>
                        <a:pt x="173" y="34"/>
                        <a:pt x="173" y="34"/>
                        <a:pt x="173" y="34"/>
                      </a:cubicBezTo>
                      <a:cubicBezTo>
                        <a:pt x="172" y="34"/>
                        <a:pt x="172" y="34"/>
                        <a:pt x="172" y="34"/>
                      </a:cubicBezTo>
                      <a:close/>
                      <a:moveTo>
                        <a:pt x="145" y="13"/>
                      </a:moveTo>
                      <a:cubicBezTo>
                        <a:pt x="146" y="14"/>
                        <a:pt x="146" y="14"/>
                        <a:pt x="146" y="14"/>
                      </a:cubicBezTo>
                      <a:cubicBezTo>
                        <a:pt x="147" y="15"/>
                        <a:pt x="147" y="15"/>
                        <a:pt x="147" y="15"/>
                      </a:cubicBezTo>
                      <a:cubicBezTo>
                        <a:pt x="146" y="15"/>
                        <a:pt x="146" y="15"/>
                        <a:pt x="146" y="15"/>
                      </a:cubicBezTo>
                      <a:cubicBezTo>
                        <a:pt x="145" y="15"/>
                        <a:pt x="145" y="15"/>
                        <a:pt x="145" y="15"/>
                      </a:cubicBezTo>
                      <a:cubicBezTo>
                        <a:pt x="145" y="14"/>
                        <a:pt x="145" y="14"/>
                        <a:pt x="145" y="14"/>
                      </a:cubicBezTo>
                      <a:cubicBezTo>
                        <a:pt x="145" y="13"/>
                        <a:pt x="145" y="13"/>
                        <a:pt x="145" y="13"/>
                      </a:cubicBezTo>
                      <a:close/>
                      <a:moveTo>
                        <a:pt x="151" y="10"/>
                      </a:moveTo>
                      <a:cubicBezTo>
                        <a:pt x="152" y="11"/>
                        <a:pt x="152" y="11"/>
                        <a:pt x="152" y="11"/>
                      </a:cubicBezTo>
                      <a:cubicBezTo>
                        <a:pt x="152" y="12"/>
                        <a:pt x="152" y="12"/>
                        <a:pt x="152" y="12"/>
                      </a:cubicBezTo>
                      <a:cubicBezTo>
                        <a:pt x="152" y="12"/>
                        <a:pt x="152" y="12"/>
                        <a:pt x="152" y="12"/>
                      </a:cubicBezTo>
                      <a:cubicBezTo>
                        <a:pt x="153" y="11"/>
                        <a:pt x="153" y="11"/>
                        <a:pt x="153" y="11"/>
                      </a:cubicBezTo>
                      <a:cubicBezTo>
                        <a:pt x="152" y="10"/>
                        <a:pt x="152" y="10"/>
                        <a:pt x="152" y="10"/>
                      </a:cubicBezTo>
                      <a:cubicBezTo>
                        <a:pt x="152" y="10"/>
                        <a:pt x="152" y="10"/>
                        <a:pt x="152" y="10"/>
                      </a:cubicBezTo>
                      <a:cubicBezTo>
                        <a:pt x="151" y="10"/>
                        <a:pt x="151" y="10"/>
                        <a:pt x="151" y="10"/>
                      </a:cubicBezTo>
                      <a:close/>
                      <a:moveTo>
                        <a:pt x="151" y="12"/>
                      </a:moveTo>
                      <a:cubicBezTo>
                        <a:pt x="152" y="12"/>
                        <a:pt x="152" y="12"/>
                        <a:pt x="152" y="12"/>
                      </a:cubicBezTo>
                      <a:cubicBezTo>
                        <a:pt x="152" y="13"/>
                        <a:pt x="152" y="13"/>
                        <a:pt x="152" y="13"/>
                      </a:cubicBezTo>
                      <a:cubicBezTo>
                        <a:pt x="152" y="13"/>
                        <a:pt x="152" y="13"/>
                        <a:pt x="152" y="13"/>
                      </a:cubicBezTo>
                      <a:cubicBezTo>
                        <a:pt x="152" y="13"/>
                        <a:pt x="151" y="12"/>
                        <a:pt x="151" y="12"/>
                      </a:cubicBezTo>
                      <a:close/>
                      <a:moveTo>
                        <a:pt x="159" y="20"/>
                      </a:moveTo>
                      <a:cubicBezTo>
                        <a:pt x="159" y="21"/>
                        <a:pt x="159" y="21"/>
                        <a:pt x="159" y="21"/>
                      </a:cubicBezTo>
                      <a:cubicBezTo>
                        <a:pt x="160" y="21"/>
                        <a:pt x="160" y="21"/>
                        <a:pt x="160" y="21"/>
                      </a:cubicBezTo>
                      <a:cubicBezTo>
                        <a:pt x="160" y="21"/>
                        <a:pt x="160" y="21"/>
                        <a:pt x="160" y="21"/>
                      </a:cubicBezTo>
                      <a:cubicBezTo>
                        <a:pt x="161" y="20"/>
                        <a:pt x="161" y="20"/>
                        <a:pt x="161" y="20"/>
                      </a:cubicBezTo>
                      <a:cubicBezTo>
                        <a:pt x="161" y="20"/>
                        <a:pt x="161" y="20"/>
                        <a:pt x="161" y="20"/>
                      </a:cubicBezTo>
                      <a:cubicBezTo>
                        <a:pt x="160" y="19"/>
                        <a:pt x="160" y="19"/>
                        <a:pt x="160" y="19"/>
                      </a:cubicBezTo>
                      <a:cubicBezTo>
                        <a:pt x="160" y="20"/>
                        <a:pt x="160" y="20"/>
                        <a:pt x="160" y="20"/>
                      </a:cubicBezTo>
                      <a:cubicBezTo>
                        <a:pt x="159" y="20"/>
                        <a:pt x="159" y="20"/>
                        <a:pt x="159" y="20"/>
                      </a:cubicBezTo>
                      <a:close/>
                      <a:moveTo>
                        <a:pt x="158" y="32"/>
                      </a:moveTo>
                      <a:cubicBezTo>
                        <a:pt x="158" y="33"/>
                        <a:pt x="158" y="33"/>
                        <a:pt x="158" y="33"/>
                      </a:cubicBezTo>
                      <a:cubicBezTo>
                        <a:pt x="160" y="34"/>
                        <a:pt x="160" y="34"/>
                        <a:pt x="160" y="34"/>
                      </a:cubicBezTo>
                      <a:cubicBezTo>
                        <a:pt x="160" y="34"/>
                        <a:pt x="160" y="34"/>
                        <a:pt x="160" y="34"/>
                      </a:cubicBezTo>
                      <a:cubicBezTo>
                        <a:pt x="160" y="34"/>
                        <a:pt x="160" y="34"/>
                        <a:pt x="160" y="34"/>
                      </a:cubicBezTo>
                      <a:cubicBezTo>
                        <a:pt x="159" y="35"/>
                        <a:pt x="159" y="35"/>
                        <a:pt x="159" y="35"/>
                      </a:cubicBezTo>
                      <a:cubicBezTo>
                        <a:pt x="159" y="34"/>
                        <a:pt x="159" y="34"/>
                        <a:pt x="159" y="34"/>
                      </a:cubicBezTo>
                      <a:cubicBezTo>
                        <a:pt x="158" y="34"/>
                        <a:pt x="158" y="34"/>
                        <a:pt x="158" y="34"/>
                      </a:cubicBezTo>
                      <a:cubicBezTo>
                        <a:pt x="158" y="33"/>
                        <a:pt x="158" y="33"/>
                        <a:pt x="158" y="33"/>
                      </a:cubicBezTo>
                      <a:cubicBezTo>
                        <a:pt x="157" y="32"/>
                        <a:pt x="157" y="32"/>
                        <a:pt x="157" y="32"/>
                      </a:cubicBezTo>
                      <a:cubicBezTo>
                        <a:pt x="156" y="31"/>
                        <a:pt x="156" y="31"/>
                        <a:pt x="156" y="31"/>
                      </a:cubicBezTo>
                      <a:cubicBezTo>
                        <a:pt x="156" y="30"/>
                        <a:pt x="156" y="30"/>
                        <a:pt x="156" y="30"/>
                      </a:cubicBezTo>
                      <a:cubicBezTo>
                        <a:pt x="156" y="30"/>
                        <a:pt x="156" y="30"/>
                        <a:pt x="156" y="30"/>
                      </a:cubicBezTo>
                      <a:cubicBezTo>
                        <a:pt x="156" y="29"/>
                        <a:pt x="156" y="29"/>
                        <a:pt x="156" y="29"/>
                      </a:cubicBezTo>
                      <a:cubicBezTo>
                        <a:pt x="155" y="28"/>
                        <a:pt x="155" y="28"/>
                        <a:pt x="155" y="28"/>
                      </a:cubicBezTo>
                      <a:cubicBezTo>
                        <a:pt x="156" y="27"/>
                        <a:pt x="156" y="27"/>
                        <a:pt x="156" y="27"/>
                      </a:cubicBezTo>
                      <a:cubicBezTo>
                        <a:pt x="156" y="27"/>
                        <a:pt x="156" y="27"/>
                        <a:pt x="156" y="27"/>
                      </a:cubicBezTo>
                      <a:cubicBezTo>
                        <a:pt x="155" y="26"/>
                        <a:pt x="155" y="26"/>
                        <a:pt x="155" y="26"/>
                      </a:cubicBezTo>
                      <a:cubicBezTo>
                        <a:pt x="155" y="25"/>
                        <a:pt x="155" y="25"/>
                        <a:pt x="155" y="25"/>
                      </a:cubicBezTo>
                      <a:cubicBezTo>
                        <a:pt x="155" y="24"/>
                        <a:pt x="155" y="24"/>
                        <a:pt x="155" y="24"/>
                      </a:cubicBezTo>
                      <a:cubicBezTo>
                        <a:pt x="156" y="24"/>
                        <a:pt x="156" y="24"/>
                        <a:pt x="156" y="24"/>
                      </a:cubicBezTo>
                      <a:cubicBezTo>
                        <a:pt x="156" y="23"/>
                        <a:pt x="156" y="23"/>
                        <a:pt x="156" y="23"/>
                      </a:cubicBezTo>
                      <a:cubicBezTo>
                        <a:pt x="156" y="22"/>
                        <a:pt x="156" y="22"/>
                        <a:pt x="156" y="22"/>
                      </a:cubicBezTo>
                      <a:cubicBezTo>
                        <a:pt x="158" y="20"/>
                        <a:pt x="158" y="20"/>
                        <a:pt x="158" y="20"/>
                      </a:cubicBezTo>
                      <a:cubicBezTo>
                        <a:pt x="158" y="20"/>
                        <a:pt x="158" y="20"/>
                        <a:pt x="158" y="20"/>
                      </a:cubicBezTo>
                      <a:cubicBezTo>
                        <a:pt x="158" y="21"/>
                        <a:pt x="158" y="21"/>
                        <a:pt x="158" y="21"/>
                      </a:cubicBezTo>
                      <a:cubicBezTo>
                        <a:pt x="157" y="22"/>
                        <a:pt x="157" y="22"/>
                        <a:pt x="157" y="22"/>
                      </a:cubicBezTo>
                      <a:cubicBezTo>
                        <a:pt x="157" y="22"/>
                        <a:pt x="157" y="22"/>
                        <a:pt x="157" y="22"/>
                      </a:cubicBezTo>
                      <a:cubicBezTo>
                        <a:pt x="158" y="22"/>
                        <a:pt x="158" y="22"/>
                        <a:pt x="158" y="22"/>
                      </a:cubicBezTo>
                      <a:cubicBezTo>
                        <a:pt x="158" y="24"/>
                        <a:pt x="158" y="24"/>
                        <a:pt x="158" y="24"/>
                      </a:cubicBezTo>
                      <a:cubicBezTo>
                        <a:pt x="158" y="25"/>
                        <a:pt x="158" y="25"/>
                        <a:pt x="158" y="25"/>
                      </a:cubicBezTo>
                      <a:cubicBezTo>
                        <a:pt x="157" y="25"/>
                        <a:pt x="157" y="25"/>
                        <a:pt x="157" y="25"/>
                      </a:cubicBezTo>
                      <a:cubicBezTo>
                        <a:pt x="156" y="25"/>
                        <a:pt x="156" y="25"/>
                        <a:pt x="156" y="25"/>
                      </a:cubicBezTo>
                      <a:cubicBezTo>
                        <a:pt x="157" y="26"/>
                        <a:pt x="157" y="26"/>
                        <a:pt x="157" y="26"/>
                      </a:cubicBezTo>
                      <a:cubicBezTo>
                        <a:pt x="157" y="26"/>
                        <a:pt x="157" y="26"/>
                        <a:pt x="157" y="26"/>
                      </a:cubicBezTo>
                      <a:cubicBezTo>
                        <a:pt x="158" y="25"/>
                        <a:pt x="158" y="25"/>
                        <a:pt x="158" y="25"/>
                      </a:cubicBezTo>
                      <a:cubicBezTo>
                        <a:pt x="158" y="25"/>
                        <a:pt x="158" y="25"/>
                        <a:pt x="158" y="25"/>
                      </a:cubicBezTo>
                      <a:cubicBezTo>
                        <a:pt x="159" y="25"/>
                        <a:pt x="159" y="25"/>
                        <a:pt x="159" y="25"/>
                      </a:cubicBezTo>
                      <a:cubicBezTo>
                        <a:pt x="158" y="25"/>
                        <a:pt x="158" y="25"/>
                        <a:pt x="158" y="25"/>
                      </a:cubicBezTo>
                      <a:cubicBezTo>
                        <a:pt x="159" y="24"/>
                        <a:pt x="159" y="24"/>
                        <a:pt x="159" y="24"/>
                      </a:cubicBezTo>
                      <a:cubicBezTo>
                        <a:pt x="160" y="23"/>
                        <a:pt x="160" y="23"/>
                        <a:pt x="160" y="23"/>
                      </a:cubicBezTo>
                      <a:cubicBezTo>
                        <a:pt x="161" y="23"/>
                        <a:pt x="161" y="23"/>
                        <a:pt x="161" y="23"/>
                      </a:cubicBezTo>
                      <a:cubicBezTo>
                        <a:pt x="162" y="23"/>
                        <a:pt x="162" y="23"/>
                        <a:pt x="162" y="23"/>
                      </a:cubicBezTo>
                      <a:cubicBezTo>
                        <a:pt x="162" y="24"/>
                        <a:pt x="162" y="24"/>
                        <a:pt x="162" y="24"/>
                      </a:cubicBezTo>
                      <a:cubicBezTo>
                        <a:pt x="161" y="26"/>
                        <a:pt x="161" y="26"/>
                        <a:pt x="161" y="26"/>
                      </a:cubicBezTo>
                      <a:cubicBezTo>
                        <a:pt x="160" y="26"/>
                        <a:pt x="160" y="26"/>
                        <a:pt x="160" y="26"/>
                      </a:cubicBezTo>
                      <a:cubicBezTo>
                        <a:pt x="159" y="27"/>
                        <a:pt x="159" y="27"/>
                        <a:pt x="159" y="27"/>
                      </a:cubicBezTo>
                      <a:cubicBezTo>
                        <a:pt x="159" y="27"/>
                        <a:pt x="159" y="27"/>
                        <a:pt x="159" y="27"/>
                      </a:cubicBezTo>
                      <a:cubicBezTo>
                        <a:pt x="160" y="27"/>
                        <a:pt x="160" y="27"/>
                        <a:pt x="160" y="27"/>
                      </a:cubicBezTo>
                      <a:cubicBezTo>
                        <a:pt x="161" y="28"/>
                        <a:pt x="161" y="28"/>
                        <a:pt x="161" y="28"/>
                      </a:cubicBezTo>
                      <a:cubicBezTo>
                        <a:pt x="161" y="29"/>
                        <a:pt x="161" y="29"/>
                        <a:pt x="161" y="29"/>
                      </a:cubicBezTo>
                      <a:cubicBezTo>
                        <a:pt x="162" y="29"/>
                        <a:pt x="162" y="29"/>
                        <a:pt x="162" y="29"/>
                      </a:cubicBezTo>
                      <a:cubicBezTo>
                        <a:pt x="161" y="29"/>
                        <a:pt x="161" y="29"/>
                        <a:pt x="161" y="29"/>
                      </a:cubicBezTo>
                      <a:cubicBezTo>
                        <a:pt x="160" y="29"/>
                        <a:pt x="160" y="29"/>
                        <a:pt x="160" y="29"/>
                      </a:cubicBezTo>
                      <a:cubicBezTo>
                        <a:pt x="159" y="29"/>
                        <a:pt x="159" y="29"/>
                        <a:pt x="159" y="29"/>
                      </a:cubicBezTo>
                      <a:cubicBezTo>
                        <a:pt x="158" y="28"/>
                        <a:pt x="158" y="28"/>
                        <a:pt x="158" y="28"/>
                      </a:cubicBezTo>
                      <a:cubicBezTo>
                        <a:pt x="157" y="29"/>
                        <a:pt x="157" y="29"/>
                        <a:pt x="157" y="29"/>
                      </a:cubicBezTo>
                      <a:cubicBezTo>
                        <a:pt x="157" y="30"/>
                        <a:pt x="157" y="30"/>
                        <a:pt x="157" y="30"/>
                      </a:cubicBezTo>
                      <a:cubicBezTo>
                        <a:pt x="158" y="32"/>
                        <a:pt x="158" y="32"/>
                        <a:pt x="158" y="32"/>
                      </a:cubicBezTo>
                      <a:close/>
                      <a:moveTo>
                        <a:pt x="154" y="34"/>
                      </a:moveTo>
                      <a:cubicBezTo>
                        <a:pt x="155" y="34"/>
                        <a:pt x="155" y="34"/>
                        <a:pt x="155" y="34"/>
                      </a:cubicBezTo>
                      <a:cubicBezTo>
                        <a:pt x="154" y="34"/>
                        <a:pt x="154" y="34"/>
                        <a:pt x="154" y="34"/>
                      </a:cubicBezTo>
                      <a:cubicBezTo>
                        <a:pt x="154" y="33"/>
                        <a:pt x="154" y="33"/>
                        <a:pt x="154" y="33"/>
                      </a:cubicBezTo>
                      <a:cubicBezTo>
                        <a:pt x="154" y="34"/>
                        <a:pt x="154" y="34"/>
                        <a:pt x="154" y="34"/>
                      </a:cubicBezTo>
                      <a:close/>
                      <a:moveTo>
                        <a:pt x="154" y="32"/>
                      </a:moveTo>
                      <a:cubicBezTo>
                        <a:pt x="154" y="32"/>
                        <a:pt x="154" y="32"/>
                        <a:pt x="154" y="32"/>
                      </a:cubicBezTo>
                      <a:cubicBezTo>
                        <a:pt x="153" y="33"/>
                        <a:pt x="153" y="33"/>
                        <a:pt x="153" y="33"/>
                      </a:cubicBezTo>
                      <a:cubicBezTo>
                        <a:pt x="154" y="33"/>
                        <a:pt x="154" y="33"/>
                        <a:pt x="154" y="33"/>
                      </a:cubicBezTo>
                      <a:cubicBezTo>
                        <a:pt x="154" y="32"/>
                        <a:pt x="154" y="32"/>
                        <a:pt x="154" y="32"/>
                      </a:cubicBezTo>
                      <a:cubicBezTo>
                        <a:pt x="154" y="32"/>
                        <a:pt x="154" y="32"/>
                        <a:pt x="154" y="32"/>
                      </a:cubicBezTo>
                      <a:close/>
                      <a:moveTo>
                        <a:pt x="155" y="32"/>
                      </a:moveTo>
                      <a:cubicBezTo>
                        <a:pt x="155" y="33"/>
                        <a:pt x="155" y="33"/>
                        <a:pt x="155" y="33"/>
                      </a:cubicBezTo>
                      <a:cubicBezTo>
                        <a:pt x="155" y="33"/>
                        <a:pt x="155" y="33"/>
                        <a:pt x="155" y="33"/>
                      </a:cubicBezTo>
                      <a:cubicBezTo>
                        <a:pt x="155" y="34"/>
                        <a:pt x="155" y="34"/>
                        <a:pt x="155" y="34"/>
                      </a:cubicBezTo>
                      <a:cubicBezTo>
                        <a:pt x="156" y="34"/>
                        <a:pt x="156" y="34"/>
                        <a:pt x="156" y="34"/>
                      </a:cubicBezTo>
                      <a:cubicBezTo>
                        <a:pt x="157" y="34"/>
                        <a:pt x="157" y="34"/>
                        <a:pt x="157" y="34"/>
                      </a:cubicBezTo>
                      <a:cubicBezTo>
                        <a:pt x="157" y="34"/>
                        <a:pt x="157" y="34"/>
                        <a:pt x="157" y="34"/>
                      </a:cubicBezTo>
                      <a:cubicBezTo>
                        <a:pt x="157" y="33"/>
                        <a:pt x="157" y="33"/>
                        <a:pt x="157" y="33"/>
                      </a:cubicBezTo>
                      <a:cubicBezTo>
                        <a:pt x="156" y="33"/>
                        <a:pt x="156" y="33"/>
                        <a:pt x="156" y="33"/>
                      </a:cubicBezTo>
                      <a:cubicBezTo>
                        <a:pt x="156" y="33"/>
                        <a:pt x="156" y="33"/>
                        <a:pt x="156" y="33"/>
                      </a:cubicBezTo>
                      <a:cubicBezTo>
                        <a:pt x="156" y="32"/>
                        <a:pt x="156" y="32"/>
                        <a:pt x="156" y="32"/>
                      </a:cubicBezTo>
                      <a:cubicBezTo>
                        <a:pt x="155" y="32"/>
                        <a:pt x="155" y="32"/>
                        <a:pt x="155" y="32"/>
                      </a:cubicBezTo>
                      <a:close/>
                      <a:moveTo>
                        <a:pt x="155" y="37"/>
                      </a:moveTo>
                      <a:cubicBezTo>
                        <a:pt x="156" y="36"/>
                        <a:pt x="156" y="36"/>
                        <a:pt x="156" y="36"/>
                      </a:cubicBezTo>
                      <a:cubicBezTo>
                        <a:pt x="157" y="36"/>
                        <a:pt x="157" y="36"/>
                        <a:pt x="157" y="36"/>
                      </a:cubicBezTo>
                      <a:cubicBezTo>
                        <a:pt x="158" y="38"/>
                        <a:pt x="158" y="38"/>
                        <a:pt x="158" y="38"/>
                      </a:cubicBezTo>
                      <a:cubicBezTo>
                        <a:pt x="158" y="38"/>
                        <a:pt x="158" y="38"/>
                        <a:pt x="158" y="38"/>
                      </a:cubicBezTo>
                      <a:cubicBezTo>
                        <a:pt x="158" y="38"/>
                        <a:pt x="158" y="38"/>
                        <a:pt x="158" y="38"/>
                      </a:cubicBezTo>
                      <a:cubicBezTo>
                        <a:pt x="157" y="38"/>
                        <a:pt x="157" y="38"/>
                        <a:pt x="157" y="38"/>
                      </a:cubicBezTo>
                      <a:cubicBezTo>
                        <a:pt x="156" y="38"/>
                        <a:pt x="156" y="38"/>
                        <a:pt x="156" y="38"/>
                      </a:cubicBezTo>
                      <a:cubicBezTo>
                        <a:pt x="155" y="38"/>
                        <a:pt x="155" y="38"/>
                        <a:pt x="155" y="38"/>
                      </a:cubicBezTo>
                      <a:cubicBezTo>
                        <a:pt x="155" y="37"/>
                        <a:pt x="155" y="37"/>
                        <a:pt x="155" y="37"/>
                      </a:cubicBezTo>
                      <a:close/>
                      <a:moveTo>
                        <a:pt x="169" y="38"/>
                      </a:moveTo>
                      <a:cubicBezTo>
                        <a:pt x="167" y="38"/>
                        <a:pt x="167" y="38"/>
                        <a:pt x="167" y="38"/>
                      </a:cubicBezTo>
                      <a:cubicBezTo>
                        <a:pt x="166" y="38"/>
                        <a:pt x="166" y="38"/>
                        <a:pt x="166" y="38"/>
                      </a:cubicBezTo>
                      <a:cubicBezTo>
                        <a:pt x="167" y="39"/>
                        <a:pt x="167" y="39"/>
                        <a:pt x="167" y="39"/>
                      </a:cubicBezTo>
                      <a:cubicBezTo>
                        <a:pt x="168" y="39"/>
                        <a:pt x="168" y="39"/>
                        <a:pt x="168" y="39"/>
                      </a:cubicBezTo>
                      <a:cubicBezTo>
                        <a:pt x="169" y="39"/>
                        <a:pt x="169" y="39"/>
                        <a:pt x="169" y="39"/>
                      </a:cubicBezTo>
                      <a:cubicBezTo>
                        <a:pt x="169" y="39"/>
                        <a:pt x="169" y="39"/>
                        <a:pt x="169" y="39"/>
                      </a:cubicBezTo>
                      <a:cubicBezTo>
                        <a:pt x="169" y="38"/>
                        <a:pt x="169" y="38"/>
                        <a:pt x="169" y="38"/>
                      </a:cubicBezTo>
                      <a:cubicBezTo>
                        <a:pt x="169" y="38"/>
                        <a:pt x="169" y="38"/>
                        <a:pt x="169" y="38"/>
                      </a:cubicBezTo>
                      <a:close/>
                      <a:moveTo>
                        <a:pt x="160" y="46"/>
                      </a:moveTo>
                      <a:cubicBezTo>
                        <a:pt x="161" y="46"/>
                        <a:pt x="161" y="46"/>
                        <a:pt x="161" y="46"/>
                      </a:cubicBezTo>
                      <a:cubicBezTo>
                        <a:pt x="161" y="46"/>
                        <a:pt x="161" y="46"/>
                        <a:pt x="161" y="46"/>
                      </a:cubicBezTo>
                      <a:cubicBezTo>
                        <a:pt x="161" y="47"/>
                        <a:pt x="161" y="47"/>
                        <a:pt x="161" y="47"/>
                      </a:cubicBezTo>
                      <a:cubicBezTo>
                        <a:pt x="160" y="46"/>
                        <a:pt x="160" y="46"/>
                        <a:pt x="160" y="46"/>
                      </a:cubicBezTo>
                      <a:close/>
                      <a:moveTo>
                        <a:pt x="159" y="46"/>
                      </a:moveTo>
                      <a:cubicBezTo>
                        <a:pt x="160" y="46"/>
                        <a:pt x="160" y="46"/>
                        <a:pt x="160" y="46"/>
                      </a:cubicBezTo>
                      <a:cubicBezTo>
                        <a:pt x="160" y="47"/>
                        <a:pt x="160" y="47"/>
                        <a:pt x="160" y="47"/>
                      </a:cubicBezTo>
                      <a:cubicBezTo>
                        <a:pt x="160" y="47"/>
                        <a:pt x="160" y="47"/>
                        <a:pt x="160" y="47"/>
                      </a:cubicBezTo>
                      <a:cubicBezTo>
                        <a:pt x="159" y="46"/>
                        <a:pt x="159" y="46"/>
                        <a:pt x="159" y="46"/>
                      </a:cubicBezTo>
                      <a:close/>
                      <a:moveTo>
                        <a:pt x="157" y="47"/>
                      </a:moveTo>
                      <a:cubicBezTo>
                        <a:pt x="158" y="46"/>
                        <a:pt x="158" y="46"/>
                        <a:pt x="158" y="46"/>
                      </a:cubicBezTo>
                      <a:cubicBezTo>
                        <a:pt x="159" y="46"/>
                        <a:pt x="159" y="46"/>
                        <a:pt x="159" y="46"/>
                      </a:cubicBezTo>
                      <a:cubicBezTo>
                        <a:pt x="159" y="46"/>
                        <a:pt x="159" y="46"/>
                        <a:pt x="159" y="46"/>
                      </a:cubicBezTo>
                      <a:cubicBezTo>
                        <a:pt x="159" y="47"/>
                        <a:pt x="159" y="47"/>
                        <a:pt x="159" y="47"/>
                      </a:cubicBezTo>
                      <a:cubicBezTo>
                        <a:pt x="158" y="47"/>
                        <a:pt x="158" y="47"/>
                        <a:pt x="158" y="47"/>
                      </a:cubicBezTo>
                      <a:cubicBezTo>
                        <a:pt x="158" y="47"/>
                        <a:pt x="158" y="47"/>
                        <a:pt x="158" y="47"/>
                      </a:cubicBezTo>
                      <a:cubicBezTo>
                        <a:pt x="157" y="47"/>
                        <a:pt x="157" y="47"/>
                        <a:pt x="157" y="47"/>
                      </a:cubicBezTo>
                      <a:close/>
                      <a:moveTo>
                        <a:pt x="157" y="44"/>
                      </a:moveTo>
                      <a:cubicBezTo>
                        <a:pt x="156" y="44"/>
                        <a:pt x="156" y="44"/>
                        <a:pt x="156" y="44"/>
                      </a:cubicBezTo>
                      <a:cubicBezTo>
                        <a:pt x="157" y="45"/>
                        <a:pt x="157" y="45"/>
                        <a:pt x="157" y="45"/>
                      </a:cubicBezTo>
                      <a:cubicBezTo>
                        <a:pt x="157" y="44"/>
                        <a:pt x="157" y="44"/>
                        <a:pt x="157" y="44"/>
                      </a:cubicBezTo>
                      <a:close/>
                      <a:moveTo>
                        <a:pt x="158" y="43"/>
                      </a:moveTo>
                      <a:cubicBezTo>
                        <a:pt x="157" y="43"/>
                        <a:pt x="157" y="43"/>
                        <a:pt x="157" y="43"/>
                      </a:cubicBezTo>
                      <a:cubicBezTo>
                        <a:pt x="157" y="44"/>
                        <a:pt x="157" y="44"/>
                        <a:pt x="157" y="44"/>
                      </a:cubicBezTo>
                      <a:cubicBezTo>
                        <a:pt x="158" y="44"/>
                        <a:pt x="158" y="44"/>
                        <a:pt x="158" y="44"/>
                      </a:cubicBezTo>
                      <a:cubicBezTo>
                        <a:pt x="158" y="43"/>
                        <a:pt x="158" y="43"/>
                        <a:pt x="158" y="43"/>
                      </a:cubicBezTo>
                      <a:close/>
                      <a:moveTo>
                        <a:pt x="158" y="46"/>
                      </a:moveTo>
                      <a:cubicBezTo>
                        <a:pt x="159" y="44"/>
                        <a:pt x="159" y="44"/>
                        <a:pt x="159" y="44"/>
                      </a:cubicBezTo>
                      <a:cubicBezTo>
                        <a:pt x="160" y="45"/>
                        <a:pt x="160" y="45"/>
                        <a:pt x="160" y="45"/>
                      </a:cubicBezTo>
                      <a:cubicBezTo>
                        <a:pt x="160" y="46"/>
                        <a:pt x="160" y="46"/>
                        <a:pt x="160" y="46"/>
                      </a:cubicBezTo>
                      <a:cubicBezTo>
                        <a:pt x="161" y="46"/>
                        <a:pt x="161" y="46"/>
                        <a:pt x="161" y="46"/>
                      </a:cubicBezTo>
                      <a:cubicBezTo>
                        <a:pt x="162" y="45"/>
                        <a:pt x="162" y="45"/>
                        <a:pt x="162" y="45"/>
                      </a:cubicBezTo>
                      <a:cubicBezTo>
                        <a:pt x="162" y="45"/>
                        <a:pt x="162" y="45"/>
                        <a:pt x="162" y="45"/>
                      </a:cubicBezTo>
                      <a:cubicBezTo>
                        <a:pt x="163" y="46"/>
                        <a:pt x="163" y="46"/>
                        <a:pt x="163" y="46"/>
                      </a:cubicBezTo>
                      <a:cubicBezTo>
                        <a:pt x="165" y="46"/>
                        <a:pt x="165" y="46"/>
                        <a:pt x="165" y="46"/>
                      </a:cubicBezTo>
                      <a:cubicBezTo>
                        <a:pt x="165" y="45"/>
                        <a:pt x="165" y="45"/>
                        <a:pt x="165" y="45"/>
                      </a:cubicBezTo>
                      <a:cubicBezTo>
                        <a:pt x="166" y="45"/>
                        <a:pt x="166" y="45"/>
                        <a:pt x="166" y="45"/>
                      </a:cubicBezTo>
                      <a:cubicBezTo>
                        <a:pt x="168" y="46"/>
                        <a:pt x="168" y="46"/>
                        <a:pt x="168" y="46"/>
                      </a:cubicBezTo>
                      <a:cubicBezTo>
                        <a:pt x="169" y="46"/>
                        <a:pt x="169" y="46"/>
                        <a:pt x="169" y="46"/>
                      </a:cubicBezTo>
                      <a:cubicBezTo>
                        <a:pt x="170" y="47"/>
                        <a:pt x="170" y="47"/>
                        <a:pt x="170" y="47"/>
                      </a:cubicBezTo>
                      <a:cubicBezTo>
                        <a:pt x="171" y="47"/>
                        <a:pt x="171" y="47"/>
                        <a:pt x="171" y="47"/>
                      </a:cubicBezTo>
                      <a:cubicBezTo>
                        <a:pt x="171" y="47"/>
                        <a:pt x="171" y="47"/>
                        <a:pt x="171" y="47"/>
                      </a:cubicBezTo>
                      <a:cubicBezTo>
                        <a:pt x="171" y="45"/>
                        <a:pt x="171" y="45"/>
                        <a:pt x="171" y="45"/>
                      </a:cubicBezTo>
                      <a:cubicBezTo>
                        <a:pt x="169" y="44"/>
                        <a:pt x="169" y="44"/>
                        <a:pt x="169" y="44"/>
                      </a:cubicBezTo>
                      <a:cubicBezTo>
                        <a:pt x="167" y="43"/>
                        <a:pt x="167" y="43"/>
                        <a:pt x="167" y="43"/>
                      </a:cubicBezTo>
                      <a:cubicBezTo>
                        <a:pt x="166" y="43"/>
                        <a:pt x="166" y="43"/>
                        <a:pt x="166" y="43"/>
                      </a:cubicBezTo>
                      <a:cubicBezTo>
                        <a:pt x="165" y="43"/>
                        <a:pt x="165" y="43"/>
                        <a:pt x="165" y="43"/>
                      </a:cubicBezTo>
                      <a:cubicBezTo>
                        <a:pt x="164" y="43"/>
                        <a:pt x="164" y="43"/>
                        <a:pt x="164" y="43"/>
                      </a:cubicBezTo>
                      <a:cubicBezTo>
                        <a:pt x="163" y="43"/>
                        <a:pt x="163" y="43"/>
                        <a:pt x="163" y="43"/>
                      </a:cubicBezTo>
                      <a:cubicBezTo>
                        <a:pt x="162" y="43"/>
                        <a:pt x="162" y="43"/>
                        <a:pt x="162" y="43"/>
                      </a:cubicBezTo>
                      <a:cubicBezTo>
                        <a:pt x="161" y="43"/>
                        <a:pt x="161" y="43"/>
                        <a:pt x="161" y="43"/>
                      </a:cubicBezTo>
                      <a:cubicBezTo>
                        <a:pt x="159" y="43"/>
                        <a:pt x="159" y="43"/>
                        <a:pt x="159" y="43"/>
                      </a:cubicBezTo>
                      <a:cubicBezTo>
                        <a:pt x="158" y="44"/>
                        <a:pt x="158" y="44"/>
                        <a:pt x="158" y="44"/>
                      </a:cubicBezTo>
                      <a:cubicBezTo>
                        <a:pt x="158" y="44"/>
                        <a:pt x="158" y="44"/>
                        <a:pt x="158" y="44"/>
                      </a:cubicBezTo>
                      <a:cubicBezTo>
                        <a:pt x="157" y="44"/>
                        <a:pt x="157" y="44"/>
                        <a:pt x="157" y="44"/>
                      </a:cubicBezTo>
                      <a:cubicBezTo>
                        <a:pt x="157" y="45"/>
                        <a:pt x="157" y="45"/>
                        <a:pt x="157" y="45"/>
                      </a:cubicBezTo>
                      <a:cubicBezTo>
                        <a:pt x="157" y="46"/>
                        <a:pt x="157" y="46"/>
                        <a:pt x="157" y="46"/>
                      </a:cubicBezTo>
                      <a:cubicBezTo>
                        <a:pt x="158" y="46"/>
                        <a:pt x="158" y="46"/>
                        <a:pt x="158" y="46"/>
                      </a:cubicBezTo>
                      <a:close/>
                      <a:moveTo>
                        <a:pt x="149" y="44"/>
                      </a:moveTo>
                      <a:cubicBezTo>
                        <a:pt x="149" y="45"/>
                        <a:pt x="149" y="45"/>
                        <a:pt x="149" y="45"/>
                      </a:cubicBezTo>
                      <a:cubicBezTo>
                        <a:pt x="150" y="44"/>
                        <a:pt x="150" y="44"/>
                        <a:pt x="150" y="44"/>
                      </a:cubicBezTo>
                      <a:cubicBezTo>
                        <a:pt x="152" y="44"/>
                        <a:pt x="152" y="44"/>
                        <a:pt x="152" y="44"/>
                      </a:cubicBezTo>
                      <a:cubicBezTo>
                        <a:pt x="153" y="45"/>
                        <a:pt x="153" y="45"/>
                        <a:pt x="153" y="45"/>
                      </a:cubicBezTo>
                      <a:cubicBezTo>
                        <a:pt x="153" y="45"/>
                        <a:pt x="153" y="45"/>
                        <a:pt x="153" y="45"/>
                      </a:cubicBezTo>
                      <a:cubicBezTo>
                        <a:pt x="154" y="46"/>
                        <a:pt x="154" y="46"/>
                        <a:pt x="154" y="46"/>
                      </a:cubicBezTo>
                      <a:cubicBezTo>
                        <a:pt x="154" y="47"/>
                        <a:pt x="154" y="47"/>
                        <a:pt x="154" y="47"/>
                      </a:cubicBezTo>
                      <a:cubicBezTo>
                        <a:pt x="153" y="47"/>
                        <a:pt x="153" y="47"/>
                        <a:pt x="153" y="47"/>
                      </a:cubicBezTo>
                      <a:cubicBezTo>
                        <a:pt x="152" y="47"/>
                        <a:pt x="152" y="47"/>
                        <a:pt x="152" y="47"/>
                      </a:cubicBezTo>
                      <a:cubicBezTo>
                        <a:pt x="151" y="47"/>
                        <a:pt x="151" y="47"/>
                        <a:pt x="151" y="47"/>
                      </a:cubicBezTo>
                      <a:cubicBezTo>
                        <a:pt x="150" y="47"/>
                        <a:pt x="150" y="47"/>
                        <a:pt x="150" y="47"/>
                      </a:cubicBezTo>
                      <a:cubicBezTo>
                        <a:pt x="150" y="47"/>
                        <a:pt x="150" y="47"/>
                        <a:pt x="150" y="47"/>
                      </a:cubicBezTo>
                      <a:cubicBezTo>
                        <a:pt x="148" y="47"/>
                        <a:pt x="148" y="47"/>
                        <a:pt x="148" y="47"/>
                      </a:cubicBezTo>
                      <a:cubicBezTo>
                        <a:pt x="148" y="46"/>
                        <a:pt x="148" y="46"/>
                        <a:pt x="148" y="46"/>
                      </a:cubicBezTo>
                      <a:cubicBezTo>
                        <a:pt x="148" y="45"/>
                        <a:pt x="148" y="45"/>
                        <a:pt x="148" y="45"/>
                      </a:cubicBezTo>
                      <a:cubicBezTo>
                        <a:pt x="149" y="44"/>
                        <a:pt x="149" y="44"/>
                        <a:pt x="149" y="44"/>
                      </a:cubicBezTo>
                      <a:close/>
                      <a:moveTo>
                        <a:pt x="122" y="62"/>
                      </a:moveTo>
                      <a:cubicBezTo>
                        <a:pt x="121" y="62"/>
                        <a:pt x="121" y="62"/>
                        <a:pt x="121" y="62"/>
                      </a:cubicBezTo>
                      <a:cubicBezTo>
                        <a:pt x="121" y="62"/>
                        <a:pt x="121" y="62"/>
                        <a:pt x="121" y="62"/>
                      </a:cubicBezTo>
                      <a:cubicBezTo>
                        <a:pt x="122" y="62"/>
                        <a:pt x="122" y="62"/>
                        <a:pt x="122" y="62"/>
                      </a:cubicBezTo>
                      <a:cubicBezTo>
                        <a:pt x="122" y="62"/>
                        <a:pt x="122" y="62"/>
                        <a:pt x="122" y="62"/>
                      </a:cubicBezTo>
                      <a:close/>
                      <a:moveTo>
                        <a:pt x="121" y="56"/>
                      </a:moveTo>
                      <a:cubicBezTo>
                        <a:pt x="122" y="57"/>
                        <a:pt x="122" y="57"/>
                        <a:pt x="122" y="57"/>
                      </a:cubicBezTo>
                      <a:cubicBezTo>
                        <a:pt x="121" y="58"/>
                        <a:pt x="121" y="58"/>
                        <a:pt x="121" y="58"/>
                      </a:cubicBezTo>
                      <a:cubicBezTo>
                        <a:pt x="121" y="59"/>
                        <a:pt x="121" y="59"/>
                        <a:pt x="121" y="59"/>
                      </a:cubicBezTo>
                      <a:cubicBezTo>
                        <a:pt x="121" y="58"/>
                        <a:pt x="121" y="58"/>
                        <a:pt x="121" y="58"/>
                      </a:cubicBezTo>
                      <a:cubicBezTo>
                        <a:pt x="121" y="58"/>
                        <a:pt x="121" y="58"/>
                        <a:pt x="121" y="58"/>
                      </a:cubicBezTo>
                      <a:cubicBezTo>
                        <a:pt x="121" y="57"/>
                        <a:pt x="121" y="57"/>
                        <a:pt x="121" y="57"/>
                      </a:cubicBezTo>
                      <a:cubicBezTo>
                        <a:pt x="121" y="56"/>
                        <a:pt x="121" y="56"/>
                        <a:pt x="121" y="56"/>
                      </a:cubicBezTo>
                      <a:cubicBezTo>
                        <a:pt x="121" y="56"/>
                        <a:pt x="121" y="56"/>
                        <a:pt x="121" y="56"/>
                      </a:cubicBezTo>
                      <a:close/>
                      <a:moveTo>
                        <a:pt x="148" y="39"/>
                      </a:moveTo>
                      <a:cubicBezTo>
                        <a:pt x="148" y="40"/>
                        <a:pt x="148" y="40"/>
                        <a:pt x="148" y="40"/>
                      </a:cubicBezTo>
                      <a:cubicBezTo>
                        <a:pt x="148" y="41"/>
                        <a:pt x="148" y="41"/>
                        <a:pt x="148" y="41"/>
                      </a:cubicBezTo>
                      <a:cubicBezTo>
                        <a:pt x="148" y="41"/>
                        <a:pt x="148" y="41"/>
                        <a:pt x="148" y="41"/>
                      </a:cubicBezTo>
                      <a:cubicBezTo>
                        <a:pt x="148" y="41"/>
                        <a:pt x="148" y="41"/>
                        <a:pt x="148" y="41"/>
                      </a:cubicBezTo>
                      <a:cubicBezTo>
                        <a:pt x="147" y="40"/>
                        <a:pt x="147" y="40"/>
                        <a:pt x="147" y="40"/>
                      </a:cubicBezTo>
                      <a:cubicBezTo>
                        <a:pt x="147" y="40"/>
                        <a:pt x="147" y="40"/>
                        <a:pt x="147" y="40"/>
                      </a:cubicBezTo>
                      <a:cubicBezTo>
                        <a:pt x="148" y="39"/>
                        <a:pt x="148" y="39"/>
                        <a:pt x="148" y="39"/>
                      </a:cubicBezTo>
                      <a:close/>
                      <a:moveTo>
                        <a:pt x="145" y="38"/>
                      </a:moveTo>
                      <a:cubicBezTo>
                        <a:pt x="146" y="38"/>
                        <a:pt x="146" y="38"/>
                        <a:pt x="146" y="38"/>
                      </a:cubicBezTo>
                      <a:cubicBezTo>
                        <a:pt x="146" y="38"/>
                        <a:pt x="146" y="38"/>
                        <a:pt x="146" y="38"/>
                      </a:cubicBezTo>
                      <a:cubicBezTo>
                        <a:pt x="147" y="38"/>
                        <a:pt x="147" y="38"/>
                        <a:pt x="147" y="38"/>
                      </a:cubicBezTo>
                      <a:cubicBezTo>
                        <a:pt x="149" y="38"/>
                        <a:pt x="149" y="38"/>
                        <a:pt x="149" y="38"/>
                      </a:cubicBezTo>
                      <a:cubicBezTo>
                        <a:pt x="150" y="38"/>
                        <a:pt x="150" y="38"/>
                        <a:pt x="150" y="38"/>
                      </a:cubicBezTo>
                      <a:cubicBezTo>
                        <a:pt x="149" y="39"/>
                        <a:pt x="149" y="39"/>
                        <a:pt x="149" y="39"/>
                      </a:cubicBezTo>
                      <a:cubicBezTo>
                        <a:pt x="146" y="39"/>
                        <a:pt x="146" y="39"/>
                        <a:pt x="146" y="39"/>
                      </a:cubicBezTo>
                      <a:cubicBezTo>
                        <a:pt x="145" y="39"/>
                        <a:pt x="145" y="39"/>
                        <a:pt x="145" y="39"/>
                      </a:cubicBezTo>
                      <a:cubicBezTo>
                        <a:pt x="145" y="39"/>
                        <a:pt x="145" y="39"/>
                        <a:pt x="145" y="39"/>
                      </a:cubicBezTo>
                      <a:cubicBezTo>
                        <a:pt x="145" y="38"/>
                        <a:pt x="145" y="38"/>
                        <a:pt x="145" y="38"/>
                      </a:cubicBezTo>
                      <a:close/>
                      <a:moveTo>
                        <a:pt x="140" y="38"/>
                      </a:moveTo>
                      <a:cubicBezTo>
                        <a:pt x="141" y="38"/>
                        <a:pt x="141" y="38"/>
                        <a:pt x="141" y="38"/>
                      </a:cubicBezTo>
                      <a:cubicBezTo>
                        <a:pt x="141" y="38"/>
                        <a:pt x="141" y="38"/>
                        <a:pt x="141" y="38"/>
                      </a:cubicBezTo>
                      <a:cubicBezTo>
                        <a:pt x="142" y="38"/>
                        <a:pt x="142" y="38"/>
                        <a:pt x="142" y="38"/>
                      </a:cubicBezTo>
                      <a:cubicBezTo>
                        <a:pt x="143" y="38"/>
                        <a:pt x="143" y="38"/>
                        <a:pt x="143" y="38"/>
                      </a:cubicBezTo>
                      <a:cubicBezTo>
                        <a:pt x="143" y="38"/>
                        <a:pt x="143" y="38"/>
                        <a:pt x="143" y="38"/>
                      </a:cubicBezTo>
                      <a:cubicBezTo>
                        <a:pt x="144" y="38"/>
                        <a:pt x="144" y="38"/>
                        <a:pt x="144" y="38"/>
                      </a:cubicBezTo>
                      <a:cubicBezTo>
                        <a:pt x="145" y="38"/>
                        <a:pt x="145" y="38"/>
                        <a:pt x="145" y="38"/>
                      </a:cubicBezTo>
                      <a:cubicBezTo>
                        <a:pt x="145" y="39"/>
                        <a:pt x="145" y="39"/>
                        <a:pt x="145" y="39"/>
                      </a:cubicBezTo>
                      <a:cubicBezTo>
                        <a:pt x="144" y="39"/>
                        <a:pt x="144" y="39"/>
                        <a:pt x="144" y="39"/>
                      </a:cubicBezTo>
                      <a:cubicBezTo>
                        <a:pt x="143" y="39"/>
                        <a:pt x="143" y="39"/>
                        <a:pt x="143" y="39"/>
                      </a:cubicBezTo>
                      <a:cubicBezTo>
                        <a:pt x="142" y="39"/>
                        <a:pt x="142" y="39"/>
                        <a:pt x="142" y="39"/>
                      </a:cubicBezTo>
                      <a:cubicBezTo>
                        <a:pt x="141" y="39"/>
                        <a:pt x="141" y="39"/>
                        <a:pt x="141" y="39"/>
                      </a:cubicBezTo>
                      <a:cubicBezTo>
                        <a:pt x="141" y="39"/>
                        <a:pt x="141" y="39"/>
                        <a:pt x="141" y="39"/>
                      </a:cubicBezTo>
                      <a:cubicBezTo>
                        <a:pt x="140" y="39"/>
                        <a:pt x="140" y="39"/>
                        <a:pt x="140" y="39"/>
                      </a:cubicBezTo>
                      <a:cubicBezTo>
                        <a:pt x="140" y="38"/>
                        <a:pt x="140" y="38"/>
                        <a:pt x="140" y="38"/>
                      </a:cubicBezTo>
                      <a:close/>
                      <a:moveTo>
                        <a:pt x="132" y="54"/>
                      </a:moveTo>
                      <a:cubicBezTo>
                        <a:pt x="133" y="53"/>
                        <a:pt x="133" y="53"/>
                        <a:pt x="133" y="53"/>
                      </a:cubicBezTo>
                      <a:cubicBezTo>
                        <a:pt x="133" y="52"/>
                        <a:pt x="133" y="52"/>
                        <a:pt x="133" y="52"/>
                      </a:cubicBezTo>
                      <a:cubicBezTo>
                        <a:pt x="133" y="50"/>
                        <a:pt x="133" y="50"/>
                        <a:pt x="133" y="50"/>
                      </a:cubicBezTo>
                      <a:cubicBezTo>
                        <a:pt x="134" y="50"/>
                        <a:pt x="134" y="50"/>
                        <a:pt x="134" y="50"/>
                      </a:cubicBezTo>
                      <a:cubicBezTo>
                        <a:pt x="134" y="50"/>
                        <a:pt x="134" y="50"/>
                        <a:pt x="134" y="50"/>
                      </a:cubicBezTo>
                      <a:cubicBezTo>
                        <a:pt x="134" y="51"/>
                        <a:pt x="134" y="51"/>
                        <a:pt x="134" y="51"/>
                      </a:cubicBezTo>
                      <a:cubicBezTo>
                        <a:pt x="135" y="51"/>
                        <a:pt x="135" y="51"/>
                        <a:pt x="135" y="51"/>
                      </a:cubicBezTo>
                      <a:cubicBezTo>
                        <a:pt x="135" y="52"/>
                        <a:pt x="135" y="52"/>
                        <a:pt x="135" y="52"/>
                      </a:cubicBezTo>
                      <a:cubicBezTo>
                        <a:pt x="134" y="51"/>
                        <a:pt x="134" y="51"/>
                        <a:pt x="134" y="51"/>
                      </a:cubicBezTo>
                      <a:cubicBezTo>
                        <a:pt x="134" y="52"/>
                        <a:pt x="134" y="52"/>
                        <a:pt x="134" y="52"/>
                      </a:cubicBezTo>
                      <a:cubicBezTo>
                        <a:pt x="134" y="52"/>
                        <a:pt x="134" y="52"/>
                        <a:pt x="134" y="52"/>
                      </a:cubicBezTo>
                      <a:cubicBezTo>
                        <a:pt x="133" y="52"/>
                        <a:pt x="133" y="52"/>
                        <a:pt x="133" y="52"/>
                      </a:cubicBezTo>
                      <a:cubicBezTo>
                        <a:pt x="133" y="53"/>
                        <a:pt x="133" y="53"/>
                        <a:pt x="133" y="53"/>
                      </a:cubicBezTo>
                      <a:cubicBezTo>
                        <a:pt x="134" y="53"/>
                        <a:pt x="134" y="53"/>
                        <a:pt x="134" y="53"/>
                      </a:cubicBezTo>
                      <a:cubicBezTo>
                        <a:pt x="134" y="54"/>
                        <a:pt x="134" y="54"/>
                        <a:pt x="134" y="54"/>
                      </a:cubicBezTo>
                      <a:cubicBezTo>
                        <a:pt x="134" y="54"/>
                        <a:pt x="134" y="54"/>
                        <a:pt x="134" y="54"/>
                      </a:cubicBezTo>
                      <a:cubicBezTo>
                        <a:pt x="133" y="54"/>
                        <a:pt x="133" y="54"/>
                        <a:pt x="133" y="54"/>
                      </a:cubicBezTo>
                      <a:cubicBezTo>
                        <a:pt x="133" y="55"/>
                        <a:pt x="133" y="55"/>
                        <a:pt x="133" y="55"/>
                      </a:cubicBezTo>
                      <a:cubicBezTo>
                        <a:pt x="132" y="55"/>
                        <a:pt x="132" y="55"/>
                        <a:pt x="132" y="55"/>
                      </a:cubicBezTo>
                      <a:cubicBezTo>
                        <a:pt x="132" y="55"/>
                        <a:pt x="132" y="55"/>
                        <a:pt x="132" y="55"/>
                      </a:cubicBezTo>
                      <a:cubicBezTo>
                        <a:pt x="132" y="54"/>
                        <a:pt x="132" y="54"/>
                        <a:pt x="132" y="54"/>
                      </a:cubicBezTo>
                      <a:close/>
                      <a:moveTo>
                        <a:pt x="130" y="53"/>
                      </a:moveTo>
                      <a:cubicBezTo>
                        <a:pt x="130" y="53"/>
                        <a:pt x="130" y="54"/>
                        <a:pt x="130" y="54"/>
                      </a:cubicBezTo>
                      <a:cubicBezTo>
                        <a:pt x="130" y="54"/>
                        <a:pt x="130" y="54"/>
                        <a:pt x="130" y="54"/>
                      </a:cubicBezTo>
                      <a:cubicBezTo>
                        <a:pt x="131" y="54"/>
                        <a:pt x="131" y="54"/>
                        <a:pt x="131" y="54"/>
                      </a:cubicBezTo>
                      <a:cubicBezTo>
                        <a:pt x="131" y="54"/>
                        <a:pt x="131" y="54"/>
                        <a:pt x="131" y="54"/>
                      </a:cubicBezTo>
                      <a:cubicBezTo>
                        <a:pt x="131" y="54"/>
                        <a:pt x="131" y="54"/>
                        <a:pt x="131" y="54"/>
                      </a:cubicBezTo>
                      <a:cubicBezTo>
                        <a:pt x="131" y="53"/>
                        <a:pt x="131" y="53"/>
                        <a:pt x="131" y="53"/>
                      </a:cubicBezTo>
                      <a:cubicBezTo>
                        <a:pt x="132" y="52"/>
                        <a:pt x="132" y="52"/>
                        <a:pt x="132" y="52"/>
                      </a:cubicBezTo>
                      <a:cubicBezTo>
                        <a:pt x="132" y="52"/>
                        <a:pt x="132" y="52"/>
                        <a:pt x="132" y="52"/>
                      </a:cubicBezTo>
                      <a:cubicBezTo>
                        <a:pt x="132" y="51"/>
                        <a:pt x="132" y="51"/>
                        <a:pt x="132" y="51"/>
                      </a:cubicBezTo>
                      <a:cubicBezTo>
                        <a:pt x="131" y="51"/>
                        <a:pt x="131" y="51"/>
                        <a:pt x="131" y="51"/>
                      </a:cubicBezTo>
                      <a:cubicBezTo>
                        <a:pt x="130" y="52"/>
                        <a:pt x="130" y="52"/>
                        <a:pt x="130" y="52"/>
                      </a:cubicBezTo>
                      <a:cubicBezTo>
                        <a:pt x="130" y="53"/>
                        <a:pt x="130" y="53"/>
                        <a:pt x="130" y="53"/>
                      </a:cubicBezTo>
                      <a:cubicBezTo>
                        <a:pt x="130" y="53"/>
                        <a:pt x="130" y="53"/>
                        <a:pt x="130" y="53"/>
                      </a:cubicBezTo>
                      <a:close/>
                      <a:moveTo>
                        <a:pt x="128" y="53"/>
                      </a:moveTo>
                      <a:cubicBezTo>
                        <a:pt x="128" y="53"/>
                        <a:pt x="128" y="53"/>
                        <a:pt x="128" y="53"/>
                      </a:cubicBezTo>
                      <a:cubicBezTo>
                        <a:pt x="127" y="54"/>
                        <a:pt x="127" y="54"/>
                        <a:pt x="127" y="54"/>
                      </a:cubicBezTo>
                      <a:cubicBezTo>
                        <a:pt x="128" y="55"/>
                        <a:pt x="128" y="55"/>
                        <a:pt x="128" y="55"/>
                      </a:cubicBezTo>
                      <a:cubicBezTo>
                        <a:pt x="128" y="55"/>
                        <a:pt x="128" y="55"/>
                        <a:pt x="128" y="55"/>
                      </a:cubicBezTo>
                      <a:cubicBezTo>
                        <a:pt x="129" y="54"/>
                        <a:pt x="129" y="54"/>
                        <a:pt x="129" y="54"/>
                      </a:cubicBezTo>
                      <a:cubicBezTo>
                        <a:pt x="128" y="53"/>
                        <a:pt x="128" y="53"/>
                        <a:pt x="128" y="53"/>
                      </a:cubicBezTo>
                      <a:cubicBezTo>
                        <a:pt x="128" y="53"/>
                        <a:pt x="128" y="53"/>
                        <a:pt x="128" y="53"/>
                      </a:cubicBezTo>
                      <a:cubicBezTo>
                        <a:pt x="128" y="53"/>
                        <a:pt x="128" y="53"/>
                        <a:pt x="128" y="53"/>
                      </a:cubicBezTo>
                      <a:close/>
                      <a:moveTo>
                        <a:pt x="135" y="39"/>
                      </a:moveTo>
                      <a:cubicBezTo>
                        <a:pt x="134" y="39"/>
                        <a:pt x="134" y="39"/>
                        <a:pt x="134" y="39"/>
                      </a:cubicBezTo>
                      <a:cubicBezTo>
                        <a:pt x="134" y="39"/>
                        <a:pt x="134" y="39"/>
                        <a:pt x="134" y="39"/>
                      </a:cubicBezTo>
                      <a:cubicBezTo>
                        <a:pt x="134" y="39"/>
                        <a:pt x="135" y="39"/>
                        <a:pt x="135" y="39"/>
                      </a:cubicBezTo>
                      <a:close/>
                      <a:moveTo>
                        <a:pt x="136" y="38"/>
                      </a:moveTo>
                      <a:cubicBezTo>
                        <a:pt x="135" y="38"/>
                        <a:pt x="135" y="38"/>
                        <a:pt x="135" y="38"/>
                      </a:cubicBezTo>
                      <a:cubicBezTo>
                        <a:pt x="136" y="39"/>
                        <a:pt x="136" y="39"/>
                        <a:pt x="136" y="39"/>
                      </a:cubicBezTo>
                      <a:cubicBezTo>
                        <a:pt x="136" y="38"/>
                        <a:pt x="136" y="38"/>
                        <a:pt x="136" y="38"/>
                      </a:cubicBezTo>
                      <a:close/>
                      <a:moveTo>
                        <a:pt x="137" y="37"/>
                      </a:moveTo>
                      <a:cubicBezTo>
                        <a:pt x="136" y="38"/>
                        <a:pt x="136" y="38"/>
                        <a:pt x="136" y="38"/>
                      </a:cubicBezTo>
                      <a:cubicBezTo>
                        <a:pt x="137" y="38"/>
                        <a:pt x="137" y="38"/>
                        <a:pt x="137" y="38"/>
                      </a:cubicBezTo>
                      <a:cubicBezTo>
                        <a:pt x="137" y="37"/>
                        <a:pt x="137" y="37"/>
                        <a:pt x="137" y="37"/>
                      </a:cubicBezTo>
                      <a:close/>
                      <a:moveTo>
                        <a:pt x="133" y="36"/>
                      </a:moveTo>
                      <a:cubicBezTo>
                        <a:pt x="134" y="36"/>
                        <a:pt x="134" y="36"/>
                        <a:pt x="134" y="36"/>
                      </a:cubicBezTo>
                      <a:cubicBezTo>
                        <a:pt x="135" y="36"/>
                        <a:pt x="135" y="36"/>
                        <a:pt x="135" y="36"/>
                      </a:cubicBezTo>
                      <a:cubicBezTo>
                        <a:pt x="135" y="36"/>
                        <a:pt x="135" y="36"/>
                        <a:pt x="135" y="36"/>
                      </a:cubicBezTo>
                      <a:cubicBezTo>
                        <a:pt x="135" y="37"/>
                        <a:pt x="135" y="37"/>
                        <a:pt x="135" y="37"/>
                      </a:cubicBezTo>
                      <a:cubicBezTo>
                        <a:pt x="136" y="36"/>
                        <a:pt x="136" y="36"/>
                        <a:pt x="136" y="36"/>
                      </a:cubicBezTo>
                      <a:cubicBezTo>
                        <a:pt x="136" y="36"/>
                        <a:pt x="136" y="36"/>
                        <a:pt x="136" y="36"/>
                      </a:cubicBezTo>
                      <a:cubicBezTo>
                        <a:pt x="137" y="36"/>
                        <a:pt x="137" y="36"/>
                        <a:pt x="137" y="36"/>
                      </a:cubicBezTo>
                      <a:cubicBezTo>
                        <a:pt x="137" y="37"/>
                        <a:pt x="137" y="37"/>
                        <a:pt x="137" y="37"/>
                      </a:cubicBezTo>
                      <a:cubicBezTo>
                        <a:pt x="136" y="37"/>
                        <a:pt x="136" y="37"/>
                        <a:pt x="136" y="37"/>
                      </a:cubicBezTo>
                      <a:cubicBezTo>
                        <a:pt x="135" y="37"/>
                        <a:pt x="135" y="37"/>
                        <a:pt x="135" y="37"/>
                      </a:cubicBezTo>
                      <a:cubicBezTo>
                        <a:pt x="135" y="38"/>
                        <a:pt x="135" y="38"/>
                        <a:pt x="135" y="38"/>
                      </a:cubicBezTo>
                      <a:cubicBezTo>
                        <a:pt x="134" y="37"/>
                        <a:pt x="134" y="37"/>
                        <a:pt x="134" y="37"/>
                      </a:cubicBezTo>
                      <a:cubicBezTo>
                        <a:pt x="134" y="38"/>
                        <a:pt x="134" y="38"/>
                        <a:pt x="134" y="38"/>
                      </a:cubicBezTo>
                      <a:cubicBezTo>
                        <a:pt x="133" y="37"/>
                        <a:pt x="133" y="37"/>
                        <a:pt x="133" y="37"/>
                      </a:cubicBezTo>
                      <a:cubicBezTo>
                        <a:pt x="133" y="36"/>
                        <a:pt x="133" y="36"/>
                        <a:pt x="133" y="36"/>
                      </a:cubicBezTo>
                      <a:close/>
                      <a:moveTo>
                        <a:pt x="128" y="32"/>
                      </a:moveTo>
                      <a:cubicBezTo>
                        <a:pt x="129" y="32"/>
                        <a:pt x="129" y="32"/>
                        <a:pt x="129" y="32"/>
                      </a:cubicBezTo>
                      <a:cubicBezTo>
                        <a:pt x="129" y="32"/>
                        <a:pt x="129" y="32"/>
                        <a:pt x="129" y="32"/>
                      </a:cubicBezTo>
                      <a:cubicBezTo>
                        <a:pt x="129" y="32"/>
                        <a:pt x="128" y="32"/>
                        <a:pt x="128" y="32"/>
                      </a:cubicBezTo>
                      <a:close/>
                      <a:moveTo>
                        <a:pt x="127" y="32"/>
                      </a:moveTo>
                      <a:cubicBezTo>
                        <a:pt x="128" y="32"/>
                        <a:pt x="128" y="32"/>
                        <a:pt x="128" y="32"/>
                      </a:cubicBezTo>
                      <a:cubicBezTo>
                        <a:pt x="128" y="33"/>
                        <a:pt x="128" y="33"/>
                        <a:pt x="128" y="33"/>
                      </a:cubicBezTo>
                      <a:cubicBezTo>
                        <a:pt x="127" y="33"/>
                        <a:pt x="127" y="33"/>
                        <a:pt x="127" y="33"/>
                      </a:cubicBezTo>
                      <a:cubicBezTo>
                        <a:pt x="127" y="32"/>
                        <a:pt x="127" y="32"/>
                        <a:pt x="127" y="32"/>
                      </a:cubicBezTo>
                      <a:close/>
                      <a:moveTo>
                        <a:pt x="121" y="28"/>
                      </a:moveTo>
                      <a:cubicBezTo>
                        <a:pt x="122" y="28"/>
                        <a:pt x="122" y="28"/>
                        <a:pt x="122" y="28"/>
                      </a:cubicBezTo>
                      <a:cubicBezTo>
                        <a:pt x="123" y="29"/>
                        <a:pt x="123" y="29"/>
                        <a:pt x="123" y="29"/>
                      </a:cubicBezTo>
                      <a:cubicBezTo>
                        <a:pt x="125" y="29"/>
                        <a:pt x="125" y="29"/>
                        <a:pt x="125" y="29"/>
                      </a:cubicBezTo>
                      <a:cubicBezTo>
                        <a:pt x="127" y="28"/>
                        <a:pt x="127" y="28"/>
                        <a:pt x="127" y="28"/>
                      </a:cubicBezTo>
                      <a:cubicBezTo>
                        <a:pt x="128" y="28"/>
                        <a:pt x="128" y="28"/>
                        <a:pt x="128" y="28"/>
                      </a:cubicBezTo>
                      <a:cubicBezTo>
                        <a:pt x="128" y="29"/>
                        <a:pt x="128" y="29"/>
                        <a:pt x="128" y="29"/>
                      </a:cubicBezTo>
                      <a:cubicBezTo>
                        <a:pt x="129" y="29"/>
                        <a:pt x="129" y="29"/>
                        <a:pt x="129" y="29"/>
                      </a:cubicBezTo>
                      <a:cubicBezTo>
                        <a:pt x="130" y="28"/>
                        <a:pt x="130" y="28"/>
                        <a:pt x="130" y="28"/>
                      </a:cubicBezTo>
                      <a:cubicBezTo>
                        <a:pt x="132" y="28"/>
                        <a:pt x="132" y="28"/>
                        <a:pt x="132" y="28"/>
                      </a:cubicBezTo>
                      <a:cubicBezTo>
                        <a:pt x="133" y="28"/>
                        <a:pt x="133" y="28"/>
                        <a:pt x="133" y="28"/>
                      </a:cubicBezTo>
                      <a:cubicBezTo>
                        <a:pt x="133" y="28"/>
                        <a:pt x="133" y="28"/>
                        <a:pt x="133" y="28"/>
                      </a:cubicBezTo>
                      <a:cubicBezTo>
                        <a:pt x="134" y="28"/>
                        <a:pt x="134" y="28"/>
                        <a:pt x="134" y="28"/>
                      </a:cubicBezTo>
                      <a:cubicBezTo>
                        <a:pt x="135" y="29"/>
                        <a:pt x="135" y="29"/>
                        <a:pt x="135" y="29"/>
                      </a:cubicBezTo>
                      <a:cubicBezTo>
                        <a:pt x="135" y="29"/>
                        <a:pt x="135" y="29"/>
                        <a:pt x="135" y="29"/>
                      </a:cubicBezTo>
                      <a:cubicBezTo>
                        <a:pt x="136" y="29"/>
                        <a:pt x="136" y="29"/>
                        <a:pt x="136" y="29"/>
                      </a:cubicBezTo>
                      <a:cubicBezTo>
                        <a:pt x="140" y="29"/>
                        <a:pt x="140" y="29"/>
                        <a:pt x="140" y="29"/>
                      </a:cubicBezTo>
                      <a:cubicBezTo>
                        <a:pt x="141" y="28"/>
                        <a:pt x="141" y="28"/>
                        <a:pt x="141" y="28"/>
                      </a:cubicBezTo>
                      <a:cubicBezTo>
                        <a:pt x="142" y="27"/>
                        <a:pt x="142" y="27"/>
                        <a:pt x="142" y="27"/>
                      </a:cubicBezTo>
                      <a:cubicBezTo>
                        <a:pt x="142" y="27"/>
                        <a:pt x="142" y="27"/>
                        <a:pt x="142" y="27"/>
                      </a:cubicBezTo>
                      <a:cubicBezTo>
                        <a:pt x="143" y="26"/>
                        <a:pt x="143" y="26"/>
                        <a:pt x="143" y="26"/>
                      </a:cubicBezTo>
                      <a:cubicBezTo>
                        <a:pt x="144" y="26"/>
                        <a:pt x="144" y="26"/>
                        <a:pt x="144" y="26"/>
                      </a:cubicBezTo>
                      <a:cubicBezTo>
                        <a:pt x="144" y="25"/>
                        <a:pt x="144" y="25"/>
                        <a:pt x="144" y="25"/>
                      </a:cubicBezTo>
                      <a:cubicBezTo>
                        <a:pt x="144" y="24"/>
                        <a:pt x="144" y="24"/>
                        <a:pt x="144" y="24"/>
                      </a:cubicBezTo>
                      <a:cubicBezTo>
                        <a:pt x="145" y="24"/>
                        <a:pt x="145" y="24"/>
                        <a:pt x="145" y="24"/>
                      </a:cubicBezTo>
                      <a:cubicBezTo>
                        <a:pt x="144" y="24"/>
                        <a:pt x="144" y="24"/>
                        <a:pt x="144" y="24"/>
                      </a:cubicBezTo>
                      <a:cubicBezTo>
                        <a:pt x="144" y="23"/>
                        <a:pt x="144" y="23"/>
                        <a:pt x="144" y="23"/>
                      </a:cubicBezTo>
                      <a:cubicBezTo>
                        <a:pt x="143" y="23"/>
                        <a:pt x="143" y="23"/>
                        <a:pt x="143" y="23"/>
                      </a:cubicBezTo>
                      <a:cubicBezTo>
                        <a:pt x="142" y="23"/>
                        <a:pt x="142" y="23"/>
                        <a:pt x="142" y="23"/>
                      </a:cubicBezTo>
                      <a:cubicBezTo>
                        <a:pt x="142" y="24"/>
                        <a:pt x="142" y="24"/>
                        <a:pt x="142" y="24"/>
                      </a:cubicBezTo>
                      <a:cubicBezTo>
                        <a:pt x="141" y="25"/>
                        <a:pt x="141" y="25"/>
                        <a:pt x="141" y="25"/>
                      </a:cubicBezTo>
                      <a:cubicBezTo>
                        <a:pt x="141" y="25"/>
                        <a:pt x="141" y="25"/>
                        <a:pt x="141" y="25"/>
                      </a:cubicBezTo>
                      <a:cubicBezTo>
                        <a:pt x="140" y="26"/>
                        <a:pt x="140" y="26"/>
                        <a:pt x="140" y="26"/>
                      </a:cubicBezTo>
                      <a:cubicBezTo>
                        <a:pt x="139" y="26"/>
                        <a:pt x="139" y="26"/>
                        <a:pt x="139" y="26"/>
                      </a:cubicBezTo>
                      <a:cubicBezTo>
                        <a:pt x="139" y="26"/>
                        <a:pt x="139" y="26"/>
                        <a:pt x="139" y="26"/>
                      </a:cubicBezTo>
                      <a:cubicBezTo>
                        <a:pt x="138" y="27"/>
                        <a:pt x="138" y="27"/>
                        <a:pt x="138" y="27"/>
                      </a:cubicBezTo>
                      <a:cubicBezTo>
                        <a:pt x="135" y="26"/>
                        <a:pt x="135" y="26"/>
                        <a:pt x="135" y="26"/>
                      </a:cubicBezTo>
                      <a:cubicBezTo>
                        <a:pt x="133" y="26"/>
                        <a:pt x="133" y="26"/>
                        <a:pt x="133" y="26"/>
                      </a:cubicBezTo>
                      <a:cubicBezTo>
                        <a:pt x="133" y="27"/>
                        <a:pt x="133" y="27"/>
                        <a:pt x="133" y="27"/>
                      </a:cubicBezTo>
                      <a:cubicBezTo>
                        <a:pt x="133" y="27"/>
                        <a:pt x="133" y="27"/>
                        <a:pt x="133" y="27"/>
                      </a:cubicBezTo>
                      <a:cubicBezTo>
                        <a:pt x="132" y="26"/>
                        <a:pt x="132" y="26"/>
                        <a:pt x="132" y="26"/>
                      </a:cubicBezTo>
                      <a:cubicBezTo>
                        <a:pt x="131" y="26"/>
                        <a:pt x="131" y="26"/>
                        <a:pt x="131" y="26"/>
                      </a:cubicBezTo>
                      <a:cubicBezTo>
                        <a:pt x="130" y="26"/>
                        <a:pt x="130" y="26"/>
                        <a:pt x="130" y="26"/>
                      </a:cubicBezTo>
                      <a:cubicBezTo>
                        <a:pt x="129" y="26"/>
                        <a:pt x="129" y="26"/>
                        <a:pt x="129" y="26"/>
                      </a:cubicBezTo>
                      <a:cubicBezTo>
                        <a:pt x="128" y="25"/>
                        <a:pt x="128" y="25"/>
                        <a:pt x="128" y="25"/>
                      </a:cubicBezTo>
                      <a:cubicBezTo>
                        <a:pt x="127" y="26"/>
                        <a:pt x="127" y="26"/>
                        <a:pt x="127" y="26"/>
                      </a:cubicBezTo>
                      <a:cubicBezTo>
                        <a:pt x="127" y="25"/>
                        <a:pt x="127" y="25"/>
                        <a:pt x="127" y="25"/>
                      </a:cubicBezTo>
                      <a:cubicBezTo>
                        <a:pt x="126" y="25"/>
                        <a:pt x="126" y="25"/>
                        <a:pt x="126" y="25"/>
                      </a:cubicBezTo>
                      <a:cubicBezTo>
                        <a:pt x="124" y="24"/>
                        <a:pt x="124" y="24"/>
                        <a:pt x="124" y="24"/>
                      </a:cubicBezTo>
                      <a:cubicBezTo>
                        <a:pt x="123" y="24"/>
                        <a:pt x="123" y="24"/>
                        <a:pt x="123" y="24"/>
                      </a:cubicBezTo>
                      <a:cubicBezTo>
                        <a:pt x="123" y="25"/>
                        <a:pt x="123" y="25"/>
                        <a:pt x="123" y="25"/>
                      </a:cubicBezTo>
                      <a:cubicBezTo>
                        <a:pt x="123" y="26"/>
                        <a:pt x="123" y="26"/>
                        <a:pt x="123" y="26"/>
                      </a:cubicBezTo>
                      <a:cubicBezTo>
                        <a:pt x="122" y="27"/>
                        <a:pt x="122" y="27"/>
                        <a:pt x="122" y="27"/>
                      </a:cubicBezTo>
                      <a:cubicBezTo>
                        <a:pt x="122" y="27"/>
                        <a:pt x="122" y="27"/>
                        <a:pt x="122" y="27"/>
                      </a:cubicBezTo>
                      <a:cubicBezTo>
                        <a:pt x="120" y="27"/>
                        <a:pt x="120" y="27"/>
                        <a:pt x="120" y="27"/>
                      </a:cubicBezTo>
                      <a:cubicBezTo>
                        <a:pt x="119" y="27"/>
                        <a:pt x="119" y="27"/>
                        <a:pt x="119" y="27"/>
                      </a:cubicBezTo>
                      <a:cubicBezTo>
                        <a:pt x="119" y="27"/>
                        <a:pt x="119" y="27"/>
                        <a:pt x="119" y="27"/>
                      </a:cubicBezTo>
                      <a:cubicBezTo>
                        <a:pt x="119" y="28"/>
                        <a:pt x="119" y="28"/>
                        <a:pt x="119" y="28"/>
                      </a:cubicBezTo>
                      <a:cubicBezTo>
                        <a:pt x="118" y="29"/>
                        <a:pt x="118" y="29"/>
                        <a:pt x="118" y="29"/>
                      </a:cubicBezTo>
                      <a:cubicBezTo>
                        <a:pt x="118" y="30"/>
                        <a:pt x="118" y="30"/>
                        <a:pt x="118" y="30"/>
                      </a:cubicBezTo>
                      <a:cubicBezTo>
                        <a:pt x="118" y="31"/>
                        <a:pt x="118" y="31"/>
                        <a:pt x="118" y="31"/>
                      </a:cubicBezTo>
                      <a:cubicBezTo>
                        <a:pt x="118" y="32"/>
                        <a:pt x="118" y="32"/>
                        <a:pt x="118" y="32"/>
                      </a:cubicBezTo>
                      <a:cubicBezTo>
                        <a:pt x="118" y="33"/>
                        <a:pt x="118" y="33"/>
                        <a:pt x="118" y="33"/>
                      </a:cubicBezTo>
                      <a:cubicBezTo>
                        <a:pt x="118" y="34"/>
                        <a:pt x="118" y="34"/>
                        <a:pt x="118" y="34"/>
                      </a:cubicBezTo>
                      <a:cubicBezTo>
                        <a:pt x="118" y="35"/>
                        <a:pt x="118" y="35"/>
                        <a:pt x="118" y="35"/>
                      </a:cubicBezTo>
                      <a:cubicBezTo>
                        <a:pt x="118" y="34"/>
                        <a:pt x="118" y="34"/>
                        <a:pt x="118" y="34"/>
                      </a:cubicBezTo>
                      <a:cubicBezTo>
                        <a:pt x="118" y="33"/>
                        <a:pt x="118" y="33"/>
                        <a:pt x="118" y="33"/>
                      </a:cubicBezTo>
                      <a:cubicBezTo>
                        <a:pt x="117" y="34"/>
                        <a:pt x="117" y="34"/>
                        <a:pt x="117" y="34"/>
                      </a:cubicBezTo>
                      <a:cubicBezTo>
                        <a:pt x="116" y="34"/>
                        <a:pt x="116" y="34"/>
                        <a:pt x="116" y="34"/>
                      </a:cubicBezTo>
                      <a:cubicBezTo>
                        <a:pt x="116" y="35"/>
                        <a:pt x="116" y="35"/>
                        <a:pt x="116" y="35"/>
                      </a:cubicBezTo>
                      <a:cubicBezTo>
                        <a:pt x="115" y="35"/>
                        <a:pt x="115" y="35"/>
                        <a:pt x="115" y="35"/>
                      </a:cubicBezTo>
                      <a:cubicBezTo>
                        <a:pt x="116" y="36"/>
                        <a:pt x="116" y="36"/>
                        <a:pt x="116" y="36"/>
                      </a:cubicBezTo>
                      <a:cubicBezTo>
                        <a:pt x="115" y="37"/>
                        <a:pt x="115" y="37"/>
                        <a:pt x="115" y="37"/>
                      </a:cubicBezTo>
                      <a:cubicBezTo>
                        <a:pt x="116" y="39"/>
                        <a:pt x="116" y="39"/>
                        <a:pt x="116" y="39"/>
                      </a:cubicBezTo>
                      <a:cubicBezTo>
                        <a:pt x="115" y="39"/>
                        <a:pt x="115" y="39"/>
                        <a:pt x="115" y="39"/>
                      </a:cubicBezTo>
                      <a:cubicBezTo>
                        <a:pt x="115" y="40"/>
                        <a:pt x="115" y="40"/>
                        <a:pt x="115" y="40"/>
                      </a:cubicBezTo>
                      <a:cubicBezTo>
                        <a:pt x="115" y="40"/>
                        <a:pt x="115" y="40"/>
                        <a:pt x="115" y="40"/>
                      </a:cubicBezTo>
                      <a:cubicBezTo>
                        <a:pt x="115" y="41"/>
                        <a:pt x="115" y="41"/>
                        <a:pt x="115" y="41"/>
                      </a:cubicBezTo>
                      <a:cubicBezTo>
                        <a:pt x="113" y="42"/>
                        <a:pt x="113" y="42"/>
                        <a:pt x="113" y="42"/>
                      </a:cubicBezTo>
                      <a:cubicBezTo>
                        <a:pt x="113" y="43"/>
                        <a:pt x="113" y="43"/>
                        <a:pt x="113" y="43"/>
                      </a:cubicBezTo>
                      <a:cubicBezTo>
                        <a:pt x="113" y="44"/>
                        <a:pt x="113" y="44"/>
                        <a:pt x="113" y="44"/>
                      </a:cubicBezTo>
                      <a:cubicBezTo>
                        <a:pt x="113" y="44"/>
                        <a:pt x="113" y="44"/>
                        <a:pt x="113" y="44"/>
                      </a:cubicBezTo>
                      <a:cubicBezTo>
                        <a:pt x="113" y="46"/>
                        <a:pt x="113" y="46"/>
                        <a:pt x="113" y="46"/>
                      </a:cubicBezTo>
                      <a:cubicBezTo>
                        <a:pt x="114" y="46"/>
                        <a:pt x="114" y="46"/>
                        <a:pt x="114" y="46"/>
                      </a:cubicBezTo>
                      <a:cubicBezTo>
                        <a:pt x="114" y="46"/>
                        <a:pt x="114" y="46"/>
                        <a:pt x="114" y="46"/>
                      </a:cubicBezTo>
                      <a:cubicBezTo>
                        <a:pt x="115" y="46"/>
                        <a:pt x="115" y="46"/>
                        <a:pt x="115" y="46"/>
                      </a:cubicBezTo>
                      <a:cubicBezTo>
                        <a:pt x="116" y="46"/>
                        <a:pt x="116" y="46"/>
                        <a:pt x="116" y="46"/>
                      </a:cubicBezTo>
                      <a:cubicBezTo>
                        <a:pt x="116" y="46"/>
                        <a:pt x="116" y="46"/>
                        <a:pt x="116" y="46"/>
                      </a:cubicBezTo>
                      <a:cubicBezTo>
                        <a:pt x="116" y="47"/>
                        <a:pt x="116" y="47"/>
                        <a:pt x="116" y="47"/>
                      </a:cubicBezTo>
                      <a:cubicBezTo>
                        <a:pt x="117" y="49"/>
                        <a:pt x="117" y="49"/>
                        <a:pt x="117" y="49"/>
                      </a:cubicBezTo>
                      <a:cubicBezTo>
                        <a:pt x="117" y="50"/>
                        <a:pt x="117" y="50"/>
                        <a:pt x="117" y="50"/>
                      </a:cubicBezTo>
                      <a:cubicBezTo>
                        <a:pt x="117" y="51"/>
                        <a:pt x="117" y="51"/>
                        <a:pt x="117" y="51"/>
                      </a:cubicBezTo>
                      <a:cubicBezTo>
                        <a:pt x="116" y="52"/>
                        <a:pt x="116" y="52"/>
                        <a:pt x="116" y="52"/>
                      </a:cubicBezTo>
                      <a:cubicBezTo>
                        <a:pt x="116" y="53"/>
                        <a:pt x="116" y="53"/>
                        <a:pt x="116" y="53"/>
                      </a:cubicBezTo>
                      <a:cubicBezTo>
                        <a:pt x="116" y="55"/>
                        <a:pt x="116" y="55"/>
                        <a:pt x="116" y="55"/>
                      </a:cubicBezTo>
                      <a:cubicBezTo>
                        <a:pt x="116" y="55"/>
                        <a:pt x="116" y="55"/>
                        <a:pt x="116" y="55"/>
                      </a:cubicBezTo>
                      <a:cubicBezTo>
                        <a:pt x="117" y="55"/>
                        <a:pt x="117" y="55"/>
                        <a:pt x="117" y="55"/>
                      </a:cubicBezTo>
                      <a:cubicBezTo>
                        <a:pt x="118" y="55"/>
                        <a:pt x="118" y="55"/>
                        <a:pt x="118" y="55"/>
                      </a:cubicBezTo>
                      <a:cubicBezTo>
                        <a:pt x="118" y="55"/>
                        <a:pt x="118" y="55"/>
                        <a:pt x="118" y="55"/>
                      </a:cubicBezTo>
                      <a:cubicBezTo>
                        <a:pt x="119" y="55"/>
                        <a:pt x="119" y="55"/>
                        <a:pt x="119" y="55"/>
                      </a:cubicBezTo>
                      <a:cubicBezTo>
                        <a:pt x="120" y="55"/>
                        <a:pt x="120" y="55"/>
                        <a:pt x="120" y="55"/>
                      </a:cubicBezTo>
                      <a:cubicBezTo>
                        <a:pt x="121" y="55"/>
                        <a:pt x="121" y="55"/>
                        <a:pt x="121" y="55"/>
                      </a:cubicBezTo>
                      <a:cubicBezTo>
                        <a:pt x="121" y="55"/>
                        <a:pt x="121" y="55"/>
                        <a:pt x="121" y="55"/>
                      </a:cubicBezTo>
                      <a:cubicBezTo>
                        <a:pt x="121" y="54"/>
                        <a:pt x="121" y="54"/>
                        <a:pt x="121" y="54"/>
                      </a:cubicBezTo>
                      <a:cubicBezTo>
                        <a:pt x="120" y="53"/>
                        <a:pt x="120" y="53"/>
                        <a:pt x="120" y="53"/>
                      </a:cubicBezTo>
                      <a:cubicBezTo>
                        <a:pt x="120" y="52"/>
                        <a:pt x="120" y="52"/>
                        <a:pt x="120" y="52"/>
                      </a:cubicBezTo>
                      <a:cubicBezTo>
                        <a:pt x="121" y="51"/>
                        <a:pt x="121" y="51"/>
                        <a:pt x="121" y="51"/>
                      </a:cubicBezTo>
                      <a:cubicBezTo>
                        <a:pt x="121" y="50"/>
                        <a:pt x="121" y="50"/>
                        <a:pt x="121" y="50"/>
                      </a:cubicBezTo>
                      <a:cubicBezTo>
                        <a:pt x="121" y="49"/>
                        <a:pt x="121" y="49"/>
                        <a:pt x="121" y="49"/>
                      </a:cubicBezTo>
                      <a:cubicBezTo>
                        <a:pt x="120" y="48"/>
                        <a:pt x="120" y="48"/>
                        <a:pt x="120" y="48"/>
                      </a:cubicBezTo>
                      <a:cubicBezTo>
                        <a:pt x="121" y="47"/>
                        <a:pt x="121" y="47"/>
                        <a:pt x="121" y="47"/>
                      </a:cubicBezTo>
                      <a:cubicBezTo>
                        <a:pt x="121" y="46"/>
                        <a:pt x="121" y="46"/>
                        <a:pt x="121" y="46"/>
                      </a:cubicBezTo>
                      <a:cubicBezTo>
                        <a:pt x="121" y="45"/>
                        <a:pt x="121" y="45"/>
                        <a:pt x="121" y="45"/>
                      </a:cubicBezTo>
                      <a:cubicBezTo>
                        <a:pt x="121" y="44"/>
                        <a:pt x="121" y="44"/>
                        <a:pt x="121" y="44"/>
                      </a:cubicBezTo>
                      <a:cubicBezTo>
                        <a:pt x="121" y="44"/>
                        <a:pt x="121" y="44"/>
                        <a:pt x="121" y="44"/>
                      </a:cubicBezTo>
                      <a:cubicBezTo>
                        <a:pt x="122" y="43"/>
                        <a:pt x="122" y="43"/>
                        <a:pt x="122" y="43"/>
                      </a:cubicBezTo>
                      <a:cubicBezTo>
                        <a:pt x="122" y="42"/>
                        <a:pt x="122" y="42"/>
                        <a:pt x="122" y="42"/>
                      </a:cubicBezTo>
                      <a:cubicBezTo>
                        <a:pt x="123" y="42"/>
                        <a:pt x="123" y="42"/>
                        <a:pt x="123" y="42"/>
                      </a:cubicBezTo>
                      <a:cubicBezTo>
                        <a:pt x="124" y="43"/>
                        <a:pt x="124" y="43"/>
                        <a:pt x="124" y="43"/>
                      </a:cubicBezTo>
                      <a:cubicBezTo>
                        <a:pt x="124" y="43"/>
                        <a:pt x="124" y="43"/>
                        <a:pt x="124" y="43"/>
                      </a:cubicBezTo>
                      <a:cubicBezTo>
                        <a:pt x="124" y="44"/>
                        <a:pt x="124" y="44"/>
                        <a:pt x="124" y="44"/>
                      </a:cubicBezTo>
                      <a:cubicBezTo>
                        <a:pt x="124" y="45"/>
                        <a:pt x="124" y="45"/>
                        <a:pt x="124" y="45"/>
                      </a:cubicBezTo>
                      <a:cubicBezTo>
                        <a:pt x="124" y="45"/>
                        <a:pt x="124" y="45"/>
                        <a:pt x="124" y="45"/>
                      </a:cubicBezTo>
                      <a:cubicBezTo>
                        <a:pt x="123" y="46"/>
                        <a:pt x="123" y="46"/>
                        <a:pt x="123" y="46"/>
                      </a:cubicBezTo>
                      <a:cubicBezTo>
                        <a:pt x="124" y="47"/>
                        <a:pt x="124" y="47"/>
                        <a:pt x="124" y="47"/>
                      </a:cubicBezTo>
                      <a:cubicBezTo>
                        <a:pt x="124" y="47"/>
                        <a:pt x="124" y="47"/>
                        <a:pt x="124" y="47"/>
                      </a:cubicBezTo>
                      <a:cubicBezTo>
                        <a:pt x="125" y="48"/>
                        <a:pt x="125" y="48"/>
                        <a:pt x="125" y="48"/>
                      </a:cubicBezTo>
                      <a:cubicBezTo>
                        <a:pt x="126" y="48"/>
                        <a:pt x="126" y="48"/>
                        <a:pt x="126" y="48"/>
                      </a:cubicBezTo>
                      <a:cubicBezTo>
                        <a:pt x="126" y="49"/>
                        <a:pt x="126" y="49"/>
                        <a:pt x="126" y="49"/>
                      </a:cubicBezTo>
                      <a:cubicBezTo>
                        <a:pt x="126" y="49"/>
                        <a:pt x="126" y="49"/>
                        <a:pt x="126" y="49"/>
                      </a:cubicBezTo>
                      <a:cubicBezTo>
                        <a:pt x="126" y="51"/>
                        <a:pt x="126" y="51"/>
                        <a:pt x="126" y="51"/>
                      </a:cubicBezTo>
                      <a:cubicBezTo>
                        <a:pt x="126" y="52"/>
                        <a:pt x="126" y="52"/>
                        <a:pt x="126" y="52"/>
                      </a:cubicBezTo>
                      <a:cubicBezTo>
                        <a:pt x="127" y="52"/>
                        <a:pt x="127" y="52"/>
                        <a:pt x="127" y="52"/>
                      </a:cubicBezTo>
                      <a:cubicBezTo>
                        <a:pt x="127" y="52"/>
                        <a:pt x="127" y="52"/>
                        <a:pt x="127" y="52"/>
                      </a:cubicBezTo>
                      <a:cubicBezTo>
                        <a:pt x="128" y="52"/>
                        <a:pt x="128" y="52"/>
                        <a:pt x="128" y="52"/>
                      </a:cubicBezTo>
                      <a:cubicBezTo>
                        <a:pt x="129" y="52"/>
                        <a:pt x="129" y="52"/>
                        <a:pt x="129" y="52"/>
                      </a:cubicBezTo>
                      <a:cubicBezTo>
                        <a:pt x="129" y="52"/>
                        <a:pt x="129" y="52"/>
                        <a:pt x="129" y="52"/>
                      </a:cubicBezTo>
                      <a:cubicBezTo>
                        <a:pt x="129" y="51"/>
                        <a:pt x="129" y="51"/>
                        <a:pt x="129" y="51"/>
                      </a:cubicBezTo>
                      <a:cubicBezTo>
                        <a:pt x="130" y="50"/>
                        <a:pt x="130" y="50"/>
                        <a:pt x="130" y="50"/>
                      </a:cubicBezTo>
                      <a:cubicBezTo>
                        <a:pt x="130" y="50"/>
                        <a:pt x="130" y="50"/>
                        <a:pt x="130" y="50"/>
                      </a:cubicBezTo>
                      <a:cubicBezTo>
                        <a:pt x="132" y="50"/>
                        <a:pt x="132" y="50"/>
                        <a:pt x="132" y="50"/>
                      </a:cubicBezTo>
                      <a:cubicBezTo>
                        <a:pt x="133" y="50"/>
                        <a:pt x="133" y="50"/>
                        <a:pt x="133" y="50"/>
                      </a:cubicBezTo>
                      <a:cubicBezTo>
                        <a:pt x="134" y="49"/>
                        <a:pt x="134" y="49"/>
                        <a:pt x="134" y="49"/>
                      </a:cubicBezTo>
                      <a:cubicBezTo>
                        <a:pt x="134" y="49"/>
                        <a:pt x="134" y="49"/>
                        <a:pt x="134" y="49"/>
                      </a:cubicBezTo>
                      <a:cubicBezTo>
                        <a:pt x="135" y="49"/>
                        <a:pt x="135" y="49"/>
                        <a:pt x="135" y="49"/>
                      </a:cubicBezTo>
                      <a:cubicBezTo>
                        <a:pt x="135" y="49"/>
                        <a:pt x="135" y="49"/>
                        <a:pt x="135" y="49"/>
                      </a:cubicBezTo>
                      <a:cubicBezTo>
                        <a:pt x="135" y="48"/>
                        <a:pt x="135" y="48"/>
                        <a:pt x="135" y="48"/>
                      </a:cubicBezTo>
                      <a:cubicBezTo>
                        <a:pt x="134" y="48"/>
                        <a:pt x="134" y="48"/>
                        <a:pt x="134" y="48"/>
                      </a:cubicBezTo>
                      <a:cubicBezTo>
                        <a:pt x="133" y="48"/>
                        <a:pt x="133" y="48"/>
                        <a:pt x="133" y="48"/>
                      </a:cubicBezTo>
                      <a:cubicBezTo>
                        <a:pt x="133" y="48"/>
                        <a:pt x="133" y="48"/>
                        <a:pt x="133" y="48"/>
                      </a:cubicBezTo>
                      <a:cubicBezTo>
                        <a:pt x="132" y="48"/>
                        <a:pt x="132" y="48"/>
                        <a:pt x="132" y="48"/>
                      </a:cubicBezTo>
                      <a:cubicBezTo>
                        <a:pt x="132" y="48"/>
                        <a:pt x="132" y="48"/>
                        <a:pt x="132" y="48"/>
                      </a:cubicBezTo>
                      <a:cubicBezTo>
                        <a:pt x="131" y="48"/>
                        <a:pt x="131" y="48"/>
                        <a:pt x="131" y="48"/>
                      </a:cubicBezTo>
                      <a:cubicBezTo>
                        <a:pt x="131" y="47"/>
                        <a:pt x="131" y="47"/>
                        <a:pt x="131" y="47"/>
                      </a:cubicBezTo>
                      <a:cubicBezTo>
                        <a:pt x="131" y="47"/>
                        <a:pt x="131" y="47"/>
                        <a:pt x="131" y="47"/>
                      </a:cubicBezTo>
                      <a:cubicBezTo>
                        <a:pt x="131" y="47"/>
                        <a:pt x="131" y="47"/>
                        <a:pt x="131" y="47"/>
                      </a:cubicBezTo>
                      <a:cubicBezTo>
                        <a:pt x="131" y="47"/>
                        <a:pt x="131" y="47"/>
                        <a:pt x="131" y="47"/>
                      </a:cubicBezTo>
                      <a:cubicBezTo>
                        <a:pt x="130" y="47"/>
                        <a:pt x="130" y="47"/>
                        <a:pt x="130" y="47"/>
                      </a:cubicBezTo>
                      <a:cubicBezTo>
                        <a:pt x="129" y="46"/>
                        <a:pt x="129" y="46"/>
                        <a:pt x="129" y="46"/>
                      </a:cubicBezTo>
                      <a:cubicBezTo>
                        <a:pt x="130" y="46"/>
                        <a:pt x="130" y="46"/>
                        <a:pt x="130" y="46"/>
                      </a:cubicBezTo>
                      <a:cubicBezTo>
                        <a:pt x="130" y="45"/>
                        <a:pt x="130" y="45"/>
                        <a:pt x="130" y="45"/>
                      </a:cubicBezTo>
                      <a:cubicBezTo>
                        <a:pt x="131" y="45"/>
                        <a:pt x="131" y="45"/>
                        <a:pt x="131" y="45"/>
                      </a:cubicBezTo>
                      <a:cubicBezTo>
                        <a:pt x="130" y="45"/>
                        <a:pt x="130" y="45"/>
                        <a:pt x="130" y="45"/>
                      </a:cubicBezTo>
                      <a:cubicBezTo>
                        <a:pt x="131" y="45"/>
                        <a:pt x="131" y="45"/>
                        <a:pt x="131" y="45"/>
                      </a:cubicBezTo>
                      <a:cubicBezTo>
                        <a:pt x="131" y="44"/>
                        <a:pt x="131" y="44"/>
                        <a:pt x="131" y="44"/>
                      </a:cubicBezTo>
                      <a:cubicBezTo>
                        <a:pt x="130" y="44"/>
                        <a:pt x="130" y="44"/>
                        <a:pt x="130" y="44"/>
                      </a:cubicBezTo>
                      <a:cubicBezTo>
                        <a:pt x="130" y="44"/>
                        <a:pt x="130" y="44"/>
                        <a:pt x="130" y="44"/>
                      </a:cubicBezTo>
                      <a:cubicBezTo>
                        <a:pt x="130" y="43"/>
                        <a:pt x="130" y="43"/>
                        <a:pt x="130" y="43"/>
                      </a:cubicBezTo>
                      <a:cubicBezTo>
                        <a:pt x="130" y="43"/>
                        <a:pt x="130" y="43"/>
                        <a:pt x="130" y="43"/>
                      </a:cubicBezTo>
                      <a:cubicBezTo>
                        <a:pt x="129" y="42"/>
                        <a:pt x="129" y="42"/>
                        <a:pt x="129" y="42"/>
                      </a:cubicBezTo>
                      <a:cubicBezTo>
                        <a:pt x="129" y="42"/>
                        <a:pt x="129" y="42"/>
                        <a:pt x="129" y="42"/>
                      </a:cubicBezTo>
                      <a:cubicBezTo>
                        <a:pt x="128" y="42"/>
                        <a:pt x="128" y="42"/>
                        <a:pt x="128" y="42"/>
                      </a:cubicBezTo>
                      <a:cubicBezTo>
                        <a:pt x="127" y="40"/>
                        <a:pt x="127" y="40"/>
                        <a:pt x="127" y="40"/>
                      </a:cubicBezTo>
                      <a:cubicBezTo>
                        <a:pt x="126" y="40"/>
                        <a:pt x="126" y="40"/>
                        <a:pt x="126" y="40"/>
                      </a:cubicBezTo>
                      <a:cubicBezTo>
                        <a:pt x="126" y="39"/>
                        <a:pt x="126" y="39"/>
                        <a:pt x="126" y="39"/>
                      </a:cubicBezTo>
                      <a:cubicBezTo>
                        <a:pt x="126" y="39"/>
                        <a:pt x="126" y="39"/>
                        <a:pt x="126" y="39"/>
                      </a:cubicBezTo>
                      <a:cubicBezTo>
                        <a:pt x="126" y="39"/>
                        <a:pt x="126" y="39"/>
                        <a:pt x="126" y="39"/>
                      </a:cubicBezTo>
                      <a:cubicBezTo>
                        <a:pt x="126" y="39"/>
                        <a:pt x="126" y="39"/>
                        <a:pt x="126" y="39"/>
                      </a:cubicBezTo>
                      <a:cubicBezTo>
                        <a:pt x="127" y="39"/>
                        <a:pt x="127" y="39"/>
                        <a:pt x="127" y="39"/>
                      </a:cubicBezTo>
                      <a:cubicBezTo>
                        <a:pt x="128" y="39"/>
                        <a:pt x="128" y="39"/>
                        <a:pt x="128" y="39"/>
                      </a:cubicBezTo>
                      <a:cubicBezTo>
                        <a:pt x="128" y="38"/>
                        <a:pt x="128" y="38"/>
                        <a:pt x="128" y="38"/>
                      </a:cubicBezTo>
                      <a:cubicBezTo>
                        <a:pt x="130" y="37"/>
                        <a:pt x="130" y="37"/>
                        <a:pt x="130" y="37"/>
                      </a:cubicBezTo>
                      <a:cubicBezTo>
                        <a:pt x="132" y="36"/>
                        <a:pt x="132" y="36"/>
                        <a:pt x="132" y="36"/>
                      </a:cubicBezTo>
                      <a:cubicBezTo>
                        <a:pt x="132" y="35"/>
                        <a:pt x="132" y="35"/>
                        <a:pt x="132" y="35"/>
                      </a:cubicBezTo>
                      <a:cubicBezTo>
                        <a:pt x="133" y="35"/>
                        <a:pt x="133" y="35"/>
                        <a:pt x="133" y="35"/>
                      </a:cubicBezTo>
                      <a:cubicBezTo>
                        <a:pt x="133" y="34"/>
                        <a:pt x="133" y="34"/>
                        <a:pt x="133" y="34"/>
                      </a:cubicBezTo>
                      <a:cubicBezTo>
                        <a:pt x="134" y="34"/>
                        <a:pt x="134" y="34"/>
                        <a:pt x="134" y="34"/>
                      </a:cubicBezTo>
                      <a:cubicBezTo>
                        <a:pt x="135" y="35"/>
                        <a:pt x="135" y="35"/>
                        <a:pt x="135" y="35"/>
                      </a:cubicBezTo>
                      <a:cubicBezTo>
                        <a:pt x="136" y="35"/>
                        <a:pt x="136" y="35"/>
                        <a:pt x="136" y="35"/>
                      </a:cubicBezTo>
                      <a:cubicBezTo>
                        <a:pt x="137" y="34"/>
                        <a:pt x="137" y="34"/>
                        <a:pt x="137" y="34"/>
                      </a:cubicBezTo>
                      <a:cubicBezTo>
                        <a:pt x="137" y="33"/>
                        <a:pt x="137" y="33"/>
                        <a:pt x="137" y="33"/>
                      </a:cubicBezTo>
                      <a:cubicBezTo>
                        <a:pt x="136" y="33"/>
                        <a:pt x="136" y="33"/>
                        <a:pt x="136" y="33"/>
                      </a:cubicBezTo>
                      <a:cubicBezTo>
                        <a:pt x="133" y="33"/>
                        <a:pt x="133" y="33"/>
                        <a:pt x="133" y="33"/>
                      </a:cubicBezTo>
                      <a:cubicBezTo>
                        <a:pt x="132" y="33"/>
                        <a:pt x="132" y="33"/>
                        <a:pt x="132" y="33"/>
                      </a:cubicBezTo>
                      <a:cubicBezTo>
                        <a:pt x="131" y="33"/>
                        <a:pt x="131" y="33"/>
                        <a:pt x="131" y="33"/>
                      </a:cubicBezTo>
                      <a:cubicBezTo>
                        <a:pt x="130" y="34"/>
                        <a:pt x="130" y="34"/>
                        <a:pt x="130" y="34"/>
                      </a:cubicBezTo>
                      <a:cubicBezTo>
                        <a:pt x="130" y="34"/>
                        <a:pt x="130" y="34"/>
                        <a:pt x="130" y="34"/>
                      </a:cubicBezTo>
                      <a:cubicBezTo>
                        <a:pt x="129" y="34"/>
                        <a:pt x="129" y="34"/>
                        <a:pt x="129" y="34"/>
                      </a:cubicBezTo>
                      <a:cubicBezTo>
                        <a:pt x="128" y="35"/>
                        <a:pt x="128" y="35"/>
                        <a:pt x="128" y="35"/>
                      </a:cubicBezTo>
                      <a:cubicBezTo>
                        <a:pt x="127" y="34"/>
                        <a:pt x="127" y="34"/>
                        <a:pt x="127" y="34"/>
                      </a:cubicBezTo>
                      <a:cubicBezTo>
                        <a:pt x="126" y="34"/>
                        <a:pt x="126" y="34"/>
                        <a:pt x="126" y="34"/>
                      </a:cubicBezTo>
                      <a:cubicBezTo>
                        <a:pt x="125" y="35"/>
                        <a:pt x="125" y="35"/>
                        <a:pt x="125" y="35"/>
                      </a:cubicBezTo>
                      <a:cubicBezTo>
                        <a:pt x="125" y="36"/>
                        <a:pt x="125" y="36"/>
                        <a:pt x="125" y="36"/>
                      </a:cubicBezTo>
                      <a:cubicBezTo>
                        <a:pt x="124" y="37"/>
                        <a:pt x="124" y="37"/>
                        <a:pt x="124" y="37"/>
                      </a:cubicBezTo>
                      <a:cubicBezTo>
                        <a:pt x="123" y="37"/>
                        <a:pt x="123" y="37"/>
                        <a:pt x="123" y="37"/>
                      </a:cubicBezTo>
                      <a:cubicBezTo>
                        <a:pt x="122" y="36"/>
                        <a:pt x="122" y="36"/>
                        <a:pt x="122" y="36"/>
                      </a:cubicBezTo>
                      <a:cubicBezTo>
                        <a:pt x="121" y="35"/>
                        <a:pt x="121" y="35"/>
                        <a:pt x="121" y="35"/>
                      </a:cubicBezTo>
                      <a:cubicBezTo>
                        <a:pt x="120" y="34"/>
                        <a:pt x="120" y="34"/>
                        <a:pt x="120" y="34"/>
                      </a:cubicBezTo>
                      <a:cubicBezTo>
                        <a:pt x="119" y="33"/>
                        <a:pt x="119" y="33"/>
                        <a:pt x="119" y="33"/>
                      </a:cubicBezTo>
                      <a:cubicBezTo>
                        <a:pt x="119" y="31"/>
                        <a:pt x="119" y="31"/>
                        <a:pt x="119" y="31"/>
                      </a:cubicBezTo>
                      <a:cubicBezTo>
                        <a:pt x="120" y="29"/>
                        <a:pt x="120" y="29"/>
                        <a:pt x="120" y="29"/>
                      </a:cubicBezTo>
                      <a:cubicBezTo>
                        <a:pt x="121" y="28"/>
                        <a:pt x="121" y="28"/>
                        <a:pt x="121" y="28"/>
                      </a:cubicBezTo>
                      <a:close/>
                      <a:moveTo>
                        <a:pt x="122" y="0"/>
                      </a:moveTo>
                      <a:cubicBezTo>
                        <a:pt x="121" y="1"/>
                        <a:pt x="121" y="1"/>
                        <a:pt x="121" y="1"/>
                      </a:cubicBezTo>
                      <a:cubicBezTo>
                        <a:pt x="122" y="1"/>
                        <a:pt x="122" y="1"/>
                        <a:pt x="122" y="1"/>
                      </a:cubicBezTo>
                      <a:cubicBezTo>
                        <a:pt x="122" y="1"/>
                        <a:pt x="122" y="1"/>
                        <a:pt x="122" y="1"/>
                      </a:cubicBezTo>
                      <a:cubicBezTo>
                        <a:pt x="122" y="0"/>
                        <a:pt x="122" y="0"/>
                        <a:pt x="122" y="0"/>
                      </a:cubicBezTo>
                      <a:close/>
                      <a:moveTo>
                        <a:pt x="123" y="3"/>
                      </a:moveTo>
                      <a:cubicBezTo>
                        <a:pt x="124" y="3"/>
                        <a:pt x="124" y="3"/>
                        <a:pt x="124" y="3"/>
                      </a:cubicBezTo>
                      <a:cubicBezTo>
                        <a:pt x="124" y="3"/>
                        <a:pt x="124" y="3"/>
                        <a:pt x="124" y="3"/>
                      </a:cubicBezTo>
                      <a:cubicBezTo>
                        <a:pt x="125" y="3"/>
                        <a:pt x="125" y="3"/>
                        <a:pt x="125" y="3"/>
                      </a:cubicBezTo>
                      <a:cubicBezTo>
                        <a:pt x="126" y="3"/>
                        <a:pt x="126" y="3"/>
                        <a:pt x="126" y="3"/>
                      </a:cubicBezTo>
                      <a:cubicBezTo>
                        <a:pt x="126" y="3"/>
                        <a:pt x="126" y="3"/>
                        <a:pt x="126" y="3"/>
                      </a:cubicBezTo>
                      <a:cubicBezTo>
                        <a:pt x="124" y="2"/>
                        <a:pt x="124" y="2"/>
                        <a:pt x="124" y="2"/>
                      </a:cubicBezTo>
                      <a:cubicBezTo>
                        <a:pt x="123" y="3"/>
                        <a:pt x="123" y="3"/>
                        <a:pt x="123" y="3"/>
                      </a:cubicBezTo>
                      <a:cubicBezTo>
                        <a:pt x="123" y="3"/>
                        <a:pt x="123" y="3"/>
                        <a:pt x="123" y="3"/>
                      </a:cubicBezTo>
                      <a:cubicBezTo>
                        <a:pt x="123" y="3"/>
                        <a:pt x="123" y="3"/>
                        <a:pt x="123" y="3"/>
                      </a:cubicBezTo>
                      <a:close/>
                      <a:moveTo>
                        <a:pt x="116" y="8"/>
                      </a:moveTo>
                      <a:cubicBezTo>
                        <a:pt x="116" y="8"/>
                        <a:pt x="116" y="8"/>
                        <a:pt x="116" y="8"/>
                      </a:cubicBezTo>
                      <a:cubicBezTo>
                        <a:pt x="116" y="9"/>
                        <a:pt x="116" y="9"/>
                        <a:pt x="116" y="9"/>
                      </a:cubicBezTo>
                      <a:cubicBezTo>
                        <a:pt x="116" y="8"/>
                        <a:pt x="116" y="8"/>
                        <a:pt x="116" y="8"/>
                      </a:cubicBezTo>
                      <a:cubicBezTo>
                        <a:pt x="116" y="8"/>
                        <a:pt x="116" y="8"/>
                        <a:pt x="116" y="8"/>
                      </a:cubicBezTo>
                      <a:close/>
                      <a:moveTo>
                        <a:pt x="118" y="7"/>
                      </a:moveTo>
                      <a:cubicBezTo>
                        <a:pt x="119" y="6"/>
                        <a:pt x="119" y="6"/>
                        <a:pt x="119" y="6"/>
                      </a:cubicBezTo>
                      <a:cubicBezTo>
                        <a:pt x="120" y="6"/>
                        <a:pt x="120" y="6"/>
                        <a:pt x="120" y="6"/>
                      </a:cubicBezTo>
                      <a:cubicBezTo>
                        <a:pt x="120" y="6"/>
                        <a:pt x="120" y="6"/>
                        <a:pt x="120" y="6"/>
                      </a:cubicBezTo>
                      <a:cubicBezTo>
                        <a:pt x="119" y="7"/>
                        <a:pt x="119" y="7"/>
                        <a:pt x="119" y="7"/>
                      </a:cubicBezTo>
                      <a:cubicBezTo>
                        <a:pt x="118" y="7"/>
                        <a:pt x="118" y="7"/>
                        <a:pt x="118" y="7"/>
                      </a:cubicBezTo>
                      <a:cubicBezTo>
                        <a:pt x="118" y="7"/>
                        <a:pt x="118" y="7"/>
                        <a:pt x="118" y="7"/>
                      </a:cubicBezTo>
                      <a:close/>
                      <a:moveTo>
                        <a:pt x="108" y="12"/>
                      </a:moveTo>
                      <a:cubicBezTo>
                        <a:pt x="108" y="12"/>
                        <a:pt x="108" y="12"/>
                        <a:pt x="108" y="12"/>
                      </a:cubicBezTo>
                      <a:cubicBezTo>
                        <a:pt x="108" y="12"/>
                        <a:pt x="108" y="12"/>
                        <a:pt x="108" y="12"/>
                      </a:cubicBezTo>
                      <a:cubicBezTo>
                        <a:pt x="108" y="12"/>
                        <a:pt x="108" y="12"/>
                        <a:pt x="108" y="12"/>
                      </a:cubicBezTo>
                      <a:close/>
                      <a:moveTo>
                        <a:pt x="108" y="11"/>
                      </a:moveTo>
                      <a:cubicBezTo>
                        <a:pt x="108" y="11"/>
                        <a:pt x="108" y="11"/>
                        <a:pt x="108" y="11"/>
                      </a:cubicBezTo>
                      <a:cubicBezTo>
                        <a:pt x="108" y="12"/>
                        <a:pt x="108" y="12"/>
                        <a:pt x="108" y="12"/>
                      </a:cubicBezTo>
                      <a:cubicBezTo>
                        <a:pt x="109" y="12"/>
                        <a:pt x="109" y="12"/>
                        <a:pt x="109" y="12"/>
                      </a:cubicBezTo>
                      <a:cubicBezTo>
                        <a:pt x="109" y="11"/>
                        <a:pt x="109" y="11"/>
                        <a:pt x="109" y="11"/>
                      </a:cubicBezTo>
                      <a:cubicBezTo>
                        <a:pt x="108" y="11"/>
                        <a:pt x="108" y="11"/>
                        <a:pt x="108" y="11"/>
                      </a:cubicBezTo>
                      <a:close/>
                      <a:moveTo>
                        <a:pt x="108" y="14"/>
                      </a:moveTo>
                      <a:cubicBezTo>
                        <a:pt x="107" y="14"/>
                        <a:pt x="107" y="14"/>
                        <a:pt x="107" y="14"/>
                      </a:cubicBezTo>
                      <a:cubicBezTo>
                        <a:pt x="108" y="14"/>
                        <a:pt x="108" y="14"/>
                        <a:pt x="108" y="14"/>
                      </a:cubicBezTo>
                      <a:cubicBezTo>
                        <a:pt x="108" y="14"/>
                        <a:pt x="108" y="14"/>
                        <a:pt x="108" y="14"/>
                      </a:cubicBezTo>
                      <a:close/>
                      <a:moveTo>
                        <a:pt x="107" y="14"/>
                      </a:moveTo>
                      <a:cubicBezTo>
                        <a:pt x="108" y="15"/>
                        <a:pt x="108" y="15"/>
                        <a:pt x="108" y="15"/>
                      </a:cubicBezTo>
                      <a:cubicBezTo>
                        <a:pt x="108" y="15"/>
                        <a:pt x="108" y="15"/>
                        <a:pt x="108" y="15"/>
                      </a:cubicBezTo>
                      <a:cubicBezTo>
                        <a:pt x="107" y="15"/>
                        <a:pt x="107" y="15"/>
                        <a:pt x="107" y="15"/>
                      </a:cubicBezTo>
                      <a:cubicBezTo>
                        <a:pt x="107" y="14"/>
                        <a:pt x="107" y="14"/>
                        <a:pt x="107" y="14"/>
                      </a:cubicBezTo>
                      <a:close/>
                      <a:moveTo>
                        <a:pt x="101" y="46"/>
                      </a:moveTo>
                      <a:cubicBezTo>
                        <a:pt x="102" y="46"/>
                        <a:pt x="102" y="46"/>
                        <a:pt x="102" y="46"/>
                      </a:cubicBezTo>
                      <a:cubicBezTo>
                        <a:pt x="101" y="47"/>
                        <a:pt x="101" y="47"/>
                        <a:pt x="101" y="47"/>
                      </a:cubicBezTo>
                      <a:cubicBezTo>
                        <a:pt x="101" y="47"/>
                        <a:pt x="101" y="47"/>
                        <a:pt x="101" y="47"/>
                      </a:cubicBezTo>
                      <a:cubicBezTo>
                        <a:pt x="101" y="46"/>
                        <a:pt x="101" y="46"/>
                        <a:pt x="101" y="46"/>
                      </a:cubicBezTo>
                      <a:cubicBezTo>
                        <a:pt x="101" y="46"/>
                        <a:pt x="101" y="46"/>
                        <a:pt x="101" y="46"/>
                      </a:cubicBezTo>
                      <a:close/>
                      <a:moveTo>
                        <a:pt x="101" y="46"/>
                      </a:moveTo>
                      <a:cubicBezTo>
                        <a:pt x="101" y="47"/>
                        <a:pt x="101" y="47"/>
                        <a:pt x="101" y="47"/>
                      </a:cubicBezTo>
                      <a:cubicBezTo>
                        <a:pt x="101" y="48"/>
                        <a:pt x="101" y="48"/>
                        <a:pt x="101" y="48"/>
                      </a:cubicBezTo>
                      <a:cubicBezTo>
                        <a:pt x="100" y="48"/>
                        <a:pt x="100" y="48"/>
                        <a:pt x="100" y="48"/>
                      </a:cubicBezTo>
                      <a:cubicBezTo>
                        <a:pt x="100" y="48"/>
                        <a:pt x="100" y="48"/>
                        <a:pt x="100" y="48"/>
                      </a:cubicBezTo>
                      <a:cubicBezTo>
                        <a:pt x="100" y="47"/>
                        <a:pt x="100" y="47"/>
                        <a:pt x="100" y="47"/>
                      </a:cubicBezTo>
                      <a:cubicBezTo>
                        <a:pt x="100" y="46"/>
                        <a:pt x="100" y="46"/>
                        <a:pt x="100" y="46"/>
                      </a:cubicBezTo>
                      <a:cubicBezTo>
                        <a:pt x="101" y="45"/>
                        <a:pt x="101" y="45"/>
                        <a:pt x="101" y="45"/>
                      </a:cubicBezTo>
                      <a:cubicBezTo>
                        <a:pt x="101" y="46"/>
                        <a:pt x="101" y="46"/>
                        <a:pt x="101" y="46"/>
                      </a:cubicBezTo>
                      <a:close/>
                      <a:moveTo>
                        <a:pt x="68" y="32"/>
                      </a:moveTo>
                      <a:cubicBezTo>
                        <a:pt x="69" y="32"/>
                        <a:pt x="69" y="32"/>
                        <a:pt x="69" y="32"/>
                      </a:cubicBezTo>
                      <a:cubicBezTo>
                        <a:pt x="69" y="33"/>
                        <a:pt x="69" y="33"/>
                        <a:pt x="69" y="33"/>
                      </a:cubicBezTo>
                      <a:cubicBezTo>
                        <a:pt x="69" y="33"/>
                        <a:pt x="69" y="33"/>
                        <a:pt x="69" y="33"/>
                      </a:cubicBezTo>
                      <a:cubicBezTo>
                        <a:pt x="68" y="33"/>
                        <a:pt x="68" y="33"/>
                        <a:pt x="68" y="33"/>
                      </a:cubicBezTo>
                      <a:cubicBezTo>
                        <a:pt x="68" y="32"/>
                        <a:pt x="68" y="32"/>
                        <a:pt x="68" y="32"/>
                      </a:cubicBezTo>
                      <a:cubicBezTo>
                        <a:pt x="68" y="32"/>
                        <a:pt x="68" y="32"/>
                        <a:pt x="68" y="32"/>
                      </a:cubicBezTo>
                      <a:close/>
                      <a:moveTo>
                        <a:pt x="68" y="34"/>
                      </a:moveTo>
                      <a:cubicBezTo>
                        <a:pt x="70" y="34"/>
                        <a:pt x="70" y="34"/>
                        <a:pt x="70" y="34"/>
                      </a:cubicBezTo>
                      <a:cubicBezTo>
                        <a:pt x="70" y="35"/>
                        <a:pt x="70" y="35"/>
                        <a:pt x="70" y="35"/>
                      </a:cubicBezTo>
                      <a:cubicBezTo>
                        <a:pt x="70" y="35"/>
                        <a:pt x="70" y="35"/>
                        <a:pt x="70" y="35"/>
                      </a:cubicBezTo>
                      <a:cubicBezTo>
                        <a:pt x="70" y="35"/>
                        <a:pt x="70" y="35"/>
                        <a:pt x="70" y="35"/>
                      </a:cubicBezTo>
                      <a:cubicBezTo>
                        <a:pt x="69" y="35"/>
                        <a:pt x="69" y="35"/>
                        <a:pt x="69" y="35"/>
                      </a:cubicBezTo>
                      <a:cubicBezTo>
                        <a:pt x="69" y="35"/>
                        <a:pt x="69" y="35"/>
                        <a:pt x="69" y="35"/>
                      </a:cubicBezTo>
                      <a:cubicBezTo>
                        <a:pt x="68" y="34"/>
                        <a:pt x="68" y="34"/>
                        <a:pt x="68" y="34"/>
                      </a:cubicBezTo>
                      <a:cubicBezTo>
                        <a:pt x="68" y="34"/>
                        <a:pt x="68" y="34"/>
                        <a:pt x="68" y="34"/>
                      </a:cubicBezTo>
                      <a:close/>
                      <a:moveTo>
                        <a:pt x="69" y="35"/>
                      </a:moveTo>
                      <a:cubicBezTo>
                        <a:pt x="70" y="35"/>
                        <a:pt x="70" y="35"/>
                        <a:pt x="70" y="35"/>
                      </a:cubicBezTo>
                      <a:cubicBezTo>
                        <a:pt x="71" y="36"/>
                        <a:pt x="71" y="36"/>
                        <a:pt x="71" y="36"/>
                      </a:cubicBezTo>
                      <a:cubicBezTo>
                        <a:pt x="70" y="37"/>
                        <a:pt x="70" y="37"/>
                        <a:pt x="70" y="37"/>
                      </a:cubicBezTo>
                      <a:cubicBezTo>
                        <a:pt x="70" y="37"/>
                        <a:pt x="70" y="37"/>
                        <a:pt x="70" y="37"/>
                      </a:cubicBezTo>
                      <a:cubicBezTo>
                        <a:pt x="69" y="36"/>
                        <a:pt x="69" y="36"/>
                        <a:pt x="69" y="36"/>
                      </a:cubicBezTo>
                      <a:cubicBezTo>
                        <a:pt x="69" y="36"/>
                        <a:pt x="69" y="36"/>
                        <a:pt x="69" y="36"/>
                      </a:cubicBezTo>
                      <a:cubicBezTo>
                        <a:pt x="69" y="36"/>
                        <a:pt x="69" y="35"/>
                        <a:pt x="69" y="35"/>
                      </a:cubicBezTo>
                      <a:close/>
                      <a:moveTo>
                        <a:pt x="67" y="25"/>
                      </a:moveTo>
                      <a:cubicBezTo>
                        <a:pt x="68" y="24"/>
                        <a:pt x="68" y="24"/>
                        <a:pt x="68" y="24"/>
                      </a:cubicBezTo>
                      <a:cubicBezTo>
                        <a:pt x="69" y="22"/>
                        <a:pt x="69" y="22"/>
                        <a:pt x="69" y="22"/>
                      </a:cubicBezTo>
                      <a:cubicBezTo>
                        <a:pt x="69" y="22"/>
                        <a:pt x="69" y="22"/>
                        <a:pt x="69" y="22"/>
                      </a:cubicBezTo>
                      <a:cubicBezTo>
                        <a:pt x="70" y="21"/>
                        <a:pt x="70" y="21"/>
                        <a:pt x="70" y="21"/>
                      </a:cubicBezTo>
                      <a:cubicBezTo>
                        <a:pt x="71" y="23"/>
                        <a:pt x="71" y="23"/>
                        <a:pt x="71" y="23"/>
                      </a:cubicBezTo>
                      <a:cubicBezTo>
                        <a:pt x="73" y="24"/>
                        <a:pt x="73" y="24"/>
                        <a:pt x="73" y="24"/>
                      </a:cubicBezTo>
                      <a:cubicBezTo>
                        <a:pt x="73" y="24"/>
                        <a:pt x="73" y="24"/>
                        <a:pt x="73" y="24"/>
                      </a:cubicBezTo>
                      <a:cubicBezTo>
                        <a:pt x="74" y="25"/>
                        <a:pt x="74" y="25"/>
                        <a:pt x="74" y="25"/>
                      </a:cubicBezTo>
                      <a:cubicBezTo>
                        <a:pt x="74" y="26"/>
                        <a:pt x="74" y="26"/>
                        <a:pt x="74" y="26"/>
                      </a:cubicBezTo>
                      <a:cubicBezTo>
                        <a:pt x="75" y="26"/>
                        <a:pt x="75" y="26"/>
                        <a:pt x="75" y="26"/>
                      </a:cubicBezTo>
                      <a:cubicBezTo>
                        <a:pt x="76" y="26"/>
                        <a:pt x="76" y="26"/>
                        <a:pt x="76" y="26"/>
                      </a:cubicBezTo>
                      <a:cubicBezTo>
                        <a:pt x="77" y="25"/>
                        <a:pt x="77" y="25"/>
                        <a:pt x="77" y="25"/>
                      </a:cubicBezTo>
                      <a:cubicBezTo>
                        <a:pt x="78" y="25"/>
                        <a:pt x="78" y="25"/>
                        <a:pt x="78" y="25"/>
                      </a:cubicBezTo>
                      <a:cubicBezTo>
                        <a:pt x="78" y="25"/>
                        <a:pt x="78" y="25"/>
                        <a:pt x="78" y="25"/>
                      </a:cubicBezTo>
                      <a:cubicBezTo>
                        <a:pt x="81" y="25"/>
                        <a:pt x="81" y="25"/>
                        <a:pt x="81" y="25"/>
                      </a:cubicBezTo>
                      <a:cubicBezTo>
                        <a:pt x="84" y="24"/>
                        <a:pt x="84" y="24"/>
                        <a:pt x="84" y="24"/>
                      </a:cubicBezTo>
                      <a:cubicBezTo>
                        <a:pt x="84" y="24"/>
                        <a:pt x="84" y="24"/>
                        <a:pt x="84" y="24"/>
                      </a:cubicBezTo>
                      <a:cubicBezTo>
                        <a:pt x="87" y="24"/>
                        <a:pt x="87" y="24"/>
                        <a:pt x="87" y="24"/>
                      </a:cubicBezTo>
                      <a:cubicBezTo>
                        <a:pt x="88" y="24"/>
                        <a:pt x="88" y="24"/>
                        <a:pt x="88" y="24"/>
                      </a:cubicBezTo>
                      <a:cubicBezTo>
                        <a:pt x="88" y="25"/>
                        <a:pt x="88" y="25"/>
                        <a:pt x="88" y="25"/>
                      </a:cubicBezTo>
                      <a:cubicBezTo>
                        <a:pt x="89" y="25"/>
                        <a:pt x="89" y="25"/>
                        <a:pt x="89" y="25"/>
                      </a:cubicBezTo>
                      <a:cubicBezTo>
                        <a:pt x="91" y="24"/>
                        <a:pt x="91" y="24"/>
                        <a:pt x="91" y="24"/>
                      </a:cubicBezTo>
                      <a:cubicBezTo>
                        <a:pt x="94" y="23"/>
                        <a:pt x="94" y="23"/>
                        <a:pt x="94" y="23"/>
                      </a:cubicBezTo>
                      <a:cubicBezTo>
                        <a:pt x="94" y="23"/>
                        <a:pt x="94" y="23"/>
                        <a:pt x="94" y="23"/>
                      </a:cubicBezTo>
                      <a:cubicBezTo>
                        <a:pt x="95" y="20"/>
                        <a:pt x="95" y="20"/>
                        <a:pt x="95" y="20"/>
                      </a:cubicBezTo>
                      <a:cubicBezTo>
                        <a:pt x="96" y="18"/>
                        <a:pt x="96" y="18"/>
                        <a:pt x="96" y="18"/>
                      </a:cubicBezTo>
                      <a:cubicBezTo>
                        <a:pt x="98" y="16"/>
                        <a:pt x="98" y="16"/>
                        <a:pt x="98" y="16"/>
                      </a:cubicBezTo>
                      <a:cubicBezTo>
                        <a:pt x="99" y="13"/>
                        <a:pt x="99" y="13"/>
                        <a:pt x="99" y="13"/>
                      </a:cubicBezTo>
                      <a:cubicBezTo>
                        <a:pt x="99" y="12"/>
                        <a:pt x="99" y="12"/>
                        <a:pt x="99" y="12"/>
                      </a:cubicBezTo>
                      <a:cubicBezTo>
                        <a:pt x="99" y="12"/>
                        <a:pt x="99" y="12"/>
                        <a:pt x="99" y="12"/>
                      </a:cubicBezTo>
                      <a:cubicBezTo>
                        <a:pt x="99" y="11"/>
                        <a:pt x="99" y="11"/>
                        <a:pt x="99" y="11"/>
                      </a:cubicBezTo>
                      <a:cubicBezTo>
                        <a:pt x="100" y="10"/>
                        <a:pt x="100" y="10"/>
                        <a:pt x="100" y="10"/>
                      </a:cubicBezTo>
                      <a:cubicBezTo>
                        <a:pt x="101" y="10"/>
                        <a:pt x="101" y="10"/>
                        <a:pt x="101" y="10"/>
                      </a:cubicBezTo>
                      <a:cubicBezTo>
                        <a:pt x="102" y="10"/>
                        <a:pt x="102" y="10"/>
                        <a:pt x="102" y="10"/>
                      </a:cubicBezTo>
                      <a:cubicBezTo>
                        <a:pt x="104" y="10"/>
                        <a:pt x="104" y="10"/>
                        <a:pt x="104" y="10"/>
                      </a:cubicBezTo>
                      <a:cubicBezTo>
                        <a:pt x="105" y="10"/>
                        <a:pt x="105" y="10"/>
                        <a:pt x="105" y="10"/>
                      </a:cubicBezTo>
                      <a:cubicBezTo>
                        <a:pt x="106" y="10"/>
                        <a:pt x="106" y="10"/>
                        <a:pt x="106" y="10"/>
                      </a:cubicBezTo>
                      <a:cubicBezTo>
                        <a:pt x="107" y="11"/>
                        <a:pt x="107" y="11"/>
                        <a:pt x="107" y="11"/>
                      </a:cubicBezTo>
                      <a:cubicBezTo>
                        <a:pt x="107" y="11"/>
                        <a:pt x="107" y="11"/>
                        <a:pt x="107" y="11"/>
                      </a:cubicBezTo>
                      <a:cubicBezTo>
                        <a:pt x="107" y="11"/>
                        <a:pt x="107" y="11"/>
                        <a:pt x="107" y="11"/>
                      </a:cubicBezTo>
                      <a:cubicBezTo>
                        <a:pt x="107" y="11"/>
                        <a:pt x="107" y="11"/>
                        <a:pt x="107" y="11"/>
                      </a:cubicBezTo>
                      <a:cubicBezTo>
                        <a:pt x="107" y="12"/>
                        <a:pt x="107" y="12"/>
                        <a:pt x="107" y="12"/>
                      </a:cubicBezTo>
                      <a:cubicBezTo>
                        <a:pt x="108" y="12"/>
                        <a:pt x="108" y="12"/>
                        <a:pt x="108" y="12"/>
                      </a:cubicBezTo>
                      <a:cubicBezTo>
                        <a:pt x="109" y="13"/>
                        <a:pt x="109" y="13"/>
                        <a:pt x="109" y="13"/>
                      </a:cubicBezTo>
                      <a:cubicBezTo>
                        <a:pt x="107" y="13"/>
                        <a:pt x="107" y="13"/>
                        <a:pt x="107" y="13"/>
                      </a:cubicBezTo>
                      <a:cubicBezTo>
                        <a:pt x="106" y="13"/>
                        <a:pt x="106" y="13"/>
                        <a:pt x="106" y="13"/>
                      </a:cubicBezTo>
                      <a:cubicBezTo>
                        <a:pt x="106" y="14"/>
                        <a:pt x="106" y="14"/>
                        <a:pt x="106" y="14"/>
                      </a:cubicBezTo>
                      <a:cubicBezTo>
                        <a:pt x="107" y="14"/>
                        <a:pt x="107" y="14"/>
                        <a:pt x="107" y="14"/>
                      </a:cubicBezTo>
                      <a:cubicBezTo>
                        <a:pt x="107" y="15"/>
                        <a:pt x="107" y="15"/>
                        <a:pt x="107" y="15"/>
                      </a:cubicBezTo>
                      <a:cubicBezTo>
                        <a:pt x="107" y="15"/>
                        <a:pt x="107" y="15"/>
                        <a:pt x="107" y="15"/>
                      </a:cubicBezTo>
                      <a:cubicBezTo>
                        <a:pt x="107" y="15"/>
                        <a:pt x="107" y="15"/>
                        <a:pt x="107" y="15"/>
                      </a:cubicBezTo>
                      <a:cubicBezTo>
                        <a:pt x="106" y="16"/>
                        <a:pt x="106" y="16"/>
                        <a:pt x="106" y="16"/>
                      </a:cubicBezTo>
                      <a:cubicBezTo>
                        <a:pt x="107" y="16"/>
                        <a:pt x="107" y="16"/>
                        <a:pt x="107" y="16"/>
                      </a:cubicBezTo>
                      <a:cubicBezTo>
                        <a:pt x="108" y="17"/>
                        <a:pt x="108" y="17"/>
                        <a:pt x="108" y="17"/>
                      </a:cubicBezTo>
                      <a:cubicBezTo>
                        <a:pt x="109" y="19"/>
                        <a:pt x="109" y="19"/>
                        <a:pt x="109" y="19"/>
                      </a:cubicBezTo>
                      <a:cubicBezTo>
                        <a:pt x="110" y="19"/>
                        <a:pt x="110" y="19"/>
                        <a:pt x="110" y="19"/>
                      </a:cubicBezTo>
                      <a:cubicBezTo>
                        <a:pt x="109" y="20"/>
                        <a:pt x="109" y="20"/>
                        <a:pt x="109" y="20"/>
                      </a:cubicBezTo>
                      <a:cubicBezTo>
                        <a:pt x="108" y="20"/>
                        <a:pt x="108" y="20"/>
                        <a:pt x="108" y="20"/>
                      </a:cubicBezTo>
                      <a:cubicBezTo>
                        <a:pt x="108" y="21"/>
                        <a:pt x="108" y="21"/>
                        <a:pt x="108" y="21"/>
                      </a:cubicBezTo>
                      <a:cubicBezTo>
                        <a:pt x="108" y="21"/>
                        <a:pt x="108" y="21"/>
                        <a:pt x="108" y="21"/>
                      </a:cubicBezTo>
                      <a:cubicBezTo>
                        <a:pt x="109" y="22"/>
                        <a:pt x="109" y="22"/>
                        <a:pt x="109" y="22"/>
                      </a:cubicBezTo>
                      <a:cubicBezTo>
                        <a:pt x="109" y="22"/>
                        <a:pt x="109" y="22"/>
                        <a:pt x="109" y="22"/>
                      </a:cubicBezTo>
                      <a:cubicBezTo>
                        <a:pt x="111" y="24"/>
                        <a:pt x="111" y="24"/>
                        <a:pt x="111" y="24"/>
                      </a:cubicBezTo>
                      <a:cubicBezTo>
                        <a:pt x="112" y="24"/>
                        <a:pt x="112" y="24"/>
                        <a:pt x="112" y="24"/>
                      </a:cubicBezTo>
                      <a:cubicBezTo>
                        <a:pt x="113" y="25"/>
                        <a:pt x="113" y="25"/>
                        <a:pt x="113" y="25"/>
                      </a:cubicBezTo>
                      <a:cubicBezTo>
                        <a:pt x="113" y="25"/>
                        <a:pt x="113" y="25"/>
                        <a:pt x="113" y="25"/>
                      </a:cubicBezTo>
                      <a:cubicBezTo>
                        <a:pt x="114" y="26"/>
                        <a:pt x="114" y="26"/>
                        <a:pt x="114" y="26"/>
                      </a:cubicBezTo>
                      <a:cubicBezTo>
                        <a:pt x="114" y="26"/>
                        <a:pt x="114" y="26"/>
                        <a:pt x="114" y="26"/>
                      </a:cubicBezTo>
                      <a:cubicBezTo>
                        <a:pt x="113" y="27"/>
                        <a:pt x="113" y="27"/>
                        <a:pt x="113" y="27"/>
                      </a:cubicBezTo>
                      <a:cubicBezTo>
                        <a:pt x="112" y="26"/>
                        <a:pt x="112" y="26"/>
                        <a:pt x="112" y="26"/>
                      </a:cubicBezTo>
                      <a:cubicBezTo>
                        <a:pt x="112" y="27"/>
                        <a:pt x="112" y="27"/>
                        <a:pt x="112" y="27"/>
                      </a:cubicBezTo>
                      <a:cubicBezTo>
                        <a:pt x="111" y="27"/>
                        <a:pt x="111" y="27"/>
                        <a:pt x="111" y="27"/>
                      </a:cubicBezTo>
                      <a:cubicBezTo>
                        <a:pt x="109" y="25"/>
                        <a:pt x="109" y="25"/>
                        <a:pt x="109" y="25"/>
                      </a:cubicBezTo>
                      <a:cubicBezTo>
                        <a:pt x="109" y="27"/>
                        <a:pt x="109" y="27"/>
                        <a:pt x="109" y="27"/>
                      </a:cubicBezTo>
                      <a:cubicBezTo>
                        <a:pt x="109" y="27"/>
                        <a:pt x="109" y="27"/>
                        <a:pt x="109" y="27"/>
                      </a:cubicBezTo>
                      <a:cubicBezTo>
                        <a:pt x="109" y="26"/>
                        <a:pt x="109" y="26"/>
                        <a:pt x="109" y="26"/>
                      </a:cubicBezTo>
                      <a:cubicBezTo>
                        <a:pt x="108" y="27"/>
                        <a:pt x="108" y="27"/>
                        <a:pt x="108" y="27"/>
                      </a:cubicBezTo>
                      <a:cubicBezTo>
                        <a:pt x="108" y="28"/>
                        <a:pt x="108" y="28"/>
                        <a:pt x="108" y="28"/>
                      </a:cubicBezTo>
                      <a:cubicBezTo>
                        <a:pt x="107" y="28"/>
                        <a:pt x="107" y="28"/>
                        <a:pt x="107" y="28"/>
                      </a:cubicBezTo>
                      <a:cubicBezTo>
                        <a:pt x="107" y="30"/>
                        <a:pt x="107" y="30"/>
                        <a:pt x="107" y="30"/>
                      </a:cubicBezTo>
                      <a:cubicBezTo>
                        <a:pt x="107" y="31"/>
                        <a:pt x="107" y="31"/>
                        <a:pt x="107" y="31"/>
                      </a:cubicBezTo>
                      <a:cubicBezTo>
                        <a:pt x="106" y="32"/>
                        <a:pt x="106" y="32"/>
                        <a:pt x="106" y="32"/>
                      </a:cubicBezTo>
                      <a:cubicBezTo>
                        <a:pt x="105" y="33"/>
                        <a:pt x="105" y="33"/>
                        <a:pt x="105" y="33"/>
                      </a:cubicBezTo>
                      <a:cubicBezTo>
                        <a:pt x="105" y="34"/>
                        <a:pt x="105" y="34"/>
                        <a:pt x="105" y="34"/>
                      </a:cubicBezTo>
                      <a:cubicBezTo>
                        <a:pt x="105" y="35"/>
                        <a:pt x="105" y="35"/>
                        <a:pt x="105" y="35"/>
                      </a:cubicBezTo>
                      <a:cubicBezTo>
                        <a:pt x="104" y="36"/>
                        <a:pt x="104" y="36"/>
                        <a:pt x="104" y="36"/>
                      </a:cubicBezTo>
                      <a:cubicBezTo>
                        <a:pt x="104" y="35"/>
                        <a:pt x="104" y="35"/>
                        <a:pt x="104" y="35"/>
                      </a:cubicBezTo>
                      <a:cubicBezTo>
                        <a:pt x="103" y="35"/>
                        <a:pt x="103" y="35"/>
                        <a:pt x="103" y="35"/>
                      </a:cubicBezTo>
                      <a:cubicBezTo>
                        <a:pt x="103" y="35"/>
                        <a:pt x="103" y="35"/>
                        <a:pt x="103" y="35"/>
                      </a:cubicBezTo>
                      <a:cubicBezTo>
                        <a:pt x="103" y="36"/>
                        <a:pt x="103" y="36"/>
                        <a:pt x="103" y="36"/>
                      </a:cubicBezTo>
                      <a:cubicBezTo>
                        <a:pt x="103" y="37"/>
                        <a:pt x="103" y="37"/>
                        <a:pt x="103" y="37"/>
                      </a:cubicBezTo>
                      <a:cubicBezTo>
                        <a:pt x="102" y="38"/>
                        <a:pt x="102" y="38"/>
                        <a:pt x="102" y="38"/>
                      </a:cubicBezTo>
                      <a:cubicBezTo>
                        <a:pt x="102" y="38"/>
                        <a:pt x="102" y="38"/>
                        <a:pt x="102" y="38"/>
                      </a:cubicBezTo>
                      <a:cubicBezTo>
                        <a:pt x="101" y="38"/>
                        <a:pt x="101" y="38"/>
                        <a:pt x="101" y="38"/>
                      </a:cubicBezTo>
                      <a:cubicBezTo>
                        <a:pt x="101" y="38"/>
                        <a:pt x="101" y="38"/>
                        <a:pt x="101" y="38"/>
                      </a:cubicBezTo>
                      <a:cubicBezTo>
                        <a:pt x="101" y="39"/>
                        <a:pt x="101" y="39"/>
                        <a:pt x="101" y="39"/>
                      </a:cubicBezTo>
                      <a:cubicBezTo>
                        <a:pt x="102" y="39"/>
                        <a:pt x="102" y="39"/>
                        <a:pt x="102" y="39"/>
                      </a:cubicBezTo>
                      <a:cubicBezTo>
                        <a:pt x="102" y="39"/>
                        <a:pt x="102" y="39"/>
                        <a:pt x="102" y="39"/>
                      </a:cubicBezTo>
                      <a:cubicBezTo>
                        <a:pt x="102" y="40"/>
                        <a:pt x="102" y="40"/>
                        <a:pt x="102" y="40"/>
                      </a:cubicBezTo>
                      <a:cubicBezTo>
                        <a:pt x="101" y="40"/>
                        <a:pt x="101" y="40"/>
                        <a:pt x="101" y="40"/>
                      </a:cubicBezTo>
                      <a:cubicBezTo>
                        <a:pt x="102" y="40"/>
                        <a:pt x="102" y="40"/>
                        <a:pt x="102" y="40"/>
                      </a:cubicBezTo>
                      <a:cubicBezTo>
                        <a:pt x="102" y="40"/>
                        <a:pt x="102" y="40"/>
                        <a:pt x="102" y="40"/>
                      </a:cubicBezTo>
                      <a:cubicBezTo>
                        <a:pt x="102" y="41"/>
                        <a:pt x="102" y="41"/>
                        <a:pt x="102" y="41"/>
                      </a:cubicBezTo>
                      <a:cubicBezTo>
                        <a:pt x="102" y="42"/>
                        <a:pt x="102" y="42"/>
                        <a:pt x="102" y="42"/>
                      </a:cubicBezTo>
                      <a:cubicBezTo>
                        <a:pt x="101" y="41"/>
                        <a:pt x="101" y="41"/>
                        <a:pt x="101" y="41"/>
                      </a:cubicBezTo>
                      <a:cubicBezTo>
                        <a:pt x="101" y="41"/>
                        <a:pt x="101" y="41"/>
                        <a:pt x="101" y="41"/>
                      </a:cubicBezTo>
                      <a:cubicBezTo>
                        <a:pt x="101" y="42"/>
                        <a:pt x="101" y="42"/>
                        <a:pt x="101" y="42"/>
                      </a:cubicBezTo>
                      <a:cubicBezTo>
                        <a:pt x="101" y="42"/>
                        <a:pt x="101" y="42"/>
                        <a:pt x="101" y="42"/>
                      </a:cubicBezTo>
                      <a:cubicBezTo>
                        <a:pt x="102" y="42"/>
                        <a:pt x="102" y="42"/>
                        <a:pt x="102" y="42"/>
                      </a:cubicBezTo>
                      <a:cubicBezTo>
                        <a:pt x="101" y="44"/>
                        <a:pt x="101" y="44"/>
                        <a:pt x="101" y="44"/>
                      </a:cubicBezTo>
                      <a:cubicBezTo>
                        <a:pt x="101" y="44"/>
                        <a:pt x="101" y="44"/>
                        <a:pt x="101" y="44"/>
                      </a:cubicBezTo>
                      <a:cubicBezTo>
                        <a:pt x="100" y="43"/>
                        <a:pt x="100" y="43"/>
                        <a:pt x="100" y="43"/>
                      </a:cubicBezTo>
                      <a:cubicBezTo>
                        <a:pt x="100" y="44"/>
                        <a:pt x="100" y="44"/>
                        <a:pt x="100" y="44"/>
                      </a:cubicBezTo>
                      <a:cubicBezTo>
                        <a:pt x="100" y="45"/>
                        <a:pt x="100" y="45"/>
                        <a:pt x="100" y="45"/>
                      </a:cubicBezTo>
                      <a:cubicBezTo>
                        <a:pt x="99" y="47"/>
                        <a:pt x="99" y="47"/>
                        <a:pt x="99" y="47"/>
                      </a:cubicBezTo>
                      <a:cubicBezTo>
                        <a:pt x="97" y="48"/>
                        <a:pt x="97" y="48"/>
                        <a:pt x="97" y="48"/>
                      </a:cubicBezTo>
                      <a:cubicBezTo>
                        <a:pt x="96" y="48"/>
                        <a:pt x="96" y="48"/>
                        <a:pt x="96" y="48"/>
                      </a:cubicBezTo>
                      <a:cubicBezTo>
                        <a:pt x="94" y="49"/>
                        <a:pt x="94" y="49"/>
                        <a:pt x="94" y="49"/>
                      </a:cubicBezTo>
                      <a:cubicBezTo>
                        <a:pt x="93" y="49"/>
                        <a:pt x="93" y="49"/>
                        <a:pt x="93" y="49"/>
                      </a:cubicBezTo>
                      <a:cubicBezTo>
                        <a:pt x="93" y="48"/>
                        <a:pt x="93" y="48"/>
                        <a:pt x="93" y="48"/>
                      </a:cubicBezTo>
                      <a:cubicBezTo>
                        <a:pt x="93" y="47"/>
                        <a:pt x="93" y="47"/>
                        <a:pt x="93" y="47"/>
                      </a:cubicBezTo>
                      <a:cubicBezTo>
                        <a:pt x="93" y="46"/>
                        <a:pt x="93" y="46"/>
                        <a:pt x="93" y="46"/>
                      </a:cubicBezTo>
                      <a:cubicBezTo>
                        <a:pt x="92" y="46"/>
                        <a:pt x="92" y="46"/>
                        <a:pt x="92" y="46"/>
                      </a:cubicBezTo>
                      <a:cubicBezTo>
                        <a:pt x="92" y="46"/>
                        <a:pt x="92" y="46"/>
                        <a:pt x="92" y="46"/>
                      </a:cubicBezTo>
                      <a:cubicBezTo>
                        <a:pt x="91" y="45"/>
                        <a:pt x="91" y="45"/>
                        <a:pt x="91" y="45"/>
                      </a:cubicBezTo>
                      <a:cubicBezTo>
                        <a:pt x="91" y="46"/>
                        <a:pt x="91" y="46"/>
                        <a:pt x="91" y="46"/>
                      </a:cubicBezTo>
                      <a:cubicBezTo>
                        <a:pt x="90" y="46"/>
                        <a:pt x="90" y="46"/>
                        <a:pt x="90" y="46"/>
                      </a:cubicBezTo>
                      <a:cubicBezTo>
                        <a:pt x="90" y="45"/>
                        <a:pt x="90" y="45"/>
                        <a:pt x="90" y="45"/>
                      </a:cubicBezTo>
                      <a:cubicBezTo>
                        <a:pt x="90" y="46"/>
                        <a:pt x="90" y="46"/>
                        <a:pt x="90" y="46"/>
                      </a:cubicBezTo>
                      <a:cubicBezTo>
                        <a:pt x="90" y="46"/>
                        <a:pt x="90" y="46"/>
                        <a:pt x="90" y="46"/>
                      </a:cubicBezTo>
                      <a:cubicBezTo>
                        <a:pt x="89" y="46"/>
                        <a:pt x="89" y="46"/>
                        <a:pt x="89" y="46"/>
                      </a:cubicBezTo>
                      <a:cubicBezTo>
                        <a:pt x="89" y="45"/>
                        <a:pt x="89" y="45"/>
                        <a:pt x="89" y="45"/>
                      </a:cubicBezTo>
                      <a:cubicBezTo>
                        <a:pt x="89" y="45"/>
                        <a:pt x="89" y="45"/>
                        <a:pt x="89" y="45"/>
                      </a:cubicBezTo>
                      <a:cubicBezTo>
                        <a:pt x="88" y="44"/>
                        <a:pt x="88" y="44"/>
                        <a:pt x="88" y="44"/>
                      </a:cubicBezTo>
                      <a:cubicBezTo>
                        <a:pt x="88" y="45"/>
                        <a:pt x="88" y="45"/>
                        <a:pt x="88" y="45"/>
                      </a:cubicBezTo>
                      <a:cubicBezTo>
                        <a:pt x="87" y="44"/>
                        <a:pt x="87" y="44"/>
                        <a:pt x="87" y="44"/>
                      </a:cubicBezTo>
                      <a:cubicBezTo>
                        <a:pt x="86" y="44"/>
                        <a:pt x="86" y="44"/>
                        <a:pt x="86" y="44"/>
                      </a:cubicBezTo>
                      <a:cubicBezTo>
                        <a:pt x="85" y="45"/>
                        <a:pt x="85" y="45"/>
                        <a:pt x="85" y="45"/>
                      </a:cubicBezTo>
                      <a:cubicBezTo>
                        <a:pt x="84" y="45"/>
                        <a:pt x="84" y="45"/>
                        <a:pt x="84" y="45"/>
                      </a:cubicBezTo>
                      <a:cubicBezTo>
                        <a:pt x="84" y="46"/>
                        <a:pt x="84" y="46"/>
                        <a:pt x="84" y="46"/>
                      </a:cubicBezTo>
                      <a:cubicBezTo>
                        <a:pt x="83" y="46"/>
                        <a:pt x="83" y="46"/>
                        <a:pt x="83" y="46"/>
                      </a:cubicBezTo>
                      <a:cubicBezTo>
                        <a:pt x="83" y="45"/>
                        <a:pt x="83" y="45"/>
                        <a:pt x="83" y="45"/>
                      </a:cubicBezTo>
                      <a:cubicBezTo>
                        <a:pt x="82" y="45"/>
                        <a:pt x="82" y="45"/>
                        <a:pt x="82" y="45"/>
                      </a:cubicBezTo>
                      <a:cubicBezTo>
                        <a:pt x="81" y="47"/>
                        <a:pt x="81" y="47"/>
                        <a:pt x="81" y="47"/>
                      </a:cubicBezTo>
                      <a:cubicBezTo>
                        <a:pt x="80" y="47"/>
                        <a:pt x="80" y="47"/>
                        <a:pt x="80" y="47"/>
                      </a:cubicBezTo>
                      <a:cubicBezTo>
                        <a:pt x="81" y="46"/>
                        <a:pt x="81" y="46"/>
                        <a:pt x="81" y="46"/>
                      </a:cubicBezTo>
                      <a:cubicBezTo>
                        <a:pt x="80" y="44"/>
                        <a:pt x="80" y="44"/>
                        <a:pt x="80" y="44"/>
                      </a:cubicBezTo>
                      <a:cubicBezTo>
                        <a:pt x="80" y="43"/>
                        <a:pt x="80" y="43"/>
                        <a:pt x="80" y="43"/>
                      </a:cubicBezTo>
                      <a:cubicBezTo>
                        <a:pt x="80" y="43"/>
                        <a:pt x="80" y="43"/>
                        <a:pt x="80" y="43"/>
                      </a:cubicBezTo>
                      <a:cubicBezTo>
                        <a:pt x="80" y="42"/>
                        <a:pt x="80" y="42"/>
                        <a:pt x="80" y="42"/>
                      </a:cubicBezTo>
                      <a:cubicBezTo>
                        <a:pt x="80" y="43"/>
                        <a:pt x="80" y="43"/>
                        <a:pt x="80" y="43"/>
                      </a:cubicBezTo>
                      <a:cubicBezTo>
                        <a:pt x="80" y="43"/>
                        <a:pt x="80" y="43"/>
                        <a:pt x="80" y="43"/>
                      </a:cubicBezTo>
                      <a:cubicBezTo>
                        <a:pt x="79" y="44"/>
                        <a:pt x="79" y="44"/>
                        <a:pt x="79" y="44"/>
                      </a:cubicBezTo>
                      <a:cubicBezTo>
                        <a:pt x="78" y="43"/>
                        <a:pt x="78" y="43"/>
                        <a:pt x="78" y="43"/>
                      </a:cubicBezTo>
                      <a:cubicBezTo>
                        <a:pt x="78" y="44"/>
                        <a:pt x="78" y="44"/>
                        <a:pt x="78" y="44"/>
                      </a:cubicBezTo>
                      <a:cubicBezTo>
                        <a:pt x="76" y="44"/>
                        <a:pt x="76" y="44"/>
                        <a:pt x="76" y="44"/>
                      </a:cubicBezTo>
                      <a:cubicBezTo>
                        <a:pt x="76" y="44"/>
                        <a:pt x="76" y="44"/>
                        <a:pt x="76" y="44"/>
                      </a:cubicBezTo>
                      <a:cubicBezTo>
                        <a:pt x="75" y="44"/>
                        <a:pt x="75" y="44"/>
                        <a:pt x="75" y="44"/>
                      </a:cubicBezTo>
                      <a:cubicBezTo>
                        <a:pt x="74" y="43"/>
                        <a:pt x="74" y="43"/>
                        <a:pt x="74" y="43"/>
                      </a:cubicBezTo>
                      <a:cubicBezTo>
                        <a:pt x="74" y="44"/>
                        <a:pt x="74" y="44"/>
                        <a:pt x="74" y="44"/>
                      </a:cubicBezTo>
                      <a:cubicBezTo>
                        <a:pt x="73" y="44"/>
                        <a:pt x="73" y="44"/>
                        <a:pt x="73" y="44"/>
                      </a:cubicBezTo>
                      <a:cubicBezTo>
                        <a:pt x="73" y="42"/>
                        <a:pt x="73" y="42"/>
                        <a:pt x="73" y="42"/>
                      </a:cubicBezTo>
                      <a:cubicBezTo>
                        <a:pt x="73" y="41"/>
                        <a:pt x="73" y="41"/>
                        <a:pt x="73" y="41"/>
                      </a:cubicBezTo>
                      <a:cubicBezTo>
                        <a:pt x="72" y="40"/>
                        <a:pt x="72" y="40"/>
                        <a:pt x="72" y="40"/>
                      </a:cubicBezTo>
                      <a:cubicBezTo>
                        <a:pt x="71" y="39"/>
                        <a:pt x="71" y="39"/>
                        <a:pt x="71" y="39"/>
                      </a:cubicBezTo>
                      <a:cubicBezTo>
                        <a:pt x="71" y="38"/>
                        <a:pt x="71" y="38"/>
                        <a:pt x="71" y="38"/>
                      </a:cubicBezTo>
                      <a:cubicBezTo>
                        <a:pt x="72" y="38"/>
                        <a:pt x="72" y="38"/>
                        <a:pt x="72" y="38"/>
                      </a:cubicBezTo>
                      <a:cubicBezTo>
                        <a:pt x="72" y="37"/>
                        <a:pt x="72" y="37"/>
                        <a:pt x="72" y="37"/>
                      </a:cubicBezTo>
                      <a:cubicBezTo>
                        <a:pt x="72" y="36"/>
                        <a:pt x="72" y="36"/>
                        <a:pt x="72" y="36"/>
                      </a:cubicBezTo>
                      <a:cubicBezTo>
                        <a:pt x="72" y="36"/>
                        <a:pt x="72" y="36"/>
                        <a:pt x="72" y="36"/>
                      </a:cubicBezTo>
                      <a:cubicBezTo>
                        <a:pt x="70" y="34"/>
                        <a:pt x="70" y="34"/>
                        <a:pt x="70" y="34"/>
                      </a:cubicBezTo>
                      <a:cubicBezTo>
                        <a:pt x="69" y="34"/>
                        <a:pt x="69" y="34"/>
                        <a:pt x="69" y="34"/>
                      </a:cubicBezTo>
                      <a:cubicBezTo>
                        <a:pt x="68" y="33"/>
                        <a:pt x="68" y="33"/>
                        <a:pt x="68" y="33"/>
                      </a:cubicBezTo>
                      <a:cubicBezTo>
                        <a:pt x="68" y="33"/>
                        <a:pt x="68" y="33"/>
                        <a:pt x="68" y="33"/>
                      </a:cubicBezTo>
                      <a:cubicBezTo>
                        <a:pt x="69" y="33"/>
                        <a:pt x="69" y="33"/>
                        <a:pt x="69" y="33"/>
                      </a:cubicBezTo>
                      <a:cubicBezTo>
                        <a:pt x="70" y="32"/>
                        <a:pt x="70" y="32"/>
                        <a:pt x="70" y="32"/>
                      </a:cubicBezTo>
                      <a:cubicBezTo>
                        <a:pt x="71" y="32"/>
                        <a:pt x="71" y="32"/>
                        <a:pt x="71" y="32"/>
                      </a:cubicBezTo>
                      <a:cubicBezTo>
                        <a:pt x="73" y="31"/>
                        <a:pt x="73" y="31"/>
                        <a:pt x="73" y="31"/>
                      </a:cubicBezTo>
                      <a:cubicBezTo>
                        <a:pt x="73" y="31"/>
                        <a:pt x="73" y="31"/>
                        <a:pt x="73" y="31"/>
                      </a:cubicBezTo>
                      <a:cubicBezTo>
                        <a:pt x="73" y="31"/>
                        <a:pt x="73" y="31"/>
                        <a:pt x="73" y="31"/>
                      </a:cubicBezTo>
                      <a:cubicBezTo>
                        <a:pt x="71" y="32"/>
                        <a:pt x="71" y="32"/>
                        <a:pt x="71" y="32"/>
                      </a:cubicBezTo>
                      <a:cubicBezTo>
                        <a:pt x="70" y="32"/>
                        <a:pt x="70" y="32"/>
                        <a:pt x="70" y="32"/>
                      </a:cubicBezTo>
                      <a:cubicBezTo>
                        <a:pt x="69" y="32"/>
                        <a:pt x="69" y="32"/>
                        <a:pt x="69" y="32"/>
                      </a:cubicBezTo>
                      <a:cubicBezTo>
                        <a:pt x="68" y="32"/>
                        <a:pt x="68" y="32"/>
                        <a:pt x="68" y="32"/>
                      </a:cubicBezTo>
                      <a:cubicBezTo>
                        <a:pt x="68" y="31"/>
                        <a:pt x="68" y="31"/>
                        <a:pt x="68" y="31"/>
                      </a:cubicBezTo>
                      <a:cubicBezTo>
                        <a:pt x="68" y="31"/>
                        <a:pt x="68" y="31"/>
                        <a:pt x="68" y="31"/>
                      </a:cubicBezTo>
                      <a:cubicBezTo>
                        <a:pt x="68" y="31"/>
                        <a:pt x="68" y="31"/>
                        <a:pt x="68" y="31"/>
                      </a:cubicBezTo>
                      <a:cubicBezTo>
                        <a:pt x="68" y="30"/>
                        <a:pt x="68" y="30"/>
                        <a:pt x="68" y="30"/>
                      </a:cubicBezTo>
                      <a:cubicBezTo>
                        <a:pt x="67" y="29"/>
                        <a:pt x="67" y="29"/>
                        <a:pt x="67" y="29"/>
                      </a:cubicBezTo>
                      <a:cubicBezTo>
                        <a:pt x="66" y="27"/>
                        <a:pt x="66" y="27"/>
                        <a:pt x="66" y="27"/>
                      </a:cubicBezTo>
                      <a:cubicBezTo>
                        <a:pt x="67" y="27"/>
                        <a:pt x="67" y="27"/>
                        <a:pt x="67" y="27"/>
                      </a:cubicBezTo>
                      <a:cubicBezTo>
                        <a:pt x="67" y="26"/>
                        <a:pt x="67" y="26"/>
                        <a:pt x="67" y="26"/>
                      </a:cubicBezTo>
                      <a:cubicBezTo>
                        <a:pt x="67" y="26"/>
                        <a:pt x="67" y="26"/>
                        <a:pt x="67" y="26"/>
                      </a:cubicBezTo>
                      <a:cubicBezTo>
                        <a:pt x="67" y="25"/>
                        <a:pt x="67" y="25"/>
                        <a:pt x="67" y="25"/>
                      </a:cubicBezTo>
                      <a:close/>
                      <a:moveTo>
                        <a:pt x="191" y="34"/>
                      </a:moveTo>
                      <a:cubicBezTo>
                        <a:pt x="190" y="34"/>
                        <a:pt x="190" y="34"/>
                        <a:pt x="190" y="34"/>
                      </a:cubicBezTo>
                      <a:cubicBezTo>
                        <a:pt x="191" y="35"/>
                        <a:pt x="191" y="35"/>
                        <a:pt x="191" y="35"/>
                      </a:cubicBezTo>
                      <a:cubicBezTo>
                        <a:pt x="191" y="35"/>
                        <a:pt x="191" y="35"/>
                        <a:pt x="191" y="35"/>
                      </a:cubicBezTo>
                      <a:cubicBezTo>
                        <a:pt x="191" y="34"/>
                        <a:pt x="191" y="34"/>
                        <a:pt x="191" y="34"/>
                      </a:cubicBezTo>
                      <a:close/>
                      <a:moveTo>
                        <a:pt x="193" y="37"/>
                      </a:moveTo>
                      <a:cubicBezTo>
                        <a:pt x="192" y="37"/>
                        <a:pt x="192" y="37"/>
                        <a:pt x="192" y="37"/>
                      </a:cubicBezTo>
                      <a:cubicBezTo>
                        <a:pt x="192" y="37"/>
                        <a:pt x="192" y="37"/>
                        <a:pt x="192" y="37"/>
                      </a:cubicBezTo>
                      <a:cubicBezTo>
                        <a:pt x="193" y="37"/>
                        <a:pt x="193" y="37"/>
                        <a:pt x="193" y="37"/>
                      </a:cubicBezTo>
                      <a:close/>
                      <a:moveTo>
                        <a:pt x="194" y="37"/>
                      </a:moveTo>
                      <a:cubicBezTo>
                        <a:pt x="194" y="37"/>
                        <a:pt x="194" y="38"/>
                        <a:pt x="194" y="38"/>
                      </a:cubicBezTo>
                      <a:cubicBezTo>
                        <a:pt x="195" y="38"/>
                        <a:pt x="195" y="38"/>
                        <a:pt x="195" y="38"/>
                      </a:cubicBezTo>
                      <a:cubicBezTo>
                        <a:pt x="198" y="38"/>
                        <a:pt x="198" y="38"/>
                        <a:pt x="198" y="38"/>
                      </a:cubicBezTo>
                      <a:cubicBezTo>
                        <a:pt x="200" y="38"/>
                        <a:pt x="200" y="38"/>
                        <a:pt x="200" y="38"/>
                      </a:cubicBezTo>
                      <a:cubicBezTo>
                        <a:pt x="200" y="38"/>
                        <a:pt x="200" y="38"/>
                        <a:pt x="200" y="38"/>
                      </a:cubicBezTo>
                      <a:cubicBezTo>
                        <a:pt x="199" y="38"/>
                        <a:pt x="199" y="38"/>
                        <a:pt x="199" y="38"/>
                      </a:cubicBezTo>
                      <a:cubicBezTo>
                        <a:pt x="198" y="38"/>
                        <a:pt x="198" y="38"/>
                        <a:pt x="198" y="38"/>
                      </a:cubicBezTo>
                      <a:cubicBezTo>
                        <a:pt x="196" y="37"/>
                        <a:pt x="196" y="37"/>
                        <a:pt x="196" y="37"/>
                      </a:cubicBezTo>
                      <a:cubicBezTo>
                        <a:pt x="195" y="38"/>
                        <a:pt x="195" y="38"/>
                        <a:pt x="195" y="38"/>
                      </a:cubicBezTo>
                      <a:cubicBezTo>
                        <a:pt x="194" y="37"/>
                        <a:pt x="194" y="37"/>
                        <a:pt x="194" y="37"/>
                      </a:cubicBezTo>
                      <a:close/>
                      <a:moveTo>
                        <a:pt x="194" y="33"/>
                      </a:moveTo>
                      <a:cubicBezTo>
                        <a:pt x="194" y="34"/>
                        <a:pt x="194" y="34"/>
                        <a:pt x="194" y="34"/>
                      </a:cubicBezTo>
                      <a:cubicBezTo>
                        <a:pt x="194" y="33"/>
                        <a:pt x="194" y="33"/>
                        <a:pt x="194" y="33"/>
                      </a:cubicBezTo>
                      <a:cubicBezTo>
                        <a:pt x="195" y="33"/>
                        <a:pt x="195" y="33"/>
                        <a:pt x="195" y="33"/>
                      </a:cubicBezTo>
                      <a:cubicBezTo>
                        <a:pt x="196" y="34"/>
                        <a:pt x="196" y="34"/>
                        <a:pt x="196" y="34"/>
                      </a:cubicBezTo>
                      <a:cubicBezTo>
                        <a:pt x="196" y="35"/>
                        <a:pt x="196" y="35"/>
                        <a:pt x="196" y="35"/>
                      </a:cubicBezTo>
                      <a:cubicBezTo>
                        <a:pt x="196" y="35"/>
                        <a:pt x="196" y="35"/>
                        <a:pt x="196" y="35"/>
                      </a:cubicBezTo>
                      <a:cubicBezTo>
                        <a:pt x="197" y="35"/>
                        <a:pt x="197" y="35"/>
                        <a:pt x="197" y="35"/>
                      </a:cubicBezTo>
                      <a:cubicBezTo>
                        <a:pt x="197" y="35"/>
                        <a:pt x="197" y="35"/>
                        <a:pt x="197" y="35"/>
                      </a:cubicBezTo>
                      <a:cubicBezTo>
                        <a:pt x="198" y="35"/>
                        <a:pt x="198" y="35"/>
                        <a:pt x="198" y="35"/>
                      </a:cubicBezTo>
                      <a:cubicBezTo>
                        <a:pt x="198" y="35"/>
                        <a:pt x="198" y="35"/>
                        <a:pt x="198" y="35"/>
                      </a:cubicBezTo>
                      <a:cubicBezTo>
                        <a:pt x="197" y="34"/>
                        <a:pt x="197" y="34"/>
                        <a:pt x="197" y="34"/>
                      </a:cubicBezTo>
                      <a:cubicBezTo>
                        <a:pt x="196" y="33"/>
                        <a:pt x="196" y="33"/>
                        <a:pt x="196" y="33"/>
                      </a:cubicBezTo>
                      <a:cubicBezTo>
                        <a:pt x="196" y="33"/>
                        <a:pt x="196" y="33"/>
                        <a:pt x="196" y="33"/>
                      </a:cubicBezTo>
                      <a:cubicBezTo>
                        <a:pt x="195" y="33"/>
                        <a:pt x="195" y="33"/>
                        <a:pt x="195" y="33"/>
                      </a:cubicBezTo>
                      <a:cubicBezTo>
                        <a:pt x="193" y="33"/>
                        <a:pt x="193" y="33"/>
                        <a:pt x="193" y="33"/>
                      </a:cubicBezTo>
                      <a:cubicBezTo>
                        <a:pt x="194" y="33"/>
                        <a:pt x="194" y="33"/>
                        <a:pt x="194" y="33"/>
                      </a:cubicBezTo>
                      <a:close/>
                      <a:moveTo>
                        <a:pt x="180" y="55"/>
                      </a:moveTo>
                      <a:cubicBezTo>
                        <a:pt x="180" y="56"/>
                        <a:pt x="180" y="56"/>
                        <a:pt x="180" y="56"/>
                      </a:cubicBezTo>
                      <a:cubicBezTo>
                        <a:pt x="180" y="56"/>
                        <a:pt x="180" y="56"/>
                        <a:pt x="180" y="56"/>
                      </a:cubicBezTo>
                      <a:cubicBezTo>
                        <a:pt x="180" y="57"/>
                        <a:pt x="180" y="57"/>
                        <a:pt x="180" y="57"/>
                      </a:cubicBezTo>
                      <a:cubicBezTo>
                        <a:pt x="180" y="56"/>
                        <a:pt x="180" y="56"/>
                        <a:pt x="180" y="56"/>
                      </a:cubicBezTo>
                      <a:cubicBezTo>
                        <a:pt x="180" y="55"/>
                        <a:pt x="180" y="55"/>
                        <a:pt x="180" y="55"/>
                      </a:cubicBezTo>
                      <a:close/>
                      <a:moveTo>
                        <a:pt x="182" y="54"/>
                      </a:moveTo>
                      <a:cubicBezTo>
                        <a:pt x="181" y="54"/>
                        <a:pt x="181" y="54"/>
                        <a:pt x="181" y="54"/>
                      </a:cubicBezTo>
                      <a:cubicBezTo>
                        <a:pt x="181" y="56"/>
                        <a:pt x="181" y="56"/>
                        <a:pt x="181" y="56"/>
                      </a:cubicBezTo>
                      <a:cubicBezTo>
                        <a:pt x="181" y="57"/>
                        <a:pt x="181" y="57"/>
                        <a:pt x="181" y="57"/>
                      </a:cubicBezTo>
                      <a:cubicBezTo>
                        <a:pt x="181" y="56"/>
                        <a:pt x="181" y="56"/>
                        <a:pt x="181" y="56"/>
                      </a:cubicBezTo>
                      <a:cubicBezTo>
                        <a:pt x="182" y="55"/>
                        <a:pt x="182" y="55"/>
                        <a:pt x="182" y="55"/>
                      </a:cubicBezTo>
                      <a:cubicBezTo>
                        <a:pt x="182" y="54"/>
                        <a:pt x="182" y="54"/>
                        <a:pt x="182" y="54"/>
                      </a:cubicBezTo>
                      <a:close/>
                      <a:moveTo>
                        <a:pt x="190" y="60"/>
                      </a:moveTo>
                      <a:cubicBezTo>
                        <a:pt x="189" y="60"/>
                        <a:pt x="189" y="60"/>
                        <a:pt x="189" y="60"/>
                      </a:cubicBezTo>
                      <a:cubicBezTo>
                        <a:pt x="190" y="60"/>
                        <a:pt x="190" y="60"/>
                        <a:pt x="190" y="60"/>
                      </a:cubicBezTo>
                      <a:cubicBezTo>
                        <a:pt x="190" y="60"/>
                        <a:pt x="190" y="60"/>
                        <a:pt x="190" y="60"/>
                      </a:cubicBezTo>
                      <a:cubicBezTo>
                        <a:pt x="190" y="60"/>
                        <a:pt x="190" y="60"/>
                        <a:pt x="190" y="60"/>
                      </a:cubicBezTo>
                      <a:close/>
                      <a:moveTo>
                        <a:pt x="187" y="58"/>
                      </a:moveTo>
                      <a:cubicBezTo>
                        <a:pt x="187" y="58"/>
                        <a:pt x="187" y="58"/>
                        <a:pt x="187" y="58"/>
                      </a:cubicBezTo>
                      <a:cubicBezTo>
                        <a:pt x="187" y="58"/>
                        <a:pt x="187" y="58"/>
                        <a:pt x="187" y="58"/>
                      </a:cubicBezTo>
                      <a:cubicBezTo>
                        <a:pt x="187" y="59"/>
                        <a:pt x="187" y="59"/>
                        <a:pt x="187" y="59"/>
                      </a:cubicBezTo>
                      <a:cubicBezTo>
                        <a:pt x="187" y="59"/>
                        <a:pt x="187" y="59"/>
                        <a:pt x="187" y="59"/>
                      </a:cubicBezTo>
                      <a:cubicBezTo>
                        <a:pt x="187" y="60"/>
                        <a:pt x="187" y="60"/>
                        <a:pt x="187" y="60"/>
                      </a:cubicBezTo>
                      <a:cubicBezTo>
                        <a:pt x="187" y="60"/>
                        <a:pt x="187" y="60"/>
                        <a:pt x="187" y="60"/>
                      </a:cubicBezTo>
                      <a:cubicBezTo>
                        <a:pt x="187" y="60"/>
                        <a:pt x="187" y="60"/>
                        <a:pt x="187" y="60"/>
                      </a:cubicBezTo>
                      <a:cubicBezTo>
                        <a:pt x="187" y="60"/>
                        <a:pt x="187" y="60"/>
                        <a:pt x="187" y="60"/>
                      </a:cubicBezTo>
                      <a:cubicBezTo>
                        <a:pt x="187" y="61"/>
                        <a:pt x="187" y="61"/>
                        <a:pt x="187" y="61"/>
                      </a:cubicBezTo>
                      <a:cubicBezTo>
                        <a:pt x="188" y="61"/>
                        <a:pt x="188" y="61"/>
                        <a:pt x="188" y="61"/>
                      </a:cubicBezTo>
                      <a:cubicBezTo>
                        <a:pt x="188" y="60"/>
                        <a:pt x="188" y="60"/>
                        <a:pt x="188" y="60"/>
                      </a:cubicBezTo>
                      <a:cubicBezTo>
                        <a:pt x="189" y="60"/>
                        <a:pt x="189" y="60"/>
                        <a:pt x="189" y="60"/>
                      </a:cubicBezTo>
                      <a:cubicBezTo>
                        <a:pt x="188" y="59"/>
                        <a:pt x="188" y="59"/>
                        <a:pt x="188" y="59"/>
                      </a:cubicBezTo>
                      <a:cubicBezTo>
                        <a:pt x="188" y="59"/>
                        <a:pt x="188" y="59"/>
                        <a:pt x="188" y="59"/>
                      </a:cubicBezTo>
                      <a:cubicBezTo>
                        <a:pt x="187" y="58"/>
                        <a:pt x="187" y="58"/>
                        <a:pt x="187" y="58"/>
                      </a:cubicBezTo>
                      <a:close/>
                      <a:moveTo>
                        <a:pt x="189" y="58"/>
                      </a:moveTo>
                      <a:cubicBezTo>
                        <a:pt x="189" y="58"/>
                        <a:pt x="188" y="59"/>
                        <a:pt x="188" y="59"/>
                      </a:cubicBezTo>
                      <a:cubicBezTo>
                        <a:pt x="188" y="59"/>
                        <a:pt x="188" y="59"/>
                        <a:pt x="188" y="59"/>
                      </a:cubicBezTo>
                      <a:cubicBezTo>
                        <a:pt x="189" y="59"/>
                        <a:pt x="189" y="59"/>
                        <a:pt x="189" y="59"/>
                      </a:cubicBezTo>
                      <a:cubicBezTo>
                        <a:pt x="189" y="59"/>
                        <a:pt x="189" y="59"/>
                        <a:pt x="189" y="59"/>
                      </a:cubicBezTo>
                      <a:cubicBezTo>
                        <a:pt x="189" y="59"/>
                        <a:pt x="189" y="59"/>
                        <a:pt x="189" y="59"/>
                      </a:cubicBezTo>
                      <a:cubicBezTo>
                        <a:pt x="189" y="58"/>
                        <a:pt x="189" y="58"/>
                        <a:pt x="189" y="58"/>
                      </a:cubicBezTo>
                      <a:close/>
                      <a:moveTo>
                        <a:pt x="187" y="57"/>
                      </a:moveTo>
                      <a:cubicBezTo>
                        <a:pt x="187" y="57"/>
                        <a:pt x="187" y="57"/>
                        <a:pt x="187" y="57"/>
                      </a:cubicBezTo>
                      <a:cubicBezTo>
                        <a:pt x="187" y="57"/>
                        <a:pt x="187" y="57"/>
                        <a:pt x="187" y="57"/>
                      </a:cubicBezTo>
                      <a:cubicBezTo>
                        <a:pt x="188" y="58"/>
                        <a:pt x="188" y="58"/>
                        <a:pt x="188" y="58"/>
                      </a:cubicBezTo>
                      <a:cubicBezTo>
                        <a:pt x="188" y="58"/>
                        <a:pt x="188" y="58"/>
                        <a:pt x="188" y="58"/>
                      </a:cubicBezTo>
                      <a:cubicBezTo>
                        <a:pt x="188" y="58"/>
                        <a:pt x="188" y="58"/>
                        <a:pt x="188" y="58"/>
                      </a:cubicBezTo>
                      <a:cubicBezTo>
                        <a:pt x="188" y="58"/>
                        <a:pt x="188" y="58"/>
                        <a:pt x="188" y="58"/>
                      </a:cubicBezTo>
                      <a:cubicBezTo>
                        <a:pt x="187" y="57"/>
                        <a:pt x="187" y="57"/>
                        <a:pt x="187" y="57"/>
                      </a:cubicBezTo>
                      <a:close/>
                      <a:moveTo>
                        <a:pt x="189" y="56"/>
                      </a:moveTo>
                      <a:cubicBezTo>
                        <a:pt x="188" y="57"/>
                        <a:pt x="188" y="57"/>
                        <a:pt x="188" y="57"/>
                      </a:cubicBezTo>
                      <a:cubicBezTo>
                        <a:pt x="188" y="57"/>
                        <a:pt x="188" y="57"/>
                        <a:pt x="188" y="57"/>
                      </a:cubicBezTo>
                      <a:cubicBezTo>
                        <a:pt x="188" y="58"/>
                        <a:pt x="188" y="58"/>
                        <a:pt x="188" y="58"/>
                      </a:cubicBezTo>
                      <a:cubicBezTo>
                        <a:pt x="189" y="58"/>
                        <a:pt x="189" y="58"/>
                        <a:pt x="189" y="58"/>
                      </a:cubicBezTo>
                      <a:cubicBezTo>
                        <a:pt x="189" y="58"/>
                        <a:pt x="189" y="58"/>
                        <a:pt x="189" y="58"/>
                      </a:cubicBezTo>
                      <a:cubicBezTo>
                        <a:pt x="190" y="58"/>
                        <a:pt x="190" y="58"/>
                        <a:pt x="190" y="58"/>
                      </a:cubicBezTo>
                      <a:cubicBezTo>
                        <a:pt x="190" y="57"/>
                        <a:pt x="190" y="57"/>
                        <a:pt x="190" y="57"/>
                      </a:cubicBezTo>
                      <a:cubicBezTo>
                        <a:pt x="190" y="57"/>
                        <a:pt x="190" y="57"/>
                        <a:pt x="190" y="57"/>
                      </a:cubicBezTo>
                      <a:cubicBezTo>
                        <a:pt x="190" y="57"/>
                        <a:pt x="190" y="57"/>
                        <a:pt x="190" y="57"/>
                      </a:cubicBezTo>
                      <a:cubicBezTo>
                        <a:pt x="189" y="57"/>
                        <a:pt x="189" y="57"/>
                        <a:pt x="189" y="57"/>
                      </a:cubicBezTo>
                      <a:cubicBezTo>
                        <a:pt x="189" y="56"/>
                        <a:pt x="189" y="56"/>
                        <a:pt x="189" y="56"/>
                      </a:cubicBezTo>
                      <a:close/>
                      <a:moveTo>
                        <a:pt x="187" y="56"/>
                      </a:moveTo>
                      <a:cubicBezTo>
                        <a:pt x="187" y="56"/>
                        <a:pt x="187" y="56"/>
                        <a:pt x="187" y="56"/>
                      </a:cubicBezTo>
                      <a:cubicBezTo>
                        <a:pt x="187" y="56"/>
                        <a:pt x="187" y="56"/>
                        <a:pt x="187" y="56"/>
                      </a:cubicBezTo>
                      <a:cubicBezTo>
                        <a:pt x="187" y="56"/>
                        <a:pt x="187" y="56"/>
                        <a:pt x="187" y="56"/>
                      </a:cubicBezTo>
                      <a:cubicBezTo>
                        <a:pt x="187" y="56"/>
                        <a:pt x="187" y="56"/>
                        <a:pt x="187" y="56"/>
                      </a:cubicBezTo>
                      <a:close/>
                      <a:moveTo>
                        <a:pt x="189" y="54"/>
                      </a:moveTo>
                      <a:cubicBezTo>
                        <a:pt x="189" y="55"/>
                        <a:pt x="189" y="55"/>
                        <a:pt x="189" y="55"/>
                      </a:cubicBezTo>
                      <a:cubicBezTo>
                        <a:pt x="190" y="55"/>
                        <a:pt x="190" y="55"/>
                        <a:pt x="190" y="55"/>
                      </a:cubicBezTo>
                      <a:cubicBezTo>
                        <a:pt x="189" y="54"/>
                        <a:pt x="189" y="54"/>
                        <a:pt x="189" y="54"/>
                      </a:cubicBezTo>
                      <a:cubicBezTo>
                        <a:pt x="189" y="54"/>
                        <a:pt x="189" y="54"/>
                        <a:pt x="189" y="54"/>
                      </a:cubicBezTo>
                      <a:close/>
                      <a:moveTo>
                        <a:pt x="189" y="55"/>
                      </a:moveTo>
                      <a:cubicBezTo>
                        <a:pt x="188" y="55"/>
                        <a:pt x="188" y="55"/>
                        <a:pt x="188" y="55"/>
                      </a:cubicBezTo>
                      <a:cubicBezTo>
                        <a:pt x="188" y="55"/>
                        <a:pt x="188" y="55"/>
                        <a:pt x="188" y="55"/>
                      </a:cubicBezTo>
                      <a:cubicBezTo>
                        <a:pt x="187" y="55"/>
                        <a:pt x="187" y="55"/>
                        <a:pt x="187" y="55"/>
                      </a:cubicBezTo>
                      <a:cubicBezTo>
                        <a:pt x="188" y="55"/>
                        <a:pt x="188" y="55"/>
                        <a:pt x="188" y="55"/>
                      </a:cubicBezTo>
                      <a:cubicBezTo>
                        <a:pt x="188" y="56"/>
                        <a:pt x="188" y="56"/>
                        <a:pt x="188" y="56"/>
                      </a:cubicBezTo>
                      <a:cubicBezTo>
                        <a:pt x="188" y="56"/>
                        <a:pt x="188" y="56"/>
                        <a:pt x="188" y="56"/>
                      </a:cubicBezTo>
                      <a:cubicBezTo>
                        <a:pt x="188" y="56"/>
                        <a:pt x="188" y="56"/>
                        <a:pt x="188" y="56"/>
                      </a:cubicBezTo>
                      <a:cubicBezTo>
                        <a:pt x="188" y="57"/>
                        <a:pt x="188" y="57"/>
                        <a:pt x="188" y="57"/>
                      </a:cubicBezTo>
                      <a:cubicBezTo>
                        <a:pt x="188" y="57"/>
                        <a:pt x="188" y="57"/>
                        <a:pt x="188" y="57"/>
                      </a:cubicBezTo>
                      <a:cubicBezTo>
                        <a:pt x="189" y="56"/>
                        <a:pt x="189" y="56"/>
                        <a:pt x="189" y="56"/>
                      </a:cubicBezTo>
                      <a:cubicBezTo>
                        <a:pt x="189" y="56"/>
                        <a:pt x="189" y="56"/>
                        <a:pt x="189" y="56"/>
                      </a:cubicBezTo>
                      <a:cubicBezTo>
                        <a:pt x="190" y="56"/>
                        <a:pt x="190" y="56"/>
                        <a:pt x="190" y="56"/>
                      </a:cubicBezTo>
                      <a:cubicBezTo>
                        <a:pt x="190" y="55"/>
                        <a:pt x="190" y="55"/>
                        <a:pt x="190" y="55"/>
                      </a:cubicBezTo>
                      <a:cubicBezTo>
                        <a:pt x="189" y="55"/>
                        <a:pt x="189" y="55"/>
                        <a:pt x="189" y="55"/>
                      </a:cubicBezTo>
                      <a:cubicBezTo>
                        <a:pt x="189" y="55"/>
                        <a:pt x="189" y="55"/>
                        <a:pt x="189" y="55"/>
                      </a:cubicBezTo>
                      <a:close/>
                      <a:moveTo>
                        <a:pt x="176" y="61"/>
                      </a:moveTo>
                      <a:cubicBezTo>
                        <a:pt x="177" y="61"/>
                        <a:pt x="177" y="61"/>
                        <a:pt x="177" y="61"/>
                      </a:cubicBezTo>
                      <a:cubicBezTo>
                        <a:pt x="177" y="61"/>
                        <a:pt x="177" y="61"/>
                        <a:pt x="177" y="61"/>
                      </a:cubicBezTo>
                      <a:cubicBezTo>
                        <a:pt x="176" y="61"/>
                        <a:pt x="176" y="61"/>
                        <a:pt x="176" y="61"/>
                      </a:cubicBezTo>
                      <a:close/>
                      <a:moveTo>
                        <a:pt x="175" y="62"/>
                      </a:moveTo>
                      <a:cubicBezTo>
                        <a:pt x="177" y="62"/>
                        <a:pt x="177" y="62"/>
                        <a:pt x="177" y="62"/>
                      </a:cubicBezTo>
                      <a:cubicBezTo>
                        <a:pt x="176" y="62"/>
                        <a:pt x="176" y="62"/>
                        <a:pt x="176" y="62"/>
                      </a:cubicBezTo>
                      <a:cubicBezTo>
                        <a:pt x="175" y="62"/>
                        <a:pt x="175" y="62"/>
                        <a:pt x="175" y="62"/>
                      </a:cubicBezTo>
                      <a:close/>
                      <a:moveTo>
                        <a:pt x="171" y="64"/>
                      </a:moveTo>
                      <a:cubicBezTo>
                        <a:pt x="171" y="64"/>
                        <a:pt x="171" y="64"/>
                        <a:pt x="171" y="64"/>
                      </a:cubicBezTo>
                      <a:cubicBezTo>
                        <a:pt x="171" y="64"/>
                        <a:pt x="171" y="64"/>
                        <a:pt x="171" y="64"/>
                      </a:cubicBezTo>
                      <a:cubicBezTo>
                        <a:pt x="171" y="64"/>
                        <a:pt x="171" y="64"/>
                        <a:pt x="171" y="64"/>
                      </a:cubicBezTo>
                      <a:close/>
                      <a:moveTo>
                        <a:pt x="172" y="63"/>
                      </a:moveTo>
                      <a:cubicBezTo>
                        <a:pt x="171" y="63"/>
                        <a:pt x="171" y="63"/>
                        <a:pt x="171" y="63"/>
                      </a:cubicBezTo>
                      <a:cubicBezTo>
                        <a:pt x="172" y="63"/>
                        <a:pt x="172" y="63"/>
                        <a:pt x="172" y="63"/>
                      </a:cubicBezTo>
                      <a:cubicBezTo>
                        <a:pt x="172" y="63"/>
                        <a:pt x="172" y="63"/>
                        <a:pt x="172" y="63"/>
                      </a:cubicBezTo>
                      <a:cubicBezTo>
                        <a:pt x="172" y="63"/>
                        <a:pt x="172" y="63"/>
                        <a:pt x="172" y="63"/>
                      </a:cubicBezTo>
                      <a:close/>
                      <a:moveTo>
                        <a:pt x="173" y="66"/>
                      </a:moveTo>
                      <a:cubicBezTo>
                        <a:pt x="172" y="66"/>
                        <a:pt x="172" y="66"/>
                        <a:pt x="172" y="66"/>
                      </a:cubicBezTo>
                      <a:cubicBezTo>
                        <a:pt x="171" y="67"/>
                        <a:pt x="171" y="67"/>
                        <a:pt x="171" y="67"/>
                      </a:cubicBezTo>
                      <a:cubicBezTo>
                        <a:pt x="171" y="67"/>
                        <a:pt x="171" y="67"/>
                        <a:pt x="171" y="67"/>
                      </a:cubicBezTo>
                      <a:cubicBezTo>
                        <a:pt x="172" y="67"/>
                        <a:pt x="172" y="67"/>
                        <a:pt x="172" y="67"/>
                      </a:cubicBezTo>
                      <a:cubicBezTo>
                        <a:pt x="172" y="66"/>
                        <a:pt x="172" y="66"/>
                        <a:pt x="172" y="66"/>
                      </a:cubicBezTo>
                      <a:cubicBezTo>
                        <a:pt x="173" y="66"/>
                        <a:pt x="173" y="66"/>
                        <a:pt x="173" y="66"/>
                      </a:cubicBezTo>
                      <a:close/>
                      <a:moveTo>
                        <a:pt x="174" y="63"/>
                      </a:moveTo>
                      <a:cubicBezTo>
                        <a:pt x="173" y="64"/>
                        <a:pt x="173" y="64"/>
                        <a:pt x="173" y="64"/>
                      </a:cubicBezTo>
                      <a:cubicBezTo>
                        <a:pt x="173" y="64"/>
                        <a:pt x="173" y="64"/>
                        <a:pt x="173" y="64"/>
                      </a:cubicBezTo>
                      <a:cubicBezTo>
                        <a:pt x="173" y="64"/>
                        <a:pt x="173" y="64"/>
                        <a:pt x="173" y="64"/>
                      </a:cubicBezTo>
                      <a:cubicBezTo>
                        <a:pt x="172" y="65"/>
                        <a:pt x="172" y="65"/>
                        <a:pt x="172" y="65"/>
                      </a:cubicBezTo>
                      <a:cubicBezTo>
                        <a:pt x="172" y="65"/>
                        <a:pt x="172" y="65"/>
                        <a:pt x="172" y="65"/>
                      </a:cubicBezTo>
                      <a:cubicBezTo>
                        <a:pt x="173" y="66"/>
                        <a:pt x="173" y="66"/>
                        <a:pt x="173" y="66"/>
                      </a:cubicBezTo>
                      <a:cubicBezTo>
                        <a:pt x="174" y="66"/>
                        <a:pt x="174" y="66"/>
                        <a:pt x="174" y="66"/>
                      </a:cubicBezTo>
                      <a:cubicBezTo>
                        <a:pt x="175" y="65"/>
                        <a:pt x="175" y="65"/>
                        <a:pt x="175" y="65"/>
                      </a:cubicBezTo>
                      <a:cubicBezTo>
                        <a:pt x="175" y="64"/>
                        <a:pt x="175" y="64"/>
                        <a:pt x="175" y="64"/>
                      </a:cubicBezTo>
                      <a:cubicBezTo>
                        <a:pt x="175" y="63"/>
                        <a:pt x="175" y="63"/>
                        <a:pt x="175" y="63"/>
                      </a:cubicBezTo>
                      <a:cubicBezTo>
                        <a:pt x="175" y="62"/>
                        <a:pt x="175" y="62"/>
                        <a:pt x="175" y="62"/>
                      </a:cubicBezTo>
                      <a:cubicBezTo>
                        <a:pt x="175" y="62"/>
                        <a:pt x="175" y="62"/>
                        <a:pt x="175" y="62"/>
                      </a:cubicBezTo>
                      <a:cubicBezTo>
                        <a:pt x="174" y="62"/>
                        <a:pt x="174" y="62"/>
                        <a:pt x="174" y="62"/>
                      </a:cubicBezTo>
                      <a:cubicBezTo>
                        <a:pt x="174" y="62"/>
                        <a:pt x="174" y="62"/>
                        <a:pt x="174" y="62"/>
                      </a:cubicBezTo>
                      <a:cubicBezTo>
                        <a:pt x="174" y="63"/>
                        <a:pt x="174" y="63"/>
                        <a:pt x="174" y="63"/>
                      </a:cubicBezTo>
                      <a:close/>
                      <a:moveTo>
                        <a:pt x="167" y="58"/>
                      </a:moveTo>
                      <a:cubicBezTo>
                        <a:pt x="167" y="58"/>
                        <a:pt x="167" y="58"/>
                        <a:pt x="167" y="58"/>
                      </a:cubicBezTo>
                      <a:cubicBezTo>
                        <a:pt x="167" y="58"/>
                        <a:pt x="167" y="58"/>
                        <a:pt x="167" y="58"/>
                      </a:cubicBezTo>
                      <a:cubicBezTo>
                        <a:pt x="167" y="58"/>
                        <a:pt x="167" y="58"/>
                        <a:pt x="167" y="58"/>
                      </a:cubicBezTo>
                      <a:close/>
                      <a:moveTo>
                        <a:pt x="165" y="60"/>
                      </a:moveTo>
                      <a:cubicBezTo>
                        <a:pt x="164" y="60"/>
                        <a:pt x="164" y="60"/>
                        <a:pt x="164" y="60"/>
                      </a:cubicBezTo>
                      <a:cubicBezTo>
                        <a:pt x="165" y="60"/>
                        <a:pt x="165" y="60"/>
                        <a:pt x="165" y="60"/>
                      </a:cubicBezTo>
                      <a:cubicBezTo>
                        <a:pt x="165" y="60"/>
                        <a:pt x="165" y="60"/>
                        <a:pt x="165" y="60"/>
                      </a:cubicBezTo>
                      <a:close/>
                      <a:moveTo>
                        <a:pt x="166" y="66"/>
                      </a:moveTo>
                      <a:cubicBezTo>
                        <a:pt x="165" y="67"/>
                        <a:pt x="165" y="67"/>
                        <a:pt x="165" y="67"/>
                      </a:cubicBezTo>
                      <a:cubicBezTo>
                        <a:pt x="166" y="67"/>
                        <a:pt x="166" y="67"/>
                        <a:pt x="166" y="67"/>
                      </a:cubicBezTo>
                      <a:cubicBezTo>
                        <a:pt x="166" y="66"/>
                        <a:pt x="166" y="66"/>
                        <a:pt x="166" y="66"/>
                      </a:cubicBezTo>
                      <a:close/>
                      <a:moveTo>
                        <a:pt x="165" y="65"/>
                      </a:moveTo>
                      <a:cubicBezTo>
                        <a:pt x="165" y="65"/>
                        <a:pt x="165" y="65"/>
                        <a:pt x="165" y="65"/>
                      </a:cubicBezTo>
                      <a:cubicBezTo>
                        <a:pt x="166" y="65"/>
                        <a:pt x="166" y="65"/>
                        <a:pt x="166" y="65"/>
                      </a:cubicBezTo>
                      <a:cubicBezTo>
                        <a:pt x="166" y="66"/>
                        <a:pt x="166" y="66"/>
                        <a:pt x="166" y="66"/>
                      </a:cubicBezTo>
                      <a:cubicBezTo>
                        <a:pt x="165" y="66"/>
                        <a:pt x="165" y="66"/>
                        <a:pt x="165" y="66"/>
                      </a:cubicBezTo>
                      <a:cubicBezTo>
                        <a:pt x="165" y="65"/>
                        <a:pt x="165" y="65"/>
                        <a:pt x="165" y="65"/>
                      </a:cubicBezTo>
                      <a:cubicBezTo>
                        <a:pt x="165" y="65"/>
                        <a:pt x="165" y="65"/>
                        <a:pt x="165" y="65"/>
                      </a:cubicBezTo>
                      <a:close/>
                      <a:moveTo>
                        <a:pt x="160" y="62"/>
                      </a:moveTo>
                      <a:cubicBezTo>
                        <a:pt x="160" y="62"/>
                        <a:pt x="160" y="62"/>
                        <a:pt x="160" y="62"/>
                      </a:cubicBezTo>
                      <a:cubicBezTo>
                        <a:pt x="161" y="62"/>
                        <a:pt x="161" y="62"/>
                        <a:pt x="161" y="62"/>
                      </a:cubicBezTo>
                      <a:cubicBezTo>
                        <a:pt x="160" y="62"/>
                        <a:pt x="160" y="62"/>
                        <a:pt x="160" y="62"/>
                      </a:cubicBezTo>
                      <a:cubicBezTo>
                        <a:pt x="160" y="62"/>
                        <a:pt x="160" y="62"/>
                        <a:pt x="160" y="62"/>
                      </a:cubicBezTo>
                      <a:cubicBezTo>
                        <a:pt x="160" y="62"/>
                        <a:pt x="160" y="62"/>
                        <a:pt x="160" y="62"/>
                      </a:cubicBezTo>
                      <a:close/>
                      <a:moveTo>
                        <a:pt x="161" y="67"/>
                      </a:moveTo>
                      <a:cubicBezTo>
                        <a:pt x="162" y="67"/>
                        <a:pt x="162" y="67"/>
                        <a:pt x="162" y="67"/>
                      </a:cubicBezTo>
                      <a:cubicBezTo>
                        <a:pt x="162" y="67"/>
                        <a:pt x="162" y="67"/>
                        <a:pt x="162" y="67"/>
                      </a:cubicBezTo>
                      <a:cubicBezTo>
                        <a:pt x="161" y="67"/>
                        <a:pt x="161" y="67"/>
                        <a:pt x="161" y="67"/>
                      </a:cubicBezTo>
                      <a:cubicBezTo>
                        <a:pt x="161" y="67"/>
                        <a:pt x="161" y="67"/>
                        <a:pt x="161" y="67"/>
                      </a:cubicBezTo>
                      <a:close/>
                      <a:moveTo>
                        <a:pt x="153" y="64"/>
                      </a:moveTo>
                      <a:cubicBezTo>
                        <a:pt x="154" y="64"/>
                        <a:pt x="154" y="64"/>
                        <a:pt x="154" y="64"/>
                      </a:cubicBezTo>
                      <a:cubicBezTo>
                        <a:pt x="154" y="63"/>
                        <a:pt x="154" y="63"/>
                        <a:pt x="154" y="63"/>
                      </a:cubicBezTo>
                      <a:cubicBezTo>
                        <a:pt x="153" y="64"/>
                        <a:pt x="153" y="64"/>
                        <a:pt x="153" y="64"/>
                      </a:cubicBezTo>
                      <a:cubicBezTo>
                        <a:pt x="153" y="64"/>
                        <a:pt x="153" y="64"/>
                        <a:pt x="153" y="64"/>
                      </a:cubicBezTo>
                      <a:close/>
                      <a:moveTo>
                        <a:pt x="156" y="67"/>
                      </a:moveTo>
                      <a:cubicBezTo>
                        <a:pt x="157" y="67"/>
                        <a:pt x="157" y="67"/>
                        <a:pt x="157" y="67"/>
                      </a:cubicBezTo>
                      <a:cubicBezTo>
                        <a:pt x="158" y="66"/>
                        <a:pt x="158" y="66"/>
                        <a:pt x="158" y="66"/>
                      </a:cubicBezTo>
                      <a:cubicBezTo>
                        <a:pt x="158" y="67"/>
                        <a:pt x="158" y="67"/>
                        <a:pt x="158" y="67"/>
                      </a:cubicBezTo>
                      <a:cubicBezTo>
                        <a:pt x="157" y="67"/>
                        <a:pt x="157" y="67"/>
                        <a:pt x="157" y="67"/>
                      </a:cubicBezTo>
                      <a:cubicBezTo>
                        <a:pt x="156" y="67"/>
                        <a:pt x="156" y="67"/>
                        <a:pt x="156" y="67"/>
                      </a:cubicBezTo>
                      <a:cubicBezTo>
                        <a:pt x="156" y="67"/>
                        <a:pt x="156" y="67"/>
                        <a:pt x="156" y="67"/>
                      </a:cubicBezTo>
                      <a:close/>
                      <a:moveTo>
                        <a:pt x="155" y="67"/>
                      </a:moveTo>
                      <a:cubicBezTo>
                        <a:pt x="155" y="67"/>
                        <a:pt x="155" y="67"/>
                        <a:pt x="155" y="67"/>
                      </a:cubicBezTo>
                      <a:cubicBezTo>
                        <a:pt x="155" y="67"/>
                        <a:pt x="155" y="67"/>
                        <a:pt x="155" y="67"/>
                      </a:cubicBezTo>
                      <a:cubicBezTo>
                        <a:pt x="155" y="67"/>
                        <a:pt x="155" y="67"/>
                        <a:pt x="155" y="67"/>
                      </a:cubicBezTo>
                      <a:close/>
                      <a:moveTo>
                        <a:pt x="152" y="67"/>
                      </a:moveTo>
                      <a:cubicBezTo>
                        <a:pt x="153" y="66"/>
                        <a:pt x="153" y="66"/>
                        <a:pt x="153" y="66"/>
                      </a:cubicBezTo>
                      <a:cubicBezTo>
                        <a:pt x="153" y="67"/>
                        <a:pt x="153" y="67"/>
                        <a:pt x="153" y="67"/>
                      </a:cubicBezTo>
                      <a:cubicBezTo>
                        <a:pt x="153" y="67"/>
                        <a:pt x="153" y="67"/>
                        <a:pt x="153" y="67"/>
                      </a:cubicBezTo>
                      <a:cubicBezTo>
                        <a:pt x="152" y="67"/>
                        <a:pt x="152" y="67"/>
                        <a:pt x="152" y="67"/>
                      </a:cubicBezTo>
                      <a:close/>
                      <a:moveTo>
                        <a:pt x="135" y="76"/>
                      </a:moveTo>
                      <a:cubicBezTo>
                        <a:pt x="134" y="77"/>
                        <a:pt x="134" y="77"/>
                        <a:pt x="134" y="77"/>
                      </a:cubicBezTo>
                      <a:cubicBezTo>
                        <a:pt x="135" y="77"/>
                        <a:pt x="135" y="77"/>
                        <a:pt x="135" y="77"/>
                      </a:cubicBezTo>
                      <a:cubicBezTo>
                        <a:pt x="136" y="77"/>
                        <a:pt x="136" y="77"/>
                        <a:pt x="136" y="77"/>
                      </a:cubicBezTo>
                      <a:cubicBezTo>
                        <a:pt x="138" y="76"/>
                        <a:pt x="138" y="76"/>
                        <a:pt x="138" y="76"/>
                      </a:cubicBezTo>
                      <a:cubicBezTo>
                        <a:pt x="138" y="76"/>
                        <a:pt x="138" y="76"/>
                        <a:pt x="138" y="76"/>
                      </a:cubicBezTo>
                      <a:cubicBezTo>
                        <a:pt x="139" y="76"/>
                        <a:pt x="139" y="76"/>
                        <a:pt x="139" y="76"/>
                      </a:cubicBezTo>
                      <a:cubicBezTo>
                        <a:pt x="140" y="75"/>
                        <a:pt x="140" y="75"/>
                        <a:pt x="140" y="75"/>
                      </a:cubicBezTo>
                      <a:cubicBezTo>
                        <a:pt x="141" y="74"/>
                        <a:pt x="141" y="74"/>
                        <a:pt x="141" y="74"/>
                      </a:cubicBezTo>
                      <a:cubicBezTo>
                        <a:pt x="143" y="73"/>
                        <a:pt x="143" y="73"/>
                        <a:pt x="143" y="73"/>
                      </a:cubicBezTo>
                      <a:cubicBezTo>
                        <a:pt x="143" y="73"/>
                        <a:pt x="143" y="73"/>
                        <a:pt x="143" y="73"/>
                      </a:cubicBezTo>
                      <a:cubicBezTo>
                        <a:pt x="143" y="73"/>
                        <a:pt x="143" y="73"/>
                        <a:pt x="143" y="73"/>
                      </a:cubicBezTo>
                      <a:cubicBezTo>
                        <a:pt x="142" y="72"/>
                        <a:pt x="142" y="72"/>
                        <a:pt x="142" y="72"/>
                      </a:cubicBezTo>
                      <a:cubicBezTo>
                        <a:pt x="141" y="71"/>
                        <a:pt x="141" y="71"/>
                        <a:pt x="141" y="71"/>
                      </a:cubicBezTo>
                      <a:cubicBezTo>
                        <a:pt x="141" y="71"/>
                        <a:pt x="141" y="71"/>
                        <a:pt x="141" y="71"/>
                      </a:cubicBezTo>
                      <a:cubicBezTo>
                        <a:pt x="140" y="71"/>
                        <a:pt x="140" y="71"/>
                        <a:pt x="140" y="71"/>
                      </a:cubicBezTo>
                      <a:cubicBezTo>
                        <a:pt x="140" y="72"/>
                        <a:pt x="140" y="72"/>
                        <a:pt x="140" y="72"/>
                      </a:cubicBezTo>
                      <a:cubicBezTo>
                        <a:pt x="139" y="72"/>
                        <a:pt x="139" y="72"/>
                        <a:pt x="139" y="72"/>
                      </a:cubicBezTo>
                      <a:cubicBezTo>
                        <a:pt x="138" y="73"/>
                        <a:pt x="138" y="73"/>
                        <a:pt x="138" y="73"/>
                      </a:cubicBezTo>
                      <a:cubicBezTo>
                        <a:pt x="137" y="72"/>
                        <a:pt x="137" y="72"/>
                        <a:pt x="137" y="72"/>
                      </a:cubicBezTo>
                      <a:cubicBezTo>
                        <a:pt x="137" y="72"/>
                        <a:pt x="137" y="72"/>
                        <a:pt x="137" y="72"/>
                      </a:cubicBezTo>
                      <a:cubicBezTo>
                        <a:pt x="136" y="73"/>
                        <a:pt x="136" y="73"/>
                        <a:pt x="136" y="73"/>
                      </a:cubicBezTo>
                      <a:cubicBezTo>
                        <a:pt x="136" y="74"/>
                        <a:pt x="136" y="74"/>
                        <a:pt x="136" y="74"/>
                      </a:cubicBezTo>
                      <a:cubicBezTo>
                        <a:pt x="135" y="75"/>
                        <a:pt x="135" y="75"/>
                        <a:pt x="135" y="75"/>
                      </a:cubicBezTo>
                      <a:cubicBezTo>
                        <a:pt x="135" y="75"/>
                        <a:pt x="135" y="75"/>
                        <a:pt x="135" y="75"/>
                      </a:cubicBezTo>
                      <a:cubicBezTo>
                        <a:pt x="135" y="76"/>
                        <a:pt x="135" y="76"/>
                        <a:pt x="135" y="76"/>
                      </a:cubicBezTo>
                      <a:cubicBezTo>
                        <a:pt x="135" y="76"/>
                        <a:pt x="135" y="76"/>
                        <a:pt x="135" y="76"/>
                      </a:cubicBezTo>
                      <a:cubicBezTo>
                        <a:pt x="135" y="76"/>
                        <a:pt x="135" y="76"/>
                        <a:pt x="135" y="76"/>
                      </a:cubicBezTo>
                      <a:cubicBezTo>
                        <a:pt x="135" y="76"/>
                        <a:pt x="135" y="76"/>
                        <a:pt x="135" y="76"/>
                      </a:cubicBezTo>
                      <a:close/>
                      <a:moveTo>
                        <a:pt x="134" y="77"/>
                      </a:moveTo>
                      <a:cubicBezTo>
                        <a:pt x="134" y="76"/>
                        <a:pt x="134" y="76"/>
                        <a:pt x="134" y="76"/>
                      </a:cubicBezTo>
                      <a:cubicBezTo>
                        <a:pt x="134" y="76"/>
                        <a:pt x="134" y="76"/>
                        <a:pt x="134" y="76"/>
                      </a:cubicBezTo>
                      <a:cubicBezTo>
                        <a:pt x="133" y="77"/>
                        <a:pt x="133" y="77"/>
                        <a:pt x="133" y="77"/>
                      </a:cubicBezTo>
                      <a:cubicBezTo>
                        <a:pt x="134" y="77"/>
                        <a:pt x="134" y="77"/>
                        <a:pt x="134" y="77"/>
                      </a:cubicBezTo>
                      <a:close/>
                      <a:moveTo>
                        <a:pt x="134" y="77"/>
                      </a:moveTo>
                      <a:cubicBezTo>
                        <a:pt x="133" y="78"/>
                        <a:pt x="133" y="78"/>
                        <a:pt x="133" y="78"/>
                      </a:cubicBezTo>
                      <a:cubicBezTo>
                        <a:pt x="133" y="78"/>
                        <a:pt x="133" y="78"/>
                        <a:pt x="133" y="78"/>
                      </a:cubicBezTo>
                      <a:cubicBezTo>
                        <a:pt x="131" y="78"/>
                        <a:pt x="131" y="78"/>
                        <a:pt x="131" y="78"/>
                      </a:cubicBezTo>
                      <a:cubicBezTo>
                        <a:pt x="131" y="79"/>
                        <a:pt x="131" y="79"/>
                        <a:pt x="131" y="79"/>
                      </a:cubicBezTo>
                      <a:cubicBezTo>
                        <a:pt x="131" y="79"/>
                        <a:pt x="131" y="79"/>
                        <a:pt x="131" y="79"/>
                      </a:cubicBezTo>
                      <a:cubicBezTo>
                        <a:pt x="134" y="78"/>
                        <a:pt x="134" y="78"/>
                        <a:pt x="134" y="78"/>
                      </a:cubicBezTo>
                      <a:cubicBezTo>
                        <a:pt x="134" y="78"/>
                        <a:pt x="134" y="78"/>
                        <a:pt x="134" y="78"/>
                      </a:cubicBezTo>
                      <a:cubicBezTo>
                        <a:pt x="134" y="77"/>
                        <a:pt x="134" y="77"/>
                        <a:pt x="134" y="77"/>
                      </a:cubicBezTo>
                      <a:close/>
                      <a:moveTo>
                        <a:pt x="127" y="77"/>
                      </a:moveTo>
                      <a:cubicBezTo>
                        <a:pt x="127" y="77"/>
                        <a:pt x="127" y="77"/>
                        <a:pt x="127" y="77"/>
                      </a:cubicBezTo>
                      <a:cubicBezTo>
                        <a:pt x="127" y="78"/>
                        <a:pt x="127" y="78"/>
                        <a:pt x="127" y="78"/>
                      </a:cubicBezTo>
                      <a:cubicBezTo>
                        <a:pt x="127" y="78"/>
                        <a:pt x="127" y="78"/>
                        <a:pt x="127" y="78"/>
                      </a:cubicBezTo>
                      <a:cubicBezTo>
                        <a:pt x="126" y="78"/>
                        <a:pt x="126" y="78"/>
                        <a:pt x="126" y="78"/>
                      </a:cubicBezTo>
                      <a:cubicBezTo>
                        <a:pt x="126" y="77"/>
                        <a:pt x="126" y="77"/>
                        <a:pt x="126" y="77"/>
                      </a:cubicBezTo>
                      <a:cubicBezTo>
                        <a:pt x="127" y="77"/>
                        <a:pt x="127" y="77"/>
                        <a:pt x="127" y="77"/>
                      </a:cubicBezTo>
                      <a:close/>
                      <a:moveTo>
                        <a:pt x="113" y="72"/>
                      </a:moveTo>
                      <a:cubicBezTo>
                        <a:pt x="115" y="72"/>
                        <a:pt x="115" y="72"/>
                        <a:pt x="115" y="72"/>
                      </a:cubicBezTo>
                      <a:cubicBezTo>
                        <a:pt x="116" y="72"/>
                        <a:pt x="116" y="72"/>
                        <a:pt x="116" y="72"/>
                      </a:cubicBezTo>
                      <a:cubicBezTo>
                        <a:pt x="117" y="72"/>
                        <a:pt x="117" y="72"/>
                        <a:pt x="117" y="72"/>
                      </a:cubicBezTo>
                      <a:cubicBezTo>
                        <a:pt x="118" y="72"/>
                        <a:pt x="118" y="72"/>
                        <a:pt x="118" y="72"/>
                      </a:cubicBezTo>
                      <a:cubicBezTo>
                        <a:pt x="119" y="72"/>
                        <a:pt x="119" y="72"/>
                        <a:pt x="119" y="72"/>
                      </a:cubicBezTo>
                      <a:cubicBezTo>
                        <a:pt x="119" y="73"/>
                        <a:pt x="119" y="73"/>
                        <a:pt x="119" y="73"/>
                      </a:cubicBezTo>
                      <a:cubicBezTo>
                        <a:pt x="120" y="73"/>
                        <a:pt x="120" y="73"/>
                        <a:pt x="120" y="73"/>
                      </a:cubicBezTo>
                      <a:cubicBezTo>
                        <a:pt x="121" y="74"/>
                        <a:pt x="121" y="74"/>
                        <a:pt x="121" y="74"/>
                      </a:cubicBezTo>
                      <a:cubicBezTo>
                        <a:pt x="122" y="75"/>
                        <a:pt x="122" y="75"/>
                        <a:pt x="122" y="75"/>
                      </a:cubicBezTo>
                      <a:cubicBezTo>
                        <a:pt x="122" y="76"/>
                        <a:pt x="122" y="76"/>
                        <a:pt x="122" y="76"/>
                      </a:cubicBezTo>
                      <a:cubicBezTo>
                        <a:pt x="121" y="76"/>
                        <a:pt x="121" y="76"/>
                        <a:pt x="121" y="76"/>
                      </a:cubicBezTo>
                      <a:cubicBezTo>
                        <a:pt x="119" y="76"/>
                        <a:pt x="119" y="76"/>
                        <a:pt x="119" y="76"/>
                      </a:cubicBezTo>
                      <a:cubicBezTo>
                        <a:pt x="118" y="76"/>
                        <a:pt x="118" y="76"/>
                        <a:pt x="118" y="76"/>
                      </a:cubicBezTo>
                      <a:cubicBezTo>
                        <a:pt x="117" y="75"/>
                        <a:pt x="117" y="75"/>
                        <a:pt x="117" y="75"/>
                      </a:cubicBezTo>
                      <a:cubicBezTo>
                        <a:pt x="117" y="75"/>
                        <a:pt x="117" y="75"/>
                        <a:pt x="117" y="75"/>
                      </a:cubicBezTo>
                      <a:cubicBezTo>
                        <a:pt x="116" y="74"/>
                        <a:pt x="116" y="74"/>
                        <a:pt x="116" y="74"/>
                      </a:cubicBezTo>
                      <a:cubicBezTo>
                        <a:pt x="115" y="74"/>
                        <a:pt x="115" y="74"/>
                        <a:pt x="115" y="74"/>
                      </a:cubicBezTo>
                      <a:cubicBezTo>
                        <a:pt x="113" y="74"/>
                        <a:pt x="113" y="74"/>
                        <a:pt x="113" y="74"/>
                      </a:cubicBezTo>
                      <a:cubicBezTo>
                        <a:pt x="113" y="73"/>
                        <a:pt x="113" y="73"/>
                        <a:pt x="113" y="73"/>
                      </a:cubicBezTo>
                      <a:cubicBezTo>
                        <a:pt x="113" y="72"/>
                        <a:pt x="113" y="72"/>
                        <a:pt x="113" y="72"/>
                      </a:cubicBezTo>
                      <a:close/>
                      <a:moveTo>
                        <a:pt x="98" y="63"/>
                      </a:moveTo>
                      <a:cubicBezTo>
                        <a:pt x="99" y="63"/>
                        <a:pt x="99" y="63"/>
                        <a:pt x="99" y="63"/>
                      </a:cubicBezTo>
                      <a:cubicBezTo>
                        <a:pt x="99" y="63"/>
                        <a:pt x="99" y="63"/>
                        <a:pt x="99" y="63"/>
                      </a:cubicBezTo>
                      <a:cubicBezTo>
                        <a:pt x="99" y="63"/>
                        <a:pt x="99" y="63"/>
                        <a:pt x="99" y="63"/>
                      </a:cubicBezTo>
                      <a:cubicBezTo>
                        <a:pt x="98" y="63"/>
                        <a:pt x="98" y="63"/>
                        <a:pt x="98" y="63"/>
                      </a:cubicBezTo>
                      <a:cubicBezTo>
                        <a:pt x="98" y="63"/>
                        <a:pt x="98" y="63"/>
                        <a:pt x="98" y="63"/>
                      </a:cubicBezTo>
                      <a:close/>
                      <a:moveTo>
                        <a:pt x="95" y="61"/>
                      </a:moveTo>
                      <a:cubicBezTo>
                        <a:pt x="96" y="62"/>
                        <a:pt x="96" y="62"/>
                        <a:pt x="96" y="62"/>
                      </a:cubicBezTo>
                      <a:cubicBezTo>
                        <a:pt x="96" y="61"/>
                        <a:pt x="96" y="61"/>
                        <a:pt x="96" y="61"/>
                      </a:cubicBezTo>
                      <a:cubicBezTo>
                        <a:pt x="97" y="61"/>
                        <a:pt x="97" y="61"/>
                        <a:pt x="97" y="61"/>
                      </a:cubicBezTo>
                      <a:cubicBezTo>
                        <a:pt x="97" y="61"/>
                        <a:pt x="97" y="61"/>
                        <a:pt x="97" y="61"/>
                      </a:cubicBezTo>
                      <a:cubicBezTo>
                        <a:pt x="97" y="61"/>
                        <a:pt x="97" y="61"/>
                        <a:pt x="97" y="61"/>
                      </a:cubicBezTo>
                      <a:cubicBezTo>
                        <a:pt x="96" y="61"/>
                        <a:pt x="96" y="61"/>
                        <a:pt x="96" y="61"/>
                      </a:cubicBezTo>
                      <a:cubicBezTo>
                        <a:pt x="96" y="61"/>
                        <a:pt x="96" y="61"/>
                        <a:pt x="96" y="61"/>
                      </a:cubicBezTo>
                      <a:cubicBezTo>
                        <a:pt x="95" y="61"/>
                        <a:pt x="95" y="61"/>
                        <a:pt x="95" y="61"/>
                      </a:cubicBezTo>
                      <a:cubicBezTo>
                        <a:pt x="95" y="61"/>
                        <a:pt x="95" y="61"/>
                        <a:pt x="95" y="61"/>
                      </a:cubicBezTo>
                      <a:close/>
                      <a:moveTo>
                        <a:pt x="147" y="66"/>
                      </a:moveTo>
                      <a:cubicBezTo>
                        <a:pt x="148" y="65"/>
                        <a:pt x="148" y="65"/>
                        <a:pt x="148" y="65"/>
                      </a:cubicBezTo>
                      <a:cubicBezTo>
                        <a:pt x="149" y="65"/>
                        <a:pt x="149" y="65"/>
                        <a:pt x="149" y="65"/>
                      </a:cubicBezTo>
                      <a:cubicBezTo>
                        <a:pt x="150" y="66"/>
                        <a:pt x="150" y="66"/>
                        <a:pt x="150" y="66"/>
                      </a:cubicBezTo>
                      <a:cubicBezTo>
                        <a:pt x="150" y="65"/>
                        <a:pt x="150" y="65"/>
                        <a:pt x="150" y="65"/>
                      </a:cubicBezTo>
                      <a:cubicBezTo>
                        <a:pt x="151" y="65"/>
                        <a:pt x="151" y="65"/>
                        <a:pt x="151" y="65"/>
                      </a:cubicBezTo>
                      <a:cubicBezTo>
                        <a:pt x="151" y="65"/>
                        <a:pt x="151" y="65"/>
                        <a:pt x="151" y="65"/>
                      </a:cubicBezTo>
                      <a:cubicBezTo>
                        <a:pt x="151" y="64"/>
                        <a:pt x="151" y="64"/>
                        <a:pt x="151" y="64"/>
                      </a:cubicBezTo>
                      <a:cubicBezTo>
                        <a:pt x="150" y="64"/>
                        <a:pt x="150" y="64"/>
                        <a:pt x="150" y="64"/>
                      </a:cubicBezTo>
                      <a:cubicBezTo>
                        <a:pt x="150" y="64"/>
                        <a:pt x="150" y="64"/>
                        <a:pt x="150" y="64"/>
                      </a:cubicBezTo>
                      <a:cubicBezTo>
                        <a:pt x="148" y="64"/>
                        <a:pt x="148" y="64"/>
                        <a:pt x="148" y="64"/>
                      </a:cubicBezTo>
                      <a:cubicBezTo>
                        <a:pt x="147" y="64"/>
                        <a:pt x="147" y="64"/>
                        <a:pt x="147" y="64"/>
                      </a:cubicBezTo>
                      <a:cubicBezTo>
                        <a:pt x="147" y="64"/>
                        <a:pt x="147" y="64"/>
                        <a:pt x="147" y="64"/>
                      </a:cubicBezTo>
                      <a:cubicBezTo>
                        <a:pt x="146" y="65"/>
                        <a:pt x="146" y="65"/>
                        <a:pt x="146" y="65"/>
                      </a:cubicBezTo>
                      <a:cubicBezTo>
                        <a:pt x="147" y="66"/>
                        <a:pt x="147" y="66"/>
                        <a:pt x="147" y="66"/>
                      </a:cubicBezTo>
                      <a:close/>
                      <a:moveTo>
                        <a:pt x="145" y="67"/>
                      </a:moveTo>
                      <a:cubicBezTo>
                        <a:pt x="145" y="67"/>
                        <a:pt x="145" y="67"/>
                        <a:pt x="145" y="67"/>
                      </a:cubicBezTo>
                      <a:cubicBezTo>
                        <a:pt x="145" y="67"/>
                        <a:pt x="145" y="67"/>
                        <a:pt x="145" y="67"/>
                      </a:cubicBezTo>
                      <a:cubicBezTo>
                        <a:pt x="145" y="67"/>
                        <a:pt x="145" y="67"/>
                        <a:pt x="145" y="67"/>
                      </a:cubicBezTo>
                      <a:cubicBezTo>
                        <a:pt x="145" y="67"/>
                        <a:pt x="145" y="67"/>
                        <a:pt x="145" y="67"/>
                      </a:cubicBezTo>
                      <a:close/>
                      <a:moveTo>
                        <a:pt x="141" y="67"/>
                      </a:moveTo>
                      <a:cubicBezTo>
                        <a:pt x="140" y="67"/>
                        <a:pt x="140" y="67"/>
                        <a:pt x="140" y="67"/>
                      </a:cubicBezTo>
                      <a:cubicBezTo>
                        <a:pt x="140" y="67"/>
                        <a:pt x="140" y="67"/>
                        <a:pt x="140" y="67"/>
                      </a:cubicBezTo>
                      <a:cubicBezTo>
                        <a:pt x="140" y="68"/>
                        <a:pt x="140" y="68"/>
                        <a:pt x="140" y="68"/>
                      </a:cubicBezTo>
                      <a:cubicBezTo>
                        <a:pt x="140" y="68"/>
                        <a:pt x="140" y="68"/>
                        <a:pt x="140" y="68"/>
                      </a:cubicBezTo>
                      <a:cubicBezTo>
                        <a:pt x="141" y="68"/>
                        <a:pt x="141" y="68"/>
                        <a:pt x="141" y="68"/>
                      </a:cubicBezTo>
                      <a:cubicBezTo>
                        <a:pt x="142" y="68"/>
                        <a:pt x="142" y="68"/>
                        <a:pt x="142" y="68"/>
                      </a:cubicBezTo>
                      <a:cubicBezTo>
                        <a:pt x="143" y="67"/>
                        <a:pt x="143" y="67"/>
                        <a:pt x="143" y="67"/>
                      </a:cubicBezTo>
                      <a:cubicBezTo>
                        <a:pt x="142" y="67"/>
                        <a:pt x="142" y="67"/>
                        <a:pt x="142" y="67"/>
                      </a:cubicBezTo>
                      <a:cubicBezTo>
                        <a:pt x="141" y="67"/>
                        <a:pt x="141" y="67"/>
                        <a:pt x="141" y="67"/>
                      </a:cubicBezTo>
                      <a:cubicBezTo>
                        <a:pt x="141" y="67"/>
                        <a:pt x="141" y="67"/>
                        <a:pt x="141" y="67"/>
                      </a:cubicBezTo>
                      <a:close/>
                      <a:moveTo>
                        <a:pt x="137" y="68"/>
                      </a:moveTo>
                      <a:cubicBezTo>
                        <a:pt x="138" y="68"/>
                        <a:pt x="138" y="68"/>
                        <a:pt x="138" y="68"/>
                      </a:cubicBezTo>
                      <a:cubicBezTo>
                        <a:pt x="138" y="69"/>
                        <a:pt x="138" y="69"/>
                        <a:pt x="138" y="69"/>
                      </a:cubicBezTo>
                      <a:cubicBezTo>
                        <a:pt x="139" y="68"/>
                        <a:pt x="139" y="68"/>
                        <a:pt x="139" y="68"/>
                      </a:cubicBezTo>
                      <a:cubicBezTo>
                        <a:pt x="139" y="68"/>
                        <a:pt x="139" y="68"/>
                        <a:pt x="139" y="68"/>
                      </a:cubicBezTo>
                      <a:cubicBezTo>
                        <a:pt x="139" y="68"/>
                        <a:pt x="139" y="68"/>
                        <a:pt x="139" y="68"/>
                      </a:cubicBezTo>
                      <a:cubicBezTo>
                        <a:pt x="138" y="68"/>
                        <a:pt x="138" y="68"/>
                        <a:pt x="138" y="68"/>
                      </a:cubicBezTo>
                      <a:cubicBezTo>
                        <a:pt x="137" y="68"/>
                        <a:pt x="137" y="68"/>
                        <a:pt x="137" y="68"/>
                      </a:cubicBezTo>
                      <a:close/>
                      <a:moveTo>
                        <a:pt x="134" y="69"/>
                      </a:moveTo>
                      <a:cubicBezTo>
                        <a:pt x="135" y="68"/>
                        <a:pt x="135" y="68"/>
                        <a:pt x="135" y="68"/>
                      </a:cubicBezTo>
                      <a:cubicBezTo>
                        <a:pt x="135" y="68"/>
                        <a:pt x="135" y="68"/>
                        <a:pt x="135" y="68"/>
                      </a:cubicBezTo>
                      <a:cubicBezTo>
                        <a:pt x="135" y="67"/>
                        <a:pt x="135" y="67"/>
                        <a:pt x="135" y="67"/>
                      </a:cubicBezTo>
                      <a:cubicBezTo>
                        <a:pt x="136" y="68"/>
                        <a:pt x="136" y="68"/>
                        <a:pt x="136" y="68"/>
                      </a:cubicBezTo>
                      <a:cubicBezTo>
                        <a:pt x="137" y="67"/>
                        <a:pt x="137" y="67"/>
                        <a:pt x="137" y="67"/>
                      </a:cubicBezTo>
                      <a:cubicBezTo>
                        <a:pt x="137" y="67"/>
                        <a:pt x="137" y="67"/>
                        <a:pt x="137" y="67"/>
                      </a:cubicBezTo>
                      <a:cubicBezTo>
                        <a:pt x="136" y="68"/>
                        <a:pt x="136" y="68"/>
                        <a:pt x="136" y="68"/>
                      </a:cubicBezTo>
                      <a:cubicBezTo>
                        <a:pt x="136" y="69"/>
                        <a:pt x="136" y="69"/>
                        <a:pt x="136" y="69"/>
                      </a:cubicBezTo>
                      <a:cubicBezTo>
                        <a:pt x="135" y="69"/>
                        <a:pt x="135" y="69"/>
                        <a:pt x="135" y="69"/>
                      </a:cubicBezTo>
                      <a:cubicBezTo>
                        <a:pt x="134" y="69"/>
                        <a:pt x="134" y="69"/>
                        <a:pt x="134" y="69"/>
                      </a:cubicBezTo>
                      <a:close/>
                      <a:moveTo>
                        <a:pt x="133" y="68"/>
                      </a:moveTo>
                      <a:cubicBezTo>
                        <a:pt x="132" y="68"/>
                        <a:pt x="132" y="68"/>
                        <a:pt x="132" y="68"/>
                      </a:cubicBezTo>
                      <a:cubicBezTo>
                        <a:pt x="132" y="69"/>
                        <a:pt x="132" y="69"/>
                        <a:pt x="132" y="69"/>
                      </a:cubicBezTo>
                      <a:cubicBezTo>
                        <a:pt x="133" y="69"/>
                        <a:pt x="133" y="69"/>
                        <a:pt x="133" y="69"/>
                      </a:cubicBezTo>
                      <a:cubicBezTo>
                        <a:pt x="133" y="68"/>
                        <a:pt x="133" y="68"/>
                        <a:pt x="133" y="68"/>
                      </a:cubicBezTo>
                      <a:close/>
                      <a:moveTo>
                        <a:pt x="134" y="67"/>
                      </a:moveTo>
                      <a:cubicBezTo>
                        <a:pt x="133" y="68"/>
                        <a:pt x="133" y="68"/>
                        <a:pt x="133" y="68"/>
                      </a:cubicBezTo>
                      <a:cubicBezTo>
                        <a:pt x="134" y="68"/>
                        <a:pt x="134" y="68"/>
                        <a:pt x="134" y="68"/>
                      </a:cubicBezTo>
                      <a:cubicBezTo>
                        <a:pt x="134" y="67"/>
                        <a:pt x="134" y="67"/>
                        <a:pt x="134" y="67"/>
                      </a:cubicBezTo>
                      <a:cubicBezTo>
                        <a:pt x="134" y="67"/>
                        <a:pt x="134" y="67"/>
                        <a:pt x="134" y="67"/>
                      </a:cubicBezTo>
                      <a:close/>
                      <a:moveTo>
                        <a:pt x="117" y="69"/>
                      </a:moveTo>
                      <a:cubicBezTo>
                        <a:pt x="117" y="69"/>
                        <a:pt x="117" y="68"/>
                        <a:pt x="117" y="68"/>
                      </a:cubicBezTo>
                      <a:cubicBezTo>
                        <a:pt x="119" y="67"/>
                        <a:pt x="119" y="67"/>
                        <a:pt x="119" y="67"/>
                      </a:cubicBezTo>
                      <a:cubicBezTo>
                        <a:pt x="121" y="67"/>
                        <a:pt x="121" y="67"/>
                        <a:pt x="121" y="67"/>
                      </a:cubicBezTo>
                      <a:cubicBezTo>
                        <a:pt x="122" y="67"/>
                        <a:pt x="122" y="67"/>
                        <a:pt x="122" y="67"/>
                      </a:cubicBezTo>
                      <a:cubicBezTo>
                        <a:pt x="123" y="67"/>
                        <a:pt x="123" y="67"/>
                        <a:pt x="123" y="67"/>
                      </a:cubicBezTo>
                      <a:cubicBezTo>
                        <a:pt x="124" y="68"/>
                        <a:pt x="124" y="68"/>
                        <a:pt x="124" y="68"/>
                      </a:cubicBezTo>
                      <a:cubicBezTo>
                        <a:pt x="125" y="68"/>
                        <a:pt x="125" y="68"/>
                        <a:pt x="125" y="68"/>
                      </a:cubicBezTo>
                      <a:cubicBezTo>
                        <a:pt x="126" y="68"/>
                        <a:pt x="126" y="68"/>
                        <a:pt x="126" y="68"/>
                      </a:cubicBezTo>
                      <a:cubicBezTo>
                        <a:pt x="128" y="68"/>
                        <a:pt x="128" y="68"/>
                        <a:pt x="128" y="68"/>
                      </a:cubicBezTo>
                      <a:cubicBezTo>
                        <a:pt x="128" y="68"/>
                        <a:pt x="128" y="68"/>
                        <a:pt x="128" y="68"/>
                      </a:cubicBezTo>
                      <a:cubicBezTo>
                        <a:pt x="129" y="68"/>
                        <a:pt x="129" y="68"/>
                        <a:pt x="129" y="68"/>
                      </a:cubicBezTo>
                      <a:cubicBezTo>
                        <a:pt x="130" y="68"/>
                        <a:pt x="130" y="68"/>
                        <a:pt x="130" y="68"/>
                      </a:cubicBezTo>
                      <a:cubicBezTo>
                        <a:pt x="131" y="67"/>
                        <a:pt x="131" y="67"/>
                        <a:pt x="131" y="67"/>
                      </a:cubicBezTo>
                      <a:cubicBezTo>
                        <a:pt x="131" y="67"/>
                        <a:pt x="131" y="67"/>
                        <a:pt x="131" y="67"/>
                      </a:cubicBezTo>
                      <a:cubicBezTo>
                        <a:pt x="131" y="67"/>
                        <a:pt x="131" y="67"/>
                        <a:pt x="131" y="67"/>
                      </a:cubicBezTo>
                      <a:cubicBezTo>
                        <a:pt x="132" y="66"/>
                        <a:pt x="132" y="66"/>
                        <a:pt x="132" y="66"/>
                      </a:cubicBezTo>
                      <a:cubicBezTo>
                        <a:pt x="133" y="66"/>
                        <a:pt x="133" y="66"/>
                        <a:pt x="133" y="66"/>
                      </a:cubicBezTo>
                      <a:cubicBezTo>
                        <a:pt x="133" y="67"/>
                        <a:pt x="133" y="67"/>
                        <a:pt x="133" y="67"/>
                      </a:cubicBezTo>
                      <a:cubicBezTo>
                        <a:pt x="133" y="68"/>
                        <a:pt x="133" y="68"/>
                        <a:pt x="133" y="68"/>
                      </a:cubicBezTo>
                      <a:cubicBezTo>
                        <a:pt x="132" y="68"/>
                        <a:pt x="132" y="68"/>
                        <a:pt x="132" y="68"/>
                      </a:cubicBezTo>
                      <a:cubicBezTo>
                        <a:pt x="131" y="69"/>
                        <a:pt x="131" y="69"/>
                        <a:pt x="131" y="69"/>
                      </a:cubicBezTo>
                      <a:cubicBezTo>
                        <a:pt x="130" y="69"/>
                        <a:pt x="130" y="69"/>
                        <a:pt x="130" y="69"/>
                      </a:cubicBezTo>
                      <a:cubicBezTo>
                        <a:pt x="130" y="70"/>
                        <a:pt x="130" y="70"/>
                        <a:pt x="130" y="70"/>
                      </a:cubicBezTo>
                      <a:cubicBezTo>
                        <a:pt x="129" y="69"/>
                        <a:pt x="129" y="69"/>
                        <a:pt x="129" y="69"/>
                      </a:cubicBezTo>
                      <a:cubicBezTo>
                        <a:pt x="128" y="69"/>
                        <a:pt x="128" y="69"/>
                        <a:pt x="128" y="69"/>
                      </a:cubicBezTo>
                      <a:cubicBezTo>
                        <a:pt x="126" y="70"/>
                        <a:pt x="126" y="70"/>
                        <a:pt x="126" y="70"/>
                      </a:cubicBezTo>
                      <a:cubicBezTo>
                        <a:pt x="125" y="70"/>
                        <a:pt x="125" y="70"/>
                        <a:pt x="125" y="70"/>
                      </a:cubicBezTo>
                      <a:cubicBezTo>
                        <a:pt x="124" y="70"/>
                        <a:pt x="124" y="70"/>
                        <a:pt x="124" y="70"/>
                      </a:cubicBezTo>
                      <a:cubicBezTo>
                        <a:pt x="123" y="70"/>
                        <a:pt x="123" y="70"/>
                        <a:pt x="123" y="70"/>
                      </a:cubicBezTo>
                      <a:cubicBezTo>
                        <a:pt x="123" y="70"/>
                        <a:pt x="123" y="70"/>
                        <a:pt x="123" y="70"/>
                      </a:cubicBezTo>
                      <a:cubicBezTo>
                        <a:pt x="122" y="70"/>
                        <a:pt x="122" y="70"/>
                        <a:pt x="122" y="70"/>
                      </a:cubicBezTo>
                      <a:cubicBezTo>
                        <a:pt x="121" y="70"/>
                        <a:pt x="121" y="70"/>
                        <a:pt x="121" y="70"/>
                      </a:cubicBezTo>
                      <a:cubicBezTo>
                        <a:pt x="121" y="70"/>
                        <a:pt x="121" y="70"/>
                        <a:pt x="121" y="70"/>
                      </a:cubicBezTo>
                      <a:cubicBezTo>
                        <a:pt x="120" y="70"/>
                        <a:pt x="120" y="70"/>
                        <a:pt x="120" y="70"/>
                      </a:cubicBezTo>
                      <a:cubicBezTo>
                        <a:pt x="119" y="70"/>
                        <a:pt x="119" y="70"/>
                        <a:pt x="119" y="70"/>
                      </a:cubicBezTo>
                      <a:cubicBezTo>
                        <a:pt x="119" y="70"/>
                        <a:pt x="119" y="70"/>
                        <a:pt x="119" y="70"/>
                      </a:cubicBezTo>
                      <a:cubicBezTo>
                        <a:pt x="118" y="70"/>
                        <a:pt x="118" y="70"/>
                        <a:pt x="118" y="70"/>
                      </a:cubicBezTo>
                      <a:cubicBezTo>
                        <a:pt x="117" y="70"/>
                        <a:pt x="117" y="70"/>
                        <a:pt x="117" y="70"/>
                      </a:cubicBezTo>
                      <a:cubicBezTo>
                        <a:pt x="117" y="69"/>
                        <a:pt x="117" y="69"/>
                        <a:pt x="117" y="69"/>
                      </a:cubicBezTo>
                      <a:close/>
                      <a:moveTo>
                        <a:pt x="116" y="69"/>
                      </a:moveTo>
                      <a:cubicBezTo>
                        <a:pt x="116" y="70"/>
                        <a:pt x="116" y="70"/>
                        <a:pt x="116" y="70"/>
                      </a:cubicBezTo>
                      <a:cubicBezTo>
                        <a:pt x="117" y="70"/>
                        <a:pt x="117" y="70"/>
                        <a:pt x="117" y="70"/>
                      </a:cubicBezTo>
                      <a:cubicBezTo>
                        <a:pt x="117" y="69"/>
                        <a:pt x="117" y="69"/>
                        <a:pt x="117" y="69"/>
                      </a:cubicBezTo>
                      <a:cubicBezTo>
                        <a:pt x="116" y="69"/>
                        <a:pt x="116" y="69"/>
                        <a:pt x="116" y="69"/>
                      </a:cubicBezTo>
                      <a:close/>
                      <a:moveTo>
                        <a:pt x="116" y="68"/>
                      </a:moveTo>
                      <a:cubicBezTo>
                        <a:pt x="115" y="68"/>
                        <a:pt x="115" y="68"/>
                        <a:pt x="115" y="68"/>
                      </a:cubicBezTo>
                      <a:cubicBezTo>
                        <a:pt x="115" y="69"/>
                        <a:pt x="115" y="69"/>
                        <a:pt x="115" y="69"/>
                      </a:cubicBezTo>
                      <a:cubicBezTo>
                        <a:pt x="115" y="70"/>
                        <a:pt x="115" y="70"/>
                        <a:pt x="115" y="70"/>
                      </a:cubicBezTo>
                      <a:cubicBezTo>
                        <a:pt x="116" y="69"/>
                        <a:pt x="116" y="69"/>
                        <a:pt x="116" y="69"/>
                      </a:cubicBezTo>
                      <a:cubicBezTo>
                        <a:pt x="116" y="68"/>
                        <a:pt x="116" y="68"/>
                        <a:pt x="116" y="68"/>
                      </a:cubicBezTo>
                      <a:close/>
                      <a:moveTo>
                        <a:pt x="102" y="69"/>
                      </a:moveTo>
                      <a:cubicBezTo>
                        <a:pt x="102" y="69"/>
                        <a:pt x="102" y="69"/>
                        <a:pt x="102" y="69"/>
                      </a:cubicBezTo>
                      <a:cubicBezTo>
                        <a:pt x="102" y="70"/>
                        <a:pt x="102" y="70"/>
                        <a:pt x="102" y="70"/>
                      </a:cubicBezTo>
                      <a:cubicBezTo>
                        <a:pt x="102" y="70"/>
                        <a:pt x="102" y="70"/>
                        <a:pt x="102" y="70"/>
                      </a:cubicBezTo>
                      <a:cubicBezTo>
                        <a:pt x="103" y="71"/>
                        <a:pt x="103" y="71"/>
                        <a:pt x="103" y="71"/>
                      </a:cubicBezTo>
                      <a:cubicBezTo>
                        <a:pt x="103" y="71"/>
                        <a:pt x="103" y="71"/>
                        <a:pt x="103" y="71"/>
                      </a:cubicBezTo>
                      <a:cubicBezTo>
                        <a:pt x="105" y="71"/>
                        <a:pt x="105" y="71"/>
                        <a:pt x="105" y="71"/>
                      </a:cubicBezTo>
                      <a:cubicBezTo>
                        <a:pt x="105" y="71"/>
                        <a:pt x="105" y="71"/>
                        <a:pt x="105" y="71"/>
                      </a:cubicBezTo>
                      <a:cubicBezTo>
                        <a:pt x="106" y="71"/>
                        <a:pt x="106" y="71"/>
                        <a:pt x="106" y="71"/>
                      </a:cubicBezTo>
                      <a:cubicBezTo>
                        <a:pt x="107" y="70"/>
                        <a:pt x="107" y="70"/>
                        <a:pt x="107" y="70"/>
                      </a:cubicBezTo>
                      <a:cubicBezTo>
                        <a:pt x="108" y="70"/>
                        <a:pt x="108" y="70"/>
                        <a:pt x="108" y="70"/>
                      </a:cubicBezTo>
                      <a:cubicBezTo>
                        <a:pt x="109" y="70"/>
                        <a:pt x="109" y="70"/>
                        <a:pt x="109" y="70"/>
                      </a:cubicBezTo>
                      <a:cubicBezTo>
                        <a:pt x="110" y="70"/>
                        <a:pt x="110" y="70"/>
                        <a:pt x="110" y="70"/>
                      </a:cubicBezTo>
                      <a:cubicBezTo>
                        <a:pt x="111" y="69"/>
                        <a:pt x="111" y="69"/>
                        <a:pt x="111" y="69"/>
                      </a:cubicBezTo>
                      <a:cubicBezTo>
                        <a:pt x="111" y="70"/>
                        <a:pt x="111" y="70"/>
                        <a:pt x="111" y="70"/>
                      </a:cubicBezTo>
                      <a:cubicBezTo>
                        <a:pt x="112" y="70"/>
                        <a:pt x="112" y="70"/>
                        <a:pt x="112" y="70"/>
                      </a:cubicBezTo>
                      <a:cubicBezTo>
                        <a:pt x="113" y="70"/>
                        <a:pt x="113" y="70"/>
                        <a:pt x="113" y="70"/>
                      </a:cubicBezTo>
                      <a:cubicBezTo>
                        <a:pt x="113" y="70"/>
                        <a:pt x="113" y="70"/>
                        <a:pt x="113" y="70"/>
                      </a:cubicBezTo>
                      <a:cubicBezTo>
                        <a:pt x="114" y="70"/>
                        <a:pt x="114" y="70"/>
                        <a:pt x="114" y="70"/>
                      </a:cubicBezTo>
                      <a:cubicBezTo>
                        <a:pt x="114" y="69"/>
                        <a:pt x="114" y="69"/>
                        <a:pt x="114" y="69"/>
                      </a:cubicBezTo>
                      <a:cubicBezTo>
                        <a:pt x="114" y="69"/>
                        <a:pt x="114" y="69"/>
                        <a:pt x="114" y="69"/>
                      </a:cubicBezTo>
                      <a:cubicBezTo>
                        <a:pt x="113" y="68"/>
                        <a:pt x="113" y="68"/>
                        <a:pt x="113" y="68"/>
                      </a:cubicBezTo>
                      <a:cubicBezTo>
                        <a:pt x="113" y="68"/>
                        <a:pt x="113" y="68"/>
                        <a:pt x="113" y="68"/>
                      </a:cubicBezTo>
                      <a:cubicBezTo>
                        <a:pt x="112" y="67"/>
                        <a:pt x="112" y="67"/>
                        <a:pt x="112" y="67"/>
                      </a:cubicBezTo>
                      <a:cubicBezTo>
                        <a:pt x="113" y="68"/>
                        <a:pt x="113" y="68"/>
                        <a:pt x="113" y="68"/>
                      </a:cubicBezTo>
                      <a:cubicBezTo>
                        <a:pt x="112" y="68"/>
                        <a:pt x="112" y="68"/>
                        <a:pt x="112" y="68"/>
                      </a:cubicBezTo>
                      <a:cubicBezTo>
                        <a:pt x="112" y="67"/>
                        <a:pt x="112" y="67"/>
                        <a:pt x="112" y="67"/>
                      </a:cubicBezTo>
                      <a:cubicBezTo>
                        <a:pt x="111" y="67"/>
                        <a:pt x="111" y="67"/>
                        <a:pt x="111" y="67"/>
                      </a:cubicBezTo>
                      <a:cubicBezTo>
                        <a:pt x="110" y="67"/>
                        <a:pt x="110" y="67"/>
                        <a:pt x="110" y="67"/>
                      </a:cubicBezTo>
                      <a:cubicBezTo>
                        <a:pt x="109" y="67"/>
                        <a:pt x="109" y="67"/>
                        <a:pt x="109" y="67"/>
                      </a:cubicBezTo>
                      <a:cubicBezTo>
                        <a:pt x="108" y="66"/>
                        <a:pt x="108" y="66"/>
                        <a:pt x="108" y="66"/>
                      </a:cubicBezTo>
                      <a:cubicBezTo>
                        <a:pt x="107" y="67"/>
                        <a:pt x="107" y="67"/>
                        <a:pt x="107" y="67"/>
                      </a:cubicBezTo>
                      <a:cubicBezTo>
                        <a:pt x="107" y="67"/>
                        <a:pt x="107" y="67"/>
                        <a:pt x="107" y="67"/>
                      </a:cubicBezTo>
                      <a:cubicBezTo>
                        <a:pt x="109" y="68"/>
                        <a:pt x="109" y="68"/>
                        <a:pt x="109" y="68"/>
                      </a:cubicBezTo>
                      <a:cubicBezTo>
                        <a:pt x="110" y="69"/>
                        <a:pt x="110" y="69"/>
                        <a:pt x="110" y="69"/>
                      </a:cubicBezTo>
                      <a:cubicBezTo>
                        <a:pt x="109" y="69"/>
                        <a:pt x="109" y="69"/>
                        <a:pt x="109" y="69"/>
                      </a:cubicBezTo>
                      <a:cubicBezTo>
                        <a:pt x="108" y="69"/>
                        <a:pt x="108" y="69"/>
                        <a:pt x="108" y="69"/>
                      </a:cubicBezTo>
                      <a:cubicBezTo>
                        <a:pt x="107" y="69"/>
                        <a:pt x="107" y="69"/>
                        <a:pt x="107" y="69"/>
                      </a:cubicBezTo>
                      <a:cubicBezTo>
                        <a:pt x="107" y="68"/>
                        <a:pt x="107" y="68"/>
                        <a:pt x="107" y="68"/>
                      </a:cubicBezTo>
                      <a:cubicBezTo>
                        <a:pt x="106" y="68"/>
                        <a:pt x="106" y="68"/>
                        <a:pt x="106" y="68"/>
                      </a:cubicBezTo>
                      <a:cubicBezTo>
                        <a:pt x="105" y="68"/>
                        <a:pt x="105" y="68"/>
                        <a:pt x="105" y="68"/>
                      </a:cubicBezTo>
                      <a:cubicBezTo>
                        <a:pt x="104" y="68"/>
                        <a:pt x="104" y="68"/>
                        <a:pt x="104" y="68"/>
                      </a:cubicBezTo>
                      <a:cubicBezTo>
                        <a:pt x="103" y="68"/>
                        <a:pt x="103" y="68"/>
                        <a:pt x="103" y="68"/>
                      </a:cubicBezTo>
                      <a:cubicBezTo>
                        <a:pt x="103" y="68"/>
                        <a:pt x="102" y="69"/>
                        <a:pt x="102" y="69"/>
                      </a:cubicBezTo>
                      <a:close/>
                      <a:moveTo>
                        <a:pt x="99" y="68"/>
                      </a:moveTo>
                      <a:cubicBezTo>
                        <a:pt x="100" y="67"/>
                        <a:pt x="100" y="67"/>
                        <a:pt x="100" y="67"/>
                      </a:cubicBezTo>
                      <a:cubicBezTo>
                        <a:pt x="102" y="68"/>
                        <a:pt x="102" y="68"/>
                        <a:pt x="102" y="68"/>
                      </a:cubicBezTo>
                      <a:cubicBezTo>
                        <a:pt x="102" y="69"/>
                        <a:pt x="102" y="69"/>
                        <a:pt x="102" y="69"/>
                      </a:cubicBezTo>
                      <a:cubicBezTo>
                        <a:pt x="101" y="69"/>
                        <a:pt x="101" y="69"/>
                        <a:pt x="101" y="69"/>
                      </a:cubicBezTo>
                      <a:cubicBezTo>
                        <a:pt x="101" y="70"/>
                        <a:pt x="101" y="70"/>
                        <a:pt x="101" y="70"/>
                      </a:cubicBezTo>
                      <a:cubicBezTo>
                        <a:pt x="101" y="70"/>
                        <a:pt x="101" y="70"/>
                        <a:pt x="101" y="70"/>
                      </a:cubicBezTo>
                      <a:cubicBezTo>
                        <a:pt x="100" y="70"/>
                        <a:pt x="100" y="70"/>
                        <a:pt x="100" y="70"/>
                      </a:cubicBezTo>
                      <a:cubicBezTo>
                        <a:pt x="98" y="70"/>
                        <a:pt x="98" y="70"/>
                        <a:pt x="98" y="70"/>
                      </a:cubicBezTo>
                      <a:cubicBezTo>
                        <a:pt x="98" y="69"/>
                        <a:pt x="98" y="69"/>
                        <a:pt x="98" y="69"/>
                      </a:cubicBezTo>
                      <a:cubicBezTo>
                        <a:pt x="98" y="69"/>
                        <a:pt x="98" y="69"/>
                        <a:pt x="98" y="69"/>
                      </a:cubicBezTo>
                      <a:cubicBezTo>
                        <a:pt x="99" y="69"/>
                        <a:pt x="99" y="69"/>
                        <a:pt x="99" y="69"/>
                      </a:cubicBezTo>
                      <a:cubicBezTo>
                        <a:pt x="99" y="68"/>
                        <a:pt x="99" y="68"/>
                        <a:pt x="99" y="68"/>
                      </a:cubicBezTo>
                      <a:close/>
                      <a:moveTo>
                        <a:pt x="96" y="69"/>
                      </a:moveTo>
                      <a:cubicBezTo>
                        <a:pt x="97" y="69"/>
                        <a:pt x="97" y="69"/>
                        <a:pt x="97" y="69"/>
                      </a:cubicBezTo>
                      <a:cubicBezTo>
                        <a:pt x="97" y="69"/>
                        <a:pt x="97" y="69"/>
                        <a:pt x="97" y="69"/>
                      </a:cubicBezTo>
                      <a:cubicBezTo>
                        <a:pt x="97" y="69"/>
                        <a:pt x="97" y="69"/>
                        <a:pt x="97" y="69"/>
                      </a:cubicBezTo>
                      <a:cubicBezTo>
                        <a:pt x="96" y="69"/>
                        <a:pt x="96" y="69"/>
                        <a:pt x="96" y="69"/>
                      </a:cubicBezTo>
                      <a:close/>
                      <a:moveTo>
                        <a:pt x="92" y="67"/>
                      </a:moveTo>
                      <a:cubicBezTo>
                        <a:pt x="92" y="67"/>
                        <a:pt x="92" y="67"/>
                        <a:pt x="92" y="67"/>
                      </a:cubicBezTo>
                      <a:cubicBezTo>
                        <a:pt x="92" y="68"/>
                        <a:pt x="92" y="68"/>
                        <a:pt x="92" y="68"/>
                      </a:cubicBezTo>
                      <a:cubicBezTo>
                        <a:pt x="94" y="68"/>
                        <a:pt x="94" y="68"/>
                        <a:pt x="94" y="68"/>
                      </a:cubicBezTo>
                      <a:cubicBezTo>
                        <a:pt x="95" y="69"/>
                        <a:pt x="95" y="69"/>
                        <a:pt x="95" y="69"/>
                      </a:cubicBezTo>
                      <a:cubicBezTo>
                        <a:pt x="95" y="69"/>
                        <a:pt x="95" y="69"/>
                        <a:pt x="95" y="69"/>
                      </a:cubicBezTo>
                      <a:cubicBezTo>
                        <a:pt x="95" y="69"/>
                        <a:pt x="95" y="69"/>
                        <a:pt x="95" y="69"/>
                      </a:cubicBezTo>
                      <a:cubicBezTo>
                        <a:pt x="96" y="68"/>
                        <a:pt x="96" y="68"/>
                        <a:pt x="96" y="68"/>
                      </a:cubicBezTo>
                      <a:cubicBezTo>
                        <a:pt x="96" y="68"/>
                        <a:pt x="96" y="68"/>
                        <a:pt x="96" y="68"/>
                      </a:cubicBezTo>
                      <a:cubicBezTo>
                        <a:pt x="97" y="68"/>
                        <a:pt x="97" y="68"/>
                        <a:pt x="97" y="68"/>
                      </a:cubicBezTo>
                      <a:cubicBezTo>
                        <a:pt x="98" y="67"/>
                        <a:pt x="98" y="67"/>
                        <a:pt x="98" y="67"/>
                      </a:cubicBezTo>
                      <a:cubicBezTo>
                        <a:pt x="97" y="66"/>
                        <a:pt x="97" y="66"/>
                        <a:pt x="97" y="66"/>
                      </a:cubicBezTo>
                      <a:cubicBezTo>
                        <a:pt x="95" y="66"/>
                        <a:pt x="95" y="66"/>
                        <a:pt x="95" y="66"/>
                      </a:cubicBezTo>
                      <a:cubicBezTo>
                        <a:pt x="94" y="67"/>
                        <a:pt x="94" y="67"/>
                        <a:pt x="94" y="67"/>
                      </a:cubicBezTo>
                      <a:cubicBezTo>
                        <a:pt x="93" y="66"/>
                        <a:pt x="93" y="66"/>
                        <a:pt x="93" y="66"/>
                      </a:cubicBezTo>
                      <a:cubicBezTo>
                        <a:pt x="92" y="67"/>
                        <a:pt x="92" y="67"/>
                        <a:pt x="92" y="67"/>
                      </a:cubicBezTo>
                      <a:close/>
                      <a:moveTo>
                        <a:pt x="208" y="67"/>
                      </a:moveTo>
                      <a:cubicBezTo>
                        <a:pt x="208" y="67"/>
                        <a:pt x="208" y="67"/>
                        <a:pt x="208" y="67"/>
                      </a:cubicBezTo>
                      <a:cubicBezTo>
                        <a:pt x="209" y="68"/>
                        <a:pt x="209" y="68"/>
                        <a:pt x="209" y="68"/>
                      </a:cubicBezTo>
                      <a:cubicBezTo>
                        <a:pt x="209" y="67"/>
                        <a:pt x="209" y="67"/>
                        <a:pt x="209" y="67"/>
                      </a:cubicBezTo>
                      <a:cubicBezTo>
                        <a:pt x="209" y="66"/>
                        <a:pt x="209" y="66"/>
                        <a:pt x="209" y="66"/>
                      </a:cubicBezTo>
                      <a:cubicBezTo>
                        <a:pt x="209" y="66"/>
                        <a:pt x="209" y="66"/>
                        <a:pt x="209" y="66"/>
                      </a:cubicBezTo>
                      <a:cubicBezTo>
                        <a:pt x="208" y="66"/>
                        <a:pt x="208" y="66"/>
                        <a:pt x="208" y="66"/>
                      </a:cubicBezTo>
                      <a:cubicBezTo>
                        <a:pt x="208" y="67"/>
                        <a:pt x="208" y="67"/>
                        <a:pt x="208" y="67"/>
                      </a:cubicBezTo>
                      <a:close/>
                      <a:moveTo>
                        <a:pt x="203" y="67"/>
                      </a:moveTo>
                      <a:cubicBezTo>
                        <a:pt x="203" y="67"/>
                        <a:pt x="205" y="67"/>
                        <a:pt x="205" y="67"/>
                      </a:cubicBezTo>
                      <a:cubicBezTo>
                        <a:pt x="205" y="67"/>
                        <a:pt x="205" y="67"/>
                        <a:pt x="205" y="67"/>
                      </a:cubicBezTo>
                      <a:cubicBezTo>
                        <a:pt x="207" y="67"/>
                        <a:pt x="207" y="67"/>
                        <a:pt x="207" y="67"/>
                      </a:cubicBezTo>
                      <a:cubicBezTo>
                        <a:pt x="207" y="67"/>
                        <a:pt x="207" y="67"/>
                        <a:pt x="207" y="67"/>
                      </a:cubicBezTo>
                      <a:cubicBezTo>
                        <a:pt x="208" y="66"/>
                        <a:pt x="208" y="66"/>
                        <a:pt x="208" y="66"/>
                      </a:cubicBezTo>
                      <a:cubicBezTo>
                        <a:pt x="209" y="66"/>
                        <a:pt x="209" y="66"/>
                        <a:pt x="209" y="66"/>
                      </a:cubicBezTo>
                      <a:cubicBezTo>
                        <a:pt x="209" y="66"/>
                        <a:pt x="209" y="66"/>
                        <a:pt x="209" y="66"/>
                      </a:cubicBezTo>
                      <a:cubicBezTo>
                        <a:pt x="209" y="65"/>
                        <a:pt x="209" y="65"/>
                        <a:pt x="209" y="65"/>
                      </a:cubicBezTo>
                      <a:cubicBezTo>
                        <a:pt x="210" y="65"/>
                        <a:pt x="210" y="65"/>
                        <a:pt x="210" y="65"/>
                      </a:cubicBezTo>
                      <a:cubicBezTo>
                        <a:pt x="210" y="64"/>
                        <a:pt x="210" y="64"/>
                        <a:pt x="210" y="64"/>
                      </a:cubicBezTo>
                      <a:cubicBezTo>
                        <a:pt x="210" y="64"/>
                        <a:pt x="210" y="64"/>
                        <a:pt x="210" y="64"/>
                      </a:cubicBezTo>
                      <a:cubicBezTo>
                        <a:pt x="209" y="63"/>
                        <a:pt x="209" y="63"/>
                        <a:pt x="209" y="63"/>
                      </a:cubicBezTo>
                      <a:cubicBezTo>
                        <a:pt x="209" y="63"/>
                        <a:pt x="209" y="63"/>
                        <a:pt x="209" y="63"/>
                      </a:cubicBezTo>
                      <a:cubicBezTo>
                        <a:pt x="207" y="63"/>
                        <a:pt x="207" y="63"/>
                        <a:pt x="207" y="63"/>
                      </a:cubicBezTo>
                      <a:cubicBezTo>
                        <a:pt x="206" y="63"/>
                        <a:pt x="206" y="63"/>
                        <a:pt x="206" y="63"/>
                      </a:cubicBezTo>
                      <a:cubicBezTo>
                        <a:pt x="206" y="65"/>
                        <a:pt x="206" y="65"/>
                        <a:pt x="206" y="65"/>
                      </a:cubicBezTo>
                      <a:cubicBezTo>
                        <a:pt x="205" y="66"/>
                        <a:pt x="205" y="66"/>
                        <a:pt x="205" y="66"/>
                      </a:cubicBezTo>
                      <a:cubicBezTo>
                        <a:pt x="203" y="67"/>
                        <a:pt x="203" y="67"/>
                        <a:pt x="203" y="67"/>
                      </a:cubicBezTo>
                      <a:close/>
                      <a:moveTo>
                        <a:pt x="85" y="61"/>
                      </a:moveTo>
                      <a:cubicBezTo>
                        <a:pt x="84" y="62"/>
                        <a:pt x="84" y="62"/>
                        <a:pt x="84" y="62"/>
                      </a:cubicBezTo>
                      <a:cubicBezTo>
                        <a:pt x="85" y="63"/>
                        <a:pt x="85" y="63"/>
                        <a:pt x="85" y="63"/>
                      </a:cubicBezTo>
                      <a:cubicBezTo>
                        <a:pt x="86" y="63"/>
                        <a:pt x="86" y="63"/>
                        <a:pt x="86" y="63"/>
                      </a:cubicBezTo>
                      <a:cubicBezTo>
                        <a:pt x="86" y="62"/>
                        <a:pt x="86" y="62"/>
                        <a:pt x="86" y="62"/>
                      </a:cubicBezTo>
                      <a:cubicBezTo>
                        <a:pt x="88" y="62"/>
                        <a:pt x="88" y="62"/>
                        <a:pt x="88" y="62"/>
                      </a:cubicBezTo>
                      <a:cubicBezTo>
                        <a:pt x="89" y="62"/>
                        <a:pt x="89" y="62"/>
                        <a:pt x="89" y="62"/>
                      </a:cubicBezTo>
                      <a:cubicBezTo>
                        <a:pt x="90" y="62"/>
                        <a:pt x="90" y="62"/>
                        <a:pt x="90" y="62"/>
                      </a:cubicBezTo>
                      <a:cubicBezTo>
                        <a:pt x="90" y="61"/>
                        <a:pt x="90" y="61"/>
                        <a:pt x="90" y="61"/>
                      </a:cubicBezTo>
                      <a:cubicBezTo>
                        <a:pt x="90" y="61"/>
                        <a:pt x="90" y="61"/>
                        <a:pt x="90" y="61"/>
                      </a:cubicBezTo>
                      <a:cubicBezTo>
                        <a:pt x="88" y="61"/>
                        <a:pt x="88" y="61"/>
                        <a:pt x="88" y="61"/>
                      </a:cubicBezTo>
                      <a:cubicBezTo>
                        <a:pt x="88" y="61"/>
                        <a:pt x="88" y="61"/>
                        <a:pt x="88" y="61"/>
                      </a:cubicBezTo>
                      <a:cubicBezTo>
                        <a:pt x="85" y="61"/>
                        <a:pt x="85" y="61"/>
                        <a:pt x="85" y="61"/>
                      </a:cubicBezTo>
                      <a:cubicBezTo>
                        <a:pt x="85" y="61"/>
                        <a:pt x="85" y="61"/>
                        <a:pt x="85" y="61"/>
                      </a:cubicBezTo>
                      <a:close/>
                      <a:moveTo>
                        <a:pt x="49" y="59"/>
                      </a:moveTo>
                      <a:cubicBezTo>
                        <a:pt x="49" y="60"/>
                        <a:pt x="49" y="60"/>
                        <a:pt x="49" y="60"/>
                      </a:cubicBezTo>
                      <a:cubicBezTo>
                        <a:pt x="49" y="60"/>
                        <a:pt x="49" y="60"/>
                        <a:pt x="49" y="60"/>
                      </a:cubicBezTo>
                      <a:cubicBezTo>
                        <a:pt x="49" y="59"/>
                        <a:pt x="49" y="59"/>
                        <a:pt x="49" y="59"/>
                      </a:cubicBezTo>
                      <a:cubicBezTo>
                        <a:pt x="49" y="59"/>
                        <a:pt x="49" y="59"/>
                        <a:pt x="49" y="59"/>
                      </a:cubicBezTo>
                      <a:close/>
                      <a:moveTo>
                        <a:pt x="49" y="60"/>
                      </a:moveTo>
                      <a:cubicBezTo>
                        <a:pt x="50" y="60"/>
                        <a:pt x="50" y="60"/>
                        <a:pt x="50" y="60"/>
                      </a:cubicBezTo>
                      <a:cubicBezTo>
                        <a:pt x="50" y="60"/>
                        <a:pt x="50" y="60"/>
                        <a:pt x="50" y="60"/>
                      </a:cubicBezTo>
                      <a:cubicBezTo>
                        <a:pt x="50" y="59"/>
                        <a:pt x="50" y="59"/>
                        <a:pt x="50" y="59"/>
                      </a:cubicBezTo>
                      <a:cubicBezTo>
                        <a:pt x="51" y="59"/>
                        <a:pt x="51" y="59"/>
                        <a:pt x="51" y="59"/>
                      </a:cubicBezTo>
                      <a:cubicBezTo>
                        <a:pt x="52" y="58"/>
                        <a:pt x="52" y="58"/>
                        <a:pt x="52" y="58"/>
                      </a:cubicBezTo>
                      <a:cubicBezTo>
                        <a:pt x="52" y="57"/>
                        <a:pt x="52" y="57"/>
                        <a:pt x="52" y="57"/>
                      </a:cubicBezTo>
                      <a:cubicBezTo>
                        <a:pt x="53" y="56"/>
                        <a:pt x="53" y="56"/>
                        <a:pt x="53" y="56"/>
                      </a:cubicBezTo>
                      <a:cubicBezTo>
                        <a:pt x="53" y="57"/>
                        <a:pt x="53" y="57"/>
                        <a:pt x="53" y="57"/>
                      </a:cubicBezTo>
                      <a:cubicBezTo>
                        <a:pt x="54" y="57"/>
                        <a:pt x="54" y="57"/>
                        <a:pt x="54" y="57"/>
                      </a:cubicBezTo>
                      <a:cubicBezTo>
                        <a:pt x="56" y="57"/>
                        <a:pt x="56" y="57"/>
                        <a:pt x="56" y="57"/>
                      </a:cubicBezTo>
                      <a:cubicBezTo>
                        <a:pt x="57" y="57"/>
                        <a:pt x="57" y="57"/>
                        <a:pt x="57" y="57"/>
                      </a:cubicBezTo>
                      <a:cubicBezTo>
                        <a:pt x="57" y="57"/>
                        <a:pt x="57" y="57"/>
                        <a:pt x="57" y="57"/>
                      </a:cubicBezTo>
                      <a:cubicBezTo>
                        <a:pt x="57" y="57"/>
                        <a:pt x="57" y="57"/>
                        <a:pt x="57" y="57"/>
                      </a:cubicBezTo>
                      <a:cubicBezTo>
                        <a:pt x="59" y="57"/>
                        <a:pt x="59" y="57"/>
                        <a:pt x="59" y="57"/>
                      </a:cubicBezTo>
                      <a:cubicBezTo>
                        <a:pt x="60" y="57"/>
                        <a:pt x="60" y="57"/>
                        <a:pt x="60" y="57"/>
                      </a:cubicBezTo>
                      <a:cubicBezTo>
                        <a:pt x="62" y="58"/>
                        <a:pt x="62" y="58"/>
                        <a:pt x="62" y="58"/>
                      </a:cubicBezTo>
                      <a:cubicBezTo>
                        <a:pt x="64" y="58"/>
                        <a:pt x="64" y="58"/>
                        <a:pt x="64" y="58"/>
                      </a:cubicBezTo>
                      <a:cubicBezTo>
                        <a:pt x="64" y="59"/>
                        <a:pt x="64" y="59"/>
                        <a:pt x="64" y="59"/>
                      </a:cubicBezTo>
                      <a:cubicBezTo>
                        <a:pt x="64" y="60"/>
                        <a:pt x="64" y="60"/>
                        <a:pt x="64" y="60"/>
                      </a:cubicBezTo>
                      <a:cubicBezTo>
                        <a:pt x="64" y="60"/>
                        <a:pt x="64" y="60"/>
                        <a:pt x="64" y="60"/>
                      </a:cubicBezTo>
                      <a:cubicBezTo>
                        <a:pt x="66" y="61"/>
                        <a:pt x="66" y="61"/>
                        <a:pt x="66" y="61"/>
                      </a:cubicBezTo>
                      <a:cubicBezTo>
                        <a:pt x="69" y="61"/>
                        <a:pt x="69" y="61"/>
                        <a:pt x="69" y="61"/>
                      </a:cubicBezTo>
                      <a:cubicBezTo>
                        <a:pt x="71" y="61"/>
                        <a:pt x="71" y="61"/>
                        <a:pt x="71" y="61"/>
                      </a:cubicBezTo>
                      <a:cubicBezTo>
                        <a:pt x="74" y="61"/>
                        <a:pt x="74" y="61"/>
                        <a:pt x="74" y="61"/>
                      </a:cubicBezTo>
                      <a:cubicBezTo>
                        <a:pt x="74" y="60"/>
                        <a:pt x="74" y="60"/>
                        <a:pt x="74" y="60"/>
                      </a:cubicBezTo>
                      <a:cubicBezTo>
                        <a:pt x="74" y="58"/>
                        <a:pt x="74" y="58"/>
                        <a:pt x="74" y="58"/>
                      </a:cubicBezTo>
                      <a:cubicBezTo>
                        <a:pt x="75" y="58"/>
                        <a:pt x="75" y="58"/>
                        <a:pt x="75" y="58"/>
                      </a:cubicBezTo>
                      <a:cubicBezTo>
                        <a:pt x="77" y="59"/>
                        <a:pt x="77" y="59"/>
                        <a:pt x="77" y="59"/>
                      </a:cubicBezTo>
                      <a:cubicBezTo>
                        <a:pt x="77" y="59"/>
                        <a:pt x="77" y="59"/>
                        <a:pt x="77" y="59"/>
                      </a:cubicBezTo>
                      <a:cubicBezTo>
                        <a:pt x="78" y="59"/>
                        <a:pt x="78" y="59"/>
                        <a:pt x="78" y="59"/>
                      </a:cubicBezTo>
                      <a:cubicBezTo>
                        <a:pt x="79" y="60"/>
                        <a:pt x="79" y="60"/>
                        <a:pt x="79" y="60"/>
                      </a:cubicBezTo>
                      <a:cubicBezTo>
                        <a:pt x="80" y="60"/>
                        <a:pt x="80" y="60"/>
                        <a:pt x="80" y="60"/>
                      </a:cubicBezTo>
                      <a:cubicBezTo>
                        <a:pt x="81" y="60"/>
                        <a:pt x="81" y="60"/>
                        <a:pt x="81" y="60"/>
                      </a:cubicBezTo>
                      <a:cubicBezTo>
                        <a:pt x="81" y="61"/>
                        <a:pt x="81" y="61"/>
                        <a:pt x="81" y="61"/>
                      </a:cubicBezTo>
                      <a:cubicBezTo>
                        <a:pt x="82" y="61"/>
                        <a:pt x="82" y="61"/>
                        <a:pt x="82" y="61"/>
                      </a:cubicBezTo>
                      <a:cubicBezTo>
                        <a:pt x="83" y="61"/>
                        <a:pt x="83" y="61"/>
                        <a:pt x="83" y="61"/>
                      </a:cubicBezTo>
                      <a:cubicBezTo>
                        <a:pt x="83" y="62"/>
                        <a:pt x="83" y="62"/>
                        <a:pt x="83" y="62"/>
                      </a:cubicBezTo>
                      <a:cubicBezTo>
                        <a:pt x="84" y="63"/>
                        <a:pt x="84" y="63"/>
                        <a:pt x="84" y="63"/>
                      </a:cubicBezTo>
                      <a:cubicBezTo>
                        <a:pt x="84" y="64"/>
                        <a:pt x="84" y="64"/>
                        <a:pt x="84" y="64"/>
                      </a:cubicBezTo>
                      <a:cubicBezTo>
                        <a:pt x="85" y="64"/>
                        <a:pt x="85" y="64"/>
                        <a:pt x="85" y="64"/>
                      </a:cubicBezTo>
                      <a:cubicBezTo>
                        <a:pt x="86" y="65"/>
                        <a:pt x="86" y="65"/>
                        <a:pt x="86" y="65"/>
                      </a:cubicBezTo>
                      <a:cubicBezTo>
                        <a:pt x="87" y="64"/>
                        <a:pt x="87" y="64"/>
                        <a:pt x="87" y="64"/>
                      </a:cubicBezTo>
                      <a:cubicBezTo>
                        <a:pt x="88" y="65"/>
                        <a:pt x="88" y="65"/>
                        <a:pt x="88" y="65"/>
                      </a:cubicBezTo>
                      <a:cubicBezTo>
                        <a:pt x="89" y="65"/>
                        <a:pt x="89" y="65"/>
                        <a:pt x="89" y="65"/>
                      </a:cubicBezTo>
                      <a:cubicBezTo>
                        <a:pt x="89" y="64"/>
                        <a:pt x="89" y="64"/>
                        <a:pt x="89" y="64"/>
                      </a:cubicBezTo>
                      <a:cubicBezTo>
                        <a:pt x="90" y="64"/>
                        <a:pt x="90" y="64"/>
                        <a:pt x="90" y="64"/>
                      </a:cubicBezTo>
                      <a:cubicBezTo>
                        <a:pt x="90" y="65"/>
                        <a:pt x="90" y="65"/>
                        <a:pt x="90" y="65"/>
                      </a:cubicBezTo>
                      <a:cubicBezTo>
                        <a:pt x="91" y="65"/>
                        <a:pt x="91" y="65"/>
                        <a:pt x="91" y="65"/>
                      </a:cubicBezTo>
                      <a:cubicBezTo>
                        <a:pt x="92" y="65"/>
                        <a:pt x="92" y="65"/>
                        <a:pt x="92" y="65"/>
                      </a:cubicBezTo>
                      <a:cubicBezTo>
                        <a:pt x="91" y="67"/>
                        <a:pt x="91" y="67"/>
                        <a:pt x="91" y="67"/>
                      </a:cubicBezTo>
                      <a:cubicBezTo>
                        <a:pt x="91" y="68"/>
                        <a:pt x="91" y="68"/>
                        <a:pt x="91" y="68"/>
                      </a:cubicBezTo>
                      <a:cubicBezTo>
                        <a:pt x="91" y="68"/>
                        <a:pt x="91" y="68"/>
                        <a:pt x="91" y="68"/>
                      </a:cubicBezTo>
                      <a:cubicBezTo>
                        <a:pt x="92" y="69"/>
                        <a:pt x="92" y="69"/>
                        <a:pt x="92" y="69"/>
                      </a:cubicBezTo>
                      <a:cubicBezTo>
                        <a:pt x="91" y="70"/>
                        <a:pt x="91" y="70"/>
                        <a:pt x="91" y="70"/>
                      </a:cubicBezTo>
                      <a:cubicBezTo>
                        <a:pt x="90" y="69"/>
                        <a:pt x="90" y="69"/>
                        <a:pt x="90" y="69"/>
                      </a:cubicBezTo>
                      <a:cubicBezTo>
                        <a:pt x="89" y="69"/>
                        <a:pt x="89" y="69"/>
                        <a:pt x="89" y="69"/>
                      </a:cubicBezTo>
                      <a:cubicBezTo>
                        <a:pt x="88" y="68"/>
                        <a:pt x="88" y="68"/>
                        <a:pt x="88" y="68"/>
                      </a:cubicBezTo>
                      <a:cubicBezTo>
                        <a:pt x="87" y="68"/>
                        <a:pt x="87" y="68"/>
                        <a:pt x="87" y="68"/>
                      </a:cubicBezTo>
                      <a:cubicBezTo>
                        <a:pt x="86" y="67"/>
                        <a:pt x="86" y="67"/>
                        <a:pt x="86" y="67"/>
                      </a:cubicBezTo>
                      <a:cubicBezTo>
                        <a:pt x="85" y="67"/>
                        <a:pt x="85" y="67"/>
                        <a:pt x="85" y="67"/>
                      </a:cubicBezTo>
                      <a:cubicBezTo>
                        <a:pt x="84" y="68"/>
                        <a:pt x="84" y="68"/>
                        <a:pt x="84" y="68"/>
                      </a:cubicBezTo>
                      <a:cubicBezTo>
                        <a:pt x="83" y="68"/>
                        <a:pt x="83" y="68"/>
                        <a:pt x="83" y="68"/>
                      </a:cubicBezTo>
                      <a:cubicBezTo>
                        <a:pt x="81" y="67"/>
                        <a:pt x="81" y="67"/>
                        <a:pt x="81" y="67"/>
                      </a:cubicBezTo>
                      <a:cubicBezTo>
                        <a:pt x="80" y="67"/>
                        <a:pt x="80" y="67"/>
                        <a:pt x="80" y="67"/>
                      </a:cubicBezTo>
                      <a:cubicBezTo>
                        <a:pt x="79" y="68"/>
                        <a:pt x="79" y="68"/>
                        <a:pt x="79" y="68"/>
                      </a:cubicBezTo>
                      <a:cubicBezTo>
                        <a:pt x="78" y="67"/>
                        <a:pt x="78" y="67"/>
                        <a:pt x="78" y="67"/>
                      </a:cubicBezTo>
                      <a:cubicBezTo>
                        <a:pt x="76" y="67"/>
                        <a:pt x="76" y="67"/>
                        <a:pt x="76" y="67"/>
                      </a:cubicBezTo>
                      <a:cubicBezTo>
                        <a:pt x="75" y="67"/>
                        <a:pt x="75" y="67"/>
                        <a:pt x="75" y="67"/>
                      </a:cubicBezTo>
                      <a:cubicBezTo>
                        <a:pt x="73" y="66"/>
                        <a:pt x="73" y="66"/>
                        <a:pt x="73" y="66"/>
                      </a:cubicBezTo>
                      <a:cubicBezTo>
                        <a:pt x="70" y="65"/>
                        <a:pt x="70" y="65"/>
                        <a:pt x="70" y="65"/>
                      </a:cubicBezTo>
                      <a:cubicBezTo>
                        <a:pt x="69" y="65"/>
                        <a:pt x="69" y="65"/>
                        <a:pt x="69" y="65"/>
                      </a:cubicBezTo>
                      <a:cubicBezTo>
                        <a:pt x="68" y="64"/>
                        <a:pt x="68" y="64"/>
                        <a:pt x="68" y="64"/>
                      </a:cubicBezTo>
                      <a:cubicBezTo>
                        <a:pt x="67" y="64"/>
                        <a:pt x="67" y="64"/>
                        <a:pt x="67" y="64"/>
                      </a:cubicBezTo>
                      <a:cubicBezTo>
                        <a:pt x="66" y="65"/>
                        <a:pt x="66" y="65"/>
                        <a:pt x="66" y="65"/>
                      </a:cubicBezTo>
                      <a:cubicBezTo>
                        <a:pt x="65" y="65"/>
                        <a:pt x="65" y="65"/>
                        <a:pt x="65" y="65"/>
                      </a:cubicBezTo>
                      <a:cubicBezTo>
                        <a:pt x="65" y="64"/>
                        <a:pt x="65" y="64"/>
                        <a:pt x="65" y="64"/>
                      </a:cubicBezTo>
                      <a:cubicBezTo>
                        <a:pt x="64" y="64"/>
                        <a:pt x="64" y="64"/>
                        <a:pt x="64" y="64"/>
                      </a:cubicBezTo>
                      <a:cubicBezTo>
                        <a:pt x="63" y="65"/>
                        <a:pt x="63" y="65"/>
                        <a:pt x="63" y="65"/>
                      </a:cubicBezTo>
                      <a:cubicBezTo>
                        <a:pt x="61" y="65"/>
                        <a:pt x="61" y="65"/>
                        <a:pt x="61" y="65"/>
                      </a:cubicBezTo>
                      <a:cubicBezTo>
                        <a:pt x="60" y="64"/>
                        <a:pt x="60" y="64"/>
                        <a:pt x="60" y="64"/>
                      </a:cubicBezTo>
                      <a:cubicBezTo>
                        <a:pt x="58" y="64"/>
                        <a:pt x="58" y="64"/>
                        <a:pt x="58" y="64"/>
                      </a:cubicBezTo>
                      <a:cubicBezTo>
                        <a:pt x="57" y="63"/>
                        <a:pt x="57" y="63"/>
                        <a:pt x="57" y="63"/>
                      </a:cubicBezTo>
                      <a:cubicBezTo>
                        <a:pt x="57" y="64"/>
                        <a:pt x="57" y="64"/>
                        <a:pt x="57" y="64"/>
                      </a:cubicBezTo>
                      <a:cubicBezTo>
                        <a:pt x="55" y="63"/>
                        <a:pt x="55" y="63"/>
                        <a:pt x="55" y="63"/>
                      </a:cubicBezTo>
                      <a:cubicBezTo>
                        <a:pt x="54" y="63"/>
                        <a:pt x="54" y="63"/>
                        <a:pt x="54" y="63"/>
                      </a:cubicBezTo>
                      <a:cubicBezTo>
                        <a:pt x="54" y="63"/>
                        <a:pt x="54" y="63"/>
                        <a:pt x="54" y="63"/>
                      </a:cubicBezTo>
                      <a:cubicBezTo>
                        <a:pt x="54" y="62"/>
                        <a:pt x="54" y="62"/>
                        <a:pt x="54" y="62"/>
                      </a:cubicBezTo>
                      <a:cubicBezTo>
                        <a:pt x="55" y="61"/>
                        <a:pt x="55" y="61"/>
                        <a:pt x="55" y="61"/>
                      </a:cubicBezTo>
                      <a:cubicBezTo>
                        <a:pt x="54" y="61"/>
                        <a:pt x="54" y="61"/>
                        <a:pt x="54" y="61"/>
                      </a:cubicBezTo>
                      <a:cubicBezTo>
                        <a:pt x="54" y="62"/>
                        <a:pt x="54" y="62"/>
                        <a:pt x="54" y="62"/>
                      </a:cubicBezTo>
                      <a:cubicBezTo>
                        <a:pt x="53" y="61"/>
                        <a:pt x="53" y="61"/>
                        <a:pt x="53" y="61"/>
                      </a:cubicBezTo>
                      <a:cubicBezTo>
                        <a:pt x="53" y="60"/>
                        <a:pt x="53" y="60"/>
                        <a:pt x="53" y="60"/>
                      </a:cubicBezTo>
                      <a:cubicBezTo>
                        <a:pt x="52" y="61"/>
                        <a:pt x="52" y="61"/>
                        <a:pt x="52" y="61"/>
                      </a:cubicBezTo>
                      <a:cubicBezTo>
                        <a:pt x="50" y="61"/>
                        <a:pt x="50" y="61"/>
                        <a:pt x="50" y="61"/>
                      </a:cubicBezTo>
                      <a:cubicBezTo>
                        <a:pt x="49" y="61"/>
                        <a:pt x="49" y="61"/>
                        <a:pt x="49" y="61"/>
                      </a:cubicBezTo>
                      <a:cubicBezTo>
                        <a:pt x="49" y="60"/>
                        <a:pt x="49" y="60"/>
                        <a:pt x="49" y="60"/>
                      </a:cubicBezTo>
                      <a:cubicBezTo>
                        <a:pt x="49" y="60"/>
                        <a:pt x="49" y="60"/>
                        <a:pt x="49" y="60"/>
                      </a:cubicBezTo>
                      <a:close/>
                      <a:moveTo>
                        <a:pt x="62" y="11"/>
                      </a:moveTo>
                      <a:cubicBezTo>
                        <a:pt x="63" y="12"/>
                        <a:pt x="63" y="12"/>
                        <a:pt x="63" y="12"/>
                      </a:cubicBezTo>
                      <a:cubicBezTo>
                        <a:pt x="63" y="12"/>
                        <a:pt x="63" y="12"/>
                        <a:pt x="63" y="12"/>
                      </a:cubicBezTo>
                      <a:cubicBezTo>
                        <a:pt x="63" y="13"/>
                        <a:pt x="63" y="13"/>
                        <a:pt x="63" y="13"/>
                      </a:cubicBezTo>
                      <a:cubicBezTo>
                        <a:pt x="64" y="13"/>
                        <a:pt x="64" y="13"/>
                        <a:pt x="64" y="13"/>
                      </a:cubicBezTo>
                      <a:cubicBezTo>
                        <a:pt x="64" y="12"/>
                        <a:pt x="64" y="12"/>
                        <a:pt x="64" y="12"/>
                      </a:cubicBezTo>
                      <a:cubicBezTo>
                        <a:pt x="63" y="10"/>
                        <a:pt x="63" y="10"/>
                        <a:pt x="63" y="10"/>
                      </a:cubicBezTo>
                      <a:cubicBezTo>
                        <a:pt x="62" y="11"/>
                        <a:pt x="62" y="11"/>
                        <a:pt x="62" y="11"/>
                      </a:cubicBezTo>
                      <a:cubicBezTo>
                        <a:pt x="62" y="11"/>
                        <a:pt x="62" y="11"/>
                        <a:pt x="62" y="11"/>
                      </a:cubicBezTo>
                      <a:close/>
                      <a:moveTo>
                        <a:pt x="54" y="17"/>
                      </a:moveTo>
                      <a:cubicBezTo>
                        <a:pt x="54" y="17"/>
                        <a:pt x="54" y="17"/>
                        <a:pt x="54" y="17"/>
                      </a:cubicBezTo>
                      <a:cubicBezTo>
                        <a:pt x="54" y="17"/>
                        <a:pt x="54" y="17"/>
                        <a:pt x="54" y="17"/>
                      </a:cubicBezTo>
                      <a:cubicBezTo>
                        <a:pt x="54" y="17"/>
                        <a:pt x="54" y="17"/>
                        <a:pt x="54" y="17"/>
                      </a:cubicBezTo>
                      <a:close/>
                      <a:moveTo>
                        <a:pt x="54" y="15"/>
                      </a:moveTo>
                      <a:cubicBezTo>
                        <a:pt x="54" y="14"/>
                        <a:pt x="54" y="14"/>
                        <a:pt x="54" y="14"/>
                      </a:cubicBezTo>
                      <a:cubicBezTo>
                        <a:pt x="54" y="14"/>
                        <a:pt x="54" y="14"/>
                        <a:pt x="54" y="14"/>
                      </a:cubicBezTo>
                      <a:cubicBezTo>
                        <a:pt x="54" y="15"/>
                        <a:pt x="54" y="15"/>
                        <a:pt x="54" y="15"/>
                      </a:cubicBezTo>
                      <a:close/>
                      <a:moveTo>
                        <a:pt x="54" y="15"/>
                      </a:moveTo>
                      <a:cubicBezTo>
                        <a:pt x="54" y="16"/>
                        <a:pt x="54" y="16"/>
                        <a:pt x="54" y="16"/>
                      </a:cubicBezTo>
                      <a:cubicBezTo>
                        <a:pt x="54" y="16"/>
                        <a:pt x="54" y="16"/>
                        <a:pt x="54" y="16"/>
                      </a:cubicBezTo>
                      <a:cubicBezTo>
                        <a:pt x="54" y="15"/>
                        <a:pt x="54" y="15"/>
                        <a:pt x="54" y="15"/>
                      </a:cubicBezTo>
                      <a:close/>
                      <a:moveTo>
                        <a:pt x="51" y="16"/>
                      </a:moveTo>
                      <a:cubicBezTo>
                        <a:pt x="51" y="17"/>
                        <a:pt x="51" y="17"/>
                        <a:pt x="51" y="17"/>
                      </a:cubicBezTo>
                      <a:cubicBezTo>
                        <a:pt x="51" y="17"/>
                        <a:pt x="51" y="17"/>
                        <a:pt x="51" y="17"/>
                      </a:cubicBezTo>
                      <a:cubicBezTo>
                        <a:pt x="52" y="16"/>
                        <a:pt x="52" y="16"/>
                        <a:pt x="52" y="16"/>
                      </a:cubicBezTo>
                      <a:cubicBezTo>
                        <a:pt x="51" y="16"/>
                        <a:pt x="51" y="16"/>
                        <a:pt x="51" y="16"/>
                      </a:cubicBezTo>
                      <a:cubicBezTo>
                        <a:pt x="51" y="16"/>
                        <a:pt x="51" y="16"/>
                        <a:pt x="51" y="16"/>
                      </a:cubicBezTo>
                      <a:close/>
                      <a:moveTo>
                        <a:pt x="43" y="26"/>
                      </a:moveTo>
                      <a:cubicBezTo>
                        <a:pt x="44" y="26"/>
                        <a:pt x="44" y="26"/>
                        <a:pt x="44" y="26"/>
                      </a:cubicBezTo>
                      <a:cubicBezTo>
                        <a:pt x="44" y="25"/>
                        <a:pt x="44" y="25"/>
                        <a:pt x="44" y="25"/>
                      </a:cubicBezTo>
                      <a:cubicBezTo>
                        <a:pt x="44" y="24"/>
                        <a:pt x="44" y="24"/>
                        <a:pt x="44" y="24"/>
                      </a:cubicBezTo>
                      <a:cubicBezTo>
                        <a:pt x="43" y="26"/>
                        <a:pt x="43" y="26"/>
                        <a:pt x="43" y="26"/>
                      </a:cubicBezTo>
                      <a:close/>
                      <a:moveTo>
                        <a:pt x="45" y="25"/>
                      </a:moveTo>
                      <a:cubicBezTo>
                        <a:pt x="45" y="26"/>
                        <a:pt x="45" y="26"/>
                        <a:pt x="45" y="26"/>
                      </a:cubicBezTo>
                      <a:cubicBezTo>
                        <a:pt x="46" y="26"/>
                        <a:pt x="46" y="26"/>
                        <a:pt x="46" y="26"/>
                      </a:cubicBezTo>
                      <a:cubicBezTo>
                        <a:pt x="46" y="27"/>
                        <a:pt x="46" y="27"/>
                        <a:pt x="46" y="27"/>
                      </a:cubicBezTo>
                      <a:cubicBezTo>
                        <a:pt x="46" y="27"/>
                        <a:pt x="46" y="27"/>
                        <a:pt x="46" y="27"/>
                      </a:cubicBezTo>
                      <a:cubicBezTo>
                        <a:pt x="47" y="25"/>
                        <a:pt x="47" y="25"/>
                        <a:pt x="47" y="25"/>
                      </a:cubicBezTo>
                      <a:cubicBezTo>
                        <a:pt x="46" y="25"/>
                        <a:pt x="46" y="25"/>
                        <a:pt x="46" y="25"/>
                      </a:cubicBezTo>
                      <a:cubicBezTo>
                        <a:pt x="47" y="24"/>
                        <a:pt x="47" y="24"/>
                        <a:pt x="47" y="24"/>
                      </a:cubicBezTo>
                      <a:cubicBezTo>
                        <a:pt x="46" y="24"/>
                        <a:pt x="46" y="24"/>
                        <a:pt x="46" y="24"/>
                      </a:cubicBezTo>
                      <a:cubicBezTo>
                        <a:pt x="46" y="25"/>
                        <a:pt x="46" y="25"/>
                        <a:pt x="46" y="25"/>
                      </a:cubicBezTo>
                      <a:cubicBezTo>
                        <a:pt x="45" y="25"/>
                        <a:pt x="45" y="25"/>
                        <a:pt x="45" y="25"/>
                      </a:cubicBezTo>
                      <a:close/>
                      <a:moveTo>
                        <a:pt x="66" y="38"/>
                      </a:moveTo>
                      <a:cubicBezTo>
                        <a:pt x="66" y="38"/>
                        <a:pt x="66" y="38"/>
                        <a:pt x="66" y="38"/>
                      </a:cubicBezTo>
                      <a:cubicBezTo>
                        <a:pt x="67" y="38"/>
                        <a:pt x="67" y="38"/>
                        <a:pt x="67" y="38"/>
                      </a:cubicBezTo>
                      <a:cubicBezTo>
                        <a:pt x="67" y="38"/>
                        <a:pt x="67" y="38"/>
                        <a:pt x="67" y="38"/>
                      </a:cubicBezTo>
                      <a:cubicBezTo>
                        <a:pt x="67" y="38"/>
                        <a:pt x="67" y="38"/>
                        <a:pt x="67" y="38"/>
                      </a:cubicBezTo>
                      <a:cubicBezTo>
                        <a:pt x="66" y="38"/>
                        <a:pt x="66" y="38"/>
                        <a:pt x="66" y="38"/>
                      </a:cubicBezTo>
                      <a:close/>
                      <a:moveTo>
                        <a:pt x="60" y="42"/>
                      </a:moveTo>
                      <a:cubicBezTo>
                        <a:pt x="60" y="42"/>
                        <a:pt x="60" y="42"/>
                        <a:pt x="60" y="42"/>
                      </a:cubicBezTo>
                      <a:cubicBezTo>
                        <a:pt x="60" y="43"/>
                        <a:pt x="60" y="43"/>
                        <a:pt x="60" y="43"/>
                      </a:cubicBezTo>
                      <a:cubicBezTo>
                        <a:pt x="59" y="43"/>
                        <a:pt x="59" y="43"/>
                        <a:pt x="59" y="43"/>
                      </a:cubicBezTo>
                      <a:cubicBezTo>
                        <a:pt x="59" y="44"/>
                        <a:pt x="59" y="44"/>
                        <a:pt x="59" y="44"/>
                      </a:cubicBezTo>
                      <a:cubicBezTo>
                        <a:pt x="60" y="44"/>
                        <a:pt x="60" y="44"/>
                        <a:pt x="60" y="44"/>
                      </a:cubicBezTo>
                      <a:cubicBezTo>
                        <a:pt x="60" y="43"/>
                        <a:pt x="60" y="43"/>
                        <a:pt x="60" y="43"/>
                      </a:cubicBezTo>
                      <a:cubicBezTo>
                        <a:pt x="60" y="43"/>
                        <a:pt x="60" y="43"/>
                        <a:pt x="60" y="43"/>
                      </a:cubicBezTo>
                      <a:cubicBezTo>
                        <a:pt x="60" y="44"/>
                        <a:pt x="60" y="44"/>
                        <a:pt x="60" y="44"/>
                      </a:cubicBezTo>
                      <a:cubicBezTo>
                        <a:pt x="61" y="45"/>
                        <a:pt x="61" y="45"/>
                        <a:pt x="61" y="45"/>
                      </a:cubicBezTo>
                      <a:cubicBezTo>
                        <a:pt x="62" y="44"/>
                        <a:pt x="62" y="44"/>
                        <a:pt x="62" y="44"/>
                      </a:cubicBezTo>
                      <a:cubicBezTo>
                        <a:pt x="62" y="44"/>
                        <a:pt x="62" y="44"/>
                        <a:pt x="62" y="44"/>
                      </a:cubicBezTo>
                      <a:cubicBezTo>
                        <a:pt x="63" y="45"/>
                        <a:pt x="63" y="45"/>
                        <a:pt x="63" y="45"/>
                      </a:cubicBezTo>
                      <a:cubicBezTo>
                        <a:pt x="63" y="44"/>
                        <a:pt x="63" y="44"/>
                        <a:pt x="63" y="44"/>
                      </a:cubicBezTo>
                      <a:cubicBezTo>
                        <a:pt x="64" y="44"/>
                        <a:pt x="64" y="44"/>
                        <a:pt x="64" y="44"/>
                      </a:cubicBezTo>
                      <a:cubicBezTo>
                        <a:pt x="64" y="43"/>
                        <a:pt x="64" y="43"/>
                        <a:pt x="64" y="43"/>
                      </a:cubicBezTo>
                      <a:cubicBezTo>
                        <a:pt x="62" y="42"/>
                        <a:pt x="62" y="42"/>
                        <a:pt x="62" y="42"/>
                      </a:cubicBezTo>
                      <a:cubicBezTo>
                        <a:pt x="60" y="42"/>
                        <a:pt x="60" y="42"/>
                        <a:pt x="60" y="42"/>
                      </a:cubicBezTo>
                      <a:cubicBezTo>
                        <a:pt x="60" y="42"/>
                        <a:pt x="60" y="42"/>
                        <a:pt x="60" y="42"/>
                      </a:cubicBezTo>
                      <a:close/>
                      <a:moveTo>
                        <a:pt x="57" y="43"/>
                      </a:moveTo>
                      <a:cubicBezTo>
                        <a:pt x="57" y="44"/>
                        <a:pt x="57" y="44"/>
                        <a:pt x="57" y="44"/>
                      </a:cubicBezTo>
                      <a:cubicBezTo>
                        <a:pt x="57" y="44"/>
                        <a:pt x="57" y="44"/>
                        <a:pt x="57" y="44"/>
                      </a:cubicBezTo>
                      <a:cubicBezTo>
                        <a:pt x="57" y="43"/>
                        <a:pt x="57" y="43"/>
                        <a:pt x="57" y="43"/>
                      </a:cubicBezTo>
                      <a:close/>
                      <a:moveTo>
                        <a:pt x="50" y="38"/>
                      </a:moveTo>
                      <a:cubicBezTo>
                        <a:pt x="50" y="39"/>
                        <a:pt x="50" y="39"/>
                        <a:pt x="50" y="39"/>
                      </a:cubicBezTo>
                      <a:cubicBezTo>
                        <a:pt x="49" y="39"/>
                        <a:pt x="49" y="39"/>
                        <a:pt x="49" y="39"/>
                      </a:cubicBezTo>
                      <a:cubicBezTo>
                        <a:pt x="50" y="40"/>
                        <a:pt x="50" y="40"/>
                        <a:pt x="50" y="40"/>
                      </a:cubicBezTo>
                      <a:cubicBezTo>
                        <a:pt x="51" y="40"/>
                        <a:pt x="51" y="40"/>
                        <a:pt x="51" y="40"/>
                      </a:cubicBezTo>
                      <a:cubicBezTo>
                        <a:pt x="52" y="40"/>
                        <a:pt x="52" y="40"/>
                        <a:pt x="52" y="40"/>
                      </a:cubicBezTo>
                      <a:cubicBezTo>
                        <a:pt x="52" y="41"/>
                        <a:pt x="52" y="41"/>
                        <a:pt x="52" y="41"/>
                      </a:cubicBezTo>
                      <a:cubicBezTo>
                        <a:pt x="52" y="42"/>
                        <a:pt x="52" y="42"/>
                        <a:pt x="52" y="42"/>
                      </a:cubicBezTo>
                      <a:cubicBezTo>
                        <a:pt x="53" y="43"/>
                        <a:pt x="53" y="43"/>
                        <a:pt x="53" y="43"/>
                      </a:cubicBezTo>
                      <a:cubicBezTo>
                        <a:pt x="54" y="43"/>
                        <a:pt x="54" y="43"/>
                        <a:pt x="54" y="43"/>
                      </a:cubicBezTo>
                      <a:cubicBezTo>
                        <a:pt x="55" y="43"/>
                        <a:pt x="55" y="43"/>
                        <a:pt x="55" y="43"/>
                      </a:cubicBezTo>
                      <a:cubicBezTo>
                        <a:pt x="55" y="44"/>
                        <a:pt x="55" y="44"/>
                        <a:pt x="55" y="44"/>
                      </a:cubicBezTo>
                      <a:cubicBezTo>
                        <a:pt x="55" y="44"/>
                        <a:pt x="55" y="44"/>
                        <a:pt x="55" y="44"/>
                      </a:cubicBezTo>
                      <a:cubicBezTo>
                        <a:pt x="56" y="44"/>
                        <a:pt x="56" y="44"/>
                        <a:pt x="56" y="44"/>
                      </a:cubicBezTo>
                      <a:cubicBezTo>
                        <a:pt x="56" y="43"/>
                        <a:pt x="56" y="43"/>
                        <a:pt x="56" y="43"/>
                      </a:cubicBezTo>
                      <a:cubicBezTo>
                        <a:pt x="56" y="42"/>
                        <a:pt x="56" y="42"/>
                        <a:pt x="56" y="42"/>
                      </a:cubicBezTo>
                      <a:cubicBezTo>
                        <a:pt x="55" y="42"/>
                        <a:pt x="55" y="42"/>
                        <a:pt x="55" y="42"/>
                      </a:cubicBezTo>
                      <a:cubicBezTo>
                        <a:pt x="54" y="41"/>
                        <a:pt x="54" y="41"/>
                        <a:pt x="54" y="41"/>
                      </a:cubicBezTo>
                      <a:cubicBezTo>
                        <a:pt x="53" y="39"/>
                        <a:pt x="53" y="39"/>
                        <a:pt x="53" y="39"/>
                      </a:cubicBezTo>
                      <a:cubicBezTo>
                        <a:pt x="53" y="38"/>
                        <a:pt x="53" y="38"/>
                        <a:pt x="53" y="38"/>
                      </a:cubicBezTo>
                      <a:cubicBezTo>
                        <a:pt x="53" y="38"/>
                        <a:pt x="53" y="38"/>
                        <a:pt x="53" y="38"/>
                      </a:cubicBezTo>
                      <a:cubicBezTo>
                        <a:pt x="52" y="37"/>
                        <a:pt x="52" y="37"/>
                        <a:pt x="52" y="37"/>
                      </a:cubicBezTo>
                      <a:cubicBezTo>
                        <a:pt x="51" y="37"/>
                        <a:pt x="51" y="37"/>
                        <a:pt x="51" y="37"/>
                      </a:cubicBezTo>
                      <a:cubicBezTo>
                        <a:pt x="51" y="38"/>
                        <a:pt x="51" y="38"/>
                        <a:pt x="51" y="38"/>
                      </a:cubicBezTo>
                      <a:cubicBezTo>
                        <a:pt x="52" y="39"/>
                        <a:pt x="52" y="39"/>
                        <a:pt x="52" y="39"/>
                      </a:cubicBezTo>
                      <a:cubicBezTo>
                        <a:pt x="51" y="38"/>
                        <a:pt x="51" y="38"/>
                        <a:pt x="51" y="38"/>
                      </a:cubicBezTo>
                      <a:cubicBezTo>
                        <a:pt x="50" y="38"/>
                        <a:pt x="50" y="38"/>
                        <a:pt x="50" y="38"/>
                      </a:cubicBezTo>
                      <a:cubicBezTo>
                        <a:pt x="50" y="38"/>
                        <a:pt x="50" y="38"/>
                        <a:pt x="50" y="38"/>
                      </a:cubicBezTo>
                      <a:close/>
                      <a:moveTo>
                        <a:pt x="45" y="33"/>
                      </a:moveTo>
                      <a:cubicBezTo>
                        <a:pt x="45" y="33"/>
                        <a:pt x="45" y="33"/>
                        <a:pt x="45" y="33"/>
                      </a:cubicBezTo>
                      <a:cubicBezTo>
                        <a:pt x="46" y="34"/>
                        <a:pt x="46" y="34"/>
                        <a:pt x="46" y="34"/>
                      </a:cubicBezTo>
                      <a:cubicBezTo>
                        <a:pt x="46" y="33"/>
                        <a:pt x="46" y="33"/>
                        <a:pt x="46" y="33"/>
                      </a:cubicBezTo>
                      <a:cubicBezTo>
                        <a:pt x="46" y="33"/>
                        <a:pt x="46" y="33"/>
                        <a:pt x="46" y="33"/>
                      </a:cubicBezTo>
                      <a:cubicBezTo>
                        <a:pt x="45" y="33"/>
                        <a:pt x="45" y="33"/>
                        <a:pt x="45" y="33"/>
                      </a:cubicBezTo>
                      <a:close/>
                      <a:moveTo>
                        <a:pt x="46" y="31"/>
                      </a:moveTo>
                      <a:cubicBezTo>
                        <a:pt x="46" y="31"/>
                        <a:pt x="46" y="31"/>
                        <a:pt x="46" y="31"/>
                      </a:cubicBezTo>
                      <a:cubicBezTo>
                        <a:pt x="46" y="32"/>
                        <a:pt x="46" y="32"/>
                        <a:pt x="46" y="32"/>
                      </a:cubicBezTo>
                      <a:cubicBezTo>
                        <a:pt x="47" y="32"/>
                        <a:pt x="47" y="32"/>
                        <a:pt x="47" y="32"/>
                      </a:cubicBezTo>
                      <a:cubicBezTo>
                        <a:pt x="48" y="32"/>
                        <a:pt x="48" y="32"/>
                        <a:pt x="48" y="32"/>
                      </a:cubicBezTo>
                      <a:cubicBezTo>
                        <a:pt x="48" y="32"/>
                        <a:pt x="48" y="32"/>
                        <a:pt x="48" y="32"/>
                      </a:cubicBezTo>
                      <a:cubicBezTo>
                        <a:pt x="47" y="31"/>
                        <a:pt x="47" y="31"/>
                        <a:pt x="47" y="31"/>
                      </a:cubicBezTo>
                      <a:cubicBezTo>
                        <a:pt x="46" y="31"/>
                        <a:pt x="46" y="31"/>
                        <a:pt x="46" y="31"/>
                      </a:cubicBezTo>
                      <a:close/>
                      <a:moveTo>
                        <a:pt x="37" y="25"/>
                      </a:moveTo>
                      <a:cubicBezTo>
                        <a:pt x="36" y="26"/>
                        <a:pt x="36" y="26"/>
                        <a:pt x="36" y="26"/>
                      </a:cubicBezTo>
                      <a:cubicBezTo>
                        <a:pt x="36" y="27"/>
                        <a:pt x="36" y="27"/>
                        <a:pt x="36" y="27"/>
                      </a:cubicBezTo>
                      <a:cubicBezTo>
                        <a:pt x="38" y="27"/>
                        <a:pt x="38" y="27"/>
                        <a:pt x="38" y="27"/>
                      </a:cubicBezTo>
                      <a:cubicBezTo>
                        <a:pt x="39" y="27"/>
                        <a:pt x="39" y="27"/>
                        <a:pt x="39" y="27"/>
                      </a:cubicBezTo>
                      <a:cubicBezTo>
                        <a:pt x="39" y="27"/>
                        <a:pt x="39" y="27"/>
                        <a:pt x="39" y="27"/>
                      </a:cubicBezTo>
                      <a:cubicBezTo>
                        <a:pt x="39" y="26"/>
                        <a:pt x="39" y="26"/>
                        <a:pt x="39" y="26"/>
                      </a:cubicBezTo>
                      <a:cubicBezTo>
                        <a:pt x="38" y="25"/>
                        <a:pt x="38" y="25"/>
                        <a:pt x="38" y="25"/>
                      </a:cubicBezTo>
                      <a:cubicBezTo>
                        <a:pt x="37" y="25"/>
                        <a:pt x="37" y="25"/>
                        <a:pt x="37" y="25"/>
                      </a:cubicBezTo>
                      <a:close/>
                      <a:moveTo>
                        <a:pt x="34" y="24"/>
                      </a:moveTo>
                      <a:cubicBezTo>
                        <a:pt x="34" y="24"/>
                        <a:pt x="34" y="24"/>
                        <a:pt x="34" y="24"/>
                      </a:cubicBezTo>
                      <a:cubicBezTo>
                        <a:pt x="36" y="24"/>
                        <a:pt x="36" y="24"/>
                        <a:pt x="36" y="24"/>
                      </a:cubicBezTo>
                      <a:cubicBezTo>
                        <a:pt x="36" y="25"/>
                        <a:pt x="36" y="25"/>
                        <a:pt x="36" y="25"/>
                      </a:cubicBezTo>
                      <a:cubicBezTo>
                        <a:pt x="35" y="26"/>
                        <a:pt x="35" y="26"/>
                        <a:pt x="35" y="26"/>
                      </a:cubicBezTo>
                      <a:cubicBezTo>
                        <a:pt x="35" y="25"/>
                        <a:pt x="35" y="25"/>
                        <a:pt x="35" y="25"/>
                      </a:cubicBezTo>
                      <a:cubicBezTo>
                        <a:pt x="34" y="24"/>
                        <a:pt x="34" y="24"/>
                        <a:pt x="34" y="24"/>
                      </a:cubicBezTo>
                      <a:close/>
                      <a:moveTo>
                        <a:pt x="31" y="21"/>
                      </a:moveTo>
                      <a:cubicBezTo>
                        <a:pt x="31" y="23"/>
                        <a:pt x="31" y="23"/>
                        <a:pt x="31" y="23"/>
                      </a:cubicBezTo>
                      <a:cubicBezTo>
                        <a:pt x="32" y="23"/>
                        <a:pt x="32" y="23"/>
                        <a:pt x="32" y="23"/>
                      </a:cubicBezTo>
                      <a:cubicBezTo>
                        <a:pt x="33" y="22"/>
                        <a:pt x="33" y="22"/>
                        <a:pt x="33" y="22"/>
                      </a:cubicBezTo>
                      <a:cubicBezTo>
                        <a:pt x="32" y="21"/>
                        <a:pt x="32" y="21"/>
                        <a:pt x="32" y="21"/>
                      </a:cubicBezTo>
                      <a:cubicBezTo>
                        <a:pt x="31" y="21"/>
                        <a:pt x="31" y="21"/>
                        <a:pt x="31" y="21"/>
                      </a:cubicBezTo>
                      <a:cubicBezTo>
                        <a:pt x="31" y="21"/>
                        <a:pt x="31" y="21"/>
                        <a:pt x="31" y="21"/>
                      </a:cubicBezTo>
                      <a:close/>
                      <a:moveTo>
                        <a:pt x="34" y="54"/>
                      </a:moveTo>
                      <a:cubicBezTo>
                        <a:pt x="35" y="55"/>
                        <a:pt x="35" y="55"/>
                        <a:pt x="35" y="55"/>
                      </a:cubicBezTo>
                      <a:cubicBezTo>
                        <a:pt x="35" y="54"/>
                        <a:pt x="35" y="54"/>
                        <a:pt x="35" y="54"/>
                      </a:cubicBezTo>
                      <a:cubicBezTo>
                        <a:pt x="34" y="54"/>
                        <a:pt x="34" y="54"/>
                        <a:pt x="34" y="54"/>
                      </a:cubicBezTo>
                      <a:cubicBezTo>
                        <a:pt x="34" y="54"/>
                        <a:pt x="34" y="54"/>
                        <a:pt x="34" y="54"/>
                      </a:cubicBezTo>
                      <a:close/>
                      <a:moveTo>
                        <a:pt x="25" y="43"/>
                      </a:moveTo>
                      <a:cubicBezTo>
                        <a:pt x="24" y="44"/>
                        <a:pt x="24" y="44"/>
                        <a:pt x="24" y="44"/>
                      </a:cubicBezTo>
                      <a:cubicBezTo>
                        <a:pt x="26" y="45"/>
                        <a:pt x="26" y="45"/>
                        <a:pt x="26" y="45"/>
                      </a:cubicBezTo>
                      <a:cubicBezTo>
                        <a:pt x="26" y="44"/>
                        <a:pt x="26" y="44"/>
                        <a:pt x="26" y="44"/>
                      </a:cubicBezTo>
                      <a:cubicBezTo>
                        <a:pt x="26" y="44"/>
                        <a:pt x="26" y="44"/>
                        <a:pt x="26" y="44"/>
                      </a:cubicBezTo>
                      <a:cubicBezTo>
                        <a:pt x="25" y="43"/>
                        <a:pt x="25" y="43"/>
                        <a:pt x="25" y="43"/>
                      </a:cubicBezTo>
                      <a:close/>
                      <a:moveTo>
                        <a:pt x="24" y="42"/>
                      </a:moveTo>
                      <a:cubicBezTo>
                        <a:pt x="24" y="42"/>
                        <a:pt x="24" y="42"/>
                        <a:pt x="24" y="42"/>
                      </a:cubicBezTo>
                      <a:cubicBezTo>
                        <a:pt x="24" y="43"/>
                        <a:pt x="24" y="43"/>
                        <a:pt x="24" y="43"/>
                      </a:cubicBezTo>
                      <a:cubicBezTo>
                        <a:pt x="24" y="42"/>
                        <a:pt x="24" y="42"/>
                        <a:pt x="24" y="42"/>
                      </a:cubicBezTo>
                      <a:close/>
                      <a:moveTo>
                        <a:pt x="22" y="39"/>
                      </a:moveTo>
                      <a:cubicBezTo>
                        <a:pt x="21" y="40"/>
                        <a:pt x="21" y="40"/>
                        <a:pt x="21" y="40"/>
                      </a:cubicBezTo>
                      <a:cubicBezTo>
                        <a:pt x="22" y="40"/>
                        <a:pt x="22" y="40"/>
                        <a:pt x="22" y="40"/>
                      </a:cubicBezTo>
                      <a:cubicBezTo>
                        <a:pt x="23" y="41"/>
                        <a:pt x="23" y="41"/>
                        <a:pt x="23" y="41"/>
                      </a:cubicBezTo>
                      <a:cubicBezTo>
                        <a:pt x="22" y="39"/>
                        <a:pt x="22" y="39"/>
                        <a:pt x="22" y="39"/>
                      </a:cubicBezTo>
                      <a:close/>
                      <a:moveTo>
                        <a:pt x="17" y="35"/>
                      </a:moveTo>
                      <a:cubicBezTo>
                        <a:pt x="17" y="36"/>
                        <a:pt x="17" y="36"/>
                        <a:pt x="17" y="36"/>
                      </a:cubicBezTo>
                      <a:cubicBezTo>
                        <a:pt x="18" y="36"/>
                        <a:pt x="18" y="36"/>
                        <a:pt x="18" y="36"/>
                      </a:cubicBezTo>
                      <a:cubicBezTo>
                        <a:pt x="19" y="38"/>
                        <a:pt x="19" y="38"/>
                        <a:pt x="19" y="38"/>
                      </a:cubicBezTo>
                      <a:cubicBezTo>
                        <a:pt x="20" y="38"/>
                        <a:pt x="20" y="38"/>
                        <a:pt x="20" y="38"/>
                      </a:cubicBezTo>
                      <a:cubicBezTo>
                        <a:pt x="20" y="37"/>
                        <a:pt x="20" y="37"/>
                        <a:pt x="20" y="37"/>
                      </a:cubicBezTo>
                      <a:cubicBezTo>
                        <a:pt x="19" y="35"/>
                        <a:pt x="19" y="35"/>
                        <a:pt x="19" y="35"/>
                      </a:cubicBezTo>
                      <a:cubicBezTo>
                        <a:pt x="18" y="35"/>
                        <a:pt x="18" y="35"/>
                        <a:pt x="18" y="35"/>
                      </a:cubicBezTo>
                      <a:cubicBezTo>
                        <a:pt x="17" y="35"/>
                        <a:pt x="17" y="35"/>
                        <a:pt x="17" y="35"/>
                      </a:cubicBezTo>
                      <a:close/>
                      <a:moveTo>
                        <a:pt x="16" y="32"/>
                      </a:moveTo>
                      <a:cubicBezTo>
                        <a:pt x="16" y="33"/>
                        <a:pt x="16" y="33"/>
                        <a:pt x="16" y="33"/>
                      </a:cubicBezTo>
                      <a:cubicBezTo>
                        <a:pt x="16" y="34"/>
                        <a:pt x="16" y="34"/>
                        <a:pt x="16" y="34"/>
                      </a:cubicBezTo>
                      <a:cubicBezTo>
                        <a:pt x="17" y="33"/>
                        <a:pt x="17" y="33"/>
                        <a:pt x="17" y="33"/>
                      </a:cubicBezTo>
                      <a:cubicBezTo>
                        <a:pt x="17" y="33"/>
                        <a:pt x="17" y="33"/>
                        <a:pt x="17" y="33"/>
                      </a:cubicBezTo>
                      <a:cubicBezTo>
                        <a:pt x="16" y="32"/>
                        <a:pt x="16" y="32"/>
                        <a:pt x="16" y="32"/>
                      </a:cubicBezTo>
                      <a:close/>
                      <a:moveTo>
                        <a:pt x="17" y="30"/>
                      </a:moveTo>
                      <a:cubicBezTo>
                        <a:pt x="18" y="30"/>
                        <a:pt x="18" y="30"/>
                        <a:pt x="18" y="30"/>
                      </a:cubicBezTo>
                      <a:cubicBezTo>
                        <a:pt x="18" y="30"/>
                        <a:pt x="18" y="30"/>
                        <a:pt x="18" y="30"/>
                      </a:cubicBezTo>
                      <a:cubicBezTo>
                        <a:pt x="18" y="30"/>
                        <a:pt x="18" y="30"/>
                        <a:pt x="18" y="30"/>
                      </a:cubicBezTo>
                      <a:cubicBezTo>
                        <a:pt x="17" y="29"/>
                        <a:pt x="17" y="29"/>
                        <a:pt x="17" y="29"/>
                      </a:cubicBezTo>
                      <a:cubicBezTo>
                        <a:pt x="17" y="30"/>
                        <a:pt x="17" y="30"/>
                        <a:pt x="17" y="30"/>
                      </a:cubicBezTo>
                      <a:close/>
                      <a:moveTo>
                        <a:pt x="10" y="24"/>
                      </a:moveTo>
                      <a:cubicBezTo>
                        <a:pt x="11" y="24"/>
                        <a:pt x="11" y="24"/>
                        <a:pt x="11" y="24"/>
                      </a:cubicBezTo>
                      <a:cubicBezTo>
                        <a:pt x="11" y="24"/>
                        <a:pt x="11" y="24"/>
                        <a:pt x="11" y="24"/>
                      </a:cubicBezTo>
                      <a:cubicBezTo>
                        <a:pt x="12" y="24"/>
                        <a:pt x="12" y="24"/>
                        <a:pt x="12" y="24"/>
                      </a:cubicBezTo>
                      <a:cubicBezTo>
                        <a:pt x="13" y="25"/>
                        <a:pt x="13" y="25"/>
                        <a:pt x="13" y="25"/>
                      </a:cubicBezTo>
                      <a:cubicBezTo>
                        <a:pt x="14" y="26"/>
                        <a:pt x="14" y="26"/>
                        <a:pt x="14" y="26"/>
                      </a:cubicBezTo>
                      <a:cubicBezTo>
                        <a:pt x="13" y="26"/>
                        <a:pt x="13" y="26"/>
                        <a:pt x="13" y="26"/>
                      </a:cubicBezTo>
                      <a:cubicBezTo>
                        <a:pt x="13" y="27"/>
                        <a:pt x="13" y="27"/>
                        <a:pt x="13" y="27"/>
                      </a:cubicBezTo>
                      <a:cubicBezTo>
                        <a:pt x="13" y="28"/>
                        <a:pt x="13" y="28"/>
                        <a:pt x="13" y="28"/>
                      </a:cubicBezTo>
                      <a:cubicBezTo>
                        <a:pt x="12" y="26"/>
                        <a:pt x="12" y="26"/>
                        <a:pt x="12" y="26"/>
                      </a:cubicBezTo>
                      <a:cubicBezTo>
                        <a:pt x="11" y="26"/>
                        <a:pt x="11" y="26"/>
                        <a:pt x="11" y="26"/>
                      </a:cubicBezTo>
                      <a:cubicBezTo>
                        <a:pt x="11" y="25"/>
                        <a:pt x="11" y="25"/>
                        <a:pt x="11" y="25"/>
                      </a:cubicBezTo>
                      <a:cubicBezTo>
                        <a:pt x="10" y="24"/>
                        <a:pt x="10" y="24"/>
                        <a:pt x="10" y="24"/>
                      </a:cubicBezTo>
                      <a:close/>
                      <a:moveTo>
                        <a:pt x="10" y="21"/>
                      </a:moveTo>
                      <a:cubicBezTo>
                        <a:pt x="11" y="21"/>
                        <a:pt x="11" y="21"/>
                        <a:pt x="11" y="21"/>
                      </a:cubicBezTo>
                      <a:cubicBezTo>
                        <a:pt x="10" y="21"/>
                        <a:pt x="10" y="21"/>
                        <a:pt x="10" y="21"/>
                      </a:cubicBezTo>
                      <a:cubicBezTo>
                        <a:pt x="10" y="21"/>
                        <a:pt x="10" y="21"/>
                        <a:pt x="10" y="21"/>
                      </a:cubicBezTo>
                      <a:close/>
                      <a:moveTo>
                        <a:pt x="3" y="17"/>
                      </a:moveTo>
                      <a:cubicBezTo>
                        <a:pt x="3" y="17"/>
                        <a:pt x="3" y="17"/>
                        <a:pt x="3" y="17"/>
                      </a:cubicBezTo>
                      <a:cubicBezTo>
                        <a:pt x="3" y="18"/>
                        <a:pt x="3" y="18"/>
                        <a:pt x="3" y="18"/>
                      </a:cubicBezTo>
                      <a:cubicBezTo>
                        <a:pt x="4" y="18"/>
                        <a:pt x="4" y="18"/>
                        <a:pt x="4" y="18"/>
                      </a:cubicBezTo>
                      <a:cubicBezTo>
                        <a:pt x="5" y="18"/>
                        <a:pt x="5" y="18"/>
                        <a:pt x="5" y="18"/>
                      </a:cubicBezTo>
                      <a:cubicBezTo>
                        <a:pt x="4" y="17"/>
                        <a:pt x="4" y="17"/>
                        <a:pt x="4" y="17"/>
                      </a:cubicBezTo>
                      <a:cubicBezTo>
                        <a:pt x="3" y="17"/>
                        <a:pt x="3" y="17"/>
                        <a:pt x="3" y="17"/>
                      </a:cubicBezTo>
                      <a:close/>
                      <a:moveTo>
                        <a:pt x="1" y="5"/>
                      </a:moveTo>
                      <a:cubicBezTo>
                        <a:pt x="0" y="5"/>
                        <a:pt x="0" y="5"/>
                        <a:pt x="0" y="5"/>
                      </a:cubicBezTo>
                      <a:cubicBezTo>
                        <a:pt x="1" y="7"/>
                        <a:pt x="1" y="7"/>
                        <a:pt x="1" y="7"/>
                      </a:cubicBezTo>
                      <a:cubicBezTo>
                        <a:pt x="2" y="9"/>
                        <a:pt x="2" y="9"/>
                        <a:pt x="2" y="9"/>
                      </a:cubicBezTo>
                      <a:cubicBezTo>
                        <a:pt x="3" y="9"/>
                        <a:pt x="3" y="9"/>
                        <a:pt x="3" y="9"/>
                      </a:cubicBezTo>
                      <a:cubicBezTo>
                        <a:pt x="5" y="11"/>
                        <a:pt x="5" y="11"/>
                        <a:pt x="5" y="11"/>
                      </a:cubicBezTo>
                      <a:cubicBezTo>
                        <a:pt x="5" y="11"/>
                        <a:pt x="5" y="11"/>
                        <a:pt x="5" y="11"/>
                      </a:cubicBezTo>
                      <a:cubicBezTo>
                        <a:pt x="6" y="13"/>
                        <a:pt x="6" y="13"/>
                        <a:pt x="6" y="13"/>
                      </a:cubicBezTo>
                      <a:cubicBezTo>
                        <a:pt x="7" y="13"/>
                        <a:pt x="7" y="13"/>
                        <a:pt x="7" y="13"/>
                      </a:cubicBezTo>
                      <a:cubicBezTo>
                        <a:pt x="8" y="13"/>
                        <a:pt x="8" y="13"/>
                        <a:pt x="8" y="13"/>
                      </a:cubicBezTo>
                      <a:cubicBezTo>
                        <a:pt x="9" y="14"/>
                        <a:pt x="9" y="14"/>
                        <a:pt x="9" y="14"/>
                      </a:cubicBezTo>
                      <a:cubicBezTo>
                        <a:pt x="11" y="16"/>
                        <a:pt x="11" y="16"/>
                        <a:pt x="11" y="16"/>
                      </a:cubicBezTo>
                      <a:cubicBezTo>
                        <a:pt x="13" y="18"/>
                        <a:pt x="13" y="18"/>
                        <a:pt x="13" y="18"/>
                      </a:cubicBezTo>
                      <a:cubicBezTo>
                        <a:pt x="13" y="18"/>
                        <a:pt x="13" y="18"/>
                        <a:pt x="13" y="18"/>
                      </a:cubicBezTo>
                      <a:cubicBezTo>
                        <a:pt x="13" y="19"/>
                        <a:pt x="13" y="19"/>
                        <a:pt x="13" y="19"/>
                      </a:cubicBezTo>
                      <a:cubicBezTo>
                        <a:pt x="14" y="19"/>
                        <a:pt x="14" y="19"/>
                        <a:pt x="14" y="19"/>
                      </a:cubicBezTo>
                      <a:cubicBezTo>
                        <a:pt x="14" y="20"/>
                        <a:pt x="14" y="20"/>
                        <a:pt x="14" y="20"/>
                      </a:cubicBezTo>
                      <a:cubicBezTo>
                        <a:pt x="14" y="21"/>
                        <a:pt x="14" y="21"/>
                        <a:pt x="14" y="21"/>
                      </a:cubicBezTo>
                      <a:cubicBezTo>
                        <a:pt x="15" y="21"/>
                        <a:pt x="15" y="21"/>
                        <a:pt x="15" y="21"/>
                      </a:cubicBezTo>
                      <a:cubicBezTo>
                        <a:pt x="17" y="22"/>
                        <a:pt x="17" y="22"/>
                        <a:pt x="17" y="22"/>
                      </a:cubicBezTo>
                      <a:cubicBezTo>
                        <a:pt x="17" y="23"/>
                        <a:pt x="17" y="23"/>
                        <a:pt x="17" y="23"/>
                      </a:cubicBezTo>
                      <a:cubicBezTo>
                        <a:pt x="18" y="23"/>
                        <a:pt x="18" y="23"/>
                        <a:pt x="18" y="23"/>
                      </a:cubicBezTo>
                      <a:cubicBezTo>
                        <a:pt x="18" y="23"/>
                        <a:pt x="18" y="23"/>
                        <a:pt x="18" y="23"/>
                      </a:cubicBezTo>
                      <a:cubicBezTo>
                        <a:pt x="18" y="24"/>
                        <a:pt x="18" y="24"/>
                        <a:pt x="18" y="24"/>
                      </a:cubicBezTo>
                      <a:cubicBezTo>
                        <a:pt x="18" y="24"/>
                        <a:pt x="18" y="24"/>
                        <a:pt x="18" y="24"/>
                      </a:cubicBezTo>
                      <a:cubicBezTo>
                        <a:pt x="19" y="25"/>
                        <a:pt x="19" y="25"/>
                        <a:pt x="19" y="25"/>
                      </a:cubicBezTo>
                      <a:cubicBezTo>
                        <a:pt x="19" y="26"/>
                        <a:pt x="19" y="26"/>
                        <a:pt x="19" y="26"/>
                      </a:cubicBezTo>
                      <a:cubicBezTo>
                        <a:pt x="20" y="28"/>
                        <a:pt x="20" y="28"/>
                        <a:pt x="20" y="28"/>
                      </a:cubicBezTo>
                      <a:cubicBezTo>
                        <a:pt x="20" y="29"/>
                        <a:pt x="20" y="29"/>
                        <a:pt x="20" y="29"/>
                      </a:cubicBezTo>
                      <a:cubicBezTo>
                        <a:pt x="21" y="29"/>
                        <a:pt x="21" y="29"/>
                        <a:pt x="21" y="29"/>
                      </a:cubicBezTo>
                      <a:cubicBezTo>
                        <a:pt x="23" y="30"/>
                        <a:pt x="23" y="30"/>
                        <a:pt x="23" y="30"/>
                      </a:cubicBezTo>
                      <a:cubicBezTo>
                        <a:pt x="23" y="31"/>
                        <a:pt x="23" y="31"/>
                        <a:pt x="23" y="31"/>
                      </a:cubicBezTo>
                      <a:cubicBezTo>
                        <a:pt x="24" y="33"/>
                        <a:pt x="24" y="33"/>
                        <a:pt x="24" y="33"/>
                      </a:cubicBezTo>
                      <a:cubicBezTo>
                        <a:pt x="25" y="34"/>
                        <a:pt x="25" y="34"/>
                        <a:pt x="25" y="34"/>
                      </a:cubicBezTo>
                      <a:cubicBezTo>
                        <a:pt x="25" y="36"/>
                        <a:pt x="25" y="36"/>
                        <a:pt x="25" y="36"/>
                      </a:cubicBezTo>
                      <a:cubicBezTo>
                        <a:pt x="27" y="39"/>
                        <a:pt x="27" y="39"/>
                        <a:pt x="27" y="39"/>
                      </a:cubicBezTo>
                      <a:cubicBezTo>
                        <a:pt x="27" y="40"/>
                        <a:pt x="27" y="40"/>
                        <a:pt x="27" y="40"/>
                      </a:cubicBezTo>
                      <a:cubicBezTo>
                        <a:pt x="27" y="41"/>
                        <a:pt x="27" y="41"/>
                        <a:pt x="27" y="41"/>
                      </a:cubicBezTo>
                      <a:cubicBezTo>
                        <a:pt x="29" y="42"/>
                        <a:pt x="29" y="42"/>
                        <a:pt x="29" y="42"/>
                      </a:cubicBezTo>
                      <a:cubicBezTo>
                        <a:pt x="31" y="44"/>
                        <a:pt x="31" y="44"/>
                        <a:pt x="31" y="44"/>
                      </a:cubicBezTo>
                      <a:cubicBezTo>
                        <a:pt x="31" y="45"/>
                        <a:pt x="31" y="45"/>
                        <a:pt x="31" y="45"/>
                      </a:cubicBezTo>
                      <a:cubicBezTo>
                        <a:pt x="33" y="46"/>
                        <a:pt x="33" y="46"/>
                        <a:pt x="33" y="46"/>
                      </a:cubicBezTo>
                      <a:cubicBezTo>
                        <a:pt x="33" y="46"/>
                        <a:pt x="33" y="46"/>
                        <a:pt x="33" y="46"/>
                      </a:cubicBezTo>
                      <a:cubicBezTo>
                        <a:pt x="34" y="47"/>
                        <a:pt x="34" y="47"/>
                        <a:pt x="34" y="47"/>
                      </a:cubicBezTo>
                      <a:cubicBezTo>
                        <a:pt x="35" y="48"/>
                        <a:pt x="35" y="48"/>
                        <a:pt x="35" y="48"/>
                      </a:cubicBezTo>
                      <a:cubicBezTo>
                        <a:pt x="36" y="49"/>
                        <a:pt x="36" y="49"/>
                        <a:pt x="36" y="49"/>
                      </a:cubicBezTo>
                      <a:cubicBezTo>
                        <a:pt x="37" y="50"/>
                        <a:pt x="37" y="50"/>
                        <a:pt x="37" y="50"/>
                      </a:cubicBezTo>
                      <a:cubicBezTo>
                        <a:pt x="39" y="51"/>
                        <a:pt x="39" y="51"/>
                        <a:pt x="39" y="51"/>
                      </a:cubicBezTo>
                      <a:cubicBezTo>
                        <a:pt x="39" y="52"/>
                        <a:pt x="39" y="52"/>
                        <a:pt x="39" y="52"/>
                      </a:cubicBezTo>
                      <a:cubicBezTo>
                        <a:pt x="41" y="52"/>
                        <a:pt x="41" y="52"/>
                        <a:pt x="41" y="52"/>
                      </a:cubicBezTo>
                      <a:cubicBezTo>
                        <a:pt x="44" y="55"/>
                        <a:pt x="44" y="55"/>
                        <a:pt x="44" y="55"/>
                      </a:cubicBezTo>
                      <a:cubicBezTo>
                        <a:pt x="44" y="55"/>
                        <a:pt x="44" y="55"/>
                        <a:pt x="44" y="55"/>
                      </a:cubicBezTo>
                      <a:cubicBezTo>
                        <a:pt x="45" y="56"/>
                        <a:pt x="45" y="56"/>
                        <a:pt x="45" y="56"/>
                      </a:cubicBezTo>
                      <a:cubicBezTo>
                        <a:pt x="45" y="57"/>
                        <a:pt x="45" y="57"/>
                        <a:pt x="45" y="57"/>
                      </a:cubicBezTo>
                      <a:cubicBezTo>
                        <a:pt x="46" y="56"/>
                        <a:pt x="46" y="56"/>
                        <a:pt x="46" y="56"/>
                      </a:cubicBezTo>
                      <a:cubicBezTo>
                        <a:pt x="46" y="56"/>
                        <a:pt x="46" y="56"/>
                        <a:pt x="46" y="56"/>
                      </a:cubicBezTo>
                      <a:cubicBezTo>
                        <a:pt x="45" y="55"/>
                        <a:pt x="45" y="55"/>
                        <a:pt x="45" y="55"/>
                      </a:cubicBezTo>
                      <a:cubicBezTo>
                        <a:pt x="45" y="55"/>
                        <a:pt x="45" y="55"/>
                        <a:pt x="45" y="55"/>
                      </a:cubicBezTo>
                      <a:cubicBezTo>
                        <a:pt x="46" y="55"/>
                        <a:pt x="46" y="55"/>
                        <a:pt x="46" y="55"/>
                      </a:cubicBezTo>
                      <a:cubicBezTo>
                        <a:pt x="48" y="56"/>
                        <a:pt x="48" y="56"/>
                        <a:pt x="48" y="56"/>
                      </a:cubicBezTo>
                      <a:cubicBezTo>
                        <a:pt x="48" y="56"/>
                        <a:pt x="48" y="56"/>
                        <a:pt x="48" y="56"/>
                      </a:cubicBezTo>
                      <a:cubicBezTo>
                        <a:pt x="48" y="55"/>
                        <a:pt x="48" y="55"/>
                        <a:pt x="48" y="55"/>
                      </a:cubicBezTo>
                      <a:cubicBezTo>
                        <a:pt x="49" y="54"/>
                        <a:pt x="49" y="54"/>
                        <a:pt x="49" y="54"/>
                      </a:cubicBezTo>
                      <a:cubicBezTo>
                        <a:pt x="50" y="54"/>
                        <a:pt x="50" y="54"/>
                        <a:pt x="50" y="54"/>
                      </a:cubicBezTo>
                      <a:cubicBezTo>
                        <a:pt x="50" y="56"/>
                        <a:pt x="50" y="56"/>
                        <a:pt x="50" y="56"/>
                      </a:cubicBezTo>
                      <a:cubicBezTo>
                        <a:pt x="51" y="56"/>
                        <a:pt x="51" y="56"/>
                        <a:pt x="51" y="56"/>
                      </a:cubicBezTo>
                      <a:cubicBezTo>
                        <a:pt x="52" y="55"/>
                        <a:pt x="52" y="55"/>
                        <a:pt x="52" y="55"/>
                      </a:cubicBezTo>
                      <a:cubicBezTo>
                        <a:pt x="52" y="53"/>
                        <a:pt x="52" y="53"/>
                        <a:pt x="52" y="53"/>
                      </a:cubicBezTo>
                      <a:cubicBezTo>
                        <a:pt x="52" y="51"/>
                        <a:pt x="52" y="51"/>
                        <a:pt x="52" y="51"/>
                      </a:cubicBezTo>
                      <a:cubicBezTo>
                        <a:pt x="51" y="49"/>
                        <a:pt x="51" y="49"/>
                        <a:pt x="51" y="49"/>
                      </a:cubicBezTo>
                      <a:cubicBezTo>
                        <a:pt x="52" y="48"/>
                        <a:pt x="52" y="48"/>
                        <a:pt x="52" y="48"/>
                      </a:cubicBezTo>
                      <a:cubicBezTo>
                        <a:pt x="52" y="47"/>
                        <a:pt x="52" y="47"/>
                        <a:pt x="52" y="47"/>
                      </a:cubicBezTo>
                      <a:cubicBezTo>
                        <a:pt x="52" y="46"/>
                        <a:pt x="52" y="46"/>
                        <a:pt x="52" y="46"/>
                      </a:cubicBezTo>
                      <a:cubicBezTo>
                        <a:pt x="53" y="45"/>
                        <a:pt x="53" y="45"/>
                        <a:pt x="53" y="45"/>
                      </a:cubicBezTo>
                      <a:cubicBezTo>
                        <a:pt x="53" y="45"/>
                        <a:pt x="53" y="45"/>
                        <a:pt x="53" y="45"/>
                      </a:cubicBezTo>
                      <a:cubicBezTo>
                        <a:pt x="53" y="44"/>
                        <a:pt x="53" y="44"/>
                        <a:pt x="53" y="44"/>
                      </a:cubicBezTo>
                      <a:cubicBezTo>
                        <a:pt x="52" y="44"/>
                        <a:pt x="52" y="44"/>
                        <a:pt x="52" y="44"/>
                      </a:cubicBezTo>
                      <a:cubicBezTo>
                        <a:pt x="51" y="43"/>
                        <a:pt x="51" y="43"/>
                        <a:pt x="51" y="43"/>
                      </a:cubicBezTo>
                      <a:cubicBezTo>
                        <a:pt x="51" y="42"/>
                        <a:pt x="51" y="42"/>
                        <a:pt x="51" y="42"/>
                      </a:cubicBezTo>
                      <a:cubicBezTo>
                        <a:pt x="50" y="42"/>
                        <a:pt x="50" y="42"/>
                        <a:pt x="50" y="42"/>
                      </a:cubicBezTo>
                      <a:cubicBezTo>
                        <a:pt x="50" y="41"/>
                        <a:pt x="50" y="41"/>
                        <a:pt x="50" y="41"/>
                      </a:cubicBezTo>
                      <a:cubicBezTo>
                        <a:pt x="49" y="41"/>
                        <a:pt x="49" y="41"/>
                        <a:pt x="49" y="41"/>
                      </a:cubicBezTo>
                      <a:cubicBezTo>
                        <a:pt x="48" y="41"/>
                        <a:pt x="48" y="41"/>
                        <a:pt x="48" y="41"/>
                      </a:cubicBezTo>
                      <a:cubicBezTo>
                        <a:pt x="47" y="41"/>
                        <a:pt x="47" y="41"/>
                        <a:pt x="47" y="41"/>
                      </a:cubicBezTo>
                      <a:cubicBezTo>
                        <a:pt x="47" y="39"/>
                        <a:pt x="47" y="39"/>
                        <a:pt x="47" y="39"/>
                      </a:cubicBezTo>
                      <a:cubicBezTo>
                        <a:pt x="46" y="39"/>
                        <a:pt x="46" y="39"/>
                        <a:pt x="46" y="39"/>
                      </a:cubicBezTo>
                      <a:cubicBezTo>
                        <a:pt x="45" y="39"/>
                        <a:pt x="45" y="39"/>
                        <a:pt x="45" y="39"/>
                      </a:cubicBezTo>
                      <a:cubicBezTo>
                        <a:pt x="46" y="38"/>
                        <a:pt x="46" y="38"/>
                        <a:pt x="46" y="38"/>
                      </a:cubicBezTo>
                      <a:cubicBezTo>
                        <a:pt x="46" y="37"/>
                        <a:pt x="46" y="37"/>
                        <a:pt x="46" y="37"/>
                      </a:cubicBezTo>
                      <a:cubicBezTo>
                        <a:pt x="45" y="35"/>
                        <a:pt x="45" y="35"/>
                        <a:pt x="45" y="35"/>
                      </a:cubicBezTo>
                      <a:cubicBezTo>
                        <a:pt x="44" y="35"/>
                        <a:pt x="44" y="35"/>
                        <a:pt x="44" y="35"/>
                      </a:cubicBezTo>
                      <a:cubicBezTo>
                        <a:pt x="44" y="35"/>
                        <a:pt x="44" y="35"/>
                        <a:pt x="44" y="35"/>
                      </a:cubicBezTo>
                      <a:cubicBezTo>
                        <a:pt x="42" y="35"/>
                        <a:pt x="42" y="35"/>
                        <a:pt x="42" y="35"/>
                      </a:cubicBezTo>
                      <a:cubicBezTo>
                        <a:pt x="40" y="34"/>
                        <a:pt x="40" y="34"/>
                        <a:pt x="40" y="34"/>
                      </a:cubicBezTo>
                      <a:cubicBezTo>
                        <a:pt x="40" y="33"/>
                        <a:pt x="40" y="33"/>
                        <a:pt x="40" y="33"/>
                      </a:cubicBezTo>
                      <a:cubicBezTo>
                        <a:pt x="41" y="33"/>
                        <a:pt x="41" y="33"/>
                        <a:pt x="41" y="33"/>
                      </a:cubicBezTo>
                      <a:cubicBezTo>
                        <a:pt x="42" y="32"/>
                        <a:pt x="42" y="32"/>
                        <a:pt x="42" y="32"/>
                      </a:cubicBezTo>
                      <a:cubicBezTo>
                        <a:pt x="42" y="32"/>
                        <a:pt x="42" y="32"/>
                        <a:pt x="42" y="32"/>
                      </a:cubicBezTo>
                      <a:cubicBezTo>
                        <a:pt x="41" y="32"/>
                        <a:pt x="41" y="32"/>
                        <a:pt x="41" y="32"/>
                      </a:cubicBezTo>
                      <a:cubicBezTo>
                        <a:pt x="40" y="32"/>
                        <a:pt x="40" y="32"/>
                        <a:pt x="40" y="32"/>
                      </a:cubicBezTo>
                      <a:cubicBezTo>
                        <a:pt x="39" y="32"/>
                        <a:pt x="39" y="32"/>
                        <a:pt x="39" y="32"/>
                      </a:cubicBezTo>
                      <a:cubicBezTo>
                        <a:pt x="40" y="32"/>
                        <a:pt x="40" y="32"/>
                        <a:pt x="40" y="32"/>
                      </a:cubicBezTo>
                      <a:cubicBezTo>
                        <a:pt x="41" y="31"/>
                        <a:pt x="41" y="31"/>
                        <a:pt x="41" y="31"/>
                      </a:cubicBezTo>
                      <a:cubicBezTo>
                        <a:pt x="42" y="31"/>
                        <a:pt x="42" y="31"/>
                        <a:pt x="42" y="31"/>
                      </a:cubicBezTo>
                      <a:cubicBezTo>
                        <a:pt x="42" y="30"/>
                        <a:pt x="42" y="30"/>
                        <a:pt x="42" y="30"/>
                      </a:cubicBezTo>
                      <a:cubicBezTo>
                        <a:pt x="41" y="28"/>
                        <a:pt x="41" y="28"/>
                        <a:pt x="41" y="28"/>
                      </a:cubicBezTo>
                      <a:cubicBezTo>
                        <a:pt x="40" y="28"/>
                        <a:pt x="40" y="28"/>
                        <a:pt x="40" y="28"/>
                      </a:cubicBezTo>
                      <a:cubicBezTo>
                        <a:pt x="39" y="29"/>
                        <a:pt x="39" y="29"/>
                        <a:pt x="39" y="29"/>
                      </a:cubicBezTo>
                      <a:cubicBezTo>
                        <a:pt x="38" y="29"/>
                        <a:pt x="38" y="29"/>
                        <a:pt x="38" y="29"/>
                      </a:cubicBezTo>
                      <a:cubicBezTo>
                        <a:pt x="36" y="30"/>
                        <a:pt x="36" y="30"/>
                        <a:pt x="36" y="30"/>
                      </a:cubicBezTo>
                      <a:cubicBezTo>
                        <a:pt x="37" y="29"/>
                        <a:pt x="37" y="29"/>
                        <a:pt x="37" y="29"/>
                      </a:cubicBezTo>
                      <a:cubicBezTo>
                        <a:pt x="38" y="29"/>
                        <a:pt x="38" y="29"/>
                        <a:pt x="38" y="29"/>
                      </a:cubicBezTo>
                      <a:cubicBezTo>
                        <a:pt x="38" y="29"/>
                        <a:pt x="38" y="29"/>
                        <a:pt x="38" y="29"/>
                      </a:cubicBezTo>
                      <a:cubicBezTo>
                        <a:pt x="39" y="28"/>
                        <a:pt x="39" y="28"/>
                        <a:pt x="39" y="28"/>
                      </a:cubicBezTo>
                      <a:cubicBezTo>
                        <a:pt x="38" y="28"/>
                        <a:pt x="38" y="28"/>
                        <a:pt x="38" y="28"/>
                      </a:cubicBezTo>
                      <a:cubicBezTo>
                        <a:pt x="37" y="27"/>
                        <a:pt x="37" y="27"/>
                        <a:pt x="37" y="27"/>
                      </a:cubicBezTo>
                      <a:cubicBezTo>
                        <a:pt x="36" y="27"/>
                        <a:pt x="36" y="27"/>
                        <a:pt x="36" y="27"/>
                      </a:cubicBezTo>
                      <a:cubicBezTo>
                        <a:pt x="34" y="26"/>
                        <a:pt x="34" y="26"/>
                        <a:pt x="34" y="26"/>
                      </a:cubicBezTo>
                      <a:cubicBezTo>
                        <a:pt x="34" y="26"/>
                        <a:pt x="34" y="26"/>
                        <a:pt x="34" y="26"/>
                      </a:cubicBezTo>
                      <a:cubicBezTo>
                        <a:pt x="34" y="25"/>
                        <a:pt x="34" y="25"/>
                        <a:pt x="34" y="25"/>
                      </a:cubicBezTo>
                      <a:cubicBezTo>
                        <a:pt x="32" y="23"/>
                        <a:pt x="32" y="23"/>
                        <a:pt x="32" y="23"/>
                      </a:cubicBezTo>
                      <a:cubicBezTo>
                        <a:pt x="32" y="23"/>
                        <a:pt x="32" y="23"/>
                        <a:pt x="32" y="23"/>
                      </a:cubicBezTo>
                      <a:cubicBezTo>
                        <a:pt x="31" y="23"/>
                        <a:pt x="31" y="23"/>
                        <a:pt x="31" y="23"/>
                      </a:cubicBezTo>
                      <a:cubicBezTo>
                        <a:pt x="30" y="23"/>
                        <a:pt x="30" y="23"/>
                        <a:pt x="30" y="23"/>
                      </a:cubicBezTo>
                      <a:cubicBezTo>
                        <a:pt x="30" y="21"/>
                        <a:pt x="30" y="21"/>
                        <a:pt x="30" y="21"/>
                      </a:cubicBezTo>
                      <a:cubicBezTo>
                        <a:pt x="29" y="20"/>
                        <a:pt x="29" y="20"/>
                        <a:pt x="29" y="20"/>
                      </a:cubicBezTo>
                      <a:cubicBezTo>
                        <a:pt x="27" y="19"/>
                        <a:pt x="27" y="19"/>
                        <a:pt x="27" y="19"/>
                      </a:cubicBezTo>
                      <a:cubicBezTo>
                        <a:pt x="26" y="19"/>
                        <a:pt x="26" y="19"/>
                        <a:pt x="26" y="19"/>
                      </a:cubicBezTo>
                      <a:cubicBezTo>
                        <a:pt x="25" y="19"/>
                        <a:pt x="25" y="19"/>
                        <a:pt x="25" y="19"/>
                      </a:cubicBezTo>
                      <a:cubicBezTo>
                        <a:pt x="25" y="19"/>
                        <a:pt x="25" y="19"/>
                        <a:pt x="25" y="19"/>
                      </a:cubicBezTo>
                      <a:cubicBezTo>
                        <a:pt x="25" y="18"/>
                        <a:pt x="25" y="18"/>
                        <a:pt x="25" y="18"/>
                      </a:cubicBezTo>
                      <a:cubicBezTo>
                        <a:pt x="24" y="18"/>
                        <a:pt x="24" y="18"/>
                        <a:pt x="24" y="18"/>
                      </a:cubicBezTo>
                      <a:cubicBezTo>
                        <a:pt x="23" y="18"/>
                        <a:pt x="23" y="18"/>
                        <a:pt x="23" y="18"/>
                      </a:cubicBezTo>
                      <a:cubicBezTo>
                        <a:pt x="23" y="16"/>
                        <a:pt x="23" y="16"/>
                        <a:pt x="23" y="16"/>
                      </a:cubicBezTo>
                      <a:cubicBezTo>
                        <a:pt x="22" y="15"/>
                        <a:pt x="22" y="15"/>
                        <a:pt x="22" y="15"/>
                      </a:cubicBezTo>
                      <a:cubicBezTo>
                        <a:pt x="21" y="15"/>
                        <a:pt x="21" y="15"/>
                        <a:pt x="21" y="15"/>
                      </a:cubicBezTo>
                      <a:cubicBezTo>
                        <a:pt x="21" y="15"/>
                        <a:pt x="21" y="15"/>
                        <a:pt x="21" y="15"/>
                      </a:cubicBezTo>
                      <a:cubicBezTo>
                        <a:pt x="18" y="13"/>
                        <a:pt x="18" y="13"/>
                        <a:pt x="18" y="13"/>
                      </a:cubicBezTo>
                      <a:cubicBezTo>
                        <a:pt x="17" y="13"/>
                        <a:pt x="17" y="13"/>
                        <a:pt x="17" y="13"/>
                      </a:cubicBezTo>
                      <a:cubicBezTo>
                        <a:pt x="16" y="12"/>
                        <a:pt x="16" y="12"/>
                        <a:pt x="16" y="12"/>
                      </a:cubicBezTo>
                      <a:cubicBezTo>
                        <a:pt x="15" y="11"/>
                        <a:pt x="15" y="11"/>
                        <a:pt x="15" y="11"/>
                      </a:cubicBezTo>
                      <a:cubicBezTo>
                        <a:pt x="15" y="11"/>
                        <a:pt x="15" y="11"/>
                        <a:pt x="15" y="11"/>
                      </a:cubicBezTo>
                      <a:cubicBezTo>
                        <a:pt x="15" y="9"/>
                        <a:pt x="15" y="9"/>
                        <a:pt x="15" y="9"/>
                      </a:cubicBezTo>
                      <a:cubicBezTo>
                        <a:pt x="14" y="9"/>
                        <a:pt x="14" y="9"/>
                        <a:pt x="14" y="9"/>
                      </a:cubicBezTo>
                      <a:cubicBezTo>
                        <a:pt x="13" y="8"/>
                        <a:pt x="13" y="8"/>
                        <a:pt x="13" y="8"/>
                      </a:cubicBezTo>
                      <a:cubicBezTo>
                        <a:pt x="13" y="8"/>
                        <a:pt x="13" y="8"/>
                        <a:pt x="13" y="8"/>
                      </a:cubicBezTo>
                      <a:cubicBezTo>
                        <a:pt x="12" y="7"/>
                        <a:pt x="12" y="7"/>
                        <a:pt x="12" y="7"/>
                      </a:cubicBezTo>
                      <a:cubicBezTo>
                        <a:pt x="11" y="6"/>
                        <a:pt x="11" y="6"/>
                        <a:pt x="11" y="6"/>
                      </a:cubicBezTo>
                      <a:cubicBezTo>
                        <a:pt x="10" y="6"/>
                        <a:pt x="10" y="6"/>
                        <a:pt x="10" y="6"/>
                      </a:cubicBezTo>
                      <a:cubicBezTo>
                        <a:pt x="9" y="7"/>
                        <a:pt x="9" y="7"/>
                        <a:pt x="9" y="7"/>
                      </a:cubicBezTo>
                      <a:cubicBezTo>
                        <a:pt x="9" y="6"/>
                        <a:pt x="9" y="6"/>
                        <a:pt x="9" y="6"/>
                      </a:cubicBezTo>
                      <a:cubicBezTo>
                        <a:pt x="7" y="6"/>
                        <a:pt x="7" y="6"/>
                        <a:pt x="7" y="6"/>
                      </a:cubicBezTo>
                      <a:cubicBezTo>
                        <a:pt x="6" y="7"/>
                        <a:pt x="6" y="7"/>
                        <a:pt x="6" y="7"/>
                      </a:cubicBezTo>
                      <a:cubicBezTo>
                        <a:pt x="5" y="6"/>
                        <a:pt x="5" y="6"/>
                        <a:pt x="5" y="6"/>
                      </a:cubicBezTo>
                      <a:cubicBezTo>
                        <a:pt x="3" y="5"/>
                        <a:pt x="3" y="5"/>
                        <a:pt x="3" y="5"/>
                      </a:cubicBezTo>
                      <a:cubicBezTo>
                        <a:pt x="1" y="5"/>
                        <a:pt x="1" y="5"/>
                        <a:pt x="1" y="5"/>
                      </a:cubicBez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Freeform 26">
                  <a:extLst>
                    <a:ext uri="{FF2B5EF4-FFF2-40B4-BE49-F238E27FC236}">
                      <a16:creationId xmlns:a16="http://schemas.microsoft.com/office/drawing/2014/main" id="{7FBD2577-53E5-278F-FAD6-4C8F68B3FE7A}"/>
                    </a:ext>
                  </a:extLst>
                </p:cNvPr>
                <p:cNvSpPr>
                  <a:spLocks noEditPoints="1"/>
                </p:cNvSpPr>
                <p:nvPr/>
              </p:nvSpPr>
              <p:spPr bwMode="auto">
                <a:xfrm>
                  <a:off x="4059" y="2694"/>
                  <a:ext cx="38" cy="12"/>
                </a:xfrm>
                <a:custGeom>
                  <a:avLst/>
                  <a:gdLst>
                    <a:gd name="T0" fmla="*/ 0 w 38"/>
                    <a:gd name="T1" fmla="*/ 10 h 12"/>
                    <a:gd name="T2" fmla="*/ 3 w 38"/>
                    <a:gd name="T3" fmla="*/ 12 h 12"/>
                    <a:gd name="T4" fmla="*/ 5 w 38"/>
                    <a:gd name="T5" fmla="*/ 10 h 12"/>
                    <a:gd name="T6" fmla="*/ 8 w 38"/>
                    <a:gd name="T7" fmla="*/ 10 h 12"/>
                    <a:gd name="T8" fmla="*/ 8 w 38"/>
                    <a:gd name="T9" fmla="*/ 8 h 12"/>
                    <a:gd name="T10" fmla="*/ 5 w 38"/>
                    <a:gd name="T11" fmla="*/ 8 h 12"/>
                    <a:gd name="T12" fmla="*/ 3 w 38"/>
                    <a:gd name="T13" fmla="*/ 8 h 12"/>
                    <a:gd name="T14" fmla="*/ 0 w 38"/>
                    <a:gd name="T15" fmla="*/ 10 h 12"/>
                    <a:gd name="T16" fmla="*/ 0 w 38"/>
                    <a:gd name="T17" fmla="*/ 10 h 12"/>
                    <a:gd name="T18" fmla="*/ 10 w 38"/>
                    <a:gd name="T19" fmla="*/ 8 h 12"/>
                    <a:gd name="T20" fmla="*/ 12 w 38"/>
                    <a:gd name="T21" fmla="*/ 10 h 12"/>
                    <a:gd name="T22" fmla="*/ 15 w 38"/>
                    <a:gd name="T23" fmla="*/ 12 h 12"/>
                    <a:gd name="T24" fmla="*/ 17 w 38"/>
                    <a:gd name="T25" fmla="*/ 12 h 12"/>
                    <a:gd name="T26" fmla="*/ 17 w 38"/>
                    <a:gd name="T27" fmla="*/ 10 h 12"/>
                    <a:gd name="T28" fmla="*/ 19 w 38"/>
                    <a:gd name="T29" fmla="*/ 10 h 12"/>
                    <a:gd name="T30" fmla="*/ 22 w 38"/>
                    <a:gd name="T31" fmla="*/ 10 h 12"/>
                    <a:gd name="T32" fmla="*/ 26 w 38"/>
                    <a:gd name="T33" fmla="*/ 8 h 12"/>
                    <a:gd name="T34" fmla="*/ 29 w 38"/>
                    <a:gd name="T35" fmla="*/ 8 h 12"/>
                    <a:gd name="T36" fmla="*/ 34 w 38"/>
                    <a:gd name="T37" fmla="*/ 5 h 12"/>
                    <a:gd name="T38" fmla="*/ 34 w 38"/>
                    <a:gd name="T39" fmla="*/ 5 h 12"/>
                    <a:gd name="T40" fmla="*/ 36 w 38"/>
                    <a:gd name="T41" fmla="*/ 5 h 12"/>
                    <a:gd name="T42" fmla="*/ 38 w 38"/>
                    <a:gd name="T43" fmla="*/ 3 h 12"/>
                    <a:gd name="T44" fmla="*/ 38 w 38"/>
                    <a:gd name="T45" fmla="*/ 3 h 12"/>
                    <a:gd name="T46" fmla="*/ 36 w 38"/>
                    <a:gd name="T47" fmla="*/ 0 h 12"/>
                    <a:gd name="T48" fmla="*/ 31 w 38"/>
                    <a:gd name="T49" fmla="*/ 3 h 12"/>
                    <a:gd name="T50" fmla="*/ 29 w 38"/>
                    <a:gd name="T51" fmla="*/ 3 h 12"/>
                    <a:gd name="T52" fmla="*/ 26 w 38"/>
                    <a:gd name="T53" fmla="*/ 3 h 12"/>
                    <a:gd name="T54" fmla="*/ 24 w 38"/>
                    <a:gd name="T55" fmla="*/ 3 h 12"/>
                    <a:gd name="T56" fmla="*/ 22 w 38"/>
                    <a:gd name="T57" fmla="*/ 3 h 12"/>
                    <a:gd name="T58" fmla="*/ 17 w 38"/>
                    <a:gd name="T59" fmla="*/ 3 h 12"/>
                    <a:gd name="T60" fmla="*/ 12 w 38"/>
                    <a:gd name="T61" fmla="*/ 5 h 12"/>
                    <a:gd name="T62" fmla="*/ 10 w 38"/>
                    <a:gd name="T63"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8" h="12">
                      <a:moveTo>
                        <a:pt x="0" y="10"/>
                      </a:moveTo>
                      <a:lnTo>
                        <a:pt x="3" y="12"/>
                      </a:lnTo>
                      <a:lnTo>
                        <a:pt x="5" y="10"/>
                      </a:lnTo>
                      <a:lnTo>
                        <a:pt x="8" y="10"/>
                      </a:lnTo>
                      <a:lnTo>
                        <a:pt x="8" y="8"/>
                      </a:lnTo>
                      <a:lnTo>
                        <a:pt x="5" y="8"/>
                      </a:lnTo>
                      <a:lnTo>
                        <a:pt x="3" y="8"/>
                      </a:lnTo>
                      <a:lnTo>
                        <a:pt x="0" y="10"/>
                      </a:lnTo>
                      <a:lnTo>
                        <a:pt x="0" y="10"/>
                      </a:lnTo>
                      <a:close/>
                      <a:moveTo>
                        <a:pt x="10" y="8"/>
                      </a:moveTo>
                      <a:lnTo>
                        <a:pt x="12" y="10"/>
                      </a:lnTo>
                      <a:lnTo>
                        <a:pt x="15" y="12"/>
                      </a:lnTo>
                      <a:lnTo>
                        <a:pt x="17" y="12"/>
                      </a:lnTo>
                      <a:lnTo>
                        <a:pt x="17" y="10"/>
                      </a:lnTo>
                      <a:lnTo>
                        <a:pt x="19" y="10"/>
                      </a:lnTo>
                      <a:lnTo>
                        <a:pt x="22" y="10"/>
                      </a:lnTo>
                      <a:lnTo>
                        <a:pt x="26" y="8"/>
                      </a:lnTo>
                      <a:lnTo>
                        <a:pt x="29" y="8"/>
                      </a:lnTo>
                      <a:lnTo>
                        <a:pt x="34" y="5"/>
                      </a:lnTo>
                      <a:lnTo>
                        <a:pt x="34" y="5"/>
                      </a:lnTo>
                      <a:lnTo>
                        <a:pt x="36" y="5"/>
                      </a:lnTo>
                      <a:lnTo>
                        <a:pt x="38" y="3"/>
                      </a:lnTo>
                      <a:lnTo>
                        <a:pt x="38" y="3"/>
                      </a:lnTo>
                      <a:lnTo>
                        <a:pt x="36" y="0"/>
                      </a:lnTo>
                      <a:lnTo>
                        <a:pt x="31" y="3"/>
                      </a:lnTo>
                      <a:lnTo>
                        <a:pt x="29" y="3"/>
                      </a:lnTo>
                      <a:lnTo>
                        <a:pt x="26" y="3"/>
                      </a:lnTo>
                      <a:lnTo>
                        <a:pt x="24" y="3"/>
                      </a:lnTo>
                      <a:lnTo>
                        <a:pt x="22" y="3"/>
                      </a:lnTo>
                      <a:lnTo>
                        <a:pt x="17" y="3"/>
                      </a:lnTo>
                      <a:lnTo>
                        <a:pt x="12" y="5"/>
                      </a:lnTo>
                      <a:lnTo>
                        <a:pt x="10" y="8"/>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Freeform 27">
                  <a:extLst>
                    <a:ext uri="{FF2B5EF4-FFF2-40B4-BE49-F238E27FC236}">
                      <a16:creationId xmlns:a16="http://schemas.microsoft.com/office/drawing/2014/main" id="{01B8448C-CFDA-EA20-2019-50D6C3637E54}"/>
                    </a:ext>
                  </a:extLst>
                </p:cNvPr>
                <p:cNvSpPr>
                  <a:spLocks noEditPoints="1"/>
                </p:cNvSpPr>
                <p:nvPr/>
              </p:nvSpPr>
              <p:spPr bwMode="auto">
                <a:xfrm>
                  <a:off x="3792" y="2526"/>
                  <a:ext cx="215" cy="69"/>
                </a:xfrm>
                <a:custGeom>
                  <a:avLst/>
                  <a:gdLst>
                    <a:gd name="T0" fmla="*/ 130 w 215"/>
                    <a:gd name="T1" fmla="*/ 50 h 69"/>
                    <a:gd name="T2" fmla="*/ 0 w 215"/>
                    <a:gd name="T3" fmla="*/ 22 h 69"/>
                    <a:gd name="T4" fmla="*/ 0 w 215"/>
                    <a:gd name="T5" fmla="*/ 19 h 69"/>
                    <a:gd name="T6" fmla="*/ 118 w 215"/>
                    <a:gd name="T7" fmla="*/ 67 h 69"/>
                    <a:gd name="T8" fmla="*/ 128 w 215"/>
                    <a:gd name="T9" fmla="*/ 67 h 69"/>
                    <a:gd name="T10" fmla="*/ 149 w 215"/>
                    <a:gd name="T11" fmla="*/ 64 h 69"/>
                    <a:gd name="T12" fmla="*/ 166 w 215"/>
                    <a:gd name="T13" fmla="*/ 62 h 69"/>
                    <a:gd name="T14" fmla="*/ 178 w 215"/>
                    <a:gd name="T15" fmla="*/ 38 h 69"/>
                    <a:gd name="T16" fmla="*/ 182 w 215"/>
                    <a:gd name="T17" fmla="*/ 31 h 69"/>
                    <a:gd name="T18" fmla="*/ 196 w 215"/>
                    <a:gd name="T19" fmla="*/ 33 h 69"/>
                    <a:gd name="T20" fmla="*/ 208 w 215"/>
                    <a:gd name="T21" fmla="*/ 33 h 69"/>
                    <a:gd name="T22" fmla="*/ 211 w 215"/>
                    <a:gd name="T23" fmla="*/ 26 h 69"/>
                    <a:gd name="T24" fmla="*/ 211 w 215"/>
                    <a:gd name="T25" fmla="*/ 22 h 69"/>
                    <a:gd name="T26" fmla="*/ 201 w 215"/>
                    <a:gd name="T27" fmla="*/ 19 h 69"/>
                    <a:gd name="T28" fmla="*/ 199 w 215"/>
                    <a:gd name="T29" fmla="*/ 17 h 69"/>
                    <a:gd name="T30" fmla="*/ 199 w 215"/>
                    <a:gd name="T31" fmla="*/ 10 h 69"/>
                    <a:gd name="T32" fmla="*/ 192 w 215"/>
                    <a:gd name="T33" fmla="*/ 3 h 69"/>
                    <a:gd name="T34" fmla="*/ 187 w 215"/>
                    <a:gd name="T35" fmla="*/ 5 h 69"/>
                    <a:gd name="T36" fmla="*/ 180 w 215"/>
                    <a:gd name="T37" fmla="*/ 14 h 69"/>
                    <a:gd name="T38" fmla="*/ 170 w 215"/>
                    <a:gd name="T39" fmla="*/ 24 h 69"/>
                    <a:gd name="T40" fmla="*/ 173 w 215"/>
                    <a:gd name="T41" fmla="*/ 26 h 69"/>
                    <a:gd name="T42" fmla="*/ 170 w 215"/>
                    <a:gd name="T43" fmla="*/ 33 h 69"/>
                    <a:gd name="T44" fmla="*/ 168 w 215"/>
                    <a:gd name="T45" fmla="*/ 26 h 69"/>
                    <a:gd name="T46" fmla="*/ 163 w 215"/>
                    <a:gd name="T47" fmla="*/ 33 h 69"/>
                    <a:gd name="T48" fmla="*/ 159 w 215"/>
                    <a:gd name="T49" fmla="*/ 33 h 69"/>
                    <a:gd name="T50" fmla="*/ 147 w 215"/>
                    <a:gd name="T51" fmla="*/ 45 h 69"/>
                    <a:gd name="T52" fmla="*/ 135 w 215"/>
                    <a:gd name="T53" fmla="*/ 52 h 69"/>
                    <a:gd name="T54" fmla="*/ 128 w 215"/>
                    <a:gd name="T55" fmla="*/ 57 h 69"/>
                    <a:gd name="T56" fmla="*/ 116 w 215"/>
                    <a:gd name="T57" fmla="*/ 62 h 69"/>
                    <a:gd name="T58" fmla="*/ 109 w 215"/>
                    <a:gd name="T59" fmla="*/ 57 h 69"/>
                    <a:gd name="T60" fmla="*/ 189 w 215"/>
                    <a:gd name="T61" fmla="*/ 0 h 69"/>
                    <a:gd name="T62" fmla="*/ 194 w 215"/>
                    <a:gd name="T63" fmla="*/ 3 h 69"/>
                    <a:gd name="T64" fmla="*/ 128 w 215"/>
                    <a:gd name="T65" fmla="*/ 55 h 69"/>
                    <a:gd name="T66" fmla="*/ 130 w 215"/>
                    <a:gd name="T67" fmla="*/ 52 h 69"/>
                    <a:gd name="T68" fmla="*/ 133 w 215"/>
                    <a:gd name="T69" fmla="*/ 50 h 69"/>
                    <a:gd name="T70" fmla="*/ 130 w 215"/>
                    <a:gd name="T71" fmla="*/ 50 h 69"/>
                    <a:gd name="T72" fmla="*/ 0 w 215"/>
                    <a:gd name="T73" fmla="*/ 7 h 69"/>
                    <a:gd name="T74" fmla="*/ 10 w 215"/>
                    <a:gd name="T75" fmla="*/ 10 h 69"/>
                    <a:gd name="T76" fmla="*/ 12 w 215"/>
                    <a:gd name="T77" fmla="*/ 17 h 69"/>
                    <a:gd name="T78" fmla="*/ 21 w 215"/>
                    <a:gd name="T79" fmla="*/ 14 h 69"/>
                    <a:gd name="T80" fmla="*/ 24 w 215"/>
                    <a:gd name="T81" fmla="*/ 12 h 69"/>
                    <a:gd name="T82" fmla="*/ 38 w 215"/>
                    <a:gd name="T83" fmla="*/ 31 h 69"/>
                    <a:gd name="T84" fmla="*/ 38 w 215"/>
                    <a:gd name="T85" fmla="*/ 45 h 69"/>
                    <a:gd name="T86" fmla="*/ 43 w 215"/>
                    <a:gd name="T87" fmla="*/ 52 h 69"/>
                    <a:gd name="T88" fmla="*/ 45 w 215"/>
                    <a:gd name="T89" fmla="*/ 57 h 69"/>
                    <a:gd name="T90" fmla="*/ 47 w 215"/>
                    <a:gd name="T91" fmla="*/ 62 h 69"/>
                    <a:gd name="T92" fmla="*/ 45 w 215"/>
                    <a:gd name="T93" fmla="*/ 62 h 69"/>
                    <a:gd name="T94" fmla="*/ 40 w 215"/>
                    <a:gd name="T95" fmla="*/ 64 h 69"/>
                    <a:gd name="T96" fmla="*/ 28 w 215"/>
                    <a:gd name="T97" fmla="*/ 57 h 69"/>
                    <a:gd name="T98" fmla="*/ 19 w 215"/>
                    <a:gd name="T99" fmla="*/ 50 h 69"/>
                    <a:gd name="T100" fmla="*/ 14 w 215"/>
                    <a:gd name="T101" fmla="*/ 43 h 69"/>
                    <a:gd name="T102" fmla="*/ 7 w 215"/>
                    <a:gd name="T103" fmla="*/ 33 h 69"/>
                    <a:gd name="T104" fmla="*/ 5 w 215"/>
                    <a:gd name="T105" fmla="*/ 2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5" h="69">
                      <a:moveTo>
                        <a:pt x="130" y="50"/>
                      </a:moveTo>
                      <a:lnTo>
                        <a:pt x="130" y="52"/>
                      </a:lnTo>
                      <a:lnTo>
                        <a:pt x="130" y="52"/>
                      </a:lnTo>
                      <a:lnTo>
                        <a:pt x="130" y="52"/>
                      </a:lnTo>
                      <a:lnTo>
                        <a:pt x="130" y="50"/>
                      </a:lnTo>
                      <a:lnTo>
                        <a:pt x="130" y="50"/>
                      </a:lnTo>
                      <a:lnTo>
                        <a:pt x="130" y="50"/>
                      </a:lnTo>
                      <a:close/>
                      <a:moveTo>
                        <a:pt x="0" y="19"/>
                      </a:moveTo>
                      <a:lnTo>
                        <a:pt x="0" y="22"/>
                      </a:lnTo>
                      <a:lnTo>
                        <a:pt x="0" y="22"/>
                      </a:lnTo>
                      <a:lnTo>
                        <a:pt x="2" y="22"/>
                      </a:lnTo>
                      <a:lnTo>
                        <a:pt x="0" y="19"/>
                      </a:lnTo>
                      <a:lnTo>
                        <a:pt x="0" y="19"/>
                      </a:lnTo>
                      <a:lnTo>
                        <a:pt x="0" y="19"/>
                      </a:lnTo>
                      <a:lnTo>
                        <a:pt x="0" y="19"/>
                      </a:lnTo>
                      <a:close/>
                      <a:moveTo>
                        <a:pt x="109" y="57"/>
                      </a:moveTo>
                      <a:lnTo>
                        <a:pt x="111" y="62"/>
                      </a:lnTo>
                      <a:lnTo>
                        <a:pt x="116" y="64"/>
                      </a:lnTo>
                      <a:lnTo>
                        <a:pt x="116" y="64"/>
                      </a:lnTo>
                      <a:lnTo>
                        <a:pt x="118" y="67"/>
                      </a:lnTo>
                      <a:lnTo>
                        <a:pt x="118" y="69"/>
                      </a:lnTo>
                      <a:lnTo>
                        <a:pt x="121" y="69"/>
                      </a:lnTo>
                      <a:lnTo>
                        <a:pt x="123" y="69"/>
                      </a:lnTo>
                      <a:lnTo>
                        <a:pt x="125" y="67"/>
                      </a:lnTo>
                      <a:lnTo>
                        <a:pt x="128" y="67"/>
                      </a:lnTo>
                      <a:lnTo>
                        <a:pt x="128" y="67"/>
                      </a:lnTo>
                      <a:lnTo>
                        <a:pt x="135" y="67"/>
                      </a:lnTo>
                      <a:lnTo>
                        <a:pt x="142" y="64"/>
                      </a:lnTo>
                      <a:lnTo>
                        <a:pt x="142" y="64"/>
                      </a:lnTo>
                      <a:lnTo>
                        <a:pt x="149" y="64"/>
                      </a:lnTo>
                      <a:lnTo>
                        <a:pt x="151" y="64"/>
                      </a:lnTo>
                      <a:lnTo>
                        <a:pt x="151" y="67"/>
                      </a:lnTo>
                      <a:lnTo>
                        <a:pt x="154" y="67"/>
                      </a:lnTo>
                      <a:lnTo>
                        <a:pt x="159" y="64"/>
                      </a:lnTo>
                      <a:lnTo>
                        <a:pt x="166" y="62"/>
                      </a:lnTo>
                      <a:lnTo>
                        <a:pt x="166" y="62"/>
                      </a:lnTo>
                      <a:lnTo>
                        <a:pt x="168" y="55"/>
                      </a:lnTo>
                      <a:lnTo>
                        <a:pt x="170" y="50"/>
                      </a:lnTo>
                      <a:lnTo>
                        <a:pt x="175" y="45"/>
                      </a:lnTo>
                      <a:lnTo>
                        <a:pt x="178" y="38"/>
                      </a:lnTo>
                      <a:lnTo>
                        <a:pt x="178" y="36"/>
                      </a:lnTo>
                      <a:lnTo>
                        <a:pt x="178" y="36"/>
                      </a:lnTo>
                      <a:lnTo>
                        <a:pt x="178" y="33"/>
                      </a:lnTo>
                      <a:lnTo>
                        <a:pt x="180" y="31"/>
                      </a:lnTo>
                      <a:lnTo>
                        <a:pt x="182" y="31"/>
                      </a:lnTo>
                      <a:lnTo>
                        <a:pt x="185" y="31"/>
                      </a:lnTo>
                      <a:lnTo>
                        <a:pt x="189" y="31"/>
                      </a:lnTo>
                      <a:lnTo>
                        <a:pt x="192" y="31"/>
                      </a:lnTo>
                      <a:lnTo>
                        <a:pt x="194" y="31"/>
                      </a:lnTo>
                      <a:lnTo>
                        <a:pt x="196" y="33"/>
                      </a:lnTo>
                      <a:lnTo>
                        <a:pt x="196" y="31"/>
                      </a:lnTo>
                      <a:lnTo>
                        <a:pt x="201" y="33"/>
                      </a:lnTo>
                      <a:lnTo>
                        <a:pt x="201" y="33"/>
                      </a:lnTo>
                      <a:lnTo>
                        <a:pt x="204" y="33"/>
                      </a:lnTo>
                      <a:lnTo>
                        <a:pt x="208" y="33"/>
                      </a:lnTo>
                      <a:lnTo>
                        <a:pt x="208" y="31"/>
                      </a:lnTo>
                      <a:lnTo>
                        <a:pt x="204" y="29"/>
                      </a:lnTo>
                      <a:lnTo>
                        <a:pt x="204" y="26"/>
                      </a:lnTo>
                      <a:lnTo>
                        <a:pt x="206" y="26"/>
                      </a:lnTo>
                      <a:lnTo>
                        <a:pt x="211" y="26"/>
                      </a:lnTo>
                      <a:lnTo>
                        <a:pt x="213" y="24"/>
                      </a:lnTo>
                      <a:lnTo>
                        <a:pt x="215" y="24"/>
                      </a:lnTo>
                      <a:lnTo>
                        <a:pt x="215" y="22"/>
                      </a:lnTo>
                      <a:lnTo>
                        <a:pt x="213" y="22"/>
                      </a:lnTo>
                      <a:lnTo>
                        <a:pt x="211" y="22"/>
                      </a:lnTo>
                      <a:lnTo>
                        <a:pt x="211" y="19"/>
                      </a:lnTo>
                      <a:lnTo>
                        <a:pt x="208" y="19"/>
                      </a:lnTo>
                      <a:lnTo>
                        <a:pt x="206" y="17"/>
                      </a:lnTo>
                      <a:lnTo>
                        <a:pt x="204" y="17"/>
                      </a:lnTo>
                      <a:lnTo>
                        <a:pt x="201" y="19"/>
                      </a:lnTo>
                      <a:lnTo>
                        <a:pt x="201" y="17"/>
                      </a:lnTo>
                      <a:lnTo>
                        <a:pt x="204" y="17"/>
                      </a:lnTo>
                      <a:lnTo>
                        <a:pt x="201" y="14"/>
                      </a:lnTo>
                      <a:lnTo>
                        <a:pt x="201" y="14"/>
                      </a:lnTo>
                      <a:lnTo>
                        <a:pt x="199" y="17"/>
                      </a:lnTo>
                      <a:lnTo>
                        <a:pt x="199" y="17"/>
                      </a:lnTo>
                      <a:lnTo>
                        <a:pt x="196" y="14"/>
                      </a:lnTo>
                      <a:lnTo>
                        <a:pt x="196" y="12"/>
                      </a:lnTo>
                      <a:lnTo>
                        <a:pt x="199" y="12"/>
                      </a:lnTo>
                      <a:lnTo>
                        <a:pt x="199" y="10"/>
                      </a:lnTo>
                      <a:lnTo>
                        <a:pt x="196" y="10"/>
                      </a:lnTo>
                      <a:lnTo>
                        <a:pt x="196" y="10"/>
                      </a:lnTo>
                      <a:lnTo>
                        <a:pt x="194" y="7"/>
                      </a:lnTo>
                      <a:lnTo>
                        <a:pt x="194" y="5"/>
                      </a:lnTo>
                      <a:lnTo>
                        <a:pt x="192" y="3"/>
                      </a:lnTo>
                      <a:lnTo>
                        <a:pt x="189" y="5"/>
                      </a:lnTo>
                      <a:lnTo>
                        <a:pt x="192" y="5"/>
                      </a:lnTo>
                      <a:lnTo>
                        <a:pt x="189" y="7"/>
                      </a:lnTo>
                      <a:lnTo>
                        <a:pt x="187" y="7"/>
                      </a:lnTo>
                      <a:lnTo>
                        <a:pt x="187" y="5"/>
                      </a:lnTo>
                      <a:lnTo>
                        <a:pt x="187" y="5"/>
                      </a:lnTo>
                      <a:lnTo>
                        <a:pt x="187" y="5"/>
                      </a:lnTo>
                      <a:lnTo>
                        <a:pt x="185" y="10"/>
                      </a:lnTo>
                      <a:lnTo>
                        <a:pt x="182" y="10"/>
                      </a:lnTo>
                      <a:lnTo>
                        <a:pt x="180" y="14"/>
                      </a:lnTo>
                      <a:lnTo>
                        <a:pt x="180" y="17"/>
                      </a:lnTo>
                      <a:lnTo>
                        <a:pt x="175" y="22"/>
                      </a:lnTo>
                      <a:lnTo>
                        <a:pt x="175" y="22"/>
                      </a:lnTo>
                      <a:lnTo>
                        <a:pt x="170" y="22"/>
                      </a:lnTo>
                      <a:lnTo>
                        <a:pt x="170" y="24"/>
                      </a:lnTo>
                      <a:lnTo>
                        <a:pt x="170" y="24"/>
                      </a:lnTo>
                      <a:lnTo>
                        <a:pt x="170" y="24"/>
                      </a:lnTo>
                      <a:lnTo>
                        <a:pt x="170" y="24"/>
                      </a:lnTo>
                      <a:lnTo>
                        <a:pt x="173" y="24"/>
                      </a:lnTo>
                      <a:lnTo>
                        <a:pt x="173" y="26"/>
                      </a:lnTo>
                      <a:lnTo>
                        <a:pt x="170" y="26"/>
                      </a:lnTo>
                      <a:lnTo>
                        <a:pt x="170" y="26"/>
                      </a:lnTo>
                      <a:lnTo>
                        <a:pt x="170" y="26"/>
                      </a:lnTo>
                      <a:lnTo>
                        <a:pt x="173" y="31"/>
                      </a:lnTo>
                      <a:lnTo>
                        <a:pt x="170" y="33"/>
                      </a:lnTo>
                      <a:lnTo>
                        <a:pt x="170" y="31"/>
                      </a:lnTo>
                      <a:lnTo>
                        <a:pt x="170" y="29"/>
                      </a:lnTo>
                      <a:lnTo>
                        <a:pt x="168" y="29"/>
                      </a:lnTo>
                      <a:lnTo>
                        <a:pt x="168" y="29"/>
                      </a:lnTo>
                      <a:lnTo>
                        <a:pt x="168" y="26"/>
                      </a:lnTo>
                      <a:lnTo>
                        <a:pt x="168" y="26"/>
                      </a:lnTo>
                      <a:lnTo>
                        <a:pt x="166" y="29"/>
                      </a:lnTo>
                      <a:lnTo>
                        <a:pt x="168" y="33"/>
                      </a:lnTo>
                      <a:lnTo>
                        <a:pt x="166" y="33"/>
                      </a:lnTo>
                      <a:lnTo>
                        <a:pt x="163" y="33"/>
                      </a:lnTo>
                      <a:lnTo>
                        <a:pt x="161" y="29"/>
                      </a:lnTo>
                      <a:lnTo>
                        <a:pt x="161" y="29"/>
                      </a:lnTo>
                      <a:lnTo>
                        <a:pt x="159" y="29"/>
                      </a:lnTo>
                      <a:lnTo>
                        <a:pt x="159" y="31"/>
                      </a:lnTo>
                      <a:lnTo>
                        <a:pt x="159" y="33"/>
                      </a:lnTo>
                      <a:lnTo>
                        <a:pt x="154" y="36"/>
                      </a:lnTo>
                      <a:lnTo>
                        <a:pt x="154" y="38"/>
                      </a:lnTo>
                      <a:lnTo>
                        <a:pt x="149" y="40"/>
                      </a:lnTo>
                      <a:lnTo>
                        <a:pt x="149" y="43"/>
                      </a:lnTo>
                      <a:lnTo>
                        <a:pt x="147" y="45"/>
                      </a:lnTo>
                      <a:lnTo>
                        <a:pt x="144" y="48"/>
                      </a:lnTo>
                      <a:lnTo>
                        <a:pt x="135" y="50"/>
                      </a:lnTo>
                      <a:lnTo>
                        <a:pt x="133" y="50"/>
                      </a:lnTo>
                      <a:lnTo>
                        <a:pt x="135" y="52"/>
                      </a:lnTo>
                      <a:lnTo>
                        <a:pt x="135" y="52"/>
                      </a:lnTo>
                      <a:lnTo>
                        <a:pt x="135" y="52"/>
                      </a:lnTo>
                      <a:lnTo>
                        <a:pt x="133" y="55"/>
                      </a:lnTo>
                      <a:lnTo>
                        <a:pt x="130" y="55"/>
                      </a:lnTo>
                      <a:lnTo>
                        <a:pt x="128" y="55"/>
                      </a:lnTo>
                      <a:lnTo>
                        <a:pt x="128" y="57"/>
                      </a:lnTo>
                      <a:lnTo>
                        <a:pt x="128" y="59"/>
                      </a:lnTo>
                      <a:lnTo>
                        <a:pt x="125" y="62"/>
                      </a:lnTo>
                      <a:lnTo>
                        <a:pt x="125" y="64"/>
                      </a:lnTo>
                      <a:lnTo>
                        <a:pt x="121" y="64"/>
                      </a:lnTo>
                      <a:lnTo>
                        <a:pt x="116" y="62"/>
                      </a:lnTo>
                      <a:lnTo>
                        <a:pt x="114" y="62"/>
                      </a:lnTo>
                      <a:lnTo>
                        <a:pt x="111" y="59"/>
                      </a:lnTo>
                      <a:lnTo>
                        <a:pt x="111" y="57"/>
                      </a:lnTo>
                      <a:lnTo>
                        <a:pt x="109" y="57"/>
                      </a:lnTo>
                      <a:lnTo>
                        <a:pt x="109" y="57"/>
                      </a:lnTo>
                      <a:close/>
                      <a:moveTo>
                        <a:pt x="189" y="0"/>
                      </a:moveTo>
                      <a:lnTo>
                        <a:pt x="187" y="0"/>
                      </a:lnTo>
                      <a:lnTo>
                        <a:pt x="189" y="0"/>
                      </a:lnTo>
                      <a:lnTo>
                        <a:pt x="189" y="0"/>
                      </a:lnTo>
                      <a:lnTo>
                        <a:pt x="189" y="0"/>
                      </a:lnTo>
                      <a:lnTo>
                        <a:pt x="189" y="0"/>
                      </a:lnTo>
                      <a:close/>
                      <a:moveTo>
                        <a:pt x="192" y="0"/>
                      </a:moveTo>
                      <a:lnTo>
                        <a:pt x="192" y="3"/>
                      </a:lnTo>
                      <a:lnTo>
                        <a:pt x="192" y="3"/>
                      </a:lnTo>
                      <a:lnTo>
                        <a:pt x="194" y="3"/>
                      </a:lnTo>
                      <a:lnTo>
                        <a:pt x="194" y="0"/>
                      </a:lnTo>
                      <a:lnTo>
                        <a:pt x="192" y="0"/>
                      </a:lnTo>
                      <a:lnTo>
                        <a:pt x="192" y="0"/>
                      </a:lnTo>
                      <a:close/>
                      <a:moveTo>
                        <a:pt x="130" y="52"/>
                      </a:moveTo>
                      <a:lnTo>
                        <a:pt x="128" y="55"/>
                      </a:lnTo>
                      <a:lnTo>
                        <a:pt x="130" y="52"/>
                      </a:lnTo>
                      <a:lnTo>
                        <a:pt x="130" y="52"/>
                      </a:lnTo>
                      <a:lnTo>
                        <a:pt x="130" y="52"/>
                      </a:lnTo>
                      <a:close/>
                      <a:moveTo>
                        <a:pt x="133" y="52"/>
                      </a:moveTo>
                      <a:lnTo>
                        <a:pt x="130" y="52"/>
                      </a:lnTo>
                      <a:lnTo>
                        <a:pt x="130" y="52"/>
                      </a:lnTo>
                      <a:lnTo>
                        <a:pt x="130" y="52"/>
                      </a:lnTo>
                      <a:lnTo>
                        <a:pt x="133" y="52"/>
                      </a:lnTo>
                      <a:lnTo>
                        <a:pt x="133" y="52"/>
                      </a:lnTo>
                      <a:close/>
                      <a:moveTo>
                        <a:pt x="133" y="50"/>
                      </a:moveTo>
                      <a:lnTo>
                        <a:pt x="133" y="52"/>
                      </a:lnTo>
                      <a:lnTo>
                        <a:pt x="133" y="52"/>
                      </a:lnTo>
                      <a:lnTo>
                        <a:pt x="130" y="52"/>
                      </a:lnTo>
                      <a:lnTo>
                        <a:pt x="130" y="50"/>
                      </a:lnTo>
                      <a:lnTo>
                        <a:pt x="130" y="50"/>
                      </a:lnTo>
                      <a:lnTo>
                        <a:pt x="133" y="50"/>
                      </a:lnTo>
                      <a:lnTo>
                        <a:pt x="133" y="50"/>
                      </a:lnTo>
                      <a:lnTo>
                        <a:pt x="133" y="50"/>
                      </a:lnTo>
                      <a:close/>
                      <a:moveTo>
                        <a:pt x="0" y="10"/>
                      </a:moveTo>
                      <a:lnTo>
                        <a:pt x="0" y="7"/>
                      </a:lnTo>
                      <a:lnTo>
                        <a:pt x="2" y="5"/>
                      </a:lnTo>
                      <a:lnTo>
                        <a:pt x="5" y="7"/>
                      </a:lnTo>
                      <a:lnTo>
                        <a:pt x="7" y="7"/>
                      </a:lnTo>
                      <a:lnTo>
                        <a:pt x="7" y="10"/>
                      </a:lnTo>
                      <a:lnTo>
                        <a:pt x="10" y="10"/>
                      </a:lnTo>
                      <a:lnTo>
                        <a:pt x="12" y="10"/>
                      </a:lnTo>
                      <a:lnTo>
                        <a:pt x="12" y="14"/>
                      </a:lnTo>
                      <a:lnTo>
                        <a:pt x="10" y="14"/>
                      </a:lnTo>
                      <a:lnTo>
                        <a:pt x="10" y="17"/>
                      </a:lnTo>
                      <a:lnTo>
                        <a:pt x="12" y="17"/>
                      </a:lnTo>
                      <a:lnTo>
                        <a:pt x="14" y="14"/>
                      </a:lnTo>
                      <a:lnTo>
                        <a:pt x="17" y="14"/>
                      </a:lnTo>
                      <a:lnTo>
                        <a:pt x="19" y="17"/>
                      </a:lnTo>
                      <a:lnTo>
                        <a:pt x="21" y="14"/>
                      </a:lnTo>
                      <a:lnTo>
                        <a:pt x="21" y="14"/>
                      </a:lnTo>
                      <a:lnTo>
                        <a:pt x="21" y="12"/>
                      </a:lnTo>
                      <a:lnTo>
                        <a:pt x="21" y="12"/>
                      </a:lnTo>
                      <a:lnTo>
                        <a:pt x="21" y="12"/>
                      </a:lnTo>
                      <a:lnTo>
                        <a:pt x="24" y="12"/>
                      </a:lnTo>
                      <a:lnTo>
                        <a:pt x="24" y="12"/>
                      </a:lnTo>
                      <a:lnTo>
                        <a:pt x="26" y="14"/>
                      </a:lnTo>
                      <a:lnTo>
                        <a:pt x="33" y="22"/>
                      </a:lnTo>
                      <a:lnTo>
                        <a:pt x="38" y="26"/>
                      </a:lnTo>
                      <a:lnTo>
                        <a:pt x="38" y="29"/>
                      </a:lnTo>
                      <a:lnTo>
                        <a:pt x="38" y="31"/>
                      </a:lnTo>
                      <a:lnTo>
                        <a:pt x="38" y="36"/>
                      </a:lnTo>
                      <a:lnTo>
                        <a:pt x="38" y="36"/>
                      </a:lnTo>
                      <a:lnTo>
                        <a:pt x="38" y="38"/>
                      </a:lnTo>
                      <a:lnTo>
                        <a:pt x="38" y="40"/>
                      </a:lnTo>
                      <a:lnTo>
                        <a:pt x="38" y="45"/>
                      </a:lnTo>
                      <a:lnTo>
                        <a:pt x="38" y="48"/>
                      </a:lnTo>
                      <a:lnTo>
                        <a:pt x="43" y="50"/>
                      </a:lnTo>
                      <a:lnTo>
                        <a:pt x="43" y="50"/>
                      </a:lnTo>
                      <a:lnTo>
                        <a:pt x="45" y="50"/>
                      </a:lnTo>
                      <a:lnTo>
                        <a:pt x="43" y="52"/>
                      </a:lnTo>
                      <a:lnTo>
                        <a:pt x="45" y="55"/>
                      </a:lnTo>
                      <a:lnTo>
                        <a:pt x="45" y="55"/>
                      </a:lnTo>
                      <a:lnTo>
                        <a:pt x="45" y="55"/>
                      </a:lnTo>
                      <a:lnTo>
                        <a:pt x="45" y="57"/>
                      </a:lnTo>
                      <a:lnTo>
                        <a:pt x="45" y="57"/>
                      </a:lnTo>
                      <a:lnTo>
                        <a:pt x="47" y="62"/>
                      </a:lnTo>
                      <a:lnTo>
                        <a:pt x="47" y="64"/>
                      </a:lnTo>
                      <a:lnTo>
                        <a:pt x="47" y="64"/>
                      </a:lnTo>
                      <a:lnTo>
                        <a:pt x="47" y="62"/>
                      </a:lnTo>
                      <a:lnTo>
                        <a:pt x="47" y="62"/>
                      </a:lnTo>
                      <a:lnTo>
                        <a:pt x="45" y="59"/>
                      </a:lnTo>
                      <a:lnTo>
                        <a:pt x="45" y="62"/>
                      </a:lnTo>
                      <a:lnTo>
                        <a:pt x="45" y="62"/>
                      </a:lnTo>
                      <a:lnTo>
                        <a:pt x="45" y="62"/>
                      </a:lnTo>
                      <a:lnTo>
                        <a:pt x="45" y="62"/>
                      </a:lnTo>
                      <a:lnTo>
                        <a:pt x="45" y="64"/>
                      </a:lnTo>
                      <a:lnTo>
                        <a:pt x="43" y="64"/>
                      </a:lnTo>
                      <a:lnTo>
                        <a:pt x="43" y="64"/>
                      </a:lnTo>
                      <a:lnTo>
                        <a:pt x="43" y="64"/>
                      </a:lnTo>
                      <a:lnTo>
                        <a:pt x="40" y="64"/>
                      </a:lnTo>
                      <a:lnTo>
                        <a:pt x="38" y="62"/>
                      </a:lnTo>
                      <a:lnTo>
                        <a:pt x="36" y="62"/>
                      </a:lnTo>
                      <a:lnTo>
                        <a:pt x="31" y="59"/>
                      </a:lnTo>
                      <a:lnTo>
                        <a:pt x="31" y="57"/>
                      </a:lnTo>
                      <a:lnTo>
                        <a:pt x="28" y="57"/>
                      </a:lnTo>
                      <a:lnTo>
                        <a:pt x="26" y="57"/>
                      </a:lnTo>
                      <a:lnTo>
                        <a:pt x="26" y="57"/>
                      </a:lnTo>
                      <a:lnTo>
                        <a:pt x="21" y="55"/>
                      </a:lnTo>
                      <a:lnTo>
                        <a:pt x="24" y="52"/>
                      </a:lnTo>
                      <a:lnTo>
                        <a:pt x="19" y="50"/>
                      </a:lnTo>
                      <a:lnTo>
                        <a:pt x="14" y="48"/>
                      </a:lnTo>
                      <a:lnTo>
                        <a:pt x="14" y="48"/>
                      </a:lnTo>
                      <a:lnTo>
                        <a:pt x="14" y="45"/>
                      </a:lnTo>
                      <a:lnTo>
                        <a:pt x="17" y="45"/>
                      </a:lnTo>
                      <a:lnTo>
                        <a:pt x="14" y="43"/>
                      </a:lnTo>
                      <a:lnTo>
                        <a:pt x="12" y="40"/>
                      </a:lnTo>
                      <a:lnTo>
                        <a:pt x="10" y="38"/>
                      </a:lnTo>
                      <a:lnTo>
                        <a:pt x="7" y="38"/>
                      </a:lnTo>
                      <a:lnTo>
                        <a:pt x="5" y="36"/>
                      </a:lnTo>
                      <a:lnTo>
                        <a:pt x="7" y="33"/>
                      </a:lnTo>
                      <a:lnTo>
                        <a:pt x="5" y="33"/>
                      </a:lnTo>
                      <a:lnTo>
                        <a:pt x="5" y="31"/>
                      </a:lnTo>
                      <a:lnTo>
                        <a:pt x="5" y="31"/>
                      </a:lnTo>
                      <a:lnTo>
                        <a:pt x="5" y="26"/>
                      </a:lnTo>
                      <a:lnTo>
                        <a:pt x="5" y="24"/>
                      </a:lnTo>
                      <a:lnTo>
                        <a:pt x="2" y="22"/>
                      </a:lnTo>
                      <a:lnTo>
                        <a:pt x="2" y="12"/>
                      </a:lnTo>
                      <a:lnTo>
                        <a:pt x="0" y="10"/>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Freeform 28">
                  <a:extLst>
                    <a:ext uri="{FF2B5EF4-FFF2-40B4-BE49-F238E27FC236}">
                      <a16:creationId xmlns:a16="http://schemas.microsoft.com/office/drawing/2014/main" id="{058017AB-57F6-C4C2-B421-3367A5E7ECA3}"/>
                    </a:ext>
                  </a:extLst>
                </p:cNvPr>
                <p:cNvSpPr>
                  <a:spLocks noEditPoints="1"/>
                </p:cNvSpPr>
                <p:nvPr/>
              </p:nvSpPr>
              <p:spPr bwMode="auto">
                <a:xfrm>
                  <a:off x="3951" y="2550"/>
                  <a:ext cx="14" cy="9"/>
                </a:xfrm>
                <a:custGeom>
                  <a:avLst/>
                  <a:gdLst>
                    <a:gd name="T0" fmla="*/ 0 w 14"/>
                    <a:gd name="T1" fmla="*/ 5 h 9"/>
                    <a:gd name="T2" fmla="*/ 2 w 14"/>
                    <a:gd name="T3" fmla="*/ 5 h 9"/>
                    <a:gd name="T4" fmla="*/ 2 w 14"/>
                    <a:gd name="T5" fmla="*/ 5 h 9"/>
                    <a:gd name="T6" fmla="*/ 4 w 14"/>
                    <a:gd name="T7" fmla="*/ 9 h 9"/>
                    <a:gd name="T8" fmla="*/ 7 w 14"/>
                    <a:gd name="T9" fmla="*/ 9 h 9"/>
                    <a:gd name="T10" fmla="*/ 9 w 14"/>
                    <a:gd name="T11" fmla="*/ 9 h 9"/>
                    <a:gd name="T12" fmla="*/ 7 w 14"/>
                    <a:gd name="T13" fmla="*/ 5 h 9"/>
                    <a:gd name="T14" fmla="*/ 9 w 14"/>
                    <a:gd name="T15" fmla="*/ 2 h 9"/>
                    <a:gd name="T16" fmla="*/ 9 w 14"/>
                    <a:gd name="T17" fmla="*/ 2 h 9"/>
                    <a:gd name="T18" fmla="*/ 9 w 14"/>
                    <a:gd name="T19" fmla="*/ 2 h 9"/>
                    <a:gd name="T20" fmla="*/ 9 w 14"/>
                    <a:gd name="T21" fmla="*/ 0 h 9"/>
                    <a:gd name="T22" fmla="*/ 7 w 14"/>
                    <a:gd name="T23" fmla="*/ 0 h 9"/>
                    <a:gd name="T24" fmla="*/ 4 w 14"/>
                    <a:gd name="T25" fmla="*/ 2 h 9"/>
                    <a:gd name="T26" fmla="*/ 0 w 14"/>
                    <a:gd name="T27" fmla="*/ 5 h 9"/>
                    <a:gd name="T28" fmla="*/ 0 w 14"/>
                    <a:gd name="T29" fmla="*/ 5 h 9"/>
                    <a:gd name="T30" fmla="*/ 0 w 14"/>
                    <a:gd name="T31" fmla="*/ 5 h 9"/>
                    <a:gd name="T32" fmla="*/ 9 w 14"/>
                    <a:gd name="T33" fmla="*/ 5 h 9"/>
                    <a:gd name="T34" fmla="*/ 11 w 14"/>
                    <a:gd name="T35" fmla="*/ 5 h 9"/>
                    <a:gd name="T36" fmla="*/ 11 w 14"/>
                    <a:gd name="T37" fmla="*/ 7 h 9"/>
                    <a:gd name="T38" fmla="*/ 11 w 14"/>
                    <a:gd name="T39" fmla="*/ 9 h 9"/>
                    <a:gd name="T40" fmla="*/ 14 w 14"/>
                    <a:gd name="T41" fmla="*/ 7 h 9"/>
                    <a:gd name="T42" fmla="*/ 11 w 14"/>
                    <a:gd name="T43" fmla="*/ 2 h 9"/>
                    <a:gd name="T44" fmla="*/ 11 w 14"/>
                    <a:gd name="T45" fmla="*/ 2 h 9"/>
                    <a:gd name="T46" fmla="*/ 11 w 14"/>
                    <a:gd name="T47" fmla="*/ 2 h 9"/>
                    <a:gd name="T48" fmla="*/ 9 w 14"/>
                    <a:gd name="T49"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 h="9">
                      <a:moveTo>
                        <a:pt x="0" y="5"/>
                      </a:moveTo>
                      <a:lnTo>
                        <a:pt x="2" y="5"/>
                      </a:lnTo>
                      <a:lnTo>
                        <a:pt x="2" y="5"/>
                      </a:lnTo>
                      <a:lnTo>
                        <a:pt x="4" y="9"/>
                      </a:lnTo>
                      <a:lnTo>
                        <a:pt x="7" y="9"/>
                      </a:lnTo>
                      <a:lnTo>
                        <a:pt x="9" y="9"/>
                      </a:lnTo>
                      <a:lnTo>
                        <a:pt x="7" y="5"/>
                      </a:lnTo>
                      <a:lnTo>
                        <a:pt x="9" y="2"/>
                      </a:lnTo>
                      <a:lnTo>
                        <a:pt x="9" y="2"/>
                      </a:lnTo>
                      <a:lnTo>
                        <a:pt x="9" y="2"/>
                      </a:lnTo>
                      <a:lnTo>
                        <a:pt x="9" y="0"/>
                      </a:lnTo>
                      <a:lnTo>
                        <a:pt x="7" y="0"/>
                      </a:lnTo>
                      <a:lnTo>
                        <a:pt x="4" y="2"/>
                      </a:lnTo>
                      <a:lnTo>
                        <a:pt x="0" y="5"/>
                      </a:lnTo>
                      <a:lnTo>
                        <a:pt x="0" y="5"/>
                      </a:lnTo>
                      <a:lnTo>
                        <a:pt x="0" y="5"/>
                      </a:lnTo>
                      <a:close/>
                      <a:moveTo>
                        <a:pt x="9" y="5"/>
                      </a:moveTo>
                      <a:lnTo>
                        <a:pt x="11" y="5"/>
                      </a:lnTo>
                      <a:lnTo>
                        <a:pt x="11" y="7"/>
                      </a:lnTo>
                      <a:lnTo>
                        <a:pt x="11" y="9"/>
                      </a:lnTo>
                      <a:lnTo>
                        <a:pt x="14" y="7"/>
                      </a:lnTo>
                      <a:lnTo>
                        <a:pt x="11" y="2"/>
                      </a:lnTo>
                      <a:lnTo>
                        <a:pt x="11" y="2"/>
                      </a:lnTo>
                      <a:lnTo>
                        <a:pt x="11" y="2"/>
                      </a:lnTo>
                      <a:lnTo>
                        <a:pt x="9" y="5"/>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Freeform 29">
                  <a:extLst>
                    <a:ext uri="{FF2B5EF4-FFF2-40B4-BE49-F238E27FC236}">
                      <a16:creationId xmlns:a16="http://schemas.microsoft.com/office/drawing/2014/main" id="{21DC236B-B046-25BB-2FA1-984C6CA3495B}"/>
                    </a:ext>
                  </a:extLst>
                </p:cNvPr>
                <p:cNvSpPr>
                  <a:spLocks noEditPoints="1"/>
                </p:cNvSpPr>
                <p:nvPr/>
              </p:nvSpPr>
              <p:spPr bwMode="auto">
                <a:xfrm>
                  <a:off x="3802" y="2348"/>
                  <a:ext cx="92" cy="164"/>
                </a:xfrm>
                <a:custGeom>
                  <a:avLst/>
                  <a:gdLst>
                    <a:gd name="T0" fmla="*/ 2 w 92"/>
                    <a:gd name="T1" fmla="*/ 8 h 164"/>
                    <a:gd name="T2" fmla="*/ 9 w 92"/>
                    <a:gd name="T3" fmla="*/ 10 h 164"/>
                    <a:gd name="T4" fmla="*/ 16 w 92"/>
                    <a:gd name="T5" fmla="*/ 8 h 164"/>
                    <a:gd name="T6" fmla="*/ 23 w 92"/>
                    <a:gd name="T7" fmla="*/ 8 h 164"/>
                    <a:gd name="T8" fmla="*/ 35 w 92"/>
                    <a:gd name="T9" fmla="*/ 0 h 164"/>
                    <a:gd name="T10" fmla="*/ 44 w 92"/>
                    <a:gd name="T11" fmla="*/ 5 h 164"/>
                    <a:gd name="T12" fmla="*/ 49 w 92"/>
                    <a:gd name="T13" fmla="*/ 8 h 164"/>
                    <a:gd name="T14" fmla="*/ 54 w 92"/>
                    <a:gd name="T15" fmla="*/ 17 h 164"/>
                    <a:gd name="T16" fmla="*/ 63 w 92"/>
                    <a:gd name="T17" fmla="*/ 19 h 164"/>
                    <a:gd name="T18" fmla="*/ 63 w 92"/>
                    <a:gd name="T19" fmla="*/ 22 h 164"/>
                    <a:gd name="T20" fmla="*/ 56 w 92"/>
                    <a:gd name="T21" fmla="*/ 24 h 164"/>
                    <a:gd name="T22" fmla="*/ 54 w 92"/>
                    <a:gd name="T23" fmla="*/ 27 h 164"/>
                    <a:gd name="T24" fmla="*/ 49 w 92"/>
                    <a:gd name="T25" fmla="*/ 29 h 164"/>
                    <a:gd name="T26" fmla="*/ 49 w 92"/>
                    <a:gd name="T27" fmla="*/ 34 h 164"/>
                    <a:gd name="T28" fmla="*/ 44 w 92"/>
                    <a:gd name="T29" fmla="*/ 38 h 164"/>
                    <a:gd name="T30" fmla="*/ 42 w 92"/>
                    <a:gd name="T31" fmla="*/ 43 h 164"/>
                    <a:gd name="T32" fmla="*/ 42 w 92"/>
                    <a:gd name="T33" fmla="*/ 50 h 164"/>
                    <a:gd name="T34" fmla="*/ 47 w 92"/>
                    <a:gd name="T35" fmla="*/ 57 h 164"/>
                    <a:gd name="T36" fmla="*/ 52 w 92"/>
                    <a:gd name="T37" fmla="*/ 62 h 164"/>
                    <a:gd name="T38" fmla="*/ 61 w 92"/>
                    <a:gd name="T39" fmla="*/ 72 h 164"/>
                    <a:gd name="T40" fmla="*/ 80 w 92"/>
                    <a:gd name="T41" fmla="*/ 86 h 164"/>
                    <a:gd name="T42" fmla="*/ 82 w 92"/>
                    <a:gd name="T43" fmla="*/ 93 h 164"/>
                    <a:gd name="T44" fmla="*/ 87 w 92"/>
                    <a:gd name="T45" fmla="*/ 102 h 164"/>
                    <a:gd name="T46" fmla="*/ 89 w 92"/>
                    <a:gd name="T47" fmla="*/ 109 h 164"/>
                    <a:gd name="T48" fmla="*/ 89 w 92"/>
                    <a:gd name="T49" fmla="*/ 117 h 164"/>
                    <a:gd name="T50" fmla="*/ 89 w 92"/>
                    <a:gd name="T51" fmla="*/ 119 h 164"/>
                    <a:gd name="T52" fmla="*/ 89 w 92"/>
                    <a:gd name="T53" fmla="*/ 124 h 164"/>
                    <a:gd name="T54" fmla="*/ 89 w 92"/>
                    <a:gd name="T55" fmla="*/ 131 h 164"/>
                    <a:gd name="T56" fmla="*/ 82 w 92"/>
                    <a:gd name="T57" fmla="*/ 138 h 164"/>
                    <a:gd name="T58" fmla="*/ 75 w 92"/>
                    <a:gd name="T59" fmla="*/ 143 h 164"/>
                    <a:gd name="T60" fmla="*/ 63 w 92"/>
                    <a:gd name="T61" fmla="*/ 145 h 164"/>
                    <a:gd name="T62" fmla="*/ 61 w 92"/>
                    <a:gd name="T63" fmla="*/ 143 h 164"/>
                    <a:gd name="T64" fmla="*/ 61 w 92"/>
                    <a:gd name="T65" fmla="*/ 147 h 164"/>
                    <a:gd name="T66" fmla="*/ 61 w 92"/>
                    <a:gd name="T67" fmla="*/ 150 h 164"/>
                    <a:gd name="T68" fmla="*/ 56 w 92"/>
                    <a:gd name="T69" fmla="*/ 152 h 164"/>
                    <a:gd name="T70" fmla="*/ 56 w 92"/>
                    <a:gd name="T71" fmla="*/ 154 h 164"/>
                    <a:gd name="T72" fmla="*/ 49 w 92"/>
                    <a:gd name="T73" fmla="*/ 159 h 164"/>
                    <a:gd name="T74" fmla="*/ 42 w 92"/>
                    <a:gd name="T75" fmla="*/ 164 h 164"/>
                    <a:gd name="T76" fmla="*/ 42 w 92"/>
                    <a:gd name="T77" fmla="*/ 162 h 164"/>
                    <a:gd name="T78" fmla="*/ 42 w 92"/>
                    <a:gd name="T79" fmla="*/ 157 h 164"/>
                    <a:gd name="T80" fmla="*/ 47 w 92"/>
                    <a:gd name="T81" fmla="*/ 147 h 164"/>
                    <a:gd name="T82" fmla="*/ 37 w 92"/>
                    <a:gd name="T83" fmla="*/ 147 h 164"/>
                    <a:gd name="T84" fmla="*/ 42 w 92"/>
                    <a:gd name="T85" fmla="*/ 143 h 164"/>
                    <a:gd name="T86" fmla="*/ 54 w 92"/>
                    <a:gd name="T87" fmla="*/ 140 h 164"/>
                    <a:gd name="T88" fmla="*/ 56 w 92"/>
                    <a:gd name="T89" fmla="*/ 136 h 164"/>
                    <a:gd name="T90" fmla="*/ 61 w 92"/>
                    <a:gd name="T91" fmla="*/ 128 h 164"/>
                    <a:gd name="T92" fmla="*/ 71 w 92"/>
                    <a:gd name="T93" fmla="*/ 119 h 164"/>
                    <a:gd name="T94" fmla="*/ 68 w 92"/>
                    <a:gd name="T95" fmla="*/ 105 h 164"/>
                    <a:gd name="T96" fmla="*/ 68 w 92"/>
                    <a:gd name="T97" fmla="*/ 98 h 164"/>
                    <a:gd name="T98" fmla="*/ 68 w 92"/>
                    <a:gd name="T99" fmla="*/ 88 h 164"/>
                    <a:gd name="T100" fmla="*/ 66 w 92"/>
                    <a:gd name="T101" fmla="*/ 81 h 164"/>
                    <a:gd name="T102" fmla="*/ 59 w 92"/>
                    <a:gd name="T103" fmla="*/ 76 h 164"/>
                    <a:gd name="T104" fmla="*/ 54 w 92"/>
                    <a:gd name="T105" fmla="*/ 72 h 164"/>
                    <a:gd name="T106" fmla="*/ 44 w 92"/>
                    <a:gd name="T107" fmla="*/ 64 h 164"/>
                    <a:gd name="T108" fmla="*/ 33 w 92"/>
                    <a:gd name="T109" fmla="*/ 55 h 164"/>
                    <a:gd name="T110" fmla="*/ 26 w 92"/>
                    <a:gd name="T111" fmla="*/ 48 h 164"/>
                    <a:gd name="T112" fmla="*/ 30 w 92"/>
                    <a:gd name="T113" fmla="*/ 43 h 164"/>
                    <a:gd name="T114" fmla="*/ 30 w 92"/>
                    <a:gd name="T115" fmla="*/ 34 h 164"/>
                    <a:gd name="T116" fmla="*/ 23 w 92"/>
                    <a:gd name="T117" fmla="*/ 29 h 164"/>
                    <a:gd name="T118" fmla="*/ 7 w 92"/>
                    <a:gd name="T119" fmla="*/ 22 h 164"/>
                    <a:gd name="T120" fmla="*/ 0 w 92"/>
                    <a:gd name="T121" fmla="*/ 12 h 164"/>
                    <a:gd name="T122" fmla="*/ 30 w 92"/>
                    <a:gd name="T123" fmla="*/ 147 h 164"/>
                    <a:gd name="T124" fmla="*/ 33 w 92"/>
                    <a:gd name="T125" fmla="*/ 145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2" h="164">
                      <a:moveTo>
                        <a:pt x="0" y="12"/>
                      </a:moveTo>
                      <a:lnTo>
                        <a:pt x="0" y="10"/>
                      </a:lnTo>
                      <a:lnTo>
                        <a:pt x="0" y="10"/>
                      </a:lnTo>
                      <a:lnTo>
                        <a:pt x="2" y="10"/>
                      </a:lnTo>
                      <a:lnTo>
                        <a:pt x="2" y="8"/>
                      </a:lnTo>
                      <a:lnTo>
                        <a:pt x="4" y="8"/>
                      </a:lnTo>
                      <a:lnTo>
                        <a:pt x="7" y="8"/>
                      </a:lnTo>
                      <a:lnTo>
                        <a:pt x="7" y="10"/>
                      </a:lnTo>
                      <a:lnTo>
                        <a:pt x="7" y="10"/>
                      </a:lnTo>
                      <a:lnTo>
                        <a:pt x="9" y="10"/>
                      </a:lnTo>
                      <a:lnTo>
                        <a:pt x="9" y="8"/>
                      </a:lnTo>
                      <a:lnTo>
                        <a:pt x="11" y="8"/>
                      </a:lnTo>
                      <a:lnTo>
                        <a:pt x="14" y="10"/>
                      </a:lnTo>
                      <a:lnTo>
                        <a:pt x="14" y="8"/>
                      </a:lnTo>
                      <a:lnTo>
                        <a:pt x="16" y="8"/>
                      </a:lnTo>
                      <a:lnTo>
                        <a:pt x="16" y="10"/>
                      </a:lnTo>
                      <a:lnTo>
                        <a:pt x="18" y="8"/>
                      </a:lnTo>
                      <a:lnTo>
                        <a:pt x="18" y="8"/>
                      </a:lnTo>
                      <a:lnTo>
                        <a:pt x="21" y="5"/>
                      </a:lnTo>
                      <a:lnTo>
                        <a:pt x="23" y="8"/>
                      </a:lnTo>
                      <a:lnTo>
                        <a:pt x="28" y="5"/>
                      </a:lnTo>
                      <a:lnTo>
                        <a:pt x="28" y="3"/>
                      </a:lnTo>
                      <a:lnTo>
                        <a:pt x="30" y="0"/>
                      </a:lnTo>
                      <a:lnTo>
                        <a:pt x="33" y="0"/>
                      </a:lnTo>
                      <a:lnTo>
                        <a:pt x="35" y="0"/>
                      </a:lnTo>
                      <a:lnTo>
                        <a:pt x="37" y="3"/>
                      </a:lnTo>
                      <a:lnTo>
                        <a:pt x="37" y="3"/>
                      </a:lnTo>
                      <a:lnTo>
                        <a:pt x="40" y="3"/>
                      </a:lnTo>
                      <a:lnTo>
                        <a:pt x="40" y="5"/>
                      </a:lnTo>
                      <a:lnTo>
                        <a:pt x="44" y="5"/>
                      </a:lnTo>
                      <a:lnTo>
                        <a:pt x="47" y="5"/>
                      </a:lnTo>
                      <a:lnTo>
                        <a:pt x="49" y="5"/>
                      </a:lnTo>
                      <a:lnTo>
                        <a:pt x="52" y="5"/>
                      </a:lnTo>
                      <a:lnTo>
                        <a:pt x="52" y="8"/>
                      </a:lnTo>
                      <a:lnTo>
                        <a:pt x="49" y="8"/>
                      </a:lnTo>
                      <a:lnTo>
                        <a:pt x="47" y="12"/>
                      </a:lnTo>
                      <a:lnTo>
                        <a:pt x="49" y="12"/>
                      </a:lnTo>
                      <a:lnTo>
                        <a:pt x="49" y="15"/>
                      </a:lnTo>
                      <a:lnTo>
                        <a:pt x="54" y="17"/>
                      </a:lnTo>
                      <a:lnTo>
                        <a:pt x="54" y="17"/>
                      </a:lnTo>
                      <a:lnTo>
                        <a:pt x="56" y="19"/>
                      </a:lnTo>
                      <a:lnTo>
                        <a:pt x="59" y="19"/>
                      </a:lnTo>
                      <a:lnTo>
                        <a:pt x="61" y="19"/>
                      </a:lnTo>
                      <a:lnTo>
                        <a:pt x="63" y="19"/>
                      </a:lnTo>
                      <a:lnTo>
                        <a:pt x="63" y="19"/>
                      </a:lnTo>
                      <a:lnTo>
                        <a:pt x="66" y="19"/>
                      </a:lnTo>
                      <a:lnTo>
                        <a:pt x="66" y="19"/>
                      </a:lnTo>
                      <a:lnTo>
                        <a:pt x="66" y="22"/>
                      </a:lnTo>
                      <a:lnTo>
                        <a:pt x="66" y="22"/>
                      </a:lnTo>
                      <a:lnTo>
                        <a:pt x="63" y="22"/>
                      </a:lnTo>
                      <a:lnTo>
                        <a:pt x="63" y="22"/>
                      </a:lnTo>
                      <a:lnTo>
                        <a:pt x="61" y="24"/>
                      </a:lnTo>
                      <a:lnTo>
                        <a:pt x="59" y="24"/>
                      </a:lnTo>
                      <a:lnTo>
                        <a:pt x="59" y="24"/>
                      </a:lnTo>
                      <a:lnTo>
                        <a:pt x="56" y="24"/>
                      </a:lnTo>
                      <a:lnTo>
                        <a:pt x="59" y="27"/>
                      </a:lnTo>
                      <a:lnTo>
                        <a:pt x="56" y="27"/>
                      </a:lnTo>
                      <a:lnTo>
                        <a:pt x="56" y="29"/>
                      </a:lnTo>
                      <a:lnTo>
                        <a:pt x="54" y="27"/>
                      </a:lnTo>
                      <a:lnTo>
                        <a:pt x="54" y="27"/>
                      </a:lnTo>
                      <a:lnTo>
                        <a:pt x="52" y="29"/>
                      </a:lnTo>
                      <a:lnTo>
                        <a:pt x="52" y="29"/>
                      </a:lnTo>
                      <a:lnTo>
                        <a:pt x="52" y="29"/>
                      </a:lnTo>
                      <a:lnTo>
                        <a:pt x="49" y="27"/>
                      </a:lnTo>
                      <a:lnTo>
                        <a:pt x="49" y="29"/>
                      </a:lnTo>
                      <a:lnTo>
                        <a:pt x="49" y="31"/>
                      </a:lnTo>
                      <a:lnTo>
                        <a:pt x="49" y="31"/>
                      </a:lnTo>
                      <a:lnTo>
                        <a:pt x="49" y="31"/>
                      </a:lnTo>
                      <a:lnTo>
                        <a:pt x="49" y="34"/>
                      </a:lnTo>
                      <a:lnTo>
                        <a:pt x="49" y="34"/>
                      </a:lnTo>
                      <a:lnTo>
                        <a:pt x="49" y="36"/>
                      </a:lnTo>
                      <a:lnTo>
                        <a:pt x="49" y="36"/>
                      </a:lnTo>
                      <a:lnTo>
                        <a:pt x="49" y="36"/>
                      </a:lnTo>
                      <a:lnTo>
                        <a:pt x="47" y="38"/>
                      </a:lnTo>
                      <a:lnTo>
                        <a:pt x="44" y="38"/>
                      </a:lnTo>
                      <a:lnTo>
                        <a:pt x="44" y="38"/>
                      </a:lnTo>
                      <a:lnTo>
                        <a:pt x="44" y="38"/>
                      </a:lnTo>
                      <a:lnTo>
                        <a:pt x="44" y="41"/>
                      </a:lnTo>
                      <a:lnTo>
                        <a:pt x="42" y="41"/>
                      </a:lnTo>
                      <a:lnTo>
                        <a:pt x="42" y="43"/>
                      </a:lnTo>
                      <a:lnTo>
                        <a:pt x="42" y="43"/>
                      </a:lnTo>
                      <a:lnTo>
                        <a:pt x="42" y="45"/>
                      </a:lnTo>
                      <a:lnTo>
                        <a:pt x="44" y="45"/>
                      </a:lnTo>
                      <a:lnTo>
                        <a:pt x="42" y="48"/>
                      </a:lnTo>
                      <a:lnTo>
                        <a:pt x="42" y="50"/>
                      </a:lnTo>
                      <a:lnTo>
                        <a:pt x="44" y="53"/>
                      </a:lnTo>
                      <a:lnTo>
                        <a:pt x="42" y="53"/>
                      </a:lnTo>
                      <a:lnTo>
                        <a:pt x="42" y="55"/>
                      </a:lnTo>
                      <a:lnTo>
                        <a:pt x="42" y="55"/>
                      </a:lnTo>
                      <a:lnTo>
                        <a:pt x="47" y="57"/>
                      </a:lnTo>
                      <a:lnTo>
                        <a:pt x="49" y="60"/>
                      </a:lnTo>
                      <a:lnTo>
                        <a:pt x="52" y="60"/>
                      </a:lnTo>
                      <a:lnTo>
                        <a:pt x="52" y="62"/>
                      </a:lnTo>
                      <a:lnTo>
                        <a:pt x="52" y="62"/>
                      </a:lnTo>
                      <a:lnTo>
                        <a:pt x="52" y="62"/>
                      </a:lnTo>
                      <a:lnTo>
                        <a:pt x="52" y="64"/>
                      </a:lnTo>
                      <a:lnTo>
                        <a:pt x="54" y="67"/>
                      </a:lnTo>
                      <a:lnTo>
                        <a:pt x="59" y="69"/>
                      </a:lnTo>
                      <a:lnTo>
                        <a:pt x="61" y="72"/>
                      </a:lnTo>
                      <a:lnTo>
                        <a:pt x="61" y="72"/>
                      </a:lnTo>
                      <a:lnTo>
                        <a:pt x="66" y="74"/>
                      </a:lnTo>
                      <a:lnTo>
                        <a:pt x="73" y="79"/>
                      </a:lnTo>
                      <a:lnTo>
                        <a:pt x="73" y="81"/>
                      </a:lnTo>
                      <a:lnTo>
                        <a:pt x="78" y="83"/>
                      </a:lnTo>
                      <a:lnTo>
                        <a:pt x="80" y="86"/>
                      </a:lnTo>
                      <a:lnTo>
                        <a:pt x="80" y="88"/>
                      </a:lnTo>
                      <a:lnTo>
                        <a:pt x="80" y="88"/>
                      </a:lnTo>
                      <a:lnTo>
                        <a:pt x="80" y="91"/>
                      </a:lnTo>
                      <a:lnTo>
                        <a:pt x="82" y="93"/>
                      </a:lnTo>
                      <a:lnTo>
                        <a:pt x="82" y="93"/>
                      </a:lnTo>
                      <a:lnTo>
                        <a:pt x="85" y="93"/>
                      </a:lnTo>
                      <a:lnTo>
                        <a:pt x="82" y="95"/>
                      </a:lnTo>
                      <a:lnTo>
                        <a:pt x="85" y="98"/>
                      </a:lnTo>
                      <a:lnTo>
                        <a:pt x="85" y="100"/>
                      </a:lnTo>
                      <a:lnTo>
                        <a:pt x="87" y="102"/>
                      </a:lnTo>
                      <a:lnTo>
                        <a:pt x="87" y="105"/>
                      </a:lnTo>
                      <a:lnTo>
                        <a:pt x="87" y="105"/>
                      </a:lnTo>
                      <a:lnTo>
                        <a:pt x="89" y="107"/>
                      </a:lnTo>
                      <a:lnTo>
                        <a:pt x="87" y="107"/>
                      </a:lnTo>
                      <a:lnTo>
                        <a:pt x="89" y="109"/>
                      </a:lnTo>
                      <a:lnTo>
                        <a:pt x="87" y="109"/>
                      </a:lnTo>
                      <a:lnTo>
                        <a:pt x="89" y="114"/>
                      </a:lnTo>
                      <a:lnTo>
                        <a:pt x="89" y="114"/>
                      </a:lnTo>
                      <a:lnTo>
                        <a:pt x="89" y="114"/>
                      </a:lnTo>
                      <a:lnTo>
                        <a:pt x="89" y="117"/>
                      </a:lnTo>
                      <a:lnTo>
                        <a:pt x="92" y="119"/>
                      </a:lnTo>
                      <a:lnTo>
                        <a:pt x="92" y="119"/>
                      </a:lnTo>
                      <a:lnTo>
                        <a:pt x="92" y="119"/>
                      </a:lnTo>
                      <a:lnTo>
                        <a:pt x="92" y="119"/>
                      </a:lnTo>
                      <a:lnTo>
                        <a:pt x="89" y="119"/>
                      </a:lnTo>
                      <a:lnTo>
                        <a:pt x="89" y="119"/>
                      </a:lnTo>
                      <a:lnTo>
                        <a:pt x="89" y="121"/>
                      </a:lnTo>
                      <a:lnTo>
                        <a:pt x="89" y="121"/>
                      </a:lnTo>
                      <a:lnTo>
                        <a:pt x="89" y="121"/>
                      </a:lnTo>
                      <a:lnTo>
                        <a:pt x="89" y="124"/>
                      </a:lnTo>
                      <a:lnTo>
                        <a:pt x="89" y="124"/>
                      </a:lnTo>
                      <a:lnTo>
                        <a:pt x="87" y="126"/>
                      </a:lnTo>
                      <a:lnTo>
                        <a:pt x="89" y="128"/>
                      </a:lnTo>
                      <a:lnTo>
                        <a:pt x="87" y="128"/>
                      </a:lnTo>
                      <a:lnTo>
                        <a:pt x="89" y="131"/>
                      </a:lnTo>
                      <a:lnTo>
                        <a:pt x="87" y="131"/>
                      </a:lnTo>
                      <a:lnTo>
                        <a:pt x="87" y="133"/>
                      </a:lnTo>
                      <a:lnTo>
                        <a:pt x="85" y="136"/>
                      </a:lnTo>
                      <a:lnTo>
                        <a:pt x="85" y="136"/>
                      </a:lnTo>
                      <a:lnTo>
                        <a:pt x="82" y="138"/>
                      </a:lnTo>
                      <a:lnTo>
                        <a:pt x="80" y="138"/>
                      </a:lnTo>
                      <a:lnTo>
                        <a:pt x="78" y="140"/>
                      </a:lnTo>
                      <a:lnTo>
                        <a:pt x="78" y="140"/>
                      </a:lnTo>
                      <a:lnTo>
                        <a:pt x="75" y="140"/>
                      </a:lnTo>
                      <a:lnTo>
                        <a:pt x="75" y="143"/>
                      </a:lnTo>
                      <a:lnTo>
                        <a:pt x="71" y="145"/>
                      </a:lnTo>
                      <a:lnTo>
                        <a:pt x="66" y="145"/>
                      </a:lnTo>
                      <a:lnTo>
                        <a:pt x="66" y="145"/>
                      </a:lnTo>
                      <a:lnTo>
                        <a:pt x="63" y="145"/>
                      </a:lnTo>
                      <a:lnTo>
                        <a:pt x="63" y="145"/>
                      </a:lnTo>
                      <a:lnTo>
                        <a:pt x="63" y="143"/>
                      </a:lnTo>
                      <a:lnTo>
                        <a:pt x="63" y="143"/>
                      </a:lnTo>
                      <a:lnTo>
                        <a:pt x="63" y="143"/>
                      </a:lnTo>
                      <a:lnTo>
                        <a:pt x="61" y="145"/>
                      </a:lnTo>
                      <a:lnTo>
                        <a:pt x="61" y="143"/>
                      </a:lnTo>
                      <a:lnTo>
                        <a:pt x="61" y="145"/>
                      </a:lnTo>
                      <a:lnTo>
                        <a:pt x="61" y="145"/>
                      </a:lnTo>
                      <a:lnTo>
                        <a:pt x="61" y="145"/>
                      </a:lnTo>
                      <a:lnTo>
                        <a:pt x="59" y="145"/>
                      </a:lnTo>
                      <a:lnTo>
                        <a:pt x="61" y="147"/>
                      </a:lnTo>
                      <a:lnTo>
                        <a:pt x="61" y="147"/>
                      </a:lnTo>
                      <a:lnTo>
                        <a:pt x="63" y="150"/>
                      </a:lnTo>
                      <a:lnTo>
                        <a:pt x="61" y="150"/>
                      </a:lnTo>
                      <a:lnTo>
                        <a:pt x="59" y="147"/>
                      </a:lnTo>
                      <a:lnTo>
                        <a:pt x="61" y="150"/>
                      </a:lnTo>
                      <a:lnTo>
                        <a:pt x="61" y="152"/>
                      </a:lnTo>
                      <a:lnTo>
                        <a:pt x="59" y="152"/>
                      </a:lnTo>
                      <a:lnTo>
                        <a:pt x="59" y="152"/>
                      </a:lnTo>
                      <a:lnTo>
                        <a:pt x="56" y="152"/>
                      </a:lnTo>
                      <a:lnTo>
                        <a:pt x="56" y="152"/>
                      </a:lnTo>
                      <a:lnTo>
                        <a:pt x="56" y="152"/>
                      </a:lnTo>
                      <a:lnTo>
                        <a:pt x="56" y="154"/>
                      </a:lnTo>
                      <a:lnTo>
                        <a:pt x="56" y="154"/>
                      </a:lnTo>
                      <a:lnTo>
                        <a:pt x="56" y="154"/>
                      </a:lnTo>
                      <a:lnTo>
                        <a:pt x="56" y="154"/>
                      </a:lnTo>
                      <a:lnTo>
                        <a:pt x="54" y="154"/>
                      </a:lnTo>
                      <a:lnTo>
                        <a:pt x="52" y="157"/>
                      </a:lnTo>
                      <a:lnTo>
                        <a:pt x="52" y="157"/>
                      </a:lnTo>
                      <a:lnTo>
                        <a:pt x="49" y="157"/>
                      </a:lnTo>
                      <a:lnTo>
                        <a:pt x="49" y="159"/>
                      </a:lnTo>
                      <a:lnTo>
                        <a:pt x="49" y="162"/>
                      </a:lnTo>
                      <a:lnTo>
                        <a:pt x="47" y="162"/>
                      </a:lnTo>
                      <a:lnTo>
                        <a:pt x="47" y="162"/>
                      </a:lnTo>
                      <a:lnTo>
                        <a:pt x="47" y="162"/>
                      </a:lnTo>
                      <a:lnTo>
                        <a:pt x="42" y="164"/>
                      </a:lnTo>
                      <a:lnTo>
                        <a:pt x="40" y="164"/>
                      </a:lnTo>
                      <a:lnTo>
                        <a:pt x="42" y="164"/>
                      </a:lnTo>
                      <a:lnTo>
                        <a:pt x="42" y="162"/>
                      </a:lnTo>
                      <a:lnTo>
                        <a:pt x="44" y="162"/>
                      </a:lnTo>
                      <a:lnTo>
                        <a:pt x="42" y="162"/>
                      </a:lnTo>
                      <a:lnTo>
                        <a:pt x="42" y="162"/>
                      </a:lnTo>
                      <a:lnTo>
                        <a:pt x="42" y="157"/>
                      </a:lnTo>
                      <a:lnTo>
                        <a:pt x="42" y="157"/>
                      </a:lnTo>
                      <a:lnTo>
                        <a:pt x="42" y="157"/>
                      </a:lnTo>
                      <a:lnTo>
                        <a:pt x="42" y="157"/>
                      </a:lnTo>
                      <a:lnTo>
                        <a:pt x="42" y="152"/>
                      </a:lnTo>
                      <a:lnTo>
                        <a:pt x="42" y="150"/>
                      </a:lnTo>
                      <a:lnTo>
                        <a:pt x="47" y="147"/>
                      </a:lnTo>
                      <a:lnTo>
                        <a:pt x="47" y="147"/>
                      </a:lnTo>
                      <a:lnTo>
                        <a:pt x="47" y="147"/>
                      </a:lnTo>
                      <a:lnTo>
                        <a:pt x="44" y="147"/>
                      </a:lnTo>
                      <a:lnTo>
                        <a:pt x="42" y="147"/>
                      </a:lnTo>
                      <a:lnTo>
                        <a:pt x="40" y="147"/>
                      </a:lnTo>
                      <a:lnTo>
                        <a:pt x="40" y="147"/>
                      </a:lnTo>
                      <a:lnTo>
                        <a:pt x="37" y="147"/>
                      </a:lnTo>
                      <a:lnTo>
                        <a:pt x="37" y="147"/>
                      </a:lnTo>
                      <a:lnTo>
                        <a:pt x="37" y="145"/>
                      </a:lnTo>
                      <a:lnTo>
                        <a:pt x="37" y="145"/>
                      </a:lnTo>
                      <a:lnTo>
                        <a:pt x="40" y="143"/>
                      </a:lnTo>
                      <a:lnTo>
                        <a:pt x="42" y="143"/>
                      </a:lnTo>
                      <a:lnTo>
                        <a:pt x="42" y="138"/>
                      </a:lnTo>
                      <a:lnTo>
                        <a:pt x="44" y="138"/>
                      </a:lnTo>
                      <a:lnTo>
                        <a:pt x="47" y="140"/>
                      </a:lnTo>
                      <a:lnTo>
                        <a:pt x="52" y="138"/>
                      </a:lnTo>
                      <a:lnTo>
                        <a:pt x="54" y="140"/>
                      </a:lnTo>
                      <a:lnTo>
                        <a:pt x="54" y="140"/>
                      </a:lnTo>
                      <a:lnTo>
                        <a:pt x="59" y="140"/>
                      </a:lnTo>
                      <a:lnTo>
                        <a:pt x="56" y="138"/>
                      </a:lnTo>
                      <a:lnTo>
                        <a:pt x="56" y="138"/>
                      </a:lnTo>
                      <a:lnTo>
                        <a:pt x="56" y="136"/>
                      </a:lnTo>
                      <a:lnTo>
                        <a:pt x="54" y="136"/>
                      </a:lnTo>
                      <a:lnTo>
                        <a:pt x="52" y="131"/>
                      </a:lnTo>
                      <a:lnTo>
                        <a:pt x="54" y="128"/>
                      </a:lnTo>
                      <a:lnTo>
                        <a:pt x="59" y="128"/>
                      </a:lnTo>
                      <a:lnTo>
                        <a:pt x="61" y="128"/>
                      </a:lnTo>
                      <a:lnTo>
                        <a:pt x="63" y="126"/>
                      </a:lnTo>
                      <a:lnTo>
                        <a:pt x="66" y="124"/>
                      </a:lnTo>
                      <a:lnTo>
                        <a:pt x="66" y="124"/>
                      </a:lnTo>
                      <a:lnTo>
                        <a:pt x="68" y="124"/>
                      </a:lnTo>
                      <a:lnTo>
                        <a:pt x="71" y="119"/>
                      </a:lnTo>
                      <a:lnTo>
                        <a:pt x="71" y="117"/>
                      </a:lnTo>
                      <a:lnTo>
                        <a:pt x="71" y="114"/>
                      </a:lnTo>
                      <a:lnTo>
                        <a:pt x="71" y="112"/>
                      </a:lnTo>
                      <a:lnTo>
                        <a:pt x="71" y="109"/>
                      </a:lnTo>
                      <a:lnTo>
                        <a:pt x="68" y="105"/>
                      </a:lnTo>
                      <a:lnTo>
                        <a:pt x="66" y="105"/>
                      </a:lnTo>
                      <a:lnTo>
                        <a:pt x="66" y="102"/>
                      </a:lnTo>
                      <a:lnTo>
                        <a:pt x="66" y="102"/>
                      </a:lnTo>
                      <a:lnTo>
                        <a:pt x="68" y="100"/>
                      </a:lnTo>
                      <a:lnTo>
                        <a:pt x="68" y="98"/>
                      </a:lnTo>
                      <a:lnTo>
                        <a:pt x="66" y="95"/>
                      </a:lnTo>
                      <a:lnTo>
                        <a:pt x="66" y="93"/>
                      </a:lnTo>
                      <a:lnTo>
                        <a:pt x="68" y="91"/>
                      </a:lnTo>
                      <a:lnTo>
                        <a:pt x="68" y="88"/>
                      </a:lnTo>
                      <a:lnTo>
                        <a:pt x="68" y="88"/>
                      </a:lnTo>
                      <a:lnTo>
                        <a:pt x="66" y="86"/>
                      </a:lnTo>
                      <a:lnTo>
                        <a:pt x="66" y="83"/>
                      </a:lnTo>
                      <a:lnTo>
                        <a:pt x="68" y="83"/>
                      </a:lnTo>
                      <a:lnTo>
                        <a:pt x="68" y="81"/>
                      </a:lnTo>
                      <a:lnTo>
                        <a:pt x="66" y="81"/>
                      </a:lnTo>
                      <a:lnTo>
                        <a:pt x="63" y="81"/>
                      </a:lnTo>
                      <a:lnTo>
                        <a:pt x="63" y="81"/>
                      </a:lnTo>
                      <a:lnTo>
                        <a:pt x="61" y="79"/>
                      </a:lnTo>
                      <a:lnTo>
                        <a:pt x="59" y="79"/>
                      </a:lnTo>
                      <a:lnTo>
                        <a:pt x="59" y="76"/>
                      </a:lnTo>
                      <a:lnTo>
                        <a:pt x="59" y="76"/>
                      </a:lnTo>
                      <a:lnTo>
                        <a:pt x="56" y="76"/>
                      </a:lnTo>
                      <a:lnTo>
                        <a:pt x="56" y="76"/>
                      </a:lnTo>
                      <a:lnTo>
                        <a:pt x="56" y="74"/>
                      </a:lnTo>
                      <a:lnTo>
                        <a:pt x="54" y="72"/>
                      </a:lnTo>
                      <a:lnTo>
                        <a:pt x="52" y="72"/>
                      </a:lnTo>
                      <a:lnTo>
                        <a:pt x="49" y="72"/>
                      </a:lnTo>
                      <a:lnTo>
                        <a:pt x="49" y="69"/>
                      </a:lnTo>
                      <a:lnTo>
                        <a:pt x="44" y="64"/>
                      </a:lnTo>
                      <a:lnTo>
                        <a:pt x="44" y="64"/>
                      </a:lnTo>
                      <a:lnTo>
                        <a:pt x="42" y="60"/>
                      </a:lnTo>
                      <a:lnTo>
                        <a:pt x="40" y="60"/>
                      </a:lnTo>
                      <a:lnTo>
                        <a:pt x="37" y="55"/>
                      </a:lnTo>
                      <a:lnTo>
                        <a:pt x="35" y="55"/>
                      </a:lnTo>
                      <a:lnTo>
                        <a:pt x="33" y="55"/>
                      </a:lnTo>
                      <a:lnTo>
                        <a:pt x="28" y="53"/>
                      </a:lnTo>
                      <a:lnTo>
                        <a:pt x="26" y="50"/>
                      </a:lnTo>
                      <a:lnTo>
                        <a:pt x="26" y="50"/>
                      </a:lnTo>
                      <a:lnTo>
                        <a:pt x="23" y="50"/>
                      </a:lnTo>
                      <a:lnTo>
                        <a:pt x="26" y="48"/>
                      </a:lnTo>
                      <a:lnTo>
                        <a:pt x="23" y="45"/>
                      </a:lnTo>
                      <a:lnTo>
                        <a:pt x="23" y="43"/>
                      </a:lnTo>
                      <a:lnTo>
                        <a:pt x="26" y="43"/>
                      </a:lnTo>
                      <a:lnTo>
                        <a:pt x="28" y="43"/>
                      </a:lnTo>
                      <a:lnTo>
                        <a:pt x="30" y="43"/>
                      </a:lnTo>
                      <a:lnTo>
                        <a:pt x="30" y="41"/>
                      </a:lnTo>
                      <a:lnTo>
                        <a:pt x="33" y="38"/>
                      </a:lnTo>
                      <a:lnTo>
                        <a:pt x="35" y="36"/>
                      </a:lnTo>
                      <a:lnTo>
                        <a:pt x="35" y="36"/>
                      </a:lnTo>
                      <a:lnTo>
                        <a:pt x="30" y="34"/>
                      </a:lnTo>
                      <a:lnTo>
                        <a:pt x="30" y="34"/>
                      </a:lnTo>
                      <a:lnTo>
                        <a:pt x="30" y="31"/>
                      </a:lnTo>
                      <a:lnTo>
                        <a:pt x="28" y="31"/>
                      </a:lnTo>
                      <a:lnTo>
                        <a:pt x="26" y="29"/>
                      </a:lnTo>
                      <a:lnTo>
                        <a:pt x="23" y="29"/>
                      </a:lnTo>
                      <a:lnTo>
                        <a:pt x="21" y="29"/>
                      </a:lnTo>
                      <a:lnTo>
                        <a:pt x="18" y="29"/>
                      </a:lnTo>
                      <a:lnTo>
                        <a:pt x="14" y="29"/>
                      </a:lnTo>
                      <a:lnTo>
                        <a:pt x="11" y="27"/>
                      </a:lnTo>
                      <a:lnTo>
                        <a:pt x="7" y="22"/>
                      </a:lnTo>
                      <a:lnTo>
                        <a:pt x="7" y="19"/>
                      </a:lnTo>
                      <a:lnTo>
                        <a:pt x="7" y="19"/>
                      </a:lnTo>
                      <a:lnTo>
                        <a:pt x="4" y="17"/>
                      </a:lnTo>
                      <a:lnTo>
                        <a:pt x="4" y="15"/>
                      </a:lnTo>
                      <a:lnTo>
                        <a:pt x="0" y="12"/>
                      </a:lnTo>
                      <a:lnTo>
                        <a:pt x="0" y="12"/>
                      </a:lnTo>
                      <a:lnTo>
                        <a:pt x="0" y="12"/>
                      </a:lnTo>
                      <a:close/>
                      <a:moveTo>
                        <a:pt x="30" y="145"/>
                      </a:moveTo>
                      <a:lnTo>
                        <a:pt x="30" y="147"/>
                      </a:lnTo>
                      <a:lnTo>
                        <a:pt x="30" y="147"/>
                      </a:lnTo>
                      <a:lnTo>
                        <a:pt x="33" y="150"/>
                      </a:lnTo>
                      <a:lnTo>
                        <a:pt x="33" y="150"/>
                      </a:lnTo>
                      <a:lnTo>
                        <a:pt x="33" y="145"/>
                      </a:lnTo>
                      <a:lnTo>
                        <a:pt x="33" y="145"/>
                      </a:lnTo>
                      <a:lnTo>
                        <a:pt x="33" y="145"/>
                      </a:lnTo>
                      <a:lnTo>
                        <a:pt x="30" y="145"/>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Freeform 30">
                  <a:extLst>
                    <a:ext uri="{FF2B5EF4-FFF2-40B4-BE49-F238E27FC236}">
                      <a16:creationId xmlns:a16="http://schemas.microsoft.com/office/drawing/2014/main" id="{ED08323A-F4D5-B948-E65E-307A896E8F98}"/>
                    </a:ext>
                  </a:extLst>
                </p:cNvPr>
                <p:cNvSpPr>
                  <a:spLocks/>
                </p:cNvSpPr>
                <p:nvPr/>
              </p:nvSpPr>
              <p:spPr bwMode="auto">
                <a:xfrm>
                  <a:off x="3813" y="2446"/>
                  <a:ext cx="60" cy="47"/>
                </a:xfrm>
                <a:custGeom>
                  <a:avLst/>
                  <a:gdLst>
                    <a:gd name="T0" fmla="*/ 29 w 60"/>
                    <a:gd name="T1" fmla="*/ 45 h 47"/>
                    <a:gd name="T2" fmla="*/ 31 w 60"/>
                    <a:gd name="T3" fmla="*/ 40 h 47"/>
                    <a:gd name="T4" fmla="*/ 36 w 60"/>
                    <a:gd name="T5" fmla="*/ 42 h 47"/>
                    <a:gd name="T6" fmla="*/ 43 w 60"/>
                    <a:gd name="T7" fmla="*/ 42 h 47"/>
                    <a:gd name="T8" fmla="*/ 48 w 60"/>
                    <a:gd name="T9" fmla="*/ 42 h 47"/>
                    <a:gd name="T10" fmla="*/ 45 w 60"/>
                    <a:gd name="T11" fmla="*/ 40 h 47"/>
                    <a:gd name="T12" fmla="*/ 43 w 60"/>
                    <a:gd name="T13" fmla="*/ 38 h 47"/>
                    <a:gd name="T14" fmla="*/ 43 w 60"/>
                    <a:gd name="T15" fmla="*/ 30 h 47"/>
                    <a:gd name="T16" fmla="*/ 50 w 60"/>
                    <a:gd name="T17" fmla="*/ 30 h 47"/>
                    <a:gd name="T18" fmla="*/ 55 w 60"/>
                    <a:gd name="T19" fmla="*/ 26 h 47"/>
                    <a:gd name="T20" fmla="*/ 57 w 60"/>
                    <a:gd name="T21" fmla="*/ 26 h 47"/>
                    <a:gd name="T22" fmla="*/ 60 w 60"/>
                    <a:gd name="T23" fmla="*/ 19 h 47"/>
                    <a:gd name="T24" fmla="*/ 60 w 60"/>
                    <a:gd name="T25" fmla="*/ 14 h 47"/>
                    <a:gd name="T26" fmla="*/ 57 w 60"/>
                    <a:gd name="T27" fmla="*/ 7 h 47"/>
                    <a:gd name="T28" fmla="*/ 55 w 60"/>
                    <a:gd name="T29" fmla="*/ 4 h 47"/>
                    <a:gd name="T30" fmla="*/ 50 w 60"/>
                    <a:gd name="T31" fmla="*/ 2 h 47"/>
                    <a:gd name="T32" fmla="*/ 48 w 60"/>
                    <a:gd name="T33" fmla="*/ 0 h 47"/>
                    <a:gd name="T34" fmla="*/ 41 w 60"/>
                    <a:gd name="T35" fmla="*/ 2 h 47"/>
                    <a:gd name="T36" fmla="*/ 43 w 60"/>
                    <a:gd name="T37" fmla="*/ 7 h 47"/>
                    <a:gd name="T38" fmla="*/ 43 w 60"/>
                    <a:gd name="T39" fmla="*/ 9 h 47"/>
                    <a:gd name="T40" fmla="*/ 38 w 60"/>
                    <a:gd name="T41" fmla="*/ 7 h 47"/>
                    <a:gd name="T42" fmla="*/ 33 w 60"/>
                    <a:gd name="T43" fmla="*/ 4 h 47"/>
                    <a:gd name="T44" fmla="*/ 31 w 60"/>
                    <a:gd name="T45" fmla="*/ 2 h 47"/>
                    <a:gd name="T46" fmla="*/ 24 w 60"/>
                    <a:gd name="T47" fmla="*/ 2 h 47"/>
                    <a:gd name="T48" fmla="*/ 19 w 60"/>
                    <a:gd name="T49" fmla="*/ 2 h 47"/>
                    <a:gd name="T50" fmla="*/ 17 w 60"/>
                    <a:gd name="T51" fmla="*/ 2 h 47"/>
                    <a:gd name="T52" fmla="*/ 7 w 60"/>
                    <a:gd name="T53" fmla="*/ 2 h 47"/>
                    <a:gd name="T54" fmla="*/ 3 w 60"/>
                    <a:gd name="T55" fmla="*/ 7 h 47"/>
                    <a:gd name="T56" fmla="*/ 0 w 60"/>
                    <a:gd name="T57" fmla="*/ 11 h 47"/>
                    <a:gd name="T58" fmla="*/ 0 w 60"/>
                    <a:gd name="T59" fmla="*/ 19 h 47"/>
                    <a:gd name="T60" fmla="*/ 5 w 60"/>
                    <a:gd name="T61" fmla="*/ 23 h 47"/>
                    <a:gd name="T62" fmla="*/ 3 w 60"/>
                    <a:gd name="T63" fmla="*/ 28 h 47"/>
                    <a:gd name="T64" fmla="*/ 5 w 60"/>
                    <a:gd name="T65" fmla="*/ 30 h 47"/>
                    <a:gd name="T66" fmla="*/ 7 w 60"/>
                    <a:gd name="T67" fmla="*/ 33 h 47"/>
                    <a:gd name="T68" fmla="*/ 7 w 60"/>
                    <a:gd name="T69" fmla="*/ 38 h 47"/>
                    <a:gd name="T70" fmla="*/ 10 w 60"/>
                    <a:gd name="T71" fmla="*/ 38 h 47"/>
                    <a:gd name="T72" fmla="*/ 10 w 60"/>
                    <a:gd name="T73" fmla="*/ 40 h 47"/>
                    <a:gd name="T74" fmla="*/ 12 w 60"/>
                    <a:gd name="T75" fmla="*/ 42 h 47"/>
                    <a:gd name="T76" fmla="*/ 15 w 60"/>
                    <a:gd name="T77" fmla="*/ 40 h 47"/>
                    <a:gd name="T78" fmla="*/ 17 w 60"/>
                    <a:gd name="T79" fmla="*/ 38 h 47"/>
                    <a:gd name="T80" fmla="*/ 17 w 60"/>
                    <a:gd name="T81" fmla="*/ 42 h 47"/>
                    <a:gd name="T82" fmla="*/ 15 w 60"/>
                    <a:gd name="T83" fmla="*/ 45 h 47"/>
                    <a:gd name="T84" fmla="*/ 17 w 60"/>
                    <a:gd name="T85" fmla="*/ 47 h 47"/>
                    <a:gd name="T86" fmla="*/ 19 w 60"/>
                    <a:gd name="T87" fmla="*/ 45 h 47"/>
                    <a:gd name="T88" fmla="*/ 22 w 60"/>
                    <a:gd name="T89" fmla="*/ 45 h 47"/>
                    <a:gd name="T90" fmla="*/ 24 w 60"/>
                    <a:gd name="T91" fmla="*/ 4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0" h="47">
                      <a:moveTo>
                        <a:pt x="26" y="47"/>
                      </a:moveTo>
                      <a:lnTo>
                        <a:pt x="29" y="45"/>
                      </a:lnTo>
                      <a:lnTo>
                        <a:pt x="31" y="45"/>
                      </a:lnTo>
                      <a:lnTo>
                        <a:pt x="31" y="40"/>
                      </a:lnTo>
                      <a:lnTo>
                        <a:pt x="33" y="40"/>
                      </a:lnTo>
                      <a:lnTo>
                        <a:pt x="36" y="42"/>
                      </a:lnTo>
                      <a:lnTo>
                        <a:pt x="41" y="40"/>
                      </a:lnTo>
                      <a:lnTo>
                        <a:pt x="43" y="42"/>
                      </a:lnTo>
                      <a:lnTo>
                        <a:pt x="43" y="42"/>
                      </a:lnTo>
                      <a:lnTo>
                        <a:pt x="48" y="42"/>
                      </a:lnTo>
                      <a:lnTo>
                        <a:pt x="45" y="40"/>
                      </a:lnTo>
                      <a:lnTo>
                        <a:pt x="45" y="40"/>
                      </a:lnTo>
                      <a:lnTo>
                        <a:pt x="45" y="38"/>
                      </a:lnTo>
                      <a:lnTo>
                        <a:pt x="43" y="38"/>
                      </a:lnTo>
                      <a:lnTo>
                        <a:pt x="41" y="33"/>
                      </a:lnTo>
                      <a:lnTo>
                        <a:pt x="43" y="30"/>
                      </a:lnTo>
                      <a:lnTo>
                        <a:pt x="48" y="30"/>
                      </a:lnTo>
                      <a:lnTo>
                        <a:pt x="50" y="30"/>
                      </a:lnTo>
                      <a:lnTo>
                        <a:pt x="52" y="28"/>
                      </a:lnTo>
                      <a:lnTo>
                        <a:pt x="55" y="26"/>
                      </a:lnTo>
                      <a:lnTo>
                        <a:pt x="55" y="26"/>
                      </a:lnTo>
                      <a:lnTo>
                        <a:pt x="57" y="26"/>
                      </a:lnTo>
                      <a:lnTo>
                        <a:pt x="60" y="21"/>
                      </a:lnTo>
                      <a:lnTo>
                        <a:pt x="60" y="19"/>
                      </a:lnTo>
                      <a:lnTo>
                        <a:pt x="60" y="16"/>
                      </a:lnTo>
                      <a:lnTo>
                        <a:pt x="60" y="14"/>
                      </a:lnTo>
                      <a:lnTo>
                        <a:pt x="60" y="11"/>
                      </a:lnTo>
                      <a:lnTo>
                        <a:pt x="57" y="7"/>
                      </a:lnTo>
                      <a:lnTo>
                        <a:pt x="55" y="7"/>
                      </a:lnTo>
                      <a:lnTo>
                        <a:pt x="55" y="4"/>
                      </a:lnTo>
                      <a:lnTo>
                        <a:pt x="52" y="4"/>
                      </a:lnTo>
                      <a:lnTo>
                        <a:pt x="50" y="2"/>
                      </a:lnTo>
                      <a:lnTo>
                        <a:pt x="48" y="2"/>
                      </a:lnTo>
                      <a:lnTo>
                        <a:pt x="48" y="0"/>
                      </a:lnTo>
                      <a:lnTo>
                        <a:pt x="43" y="0"/>
                      </a:lnTo>
                      <a:lnTo>
                        <a:pt x="41" y="2"/>
                      </a:lnTo>
                      <a:lnTo>
                        <a:pt x="43" y="4"/>
                      </a:lnTo>
                      <a:lnTo>
                        <a:pt x="43" y="7"/>
                      </a:lnTo>
                      <a:lnTo>
                        <a:pt x="43" y="9"/>
                      </a:lnTo>
                      <a:lnTo>
                        <a:pt x="43" y="9"/>
                      </a:lnTo>
                      <a:lnTo>
                        <a:pt x="41" y="9"/>
                      </a:lnTo>
                      <a:lnTo>
                        <a:pt x="38" y="7"/>
                      </a:lnTo>
                      <a:lnTo>
                        <a:pt x="36" y="7"/>
                      </a:lnTo>
                      <a:lnTo>
                        <a:pt x="33" y="4"/>
                      </a:lnTo>
                      <a:lnTo>
                        <a:pt x="31" y="2"/>
                      </a:lnTo>
                      <a:lnTo>
                        <a:pt x="31" y="2"/>
                      </a:lnTo>
                      <a:lnTo>
                        <a:pt x="29" y="2"/>
                      </a:lnTo>
                      <a:lnTo>
                        <a:pt x="24" y="2"/>
                      </a:lnTo>
                      <a:lnTo>
                        <a:pt x="22" y="2"/>
                      </a:lnTo>
                      <a:lnTo>
                        <a:pt x="19" y="2"/>
                      </a:lnTo>
                      <a:lnTo>
                        <a:pt x="17" y="2"/>
                      </a:lnTo>
                      <a:lnTo>
                        <a:pt x="17" y="2"/>
                      </a:lnTo>
                      <a:lnTo>
                        <a:pt x="12" y="2"/>
                      </a:lnTo>
                      <a:lnTo>
                        <a:pt x="7" y="2"/>
                      </a:lnTo>
                      <a:lnTo>
                        <a:pt x="5" y="2"/>
                      </a:lnTo>
                      <a:lnTo>
                        <a:pt x="3" y="7"/>
                      </a:lnTo>
                      <a:lnTo>
                        <a:pt x="3" y="9"/>
                      </a:lnTo>
                      <a:lnTo>
                        <a:pt x="0" y="11"/>
                      </a:lnTo>
                      <a:lnTo>
                        <a:pt x="0" y="16"/>
                      </a:lnTo>
                      <a:lnTo>
                        <a:pt x="0" y="19"/>
                      </a:lnTo>
                      <a:lnTo>
                        <a:pt x="3" y="21"/>
                      </a:lnTo>
                      <a:lnTo>
                        <a:pt x="5" y="23"/>
                      </a:lnTo>
                      <a:lnTo>
                        <a:pt x="3" y="26"/>
                      </a:lnTo>
                      <a:lnTo>
                        <a:pt x="3" y="28"/>
                      </a:lnTo>
                      <a:lnTo>
                        <a:pt x="3" y="28"/>
                      </a:lnTo>
                      <a:lnTo>
                        <a:pt x="5" y="30"/>
                      </a:lnTo>
                      <a:lnTo>
                        <a:pt x="5" y="30"/>
                      </a:lnTo>
                      <a:lnTo>
                        <a:pt x="7" y="33"/>
                      </a:lnTo>
                      <a:lnTo>
                        <a:pt x="7" y="35"/>
                      </a:lnTo>
                      <a:lnTo>
                        <a:pt x="7" y="38"/>
                      </a:lnTo>
                      <a:lnTo>
                        <a:pt x="10" y="35"/>
                      </a:lnTo>
                      <a:lnTo>
                        <a:pt x="10" y="38"/>
                      </a:lnTo>
                      <a:lnTo>
                        <a:pt x="10" y="40"/>
                      </a:lnTo>
                      <a:lnTo>
                        <a:pt x="10" y="40"/>
                      </a:lnTo>
                      <a:lnTo>
                        <a:pt x="10" y="42"/>
                      </a:lnTo>
                      <a:lnTo>
                        <a:pt x="12" y="42"/>
                      </a:lnTo>
                      <a:lnTo>
                        <a:pt x="15" y="42"/>
                      </a:lnTo>
                      <a:lnTo>
                        <a:pt x="15" y="40"/>
                      </a:lnTo>
                      <a:lnTo>
                        <a:pt x="15" y="40"/>
                      </a:lnTo>
                      <a:lnTo>
                        <a:pt x="17" y="38"/>
                      </a:lnTo>
                      <a:lnTo>
                        <a:pt x="17" y="40"/>
                      </a:lnTo>
                      <a:lnTo>
                        <a:pt x="17" y="42"/>
                      </a:lnTo>
                      <a:lnTo>
                        <a:pt x="17" y="42"/>
                      </a:lnTo>
                      <a:lnTo>
                        <a:pt x="15" y="45"/>
                      </a:lnTo>
                      <a:lnTo>
                        <a:pt x="17" y="45"/>
                      </a:lnTo>
                      <a:lnTo>
                        <a:pt x="17" y="47"/>
                      </a:lnTo>
                      <a:lnTo>
                        <a:pt x="17" y="47"/>
                      </a:lnTo>
                      <a:lnTo>
                        <a:pt x="19" y="45"/>
                      </a:lnTo>
                      <a:lnTo>
                        <a:pt x="19" y="45"/>
                      </a:lnTo>
                      <a:lnTo>
                        <a:pt x="22" y="45"/>
                      </a:lnTo>
                      <a:lnTo>
                        <a:pt x="24" y="45"/>
                      </a:lnTo>
                      <a:lnTo>
                        <a:pt x="24" y="45"/>
                      </a:lnTo>
                      <a:lnTo>
                        <a:pt x="26" y="47"/>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Freeform 31">
                  <a:extLst>
                    <a:ext uri="{FF2B5EF4-FFF2-40B4-BE49-F238E27FC236}">
                      <a16:creationId xmlns:a16="http://schemas.microsoft.com/office/drawing/2014/main" id="{140DB0D5-CF4D-62AD-2682-8A1461B675E8}"/>
                    </a:ext>
                  </a:extLst>
                </p:cNvPr>
                <p:cNvSpPr>
                  <a:spLocks/>
                </p:cNvSpPr>
                <p:nvPr/>
              </p:nvSpPr>
              <p:spPr bwMode="auto">
                <a:xfrm>
                  <a:off x="3778" y="2360"/>
                  <a:ext cx="92" cy="95"/>
                </a:xfrm>
                <a:custGeom>
                  <a:avLst/>
                  <a:gdLst>
                    <a:gd name="T0" fmla="*/ 14 w 92"/>
                    <a:gd name="T1" fmla="*/ 12 h 95"/>
                    <a:gd name="T2" fmla="*/ 19 w 92"/>
                    <a:gd name="T3" fmla="*/ 10 h 95"/>
                    <a:gd name="T4" fmla="*/ 16 w 92"/>
                    <a:gd name="T5" fmla="*/ 3 h 95"/>
                    <a:gd name="T6" fmla="*/ 24 w 92"/>
                    <a:gd name="T7" fmla="*/ 0 h 95"/>
                    <a:gd name="T8" fmla="*/ 28 w 92"/>
                    <a:gd name="T9" fmla="*/ 5 h 95"/>
                    <a:gd name="T10" fmla="*/ 31 w 92"/>
                    <a:gd name="T11" fmla="*/ 10 h 95"/>
                    <a:gd name="T12" fmla="*/ 42 w 92"/>
                    <a:gd name="T13" fmla="*/ 17 h 95"/>
                    <a:gd name="T14" fmla="*/ 50 w 92"/>
                    <a:gd name="T15" fmla="*/ 17 h 95"/>
                    <a:gd name="T16" fmla="*/ 54 w 92"/>
                    <a:gd name="T17" fmla="*/ 22 h 95"/>
                    <a:gd name="T18" fmla="*/ 59 w 92"/>
                    <a:gd name="T19" fmla="*/ 24 h 95"/>
                    <a:gd name="T20" fmla="*/ 54 w 92"/>
                    <a:gd name="T21" fmla="*/ 31 h 95"/>
                    <a:gd name="T22" fmla="*/ 47 w 92"/>
                    <a:gd name="T23" fmla="*/ 31 h 95"/>
                    <a:gd name="T24" fmla="*/ 47 w 92"/>
                    <a:gd name="T25" fmla="*/ 38 h 95"/>
                    <a:gd name="T26" fmla="*/ 52 w 92"/>
                    <a:gd name="T27" fmla="*/ 41 h 95"/>
                    <a:gd name="T28" fmla="*/ 61 w 92"/>
                    <a:gd name="T29" fmla="*/ 43 h 95"/>
                    <a:gd name="T30" fmla="*/ 68 w 92"/>
                    <a:gd name="T31" fmla="*/ 52 h 95"/>
                    <a:gd name="T32" fmla="*/ 73 w 92"/>
                    <a:gd name="T33" fmla="*/ 60 h 95"/>
                    <a:gd name="T34" fmla="*/ 80 w 92"/>
                    <a:gd name="T35" fmla="*/ 62 h 95"/>
                    <a:gd name="T36" fmla="*/ 83 w 92"/>
                    <a:gd name="T37" fmla="*/ 64 h 95"/>
                    <a:gd name="T38" fmla="*/ 85 w 92"/>
                    <a:gd name="T39" fmla="*/ 67 h 95"/>
                    <a:gd name="T40" fmla="*/ 90 w 92"/>
                    <a:gd name="T41" fmla="*/ 69 h 95"/>
                    <a:gd name="T42" fmla="*/ 90 w 92"/>
                    <a:gd name="T43" fmla="*/ 71 h 95"/>
                    <a:gd name="T44" fmla="*/ 92 w 92"/>
                    <a:gd name="T45" fmla="*/ 76 h 95"/>
                    <a:gd name="T46" fmla="*/ 90 w 92"/>
                    <a:gd name="T47" fmla="*/ 83 h 95"/>
                    <a:gd name="T48" fmla="*/ 90 w 92"/>
                    <a:gd name="T49" fmla="*/ 90 h 95"/>
                    <a:gd name="T50" fmla="*/ 83 w 92"/>
                    <a:gd name="T51" fmla="*/ 88 h 95"/>
                    <a:gd name="T52" fmla="*/ 76 w 92"/>
                    <a:gd name="T53" fmla="*/ 88 h 95"/>
                    <a:gd name="T54" fmla="*/ 78 w 92"/>
                    <a:gd name="T55" fmla="*/ 95 h 95"/>
                    <a:gd name="T56" fmla="*/ 73 w 92"/>
                    <a:gd name="T57" fmla="*/ 93 h 95"/>
                    <a:gd name="T58" fmla="*/ 66 w 92"/>
                    <a:gd name="T59" fmla="*/ 88 h 95"/>
                    <a:gd name="T60" fmla="*/ 68 w 92"/>
                    <a:gd name="T61" fmla="*/ 83 h 95"/>
                    <a:gd name="T62" fmla="*/ 68 w 92"/>
                    <a:gd name="T63" fmla="*/ 79 h 95"/>
                    <a:gd name="T64" fmla="*/ 66 w 92"/>
                    <a:gd name="T65" fmla="*/ 71 h 95"/>
                    <a:gd name="T66" fmla="*/ 64 w 92"/>
                    <a:gd name="T67" fmla="*/ 71 h 95"/>
                    <a:gd name="T68" fmla="*/ 59 w 92"/>
                    <a:gd name="T69" fmla="*/ 64 h 95"/>
                    <a:gd name="T70" fmla="*/ 59 w 92"/>
                    <a:gd name="T71" fmla="*/ 60 h 95"/>
                    <a:gd name="T72" fmla="*/ 57 w 92"/>
                    <a:gd name="T73" fmla="*/ 52 h 95"/>
                    <a:gd name="T74" fmla="*/ 45 w 92"/>
                    <a:gd name="T75" fmla="*/ 45 h 95"/>
                    <a:gd name="T76" fmla="*/ 33 w 92"/>
                    <a:gd name="T77" fmla="*/ 52 h 95"/>
                    <a:gd name="T78" fmla="*/ 26 w 92"/>
                    <a:gd name="T79" fmla="*/ 48 h 95"/>
                    <a:gd name="T80" fmla="*/ 19 w 92"/>
                    <a:gd name="T81" fmla="*/ 52 h 95"/>
                    <a:gd name="T82" fmla="*/ 14 w 92"/>
                    <a:gd name="T83" fmla="*/ 43 h 95"/>
                    <a:gd name="T84" fmla="*/ 16 w 92"/>
                    <a:gd name="T85" fmla="*/ 38 h 95"/>
                    <a:gd name="T86" fmla="*/ 16 w 92"/>
                    <a:gd name="T87" fmla="*/ 33 h 95"/>
                    <a:gd name="T88" fmla="*/ 7 w 92"/>
                    <a:gd name="T89" fmla="*/ 33 h 95"/>
                    <a:gd name="T90" fmla="*/ 7 w 92"/>
                    <a:gd name="T91" fmla="*/ 26 h 95"/>
                    <a:gd name="T92" fmla="*/ 0 w 92"/>
                    <a:gd name="T93" fmla="*/ 22 h 95"/>
                    <a:gd name="T94" fmla="*/ 5 w 92"/>
                    <a:gd name="T95" fmla="*/ 17 h 95"/>
                    <a:gd name="T96" fmla="*/ 7 w 92"/>
                    <a:gd name="T97" fmla="*/ 1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2" h="95">
                      <a:moveTo>
                        <a:pt x="12" y="10"/>
                      </a:moveTo>
                      <a:lnTo>
                        <a:pt x="12" y="12"/>
                      </a:lnTo>
                      <a:lnTo>
                        <a:pt x="14" y="12"/>
                      </a:lnTo>
                      <a:lnTo>
                        <a:pt x="16" y="12"/>
                      </a:lnTo>
                      <a:lnTo>
                        <a:pt x="19" y="12"/>
                      </a:lnTo>
                      <a:lnTo>
                        <a:pt x="19" y="10"/>
                      </a:lnTo>
                      <a:lnTo>
                        <a:pt x="19" y="7"/>
                      </a:lnTo>
                      <a:lnTo>
                        <a:pt x="16" y="5"/>
                      </a:lnTo>
                      <a:lnTo>
                        <a:pt x="16" y="3"/>
                      </a:lnTo>
                      <a:lnTo>
                        <a:pt x="19" y="0"/>
                      </a:lnTo>
                      <a:lnTo>
                        <a:pt x="19" y="0"/>
                      </a:lnTo>
                      <a:lnTo>
                        <a:pt x="24" y="0"/>
                      </a:lnTo>
                      <a:lnTo>
                        <a:pt x="24" y="0"/>
                      </a:lnTo>
                      <a:lnTo>
                        <a:pt x="28" y="3"/>
                      </a:lnTo>
                      <a:lnTo>
                        <a:pt x="28" y="5"/>
                      </a:lnTo>
                      <a:lnTo>
                        <a:pt x="31" y="7"/>
                      </a:lnTo>
                      <a:lnTo>
                        <a:pt x="31" y="7"/>
                      </a:lnTo>
                      <a:lnTo>
                        <a:pt x="31" y="10"/>
                      </a:lnTo>
                      <a:lnTo>
                        <a:pt x="35" y="15"/>
                      </a:lnTo>
                      <a:lnTo>
                        <a:pt x="38" y="17"/>
                      </a:lnTo>
                      <a:lnTo>
                        <a:pt x="42" y="17"/>
                      </a:lnTo>
                      <a:lnTo>
                        <a:pt x="45" y="17"/>
                      </a:lnTo>
                      <a:lnTo>
                        <a:pt x="47" y="17"/>
                      </a:lnTo>
                      <a:lnTo>
                        <a:pt x="50" y="17"/>
                      </a:lnTo>
                      <a:lnTo>
                        <a:pt x="52" y="19"/>
                      </a:lnTo>
                      <a:lnTo>
                        <a:pt x="54" y="19"/>
                      </a:lnTo>
                      <a:lnTo>
                        <a:pt x="54" y="22"/>
                      </a:lnTo>
                      <a:lnTo>
                        <a:pt x="54" y="22"/>
                      </a:lnTo>
                      <a:lnTo>
                        <a:pt x="59" y="24"/>
                      </a:lnTo>
                      <a:lnTo>
                        <a:pt x="59" y="24"/>
                      </a:lnTo>
                      <a:lnTo>
                        <a:pt x="57" y="26"/>
                      </a:lnTo>
                      <a:lnTo>
                        <a:pt x="54" y="29"/>
                      </a:lnTo>
                      <a:lnTo>
                        <a:pt x="54" y="31"/>
                      </a:lnTo>
                      <a:lnTo>
                        <a:pt x="52" y="31"/>
                      </a:lnTo>
                      <a:lnTo>
                        <a:pt x="50" y="31"/>
                      </a:lnTo>
                      <a:lnTo>
                        <a:pt x="47" y="31"/>
                      </a:lnTo>
                      <a:lnTo>
                        <a:pt x="47" y="33"/>
                      </a:lnTo>
                      <a:lnTo>
                        <a:pt x="50" y="36"/>
                      </a:lnTo>
                      <a:lnTo>
                        <a:pt x="47" y="38"/>
                      </a:lnTo>
                      <a:lnTo>
                        <a:pt x="50" y="38"/>
                      </a:lnTo>
                      <a:lnTo>
                        <a:pt x="50" y="38"/>
                      </a:lnTo>
                      <a:lnTo>
                        <a:pt x="52" y="41"/>
                      </a:lnTo>
                      <a:lnTo>
                        <a:pt x="57" y="43"/>
                      </a:lnTo>
                      <a:lnTo>
                        <a:pt x="59" y="43"/>
                      </a:lnTo>
                      <a:lnTo>
                        <a:pt x="61" y="43"/>
                      </a:lnTo>
                      <a:lnTo>
                        <a:pt x="64" y="48"/>
                      </a:lnTo>
                      <a:lnTo>
                        <a:pt x="66" y="48"/>
                      </a:lnTo>
                      <a:lnTo>
                        <a:pt x="68" y="52"/>
                      </a:lnTo>
                      <a:lnTo>
                        <a:pt x="68" y="52"/>
                      </a:lnTo>
                      <a:lnTo>
                        <a:pt x="73" y="57"/>
                      </a:lnTo>
                      <a:lnTo>
                        <a:pt x="73" y="60"/>
                      </a:lnTo>
                      <a:lnTo>
                        <a:pt x="76" y="60"/>
                      </a:lnTo>
                      <a:lnTo>
                        <a:pt x="78" y="60"/>
                      </a:lnTo>
                      <a:lnTo>
                        <a:pt x="80" y="62"/>
                      </a:lnTo>
                      <a:lnTo>
                        <a:pt x="80" y="64"/>
                      </a:lnTo>
                      <a:lnTo>
                        <a:pt x="80" y="64"/>
                      </a:lnTo>
                      <a:lnTo>
                        <a:pt x="83" y="64"/>
                      </a:lnTo>
                      <a:lnTo>
                        <a:pt x="83" y="64"/>
                      </a:lnTo>
                      <a:lnTo>
                        <a:pt x="83" y="67"/>
                      </a:lnTo>
                      <a:lnTo>
                        <a:pt x="85" y="67"/>
                      </a:lnTo>
                      <a:lnTo>
                        <a:pt x="87" y="69"/>
                      </a:lnTo>
                      <a:lnTo>
                        <a:pt x="87" y="69"/>
                      </a:lnTo>
                      <a:lnTo>
                        <a:pt x="90" y="69"/>
                      </a:lnTo>
                      <a:lnTo>
                        <a:pt x="92" y="69"/>
                      </a:lnTo>
                      <a:lnTo>
                        <a:pt x="92" y="71"/>
                      </a:lnTo>
                      <a:lnTo>
                        <a:pt x="90" y="71"/>
                      </a:lnTo>
                      <a:lnTo>
                        <a:pt x="90" y="74"/>
                      </a:lnTo>
                      <a:lnTo>
                        <a:pt x="92" y="76"/>
                      </a:lnTo>
                      <a:lnTo>
                        <a:pt x="92" y="76"/>
                      </a:lnTo>
                      <a:lnTo>
                        <a:pt x="92" y="79"/>
                      </a:lnTo>
                      <a:lnTo>
                        <a:pt x="90" y="81"/>
                      </a:lnTo>
                      <a:lnTo>
                        <a:pt x="90" y="83"/>
                      </a:lnTo>
                      <a:lnTo>
                        <a:pt x="92" y="86"/>
                      </a:lnTo>
                      <a:lnTo>
                        <a:pt x="92" y="88"/>
                      </a:lnTo>
                      <a:lnTo>
                        <a:pt x="90" y="90"/>
                      </a:lnTo>
                      <a:lnTo>
                        <a:pt x="87" y="90"/>
                      </a:lnTo>
                      <a:lnTo>
                        <a:pt x="85" y="88"/>
                      </a:lnTo>
                      <a:lnTo>
                        <a:pt x="83" y="88"/>
                      </a:lnTo>
                      <a:lnTo>
                        <a:pt x="83" y="86"/>
                      </a:lnTo>
                      <a:lnTo>
                        <a:pt x="78" y="86"/>
                      </a:lnTo>
                      <a:lnTo>
                        <a:pt x="76" y="88"/>
                      </a:lnTo>
                      <a:lnTo>
                        <a:pt x="78" y="90"/>
                      </a:lnTo>
                      <a:lnTo>
                        <a:pt x="78" y="93"/>
                      </a:lnTo>
                      <a:lnTo>
                        <a:pt x="78" y="95"/>
                      </a:lnTo>
                      <a:lnTo>
                        <a:pt x="78" y="95"/>
                      </a:lnTo>
                      <a:lnTo>
                        <a:pt x="76" y="95"/>
                      </a:lnTo>
                      <a:lnTo>
                        <a:pt x="73" y="93"/>
                      </a:lnTo>
                      <a:lnTo>
                        <a:pt x="71" y="93"/>
                      </a:lnTo>
                      <a:lnTo>
                        <a:pt x="68" y="90"/>
                      </a:lnTo>
                      <a:lnTo>
                        <a:pt x="66" y="88"/>
                      </a:lnTo>
                      <a:lnTo>
                        <a:pt x="68" y="88"/>
                      </a:lnTo>
                      <a:lnTo>
                        <a:pt x="68" y="86"/>
                      </a:lnTo>
                      <a:lnTo>
                        <a:pt x="68" y="83"/>
                      </a:lnTo>
                      <a:lnTo>
                        <a:pt x="68" y="81"/>
                      </a:lnTo>
                      <a:lnTo>
                        <a:pt x="68" y="79"/>
                      </a:lnTo>
                      <a:lnTo>
                        <a:pt x="68" y="79"/>
                      </a:lnTo>
                      <a:lnTo>
                        <a:pt x="71" y="76"/>
                      </a:lnTo>
                      <a:lnTo>
                        <a:pt x="68" y="74"/>
                      </a:lnTo>
                      <a:lnTo>
                        <a:pt x="66" y="71"/>
                      </a:lnTo>
                      <a:lnTo>
                        <a:pt x="68" y="71"/>
                      </a:lnTo>
                      <a:lnTo>
                        <a:pt x="66" y="71"/>
                      </a:lnTo>
                      <a:lnTo>
                        <a:pt x="64" y="71"/>
                      </a:lnTo>
                      <a:lnTo>
                        <a:pt x="61" y="69"/>
                      </a:lnTo>
                      <a:lnTo>
                        <a:pt x="59" y="67"/>
                      </a:lnTo>
                      <a:lnTo>
                        <a:pt x="59" y="64"/>
                      </a:lnTo>
                      <a:lnTo>
                        <a:pt x="59" y="62"/>
                      </a:lnTo>
                      <a:lnTo>
                        <a:pt x="59" y="60"/>
                      </a:lnTo>
                      <a:lnTo>
                        <a:pt x="59" y="60"/>
                      </a:lnTo>
                      <a:lnTo>
                        <a:pt x="59" y="57"/>
                      </a:lnTo>
                      <a:lnTo>
                        <a:pt x="59" y="55"/>
                      </a:lnTo>
                      <a:lnTo>
                        <a:pt x="57" y="52"/>
                      </a:lnTo>
                      <a:lnTo>
                        <a:pt x="52" y="50"/>
                      </a:lnTo>
                      <a:lnTo>
                        <a:pt x="50" y="48"/>
                      </a:lnTo>
                      <a:lnTo>
                        <a:pt x="45" y="45"/>
                      </a:lnTo>
                      <a:lnTo>
                        <a:pt x="40" y="45"/>
                      </a:lnTo>
                      <a:lnTo>
                        <a:pt x="38" y="50"/>
                      </a:lnTo>
                      <a:lnTo>
                        <a:pt x="33" y="52"/>
                      </a:lnTo>
                      <a:lnTo>
                        <a:pt x="31" y="50"/>
                      </a:lnTo>
                      <a:lnTo>
                        <a:pt x="28" y="50"/>
                      </a:lnTo>
                      <a:lnTo>
                        <a:pt x="26" y="48"/>
                      </a:lnTo>
                      <a:lnTo>
                        <a:pt x="21" y="50"/>
                      </a:lnTo>
                      <a:lnTo>
                        <a:pt x="21" y="50"/>
                      </a:lnTo>
                      <a:lnTo>
                        <a:pt x="19" y="52"/>
                      </a:lnTo>
                      <a:lnTo>
                        <a:pt x="16" y="52"/>
                      </a:lnTo>
                      <a:lnTo>
                        <a:pt x="14" y="48"/>
                      </a:lnTo>
                      <a:lnTo>
                        <a:pt x="14" y="43"/>
                      </a:lnTo>
                      <a:lnTo>
                        <a:pt x="14" y="41"/>
                      </a:lnTo>
                      <a:lnTo>
                        <a:pt x="16" y="41"/>
                      </a:lnTo>
                      <a:lnTo>
                        <a:pt x="16" y="38"/>
                      </a:lnTo>
                      <a:lnTo>
                        <a:pt x="14" y="36"/>
                      </a:lnTo>
                      <a:lnTo>
                        <a:pt x="16" y="33"/>
                      </a:lnTo>
                      <a:lnTo>
                        <a:pt x="16" y="33"/>
                      </a:lnTo>
                      <a:lnTo>
                        <a:pt x="12" y="31"/>
                      </a:lnTo>
                      <a:lnTo>
                        <a:pt x="9" y="33"/>
                      </a:lnTo>
                      <a:lnTo>
                        <a:pt x="7" y="33"/>
                      </a:lnTo>
                      <a:lnTo>
                        <a:pt x="7" y="31"/>
                      </a:lnTo>
                      <a:lnTo>
                        <a:pt x="7" y="29"/>
                      </a:lnTo>
                      <a:lnTo>
                        <a:pt x="7" y="26"/>
                      </a:lnTo>
                      <a:lnTo>
                        <a:pt x="5" y="24"/>
                      </a:lnTo>
                      <a:lnTo>
                        <a:pt x="2" y="24"/>
                      </a:lnTo>
                      <a:lnTo>
                        <a:pt x="0" y="22"/>
                      </a:lnTo>
                      <a:lnTo>
                        <a:pt x="2" y="19"/>
                      </a:lnTo>
                      <a:lnTo>
                        <a:pt x="2" y="19"/>
                      </a:lnTo>
                      <a:lnTo>
                        <a:pt x="5" y="17"/>
                      </a:lnTo>
                      <a:lnTo>
                        <a:pt x="5" y="17"/>
                      </a:lnTo>
                      <a:lnTo>
                        <a:pt x="7" y="15"/>
                      </a:lnTo>
                      <a:lnTo>
                        <a:pt x="7" y="12"/>
                      </a:lnTo>
                      <a:lnTo>
                        <a:pt x="9" y="12"/>
                      </a:lnTo>
                      <a:lnTo>
                        <a:pt x="12" y="10"/>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Freeform 32">
                  <a:extLst>
                    <a:ext uri="{FF2B5EF4-FFF2-40B4-BE49-F238E27FC236}">
                      <a16:creationId xmlns:a16="http://schemas.microsoft.com/office/drawing/2014/main" id="{14DC404A-D124-0729-0307-20BA76D1C934}"/>
                    </a:ext>
                  </a:extLst>
                </p:cNvPr>
                <p:cNvSpPr>
                  <a:spLocks noEditPoints="1"/>
                </p:cNvSpPr>
                <p:nvPr/>
              </p:nvSpPr>
              <p:spPr bwMode="auto">
                <a:xfrm>
                  <a:off x="3752" y="2382"/>
                  <a:ext cx="97" cy="161"/>
                </a:xfrm>
                <a:custGeom>
                  <a:avLst/>
                  <a:gdLst>
                    <a:gd name="T0" fmla="*/ 14 w 41"/>
                    <a:gd name="T1" fmla="*/ 3 h 68"/>
                    <a:gd name="T2" fmla="*/ 18 w 41"/>
                    <a:gd name="T3" fmla="*/ 5 h 68"/>
                    <a:gd name="T4" fmla="*/ 17 w 41"/>
                    <a:gd name="T5" fmla="*/ 8 h 68"/>
                    <a:gd name="T6" fmla="*/ 20 w 41"/>
                    <a:gd name="T7" fmla="*/ 12 h 68"/>
                    <a:gd name="T8" fmla="*/ 25 w 41"/>
                    <a:gd name="T9" fmla="*/ 13 h 68"/>
                    <a:gd name="T10" fmla="*/ 33 w 41"/>
                    <a:gd name="T11" fmla="*/ 12 h 68"/>
                    <a:gd name="T12" fmla="*/ 36 w 41"/>
                    <a:gd name="T13" fmla="*/ 16 h 68"/>
                    <a:gd name="T14" fmla="*/ 38 w 41"/>
                    <a:gd name="T15" fmla="*/ 21 h 68"/>
                    <a:gd name="T16" fmla="*/ 41 w 41"/>
                    <a:gd name="T17" fmla="*/ 23 h 68"/>
                    <a:gd name="T18" fmla="*/ 40 w 41"/>
                    <a:gd name="T19" fmla="*/ 27 h 68"/>
                    <a:gd name="T20" fmla="*/ 35 w 41"/>
                    <a:gd name="T21" fmla="*/ 28 h 68"/>
                    <a:gd name="T22" fmla="*/ 29 w 41"/>
                    <a:gd name="T23" fmla="*/ 28 h 68"/>
                    <a:gd name="T24" fmla="*/ 26 w 41"/>
                    <a:gd name="T25" fmla="*/ 34 h 68"/>
                    <a:gd name="T26" fmla="*/ 27 w 41"/>
                    <a:gd name="T27" fmla="*/ 39 h 68"/>
                    <a:gd name="T28" fmla="*/ 25 w 41"/>
                    <a:gd name="T29" fmla="*/ 39 h 68"/>
                    <a:gd name="T30" fmla="*/ 23 w 41"/>
                    <a:gd name="T31" fmla="*/ 36 h 68"/>
                    <a:gd name="T32" fmla="*/ 21 w 41"/>
                    <a:gd name="T33" fmla="*/ 37 h 68"/>
                    <a:gd name="T34" fmla="*/ 19 w 41"/>
                    <a:gd name="T35" fmla="*/ 36 h 68"/>
                    <a:gd name="T36" fmla="*/ 18 w 41"/>
                    <a:gd name="T37" fmla="*/ 33 h 68"/>
                    <a:gd name="T38" fmla="*/ 16 w 41"/>
                    <a:gd name="T39" fmla="*/ 33 h 68"/>
                    <a:gd name="T40" fmla="*/ 14 w 41"/>
                    <a:gd name="T41" fmla="*/ 33 h 68"/>
                    <a:gd name="T42" fmla="*/ 14 w 41"/>
                    <a:gd name="T43" fmla="*/ 37 h 68"/>
                    <a:gd name="T44" fmla="*/ 14 w 41"/>
                    <a:gd name="T45" fmla="*/ 40 h 68"/>
                    <a:gd name="T46" fmla="*/ 11 w 41"/>
                    <a:gd name="T47" fmla="*/ 48 h 68"/>
                    <a:gd name="T48" fmla="*/ 11 w 41"/>
                    <a:gd name="T49" fmla="*/ 50 h 68"/>
                    <a:gd name="T50" fmla="*/ 13 w 41"/>
                    <a:gd name="T51" fmla="*/ 53 h 68"/>
                    <a:gd name="T52" fmla="*/ 15 w 41"/>
                    <a:gd name="T53" fmla="*/ 52 h 68"/>
                    <a:gd name="T54" fmla="*/ 16 w 41"/>
                    <a:gd name="T55" fmla="*/ 56 h 68"/>
                    <a:gd name="T56" fmla="*/ 18 w 41"/>
                    <a:gd name="T57" fmla="*/ 56 h 68"/>
                    <a:gd name="T58" fmla="*/ 18 w 41"/>
                    <a:gd name="T59" fmla="*/ 60 h 68"/>
                    <a:gd name="T60" fmla="*/ 18 w 41"/>
                    <a:gd name="T61" fmla="*/ 60 h 68"/>
                    <a:gd name="T62" fmla="*/ 21 w 41"/>
                    <a:gd name="T63" fmla="*/ 63 h 68"/>
                    <a:gd name="T64" fmla="*/ 25 w 41"/>
                    <a:gd name="T65" fmla="*/ 65 h 68"/>
                    <a:gd name="T66" fmla="*/ 25 w 41"/>
                    <a:gd name="T67" fmla="*/ 68 h 68"/>
                    <a:gd name="T68" fmla="*/ 21 w 41"/>
                    <a:gd name="T69" fmla="*/ 67 h 68"/>
                    <a:gd name="T70" fmla="*/ 20 w 41"/>
                    <a:gd name="T71" fmla="*/ 64 h 68"/>
                    <a:gd name="T72" fmla="*/ 16 w 41"/>
                    <a:gd name="T73" fmla="*/ 64 h 68"/>
                    <a:gd name="T74" fmla="*/ 14 w 41"/>
                    <a:gd name="T75" fmla="*/ 62 h 68"/>
                    <a:gd name="T76" fmla="*/ 11 w 41"/>
                    <a:gd name="T77" fmla="*/ 59 h 68"/>
                    <a:gd name="T78" fmla="*/ 9 w 41"/>
                    <a:gd name="T79" fmla="*/ 56 h 68"/>
                    <a:gd name="T80" fmla="*/ 7 w 41"/>
                    <a:gd name="T81" fmla="*/ 55 h 68"/>
                    <a:gd name="T82" fmla="*/ 8 w 41"/>
                    <a:gd name="T83" fmla="*/ 52 h 68"/>
                    <a:gd name="T84" fmla="*/ 9 w 41"/>
                    <a:gd name="T85" fmla="*/ 49 h 68"/>
                    <a:gd name="T86" fmla="*/ 10 w 41"/>
                    <a:gd name="T87" fmla="*/ 45 h 68"/>
                    <a:gd name="T88" fmla="*/ 12 w 41"/>
                    <a:gd name="T89" fmla="*/ 39 h 68"/>
                    <a:gd name="T90" fmla="*/ 11 w 41"/>
                    <a:gd name="T91" fmla="*/ 34 h 68"/>
                    <a:gd name="T92" fmla="*/ 8 w 41"/>
                    <a:gd name="T93" fmla="*/ 28 h 68"/>
                    <a:gd name="T94" fmla="*/ 7 w 41"/>
                    <a:gd name="T95" fmla="*/ 23 h 68"/>
                    <a:gd name="T96" fmla="*/ 6 w 41"/>
                    <a:gd name="T97" fmla="*/ 19 h 68"/>
                    <a:gd name="T98" fmla="*/ 2 w 41"/>
                    <a:gd name="T99" fmla="*/ 14 h 68"/>
                    <a:gd name="T100" fmla="*/ 0 w 41"/>
                    <a:gd name="T101" fmla="*/ 10 h 68"/>
                    <a:gd name="T102" fmla="*/ 2 w 41"/>
                    <a:gd name="T103" fmla="*/ 7 h 68"/>
                    <a:gd name="T104" fmla="*/ 7 w 41"/>
                    <a:gd name="T105" fmla="*/ 4 h 68"/>
                    <a:gd name="T106" fmla="*/ 9 w 41"/>
                    <a:gd name="T107" fmla="*/ 2 h 68"/>
                    <a:gd name="T108" fmla="*/ 11 w 41"/>
                    <a:gd name="T109" fmla="*/ 0 h 68"/>
                    <a:gd name="T110" fmla="*/ 14 w 41"/>
                    <a:gd name="T111" fmla="*/ 64 h 68"/>
                    <a:gd name="T112" fmla="*/ 11 w 41"/>
                    <a:gd name="T113" fmla="*/ 60 h 68"/>
                    <a:gd name="T114" fmla="*/ 8 w 41"/>
                    <a:gd name="T115" fmla="*/ 59 h 68"/>
                    <a:gd name="T116" fmla="*/ 25 w 41"/>
                    <a:gd name="T117" fmla="*/ 39 h 68"/>
                    <a:gd name="T118" fmla="*/ 15 w 41"/>
                    <a:gd name="T119" fmla="*/ 50 h 68"/>
                    <a:gd name="T120" fmla="*/ 15 w 41"/>
                    <a:gd name="T121" fmla="*/ 51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1" h="68">
                      <a:moveTo>
                        <a:pt x="11" y="0"/>
                      </a:moveTo>
                      <a:cubicBezTo>
                        <a:pt x="12" y="1"/>
                        <a:pt x="12" y="1"/>
                        <a:pt x="12" y="1"/>
                      </a:cubicBezTo>
                      <a:cubicBezTo>
                        <a:pt x="13" y="1"/>
                        <a:pt x="13" y="1"/>
                        <a:pt x="13" y="1"/>
                      </a:cubicBezTo>
                      <a:cubicBezTo>
                        <a:pt x="14" y="2"/>
                        <a:pt x="14" y="2"/>
                        <a:pt x="14" y="2"/>
                      </a:cubicBezTo>
                      <a:cubicBezTo>
                        <a:pt x="14" y="3"/>
                        <a:pt x="14" y="3"/>
                        <a:pt x="14" y="3"/>
                      </a:cubicBezTo>
                      <a:cubicBezTo>
                        <a:pt x="14" y="4"/>
                        <a:pt x="14" y="4"/>
                        <a:pt x="14" y="4"/>
                      </a:cubicBezTo>
                      <a:cubicBezTo>
                        <a:pt x="14" y="5"/>
                        <a:pt x="14" y="5"/>
                        <a:pt x="14" y="5"/>
                      </a:cubicBezTo>
                      <a:cubicBezTo>
                        <a:pt x="15" y="5"/>
                        <a:pt x="15" y="5"/>
                        <a:pt x="15" y="5"/>
                      </a:cubicBezTo>
                      <a:cubicBezTo>
                        <a:pt x="16" y="4"/>
                        <a:pt x="16" y="4"/>
                        <a:pt x="16" y="4"/>
                      </a:cubicBezTo>
                      <a:cubicBezTo>
                        <a:pt x="18" y="5"/>
                        <a:pt x="18" y="5"/>
                        <a:pt x="18" y="5"/>
                      </a:cubicBezTo>
                      <a:cubicBezTo>
                        <a:pt x="18" y="5"/>
                        <a:pt x="18" y="5"/>
                        <a:pt x="18" y="5"/>
                      </a:cubicBezTo>
                      <a:cubicBezTo>
                        <a:pt x="17" y="6"/>
                        <a:pt x="17" y="6"/>
                        <a:pt x="17" y="6"/>
                      </a:cubicBezTo>
                      <a:cubicBezTo>
                        <a:pt x="18" y="7"/>
                        <a:pt x="18" y="7"/>
                        <a:pt x="18" y="7"/>
                      </a:cubicBezTo>
                      <a:cubicBezTo>
                        <a:pt x="18" y="8"/>
                        <a:pt x="18" y="8"/>
                        <a:pt x="18" y="8"/>
                      </a:cubicBezTo>
                      <a:cubicBezTo>
                        <a:pt x="17" y="8"/>
                        <a:pt x="17" y="8"/>
                        <a:pt x="17" y="8"/>
                      </a:cubicBezTo>
                      <a:cubicBezTo>
                        <a:pt x="17" y="9"/>
                        <a:pt x="17" y="9"/>
                        <a:pt x="17" y="9"/>
                      </a:cubicBezTo>
                      <a:cubicBezTo>
                        <a:pt x="17" y="11"/>
                        <a:pt x="17" y="11"/>
                        <a:pt x="17" y="11"/>
                      </a:cubicBezTo>
                      <a:cubicBezTo>
                        <a:pt x="18" y="13"/>
                        <a:pt x="18" y="13"/>
                        <a:pt x="18" y="13"/>
                      </a:cubicBezTo>
                      <a:cubicBezTo>
                        <a:pt x="19" y="13"/>
                        <a:pt x="19" y="13"/>
                        <a:pt x="19" y="13"/>
                      </a:cubicBezTo>
                      <a:cubicBezTo>
                        <a:pt x="20" y="12"/>
                        <a:pt x="20" y="12"/>
                        <a:pt x="20" y="12"/>
                      </a:cubicBezTo>
                      <a:cubicBezTo>
                        <a:pt x="20" y="12"/>
                        <a:pt x="20" y="12"/>
                        <a:pt x="20" y="12"/>
                      </a:cubicBezTo>
                      <a:cubicBezTo>
                        <a:pt x="22" y="11"/>
                        <a:pt x="22" y="11"/>
                        <a:pt x="22" y="11"/>
                      </a:cubicBezTo>
                      <a:cubicBezTo>
                        <a:pt x="23" y="12"/>
                        <a:pt x="23" y="12"/>
                        <a:pt x="23" y="12"/>
                      </a:cubicBezTo>
                      <a:cubicBezTo>
                        <a:pt x="24" y="12"/>
                        <a:pt x="24" y="12"/>
                        <a:pt x="24" y="12"/>
                      </a:cubicBezTo>
                      <a:cubicBezTo>
                        <a:pt x="25" y="13"/>
                        <a:pt x="25" y="13"/>
                        <a:pt x="25" y="13"/>
                      </a:cubicBezTo>
                      <a:cubicBezTo>
                        <a:pt x="27" y="12"/>
                        <a:pt x="27" y="12"/>
                        <a:pt x="27" y="12"/>
                      </a:cubicBezTo>
                      <a:cubicBezTo>
                        <a:pt x="28" y="10"/>
                        <a:pt x="28" y="10"/>
                        <a:pt x="28" y="10"/>
                      </a:cubicBezTo>
                      <a:cubicBezTo>
                        <a:pt x="30" y="10"/>
                        <a:pt x="30" y="10"/>
                        <a:pt x="30" y="10"/>
                      </a:cubicBezTo>
                      <a:cubicBezTo>
                        <a:pt x="32" y="11"/>
                        <a:pt x="32" y="11"/>
                        <a:pt x="32" y="11"/>
                      </a:cubicBezTo>
                      <a:cubicBezTo>
                        <a:pt x="33" y="12"/>
                        <a:pt x="33" y="12"/>
                        <a:pt x="33" y="12"/>
                      </a:cubicBezTo>
                      <a:cubicBezTo>
                        <a:pt x="35" y="13"/>
                        <a:pt x="35" y="13"/>
                        <a:pt x="35" y="13"/>
                      </a:cubicBezTo>
                      <a:cubicBezTo>
                        <a:pt x="36" y="14"/>
                        <a:pt x="36" y="14"/>
                        <a:pt x="36" y="14"/>
                      </a:cubicBezTo>
                      <a:cubicBezTo>
                        <a:pt x="36" y="15"/>
                        <a:pt x="36" y="15"/>
                        <a:pt x="36" y="15"/>
                      </a:cubicBezTo>
                      <a:cubicBezTo>
                        <a:pt x="36" y="16"/>
                        <a:pt x="36" y="16"/>
                        <a:pt x="36" y="16"/>
                      </a:cubicBezTo>
                      <a:cubicBezTo>
                        <a:pt x="36" y="16"/>
                        <a:pt x="36" y="16"/>
                        <a:pt x="36" y="16"/>
                      </a:cubicBezTo>
                      <a:cubicBezTo>
                        <a:pt x="36" y="17"/>
                        <a:pt x="36" y="17"/>
                        <a:pt x="36" y="17"/>
                      </a:cubicBezTo>
                      <a:cubicBezTo>
                        <a:pt x="36" y="18"/>
                        <a:pt x="36" y="18"/>
                        <a:pt x="36" y="18"/>
                      </a:cubicBezTo>
                      <a:cubicBezTo>
                        <a:pt x="36" y="19"/>
                        <a:pt x="36" y="19"/>
                        <a:pt x="36" y="19"/>
                      </a:cubicBezTo>
                      <a:cubicBezTo>
                        <a:pt x="37" y="20"/>
                        <a:pt x="37" y="20"/>
                        <a:pt x="37" y="20"/>
                      </a:cubicBezTo>
                      <a:cubicBezTo>
                        <a:pt x="38" y="21"/>
                        <a:pt x="38" y="21"/>
                        <a:pt x="38" y="21"/>
                      </a:cubicBezTo>
                      <a:cubicBezTo>
                        <a:pt x="39" y="21"/>
                        <a:pt x="39" y="21"/>
                        <a:pt x="39" y="21"/>
                      </a:cubicBezTo>
                      <a:cubicBezTo>
                        <a:pt x="40" y="21"/>
                        <a:pt x="40" y="21"/>
                        <a:pt x="40" y="21"/>
                      </a:cubicBezTo>
                      <a:cubicBezTo>
                        <a:pt x="39" y="21"/>
                        <a:pt x="39" y="21"/>
                        <a:pt x="39" y="21"/>
                      </a:cubicBezTo>
                      <a:cubicBezTo>
                        <a:pt x="40" y="22"/>
                        <a:pt x="40" y="22"/>
                        <a:pt x="40" y="22"/>
                      </a:cubicBezTo>
                      <a:cubicBezTo>
                        <a:pt x="41" y="23"/>
                        <a:pt x="41" y="23"/>
                        <a:pt x="41" y="23"/>
                      </a:cubicBezTo>
                      <a:cubicBezTo>
                        <a:pt x="40" y="24"/>
                        <a:pt x="40" y="24"/>
                        <a:pt x="40" y="24"/>
                      </a:cubicBezTo>
                      <a:cubicBezTo>
                        <a:pt x="40" y="24"/>
                        <a:pt x="40" y="24"/>
                        <a:pt x="40" y="24"/>
                      </a:cubicBezTo>
                      <a:cubicBezTo>
                        <a:pt x="40" y="25"/>
                        <a:pt x="40" y="25"/>
                        <a:pt x="40" y="25"/>
                      </a:cubicBezTo>
                      <a:cubicBezTo>
                        <a:pt x="40" y="26"/>
                        <a:pt x="40" y="26"/>
                        <a:pt x="40" y="26"/>
                      </a:cubicBezTo>
                      <a:cubicBezTo>
                        <a:pt x="40" y="27"/>
                        <a:pt x="40" y="27"/>
                        <a:pt x="40" y="27"/>
                      </a:cubicBezTo>
                      <a:cubicBezTo>
                        <a:pt x="40" y="28"/>
                        <a:pt x="40" y="28"/>
                        <a:pt x="40" y="28"/>
                      </a:cubicBezTo>
                      <a:cubicBezTo>
                        <a:pt x="39" y="28"/>
                        <a:pt x="39" y="28"/>
                        <a:pt x="39" y="28"/>
                      </a:cubicBezTo>
                      <a:cubicBezTo>
                        <a:pt x="38" y="28"/>
                        <a:pt x="38" y="28"/>
                        <a:pt x="38" y="28"/>
                      </a:cubicBezTo>
                      <a:cubicBezTo>
                        <a:pt x="36" y="28"/>
                        <a:pt x="36" y="28"/>
                        <a:pt x="36" y="28"/>
                      </a:cubicBezTo>
                      <a:cubicBezTo>
                        <a:pt x="35" y="28"/>
                        <a:pt x="35" y="28"/>
                        <a:pt x="35" y="28"/>
                      </a:cubicBezTo>
                      <a:cubicBezTo>
                        <a:pt x="34" y="28"/>
                        <a:pt x="34" y="28"/>
                        <a:pt x="34" y="28"/>
                      </a:cubicBezTo>
                      <a:cubicBezTo>
                        <a:pt x="33" y="28"/>
                        <a:pt x="33" y="28"/>
                        <a:pt x="33" y="28"/>
                      </a:cubicBezTo>
                      <a:cubicBezTo>
                        <a:pt x="33" y="28"/>
                        <a:pt x="33" y="28"/>
                        <a:pt x="33" y="28"/>
                      </a:cubicBezTo>
                      <a:cubicBezTo>
                        <a:pt x="31" y="28"/>
                        <a:pt x="31" y="28"/>
                        <a:pt x="31" y="28"/>
                      </a:cubicBezTo>
                      <a:cubicBezTo>
                        <a:pt x="29" y="28"/>
                        <a:pt x="29" y="28"/>
                        <a:pt x="29" y="28"/>
                      </a:cubicBezTo>
                      <a:cubicBezTo>
                        <a:pt x="28" y="28"/>
                        <a:pt x="28" y="28"/>
                        <a:pt x="28" y="28"/>
                      </a:cubicBezTo>
                      <a:cubicBezTo>
                        <a:pt x="27" y="30"/>
                        <a:pt x="27" y="30"/>
                        <a:pt x="27" y="30"/>
                      </a:cubicBezTo>
                      <a:cubicBezTo>
                        <a:pt x="27" y="31"/>
                        <a:pt x="27" y="31"/>
                        <a:pt x="27" y="31"/>
                      </a:cubicBezTo>
                      <a:cubicBezTo>
                        <a:pt x="26" y="32"/>
                        <a:pt x="26" y="32"/>
                        <a:pt x="26" y="32"/>
                      </a:cubicBezTo>
                      <a:cubicBezTo>
                        <a:pt x="26" y="34"/>
                        <a:pt x="26" y="34"/>
                        <a:pt x="26" y="34"/>
                      </a:cubicBezTo>
                      <a:cubicBezTo>
                        <a:pt x="26" y="35"/>
                        <a:pt x="26" y="35"/>
                        <a:pt x="26" y="35"/>
                      </a:cubicBezTo>
                      <a:cubicBezTo>
                        <a:pt x="27" y="36"/>
                        <a:pt x="27" y="36"/>
                        <a:pt x="27" y="36"/>
                      </a:cubicBezTo>
                      <a:cubicBezTo>
                        <a:pt x="28" y="37"/>
                        <a:pt x="28" y="37"/>
                        <a:pt x="28" y="37"/>
                      </a:cubicBezTo>
                      <a:cubicBezTo>
                        <a:pt x="27" y="38"/>
                        <a:pt x="27" y="38"/>
                        <a:pt x="27" y="38"/>
                      </a:cubicBezTo>
                      <a:cubicBezTo>
                        <a:pt x="27" y="39"/>
                        <a:pt x="27" y="39"/>
                        <a:pt x="27" y="39"/>
                      </a:cubicBezTo>
                      <a:cubicBezTo>
                        <a:pt x="27" y="39"/>
                        <a:pt x="27" y="39"/>
                        <a:pt x="27" y="39"/>
                      </a:cubicBezTo>
                      <a:cubicBezTo>
                        <a:pt x="27" y="39"/>
                        <a:pt x="27" y="39"/>
                        <a:pt x="27" y="39"/>
                      </a:cubicBezTo>
                      <a:cubicBezTo>
                        <a:pt x="27" y="39"/>
                        <a:pt x="27" y="39"/>
                        <a:pt x="27" y="39"/>
                      </a:cubicBezTo>
                      <a:cubicBezTo>
                        <a:pt x="26" y="39"/>
                        <a:pt x="26" y="39"/>
                        <a:pt x="26" y="39"/>
                      </a:cubicBezTo>
                      <a:cubicBezTo>
                        <a:pt x="25" y="39"/>
                        <a:pt x="25" y="39"/>
                        <a:pt x="25" y="39"/>
                      </a:cubicBezTo>
                      <a:cubicBezTo>
                        <a:pt x="25" y="39"/>
                        <a:pt x="25" y="39"/>
                        <a:pt x="25" y="39"/>
                      </a:cubicBezTo>
                      <a:cubicBezTo>
                        <a:pt x="25" y="38"/>
                        <a:pt x="25" y="38"/>
                        <a:pt x="25" y="38"/>
                      </a:cubicBezTo>
                      <a:cubicBezTo>
                        <a:pt x="25" y="38"/>
                        <a:pt x="25" y="38"/>
                        <a:pt x="25" y="38"/>
                      </a:cubicBezTo>
                      <a:cubicBezTo>
                        <a:pt x="23" y="37"/>
                        <a:pt x="23" y="37"/>
                        <a:pt x="23" y="37"/>
                      </a:cubicBezTo>
                      <a:cubicBezTo>
                        <a:pt x="23" y="36"/>
                        <a:pt x="23" y="36"/>
                        <a:pt x="23" y="36"/>
                      </a:cubicBezTo>
                      <a:cubicBezTo>
                        <a:pt x="22" y="37"/>
                        <a:pt x="22" y="37"/>
                        <a:pt x="22" y="37"/>
                      </a:cubicBezTo>
                      <a:cubicBezTo>
                        <a:pt x="22" y="37"/>
                        <a:pt x="22" y="37"/>
                        <a:pt x="22" y="37"/>
                      </a:cubicBezTo>
                      <a:cubicBezTo>
                        <a:pt x="22" y="37"/>
                        <a:pt x="22" y="37"/>
                        <a:pt x="22" y="37"/>
                      </a:cubicBezTo>
                      <a:cubicBezTo>
                        <a:pt x="22" y="37"/>
                        <a:pt x="22" y="37"/>
                        <a:pt x="22" y="37"/>
                      </a:cubicBezTo>
                      <a:cubicBezTo>
                        <a:pt x="21" y="37"/>
                        <a:pt x="21" y="37"/>
                        <a:pt x="21" y="37"/>
                      </a:cubicBezTo>
                      <a:cubicBezTo>
                        <a:pt x="20" y="37"/>
                        <a:pt x="20" y="37"/>
                        <a:pt x="20" y="37"/>
                      </a:cubicBezTo>
                      <a:cubicBezTo>
                        <a:pt x="19" y="37"/>
                        <a:pt x="19" y="37"/>
                        <a:pt x="19" y="37"/>
                      </a:cubicBezTo>
                      <a:cubicBezTo>
                        <a:pt x="18" y="37"/>
                        <a:pt x="18" y="37"/>
                        <a:pt x="18" y="37"/>
                      </a:cubicBezTo>
                      <a:cubicBezTo>
                        <a:pt x="19" y="36"/>
                        <a:pt x="19" y="36"/>
                        <a:pt x="19" y="36"/>
                      </a:cubicBezTo>
                      <a:cubicBezTo>
                        <a:pt x="19" y="36"/>
                        <a:pt x="19" y="36"/>
                        <a:pt x="19" y="36"/>
                      </a:cubicBezTo>
                      <a:cubicBezTo>
                        <a:pt x="18" y="35"/>
                        <a:pt x="18" y="35"/>
                        <a:pt x="18" y="35"/>
                      </a:cubicBezTo>
                      <a:cubicBezTo>
                        <a:pt x="18" y="34"/>
                        <a:pt x="18" y="34"/>
                        <a:pt x="18" y="34"/>
                      </a:cubicBezTo>
                      <a:cubicBezTo>
                        <a:pt x="19" y="34"/>
                        <a:pt x="19" y="34"/>
                        <a:pt x="19" y="34"/>
                      </a:cubicBezTo>
                      <a:cubicBezTo>
                        <a:pt x="19" y="33"/>
                        <a:pt x="19" y="33"/>
                        <a:pt x="19" y="33"/>
                      </a:cubicBezTo>
                      <a:cubicBezTo>
                        <a:pt x="18" y="33"/>
                        <a:pt x="18" y="33"/>
                        <a:pt x="18" y="33"/>
                      </a:cubicBezTo>
                      <a:cubicBezTo>
                        <a:pt x="18" y="33"/>
                        <a:pt x="18" y="33"/>
                        <a:pt x="18" y="33"/>
                      </a:cubicBezTo>
                      <a:cubicBezTo>
                        <a:pt x="17" y="33"/>
                        <a:pt x="17" y="33"/>
                        <a:pt x="17" y="33"/>
                      </a:cubicBezTo>
                      <a:cubicBezTo>
                        <a:pt x="17" y="33"/>
                        <a:pt x="17" y="33"/>
                        <a:pt x="17" y="33"/>
                      </a:cubicBezTo>
                      <a:cubicBezTo>
                        <a:pt x="16" y="33"/>
                        <a:pt x="16" y="33"/>
                        <a:pt x="16" y="33"/>
                      </a:cubicBezTo>
                      <a:cubicBezTo>
                        <a:pt x="16" y="33"/>
                        <a:pt x="16" y="33"/>
                        <a:pt x="16" y="33"/>
                      </a:cubicBezTo>
                      <a:cubicBezTo>
                        <a:pt x="15" y="33"/>
                        <a:pt x="15" y="33"/>
                        <a:pt x="15" y="33"/>
                      </a:cubicBezTo>
                      <a:cubicBezTo>
                        <a:pt x="15" y="33"/>
                        <a:pt x="15" y="33"/>
                        <a:pt x="15" y="33"/>
                      </a:cubicBezTo>
                      <a:cubicBezTo>
                        <a:pt x="14" y="33"/>
                        <a:pt x="14" y="33"/>
                        <a:pt x="14" y="33"/>
                      </a:cubicBezTo>
                      <a:cubicBezTo>
                        <a:pt x="14" y="33"/>
                        <a:pt x="14" y="33"/>
                        <a:pt x="14" y="33"/>
                      </a:cubicBezTo>
                      <a:cubicBezTo>
                        <a:pt x="14" y="33"/>
                        <a:pt x="14" y="33"/>
                        <a:pt x="14" y="33"/>
                      </a:cubicBezTo>
                      <a:cubicBezTo>
                        <a:pt x="14" y="34"/>
                        <a:pt x="14" y="34"/>
                        <a:pt x="14" y="34"/>
                      </a:cubicBezTo>
                      <a:cubicBezTo>
                        <a:pt x="15" y="34"/>
                        <a:pt x="15" y="34"/>
                        <a:pt x="15" y="34"/>
                      </a:cubicBezTo>
                      <a:cubicBezTo>
                        <a:pt x="15" y="35"/>
                        <a:pt x="15" y="35"/>
                        <a:pt x="15" y="35"/>
                      </a:cubicBezTo>
                      <a:cubicBezTo>
                        <a:pt x="14" y="36"/>
                        <a:pt x="14" y="36"/>
                        <a:pt x="14" y="36"/>
                      </a:cubicBezTo>
                      <a:cubicBezTo>
                        <a:pt x="14" y="37"/>
                        <a:pt x="14" y="37"/>
                        <a:pt x="14" y="37"/>
                      </a:cubicBezTo>
                      <a:cubicBezTo>
                        <a:pt x="14" y="37"/>
                        <a:pt x="14" y="37"/>
                        <a:pt x="14" y="37"/>
                      </a:cubicBezTo>
                      <a:cubicBezTo>
                        <a:pt x="15" y="38"/>
                        <a:pt x="15" y="38"/>
                        <a:pt x="15" y="38"/>
                      </a:cubicBezTo>
                      <a:cubicBezTo>
                        <a:pt x="14" y="39"/>
                        <a:pt x="14" y="39"/>
                        <a:pt x="14" y="39"/>
                      </a:cubicBezTo>
                      <a:cubicBezTo>
                        <a:pt x="14" y="40"/>
                        <a:pt x="14" y="40"/>
                        <a:pt x="14" y="40"/>
                      </a:cubicBezTo>
                      <a:cubicBezTo>
                        <a:pt x="14" y="40"/>
                        <a:pt x="14" y="40"/>
                        <a:pt x="14" y="40"/>
                      </a:cubicBezTo>
                      <a:cubicBezTo>
                        <a:pt x="13" y="41"/>
                        <a:pt x="13" y="41"/>
                        <a:pt x="13" y="41"/>
                      </a:cubicBezTo>
                      <a:cubicBezTo>
                        <a:pt x="13" y="45"/>
                        <a:pt x="13" y="45"/>
                        <a:pt x="13" y="45"/>
                      </a:cubicBezTo>
                      <a:cubicBezTo>
                        <a:pt x="11" y="46"/>
                        <a:pt x="11" y="46"/>
                        <a:pt x="11" y="46"/>
                      </a:cubicBezTo>
                      <a:cubicBezTo>
                        <a:pt x="11" y="47"/>
                        <a:pt x="11" y="47"/>
                        <a:pt x="11" y="47"/>
                      </a:cubicBezTo>
                      <a:cubicBezTo>
                        <a:pt x="11" y="48"/>
                        <a:pt x="11" y="48"/>
                        <a:pt x="11" y="48"/>
                      </a:cubicBezTo>
                      <a:cubicBezTo>
                        <a:pt x="11" y="48"/>
                        <a:pt x="11" y="48"/>
                        <a:pt x="11" y="48"/>
                      </a:cubicBezTo>
                      <a:cubicBezTo>
                        <a:pt x="12" y="48"/>
                        <a:pt x="12" y="48"/>
                        <a:pt x="12" y="48"/>
                      </a:cubicBezTo>
                      <a:cubicBezTo>
                        <a:pt x="11" y="49"/>
                        <a:pt x="11" y="49"/>
                        <a:pt x="11" y="49"/>
                      </a:cubicBezTo>
                      <a:cubicBezTo>
                        <a:pt x="11" y="49"/>
                        <a:pt x="11" y="49"/>
                        <a:pt x="11" y="49"/>
                      </a:cubicBezTo>
                      <a:cubicBezTo>
                        <a:pt x="11" y="50"/>
                        <a:pt x="11" y="50"/>
                        <a:pt x="11" y="50"/>
                      </a:cubicBezTo>
                      <a:cubicBezTo>
                        <a:pt x="11" y="50"/>
                        <a:pt x="11" y="50"/>
                        <a:pt x="11" y="50"/>
                      </a:cubicBezTo>
                      <a:cubicBezTo>
                        <a:pt x="12" y="52"/>
                        <a:pt x="12" y="52"/>
                        <a:pt x="12" y="52"/>
                      </a:cubicBezTo>
                      <a:cubicBezTo>
                        <a:pt x="12" y="52"/>
                        <a:pt x="12" y="52"/>
                        <a:pt x="12" y="52"/>
                      </a:cubicBezTo>
                      <a:cubicBezTo>
                        <a:pt x="12" y="53"/>
                        <a:pt x="12" y="53"/>
                        <a:pt x="12" y="53"/>
                      </a:cubicBezTo>
                      <a:cubicBezTo>
                        <a:pt x="13" y="53"/>
                        <a:pt x="13" y="53"/>
                        <a:pt x="13" y="53"/>
                      </a:cubicBezTo>
                      <a:cubicBezTo>
                        <a:pt x="13" y="52"/>
                        <a:pt x="13" y="52"/>
                        <a:pt x="13" y="52"/>
                      </a:cubicBezTo>
                      <a:cubicBezTo>
                        <a:pt x="13" y="52"/>
                        <a:pt x="13" y="52"/>
                        <a:pt x="13" y="52"/>
                      </a:cubicBezTo>
                      <a:cubicBezTo>
                        <a:pt x="14" y="52"/>
                        <a:pt x="14" y="52"/>
                        <a:pt x="14" y="52"/>
                      </a:cubicBezTo>
                      <a:cubicBezTo>
                        <a:pt x="14" y="52"/>
                        <a:pt x="14" y="52"/>
                        <a:pt x="14" y="52"/>
                      </a:cubicBezTo>
                      <a:cubicBezTo>
                        <a:pt x="15" y="52"/>
                        <a:pt x="15" y="52"/>
                        <a:pt x="15" y="52"/>
                      </a:cubicBezTo>
                      <a:cubicBezTo>
                        <a:pt x="15" y="53"/>
                        <a:pt x="15" y="53"/>
                        <a:pt x="15" y="53"/>
                      </a:cubicBezTo>
                      <a:cubicBezTo>
                        <a:pt x="15" y="54"/>
                        <a:pt x="15" y="54"/>
                        <a:pt x="15" y="54"/>
                      </a:cubicBezTo>
                      <a:cubicBezTo>
                        <a:pt x="15" y="55"/>
                        <a:pt x="15" y="55"/>
                        <a:pt x="15" y="55"/>
                      </a:cubicBezTo>
                      <a:cubicBezTo>
                        <a:pt x="16" y="55"/>
                        <a:pt x="16" y="55"/>
                        <a:pt x="16" y="55"/>
                      </a:cubicBezTo>
                      <a:cubicBezTo>
                        <a:pt x="16" y="56"/>
                        <a:pt x="16" y="56"/>
                        <a:pt x="16" y="56"/>
                      </a:cubicBezTo>
                      <a:cubicBezTo>
                        <a:pt x="17" y="56"/>
                        <a:pt x="17" y="56"/>
                        <a:pt x="17" y="56"/>
                      </a:cubicBezTo>
                      <a:cubicBezTo>
                        <a:pt x="17" y="55"/>
                        <a:pt x="17" y="55"/>
                        <a:pt x="17" y="55"/>
                      </a:cubicBezTo>
                      <a:cubicBezTo>
                        <a:pt x="17" y="55"/>
                        <a:pt x="17" y="55"/>
                        <a:pt x="17" y="55"/>
                      </a:cubicBezTo>
                      <a:cubicBezTo>
                        <a:pt x="17" y="56"/>
                        <a:pt x="17" y="56"/>
                        <a:pt x="17" y="56"/>
                      </a:cubicBezTo>
                      <a:cubicBezTo>
                        <a:pt x="18" y="56"/>
                        <a:pt x="18" y="56"/>
                        <a:pt x="18" y="56"/>
                      </a:cubicBezTo>
                      <a:cubicBezTo>
                        <a:pt x="18" y="57"/>
                        <a:pt x="18" y="57"/>
                        <a:pt x="18" y="57"/>
                      </a:cubicBezTo>
                      <a:cubicBezTo>
                        <a:pt x="18" y="57"/>
                        <a:pt x="18" y="57"/>
                        <a:pt x="18" y="57"/>
                      </a:cubicBezTo>
                      <a:cubicBezTo>
                        <a:pt x="18" y="59"/>
                        <a:pt x="18" y="59"/>
                        <a:pt x="18" y="59"/>
                      </a:cubicBezTo>
                      <a:cubicBezTo>
                        <a:pt x="18" y="59"/>
                        <a:pt x="18" y="59"/>
                        <a:pt x="18" y="59"/>
                      </a:cubicBezTo>
                      <a:cubicBezTo>
                        <a:pt x="18" y="60"/>
                        <a:pt x="18" y="60"/>
                        <a:pt x="18" y="60"/>
                      </a:cubicBezTo>
                      <a:cubicBezTo>
                        <a:pt x="18" y="59"/>
                        <a:pt x="18" y="59"/>
                        <a:pt x="18" y="59"/>
                      </a:cubicBezTo>
                      <a:cubicBezTo>
                        <a:pt x="17" y="60"/>
                        <a:pt x="17" y="60"/>
                        <a:pt x="17" y="60"/>
                      </a:cubicBezTo>
                      <a:cubicBezTo>
                        <a:pt x="17" y="60"/>
                        <a:pt x="17" y="60"/>
                        <a:pt x="17" y="60"/>
                      </a:cubicBezTo>
                      <a:cubicBezTo>
                        <a:pt x="18" y="61"/>
                        <a:pt x="18" y="61"/>
                        <a:pt x="18" y="61"/>
                      </a:cubicBezTo>
                      <a:cubicBezTo>
                        <a:pt x="18" y="60"/>
                        <a:pt x="18" y="60"/>
                        <a:pt x="18" y="60"/>
                      </a:cubicBezTo>
                      <a:cubicBezTo>
                        <a:pt x="19" y="61"/>
                        <a:pt x="19" y="61"/>
                        <a:pt x="19" y="61"/>
                      </a:cubicBezTo>
                      <a:cubicBezTo>
                        <a:pt x="19" y="61"/>
                        <a:pt x="19" y="61"/>
                        <a:pt x="19" y="61"/>
                      </a:cubicBezTo>
                      <a:cubicBezTo>
                        <a:pt x="19" y="62"/>
                        <a:pt x="19" y="62"/>
                        <a:pt x="19" y="62"/>
                      </a:cubicBezTo>
                      <a:cubicBezTo>
                        <a:pt x="21" y="63"/>
                        <a:pt x="21" y="63"/>
                        <a:pt x="21" y="63"/>
                      </a:cubicBezTo>
                      <a:cubicBezTo>
                        <a:pt x="21" y="63"/>
                        <a:pt x="21" y="63"/>
                        <a:pt x="21" y="63"/>
                      </a:cubicBezTo>
                      <a:cubicBezTo>
                        <a:pt x="22" y="63"/>
                        <a:pt x="22" y="63"/>
                        <a:pt x="22" y="63"/>
                      </a:cubicBezTo>
                      <a:cubicBezTo>
                        <a:pt x="23" y="63"/>
                        <a:pt x="23" y="63"/>
                        <a:pt x="23" y="63"/>
                      </a:cubicBezTo>
                      <a:cubicBezTo>
                        <a:pt x="24" y="64"/>
                        <a:pt x="24" y="64"/>
                        <a:pt x="24" y="64"/>
                      </a:cubicBezTo>
                      <a:cubicBezTo>
                        <a:pt x="24" y="65"/>
                        <a:pt x="24" y="65"/>
                        <a:pt x="24" y="65"/>
                      </a:cubicBezTo>
                      <a:cubicBezTo>
                        <a:pt x="25" y="65"/>
                        <a:pt x="25" y="65"/>
                        <a:pt x="25" y="65"/>
                      </a:cubicBezTo>
                      <a:cubicBezTo>
                        <a:pt x="26" y="66"/>
                        <a:pt x="26" y="66"/>
                        <a:pt x="26" y="66"/>
                      </a:cubicBezTo>
                      <a:cubicBezTo>
                        <a:pt x="26" y="66"/>
                        <a:pt x="26" y="66"/>
                        <a:pt x="26" y="66"/>
                      </a:cubicBezTo>
                      <a:cubicBezTo>
                        <a:pt x="26" y="67"/>
                        <a:pt x="26" y="67"/>
                        <a:pt x="26" y="67"/>
                      </a:cubicBezTo>
                      <a:cubicBezTo>
                        <a:pt x="26" y="67"/>
                        <a:pt x="26" y="67"/>
                        <a:pt x="26" y="67"/>
                      </a:cubicBezTo>
                      <a:cubicBezTo>
                        <a:pt x="25" y="68"/>
                        <a:pt x="25" y="68"/>
                        <a:pt x="25" y="68"/>
                      </a:cubicBezTo>
                      <a:cubicBezTo>
                        <a:pt x="24" y="67"/>
                        <a:pt x="24" y="67"/>
                        <a:pt x="24" y="67"/>
                      </a:cubicBezTo>
                      <a:cubicBezTo>
                        <a:pt x="23" y="67"/>
                        <a:pt x="23" y="67"/>
                        <a:pt x="23" y="67"/>
                      </a:cubicBezTo>
                      <a:cubicBezTo>
                        <a:pt x="22" y="68"/>
                        <a:pt x="22" y="68"/>
                        <a:pt x="22" y="68"/>
                      </a:cubicBezTo>
                      <a:cubicBezTo>
                        <a:pt x="21" y="68"/>
                        <a:pt x="21" y="68"/>
                        <a:pt x="21" y="68"/>
                      </a:cubicBezTo>
                      <a:cubicBezTo>
                        <a:pt x="21" y="67"/>
                        <a:pt x="21" y="67"/>
                        <a:pt x="21" y="67"/>
                      </a:cubicBezTo>
                      <a:cubicBezTo>
                        <a:pt x="22" y="67"/>
                        <a:pt x="22" y="67"/>
                        <a:pt x="22" y="67"/>
                      </a:cubicBezTo>
                      <a:cubicBezTo>
                        <a:pt x="22" y="65"/>
                        <a:pt x="22" y="65"/>
                        <a:pt x="22" y="65"/>
                      </a:cubicBezTo>
                      <a:cubicBezTo>
                        <a:pt x="21" y="65"/>
                        <a:pt x="21" y="65"/>
                        <a:pt x="21" y="65"/>
                      </a:cubicBezTo>
                      <a:cubicBezTo>
                        <a:pt x="20" y="65"/>
                        <a:pt x="20" y="65"/>
                        <a:pt x="20" y="65"/>
                      </a:cubicBezTo>
                      <a:cubicBezTo>
                        <a:pt x="20" y="64"/>
                        <a:pt x="20" y="64"/>
                        <a:pt x="20" y="64"/>
                      </a:cubicBezTo>
                      <a:cubicBezTo>
                        <a:pt x="19" y="64"/>
                        <a:pt x="19" y="64"/>
                        <a:pt x="19" y="64"/>
                      </a:cubicBezTo>
                      <a:cubicBezTo>
                        <a:pt x="18" y="63"/>
                        <a:pt x="18" y="63"/>
                        <a:pt x="18" y="63"/>
                      </a:cubicBezTo>
                      <a:cubicBezTo>
                        <a:pt x="17" y="64"/>
                        <a:pt x="17" y="64"/>
                        <a:pt x="17" y="64"/>
                      </a:cubicBezTo>
                      <a:cubicBezTo>
                        <a:pt x="17" y="65"/>
                        <a:pt x="17" y="65"/>
                        <a:pt x="17" y="65"/>
                      </a:cubicBezTo>
                      <a:cubicBezTo>
                        <a:pt x="16" y="64"/>
                        <a:pt x="16" y="64"/>
                        <a:pt x="16" y="64"/>
                      </a:cubicBezTo>
                      <a:cubicBezTo>
                        <a:pt x="14" y="63"/>
                        <a:pt x="14" y="63"/>
                        <a:pt x="14" y="63"/>
                      </a:cubicBezTo>
                      <a:cubicBezTo>
                        <a:pt x="14" y="63"/>
                        <a:pt x="14" y="63"/>
                        <a:pt x="14" y="63"/>
                      </a:cubicBezTo>
                      <a:cubicBezTo>
                        <a:pt x="15" y="62"/>
                        <a:pt x="15" y="62"/>
                        <a:pt x="15" y="62"/>
                      </a:cubicBezTo>
                      <a:cubicBezTo>
                        <a:pt x="15" y="62"/>
                        <a:pt x="15" y="62"/>
                        <a:pt x="15" y="62"/>
                      </a:cubicBezTo>
                      <a:cubicBezTo>
                        <a:pt x="14" y="62"/>
                        <a:pt x="14" y="62"/>
                        <a:pt x="14" y="62"/>
                      </a:cubicBezTo>
                      <a:cubicBezTo>
                        <a:pt x="14" y="61"/>
                        <a:pt x="14" y="61"/>
                        <a:pt x="14" y="61"/>
                      </a:cubicBezTo>
                      <a:cubicBezTo>
                        <a:pt x="13" y="61"/>
                        <a:pt x="13" y="61"/>
                        <a:pt x="13" y="61"/>
                      </a:cubicBezTo>
                      <a:cubicBezTo>
                        <a:pt x="13" y="60"/>
                        <a:pt x="13" y="60"/>
                        <a:pt x="13" y="60"/>
                      </a:cubicBezTo>
                      <a:cubicBezTo>
                        <a:pt x="12" y="59"/>
                        <a:pt x="12" y="59"/>
                        <a:pt x="12" y="59"/>
                      </a:cubicBezTo>
                      <a:cubicBezTo>
                        <a:pt x="11" y="59"/>
                        <a:pt x="11" y="59"/>
                        <a:pt x="11" y="59"/>
                      </a:cubicBezTo>
                      <a:cubicBezTo>
                        <a:pt x="11" y="57"/>
                        <a:pt x="11" y="57"/>
                        <a:pt x="11" y="57"/>
                      </a:cubicBezTo>
                      <a:cubicBezTo>
                        <a:pt x="10" y="57"/>
                        <a:pt x="10" y="57"/>
                        <a:pt x="10" y="57"/>
                      </a:cubicBezTo>
                      <a:cubicBezTo>
                        <a:pt x="10" y="57"/>
                        <a:pt x="10" y="57"/>
                        <a:pt x="10" y="57"/>
                      </a:cubicBezTo>
                      <a:cubicBezTo>
                        <a:pt x="9" y="56"/>
                        <a:pt x="9" y="56"/>
                        <a:pt x="9" y="56"/>
                      </a:cubicBezTo>
                      <a:cubicBezTo>
                        <a:pt x="9" y="56"/>
                        <a:pt x="9" y="56"/>
                        <a:pt x="9" y="56"/>
                      </a:cubicBezTo>
                      <a:cubicBezTo>
                        <a:pt x="8" y="56"/>
                        <a:pt x="8" y="56"/>
                        <a:pt x="8" y="56"/>
                      </a:cubicBezTo>
                      <a:cubicBezTo>
                        <a:pt x="8" y="57"/>
                        <a:pt x="8" y="57"/>
                        <a:pt x="8" y="57"/>
                      </a:cubicBezTo>
                      <a:cubicBezTo>
                        <a:pt x="8" y="57"/>
                        <a:pt x="8" y="57"/>
                        <a:pt x="8" y="57"/>
                      </a:cubicBezTo>
                      <a:cubicBezTo>
                        <a:pt x="7" y="56"/>
                        <a:pt x="7" y="56"/>
                        <a:pt x="7" y="56"/>
                      </a:cubicBezTo>
                      <a:cubicBezTo>
                        <a:pt x="7" y="55"/>
                        <a:pt x="7" y="55"/>
                        <a:pt x="7" y="55"/>
                      </a:cubicBezTo>
                      <a:cubicBezTo>
                        <a:pt x="7" y="55"/>
                        <a:pt x="7" y="55"/>
                        <a:pt x="7" y="55"/>
                      </a:cubicBezTo>
                      <a:cubicBezTo>
                        <a:pt x="7" y="53"/>
                        <a:pt x="7" y="53"/>
                        <a:pt x="7" y="53"/>
                      </a:cubicBezTo>
                      <a:cubicBezTo>
                        <a:pt x="8" y="53"/>
                        <a:pt x="8" y="53"/>
                        <a:pt x="8" y="53"/>
                      </a:cubicBezTo>
                      <a:cubicBezTo>
                        <a:pt x="8" y="51"/>
                        <a:pt x="8" y="51"/>
                        <a:pt x="8" y="51"/>
                      </a:cubicBezTo>
                      <a:cubicBezTo>
                        <a:pt x="8" y="52"/>
                        <a:pt x="8" y="52"/>
                        <a:pt x="8" y="52"/>
                      </a:cubicBezTo>
                      <a:cubicBezTo>
                        <a:pt x="9" y="51"/>
                        <a:pt x="9" y="51"/>
                        <a:pt x="9" y="51"/>
                      </a:cubicBezTo>
                      <a:cubicBezTo>
                        <a:pt x="8" y="51"/>
                        <a:pt x="8" y="51"/>
                        <a:pt x="8" y="51"/>
                      </a:cubicBezTo>
                      <a:cubicBezTo>
                        <a:pt x="9" y="50"/>
                        <a:pt x="9" y="50"/>
                        <a:pt x="9" y="50"/>
                      </a:cubicBezTo>
                      <a:cubicBezTo>
                        <a:pt x="9" y="50"/>
                        <a:pt x="9" y="50"/>
                        <a:pt x="9" y="50"/>
                      </a:cubicBezTo>
                      <a:cubicBezTo>
                        <a:pt x="9" y="49"/>
                        <a:pt x="9" y="49"/>
                        <a:pt x="9" y="49"/>
                      </a:cubicBezTo>
                      <a:cubicBezTo>
                        <a:pt x="9" y="49"/>
                        <a:pt x="9" y="49"/>
                        <a:pt x="9" y="49"/>
                      </a:cubicBezTo>
                      <a:cubicBezTo>
                        <a:pt x="9" y="47"/>
                        <a:pt x="9" y="47"/>
                        <a:pt x="9" y="47"/>
                      </a:cubicBezTo>
                      <a:cubicBezTo>
                        <a:pt x="9" y="47"/>
                        <a:pt x="9" y="47"/>
                        <a:pt x="9" y="47"/>
                      </a:cubicBezTo>
                      <a:cubicBezTo>
                        <a:pt x="9" y="46"/>
                        <a:pt x="9" y="46"/>
                        <a:pt x="9" y="46"/>
                      </a:cubicBezTo>
                      <a:cubicBezTo>
                        <a:pt x="10" y="45"/>
                        <a:pt x="10" y="45"/>
                        <a:pt x="10" y="45"/>
                      </a:cubicBezTo>
                      <a:cubicBezTo>
                        <a:pt x="11" y="44"/>
                        <a:pt x="11" y="44"/>
                        <a:pt x="11" y="44"/>
                      </a:cubicBezTo>
                      <a:cubicBezTo>
                        <a:pt x="12" y="41"/>
                        <a:pt x="12" y="41"/>
                        <a:pt x="12" y="41"/>
                      </a:cubicBezTo>
                      <a:cubicBezTo>
                        <a:pt x="12" y="41"/>
                        <a:pt x="12" y="41"/>
                        <a:pt x="12" y="41"/>
                      </a:cubicBezTo>
                      <a:cubicBezTo>
                        <a:pt x="12" y="40"/>
                        <a:pt x="12" y="40"/>
                        <a:pt x="12" y="40"/>
                      </a:cubicBezTo>
                      <a:cubicBezTo>
                        <a:pt x="12" y="39"/>
                        <a:pt x="12" y="39"/>
                        <a:pt x="12" y="39"/>
                      </a:cubicBezTo>
                      <a:cubicBezTo>
                        <a:pt x="12" y="37"/>
                        <a:pt x="12" y="37"/>
                        <a:pt x="12" y="37"/>
                      </a:cubicBezTo>
                      <a:cubicBezTo>
                        <a:pt x="11" y="37"/>
                        <a:pt x="11" y="37"/>
                        <a:pt x="11" y="37"/>
                      </a:cubicBezTo>
                      <a:cubicBezTo>
                        <a:pt x="11" y="35"/>
                        <a:pt x="11" y="35"/>
                        <a:pt x="11" y="35"/>
                      </a:cubicBezTo>
                      <a:cubicBezTo>
                        <a:pt x="11" y="35"/>
                        <a:pt x="11" y="35"/>
                        <a:pt x="11" y="35"/>
                      </a:cubicBezTo>
                      <a:cubicBezTo>
                        <a:pt x="11" y="34"/>
                        <a:pt x="11" y="34"/>
                        <a:pt x="11" y="34"/>
                      </a:cubicBezTo>
                      <a:cubicBezTo>
                        <a:pt x="11" y="33"/>
                        <a:pt x="11" y="33"/>
                        <a:pt x="11" y="33"/>
                      </a:cubicBezTo>
                      <a:cubicBezTo>
                        <a:pt x="11" y="32"/>
                        <a:pt x="11" y="32"/>
                        <a:pt x="11" y="32"/>
                      </a:cubicBezTo>
                      <a:cubicBezTo>
                        <a:pt x="10" y="31"/>
                        <a:pt x="10" y="31"/>
                        <a:pt x="10" y="31"/>
                      </a:cubicBezTo>
                      <a:cubicBezTo>
                        <a:pt x="9" y="29"/>
                        <a:pt x="9" y="29"/>
                        <a:pt x="9" y="29"/>
                      </a:cubicBezTo>
                      <a:cubicBezTo>
                        <a:pt x="8" y="28"/>
                        <a:pt x="8" y="28"/>
                        <a:pt x="8" y="28"/>
                      </a:cubicBezTo>
                      <a:cubicBezTo>
                        <a:pt x="6" y="27"/>
                        <a:pt x="6" y="27"/>
                        <a:pt x="6" y="27"/>
                      </a:cubicBezTo>
                      <a:cubicBezTo>
                        <a:pt x="6" y="26"/>
                        <a:pt x="6" y="26"/>
                        <a:pt x="6" y="26"/>
                      </a:cubicBezTo>
                      <a:cubicBezTo>
                        <a:pt x="6" y="25"/>
                        <a:pt x="6" y="25"/>
                        <a:pt x="6" y="25"/>
                      </a:cubicBezTo>
                      <a:cubicBezTo>
                        <a:pt x="7" y="24"/>
                        <a:pt x="7" y="24"/>
                        <a:pt x="7" y="24"/>
                      </a:cubicBezTo>
                      <a:cubicBezTo>
                        <a:pt x="7" y="23"/>
                        <a:pt x="7" y="23"/>
                        <a:pt x="7" y="23"/>
                      </a:cubicBezTo>
                      <a:cubicBezTo>
                        <a:pt x="6" y="21"/>
                        <a:pt x="6" y="21"/>
                        <a:pt x="6" y="21"/>
                      </a:cubicBezTo>
                      <a:cubicBezTo>
                        <a:pt x="7" y="21"/>
                        <a:pt x="7" y="21"/>
                        <a:pt x="7" y="21"/>
                      </a:cubicBezTo>
                      <a:cubicBezTo>
                        <a:pt x="7" y="20"/>
                        <a:pt x="7" y="20"/>
                        <a:pt x="7" y="20"/>
                      </a:cubicBezTo>
                      <a:cubicBezTo>
                        <a:pt x="7" y="19"/>
                        <a:pt x="7" y="19"/>
                        <a:pt x="7" y="19"/>
                      </a:cubicBezTo>
                      <a:cubicBezTo>
                        <a:pt x="6" y="19"/>
                        <a:pt x="6" y="19"/>
                        <a:pt x="6" y="19"/>
                      </a:cubicBezTo>
                      <a:cubicBezTo>
                        <a:pt x="6" y="18"/>
                        <a:pt x="6" y="18"/>
                        <a:pt x="6" y="18"/>
                      </a:cubicBezTo>
                      <a:cubicBezTo>
                        <a:pt x="6" y="17"/>
                        <a:pt x="6" y="17"/>
                        <a:pt x="6" y="17"/>
                      </a:cubicBezTo>
                      <a:cubicBezTo>
                        <a:pt x="5" y="17"/>
                        <a:pt x="5" y="17"/>
                        <a:pt x="5" y="17"/>
                      </a:cubicBezTo>
                      <a:cubicBezTo>
                        <a:pt x="4" y="14"/>
                        <a:pt x="4" y="14"/>
                        <a:pt x="4" y="14"/>
                      </a:cubicBezTo>
                      <a:cubicBezTo>
                        <a:pt x="2" y="14"/>
                        <a:pt x="2" y="14"/>
                        <a:pt x="2" y="14"/>
                      </a:cubicBezTo>
                      <a:cubicBezTo>
                        <a:pt x="2" y="13"/>
                        <a:pt x="2" y="13"/>
                        <a:pt x="2" y="13"/>
                      </a:cubicBezTo>
                      <a:cubicBezTo>
                        <a:pt x="2" y="12"/>
                        <a:pt x="2" y="12"/>
                        <a:pt x="2" y="12"/>
                      </a:cubicBezTo>
                      <a:cubicBezTo>
                        <a:pt x="1" y="11"/>
                        <a:pt x="1" y="11"/>
                        <a:pt x="1" y="11"/>
                      </a:cubicBezTo>
                      <a:cubicBezTo>
                        <a:pt x="0" y="11"/>
                        <a:pt x="0" y="11"/>
                        <a:pt x="0" y="11"/>
                      </a:cubicBezTo>
                      <a:cubicBezTo>
                        <a:pt x="0" y="10"/>
                        <a:pt x="0" y="10"/>
                        <a:pt x="0" y="10"/>
                      </a:cubicBezTo>
                      <a:cubicBezTo>
                        <a:pt x="1" y="10"/>
                        <a:pt x="1" y="10"/>
                        <a:pt x="1" y="10"/>
                      </a:cubicBezTo>
                      <a:cubicBezTo>
                        <a:pt x="2" y="9"/>
                        <a:pt x="2" y="9"/>
                        <a:pt x="2" y="9"/>
                      </a:cubicBezTo>
                      <a:cubicBezTo>
                        <a:pt x="2" y="8"/>
                        <a:pt x="2" y="8"/>
                        <a:pt x="2" y="8"/>
                      </a:cubicBezTo>
                      <a:cubicBezTo>
                        <a:pt x="2" y="7"/>
                        <a:pt x="2" y="7"/>
                        <a:pt x="2" y="7"/>
                      </a:cubicBezTo>
                      <a:cubicBezTo>
                        <a:pt x="2" y="7"/>
                        <a:pt x="2" y="7"/>
                        <a:pt x="2" y="7"/>
                      </a:cubicBezTo>
                      <a:cubicBezTo>
                        <a:pt x="2" y="5"/>
                        <a:pt x="2" y="5"/>
                        <a:pt x="2" y="5"/>
                      </a:cubicBezTo>
                      <a:cubicBezTo>
                        <a:pt x="3" y="4"/>
                        <a:pt x="3" y="4"/>
                        <a:pt x="3" y="4"/>
                      </a:cubicBezTo>
                      <a:cubicBezTo>
                        <a:pt x="5" y="5"/>
                        <a:pt x="5" y="5"/>
                        <a:pt x="5" y="5"/>
                      </a:cubicBezTo>
                      <a:cubicBezTo>
                        <a:pt x="6" y="4"/>
                        <a:pt x="6" y="4"/>
                        <a:pt x="6" y="4"/>
                      </a:cubicBezTo>
                      <a:cubicBezTo>
                        <a:pt x="7" y="4"/>
                        <a:pt x="7" y="4"/>
                        <a:pt x="7" y="4"/>
                      </a:cubicBezTo>
                      <a:cubicBezTo>
                        <a:pt x="7" y="4"/>
                        <a:pt x="7" y="4"/>
                        <a:pt x="7" y="4"/>
                      </a:cubicBezTo>
                      <a:cubicBezTo>
                        <a:pt x="7" y="2"/>
                        <a:pt x="7" y="2"/>
                        <a:pt x="7" y="2"/>
                      </a:cubicBezTo>
                      <a:cubicBezTo>
                        <a:pt x="8" y="2"/>
                        <a:pt x="8" y="2"/>
                        <a:pt x="8" y="2"/>
                      </a:cubicBezTo>
                      <a:cubicBezTo>
                        <a:pt x="9" y="2"/>
                        <a:pt x="9" y="2"/>
                        <a:pt x="9" y="2"/>
                      </a:cubicBezTo>
                      <a:cubicBezTo>
                        <a:pt x="9" y="2"/>
                        <a:pt x="9" y="2"/>
                        <a:pt x="9" y="2"/>
                      </a:cubicBezTo>
                      <a:cubicBezTo>
                        <a:pt x="9" y="1"/>
                        <a:pt x="9" y="1"/>
                        <a:pt x="9" y="1"/>
                      </a:cubicBezTo>
                      <a:cubicBezTo>
                        <a:pt x="9" y="1"/>
                        <a:pt x="9" y="1"/>
                        <a:pt x="9" y="1"/>
                      </a:cubicBezTo>
                      <a:cubicBezTo>
                        <a:pt x="10" y="0"/>
                        <a:pt x="10" y="0"/>
                        <a:pt x="10" y="0"/>
                      </a:cubicBezTo>
                      <a:cubicBezTo>
                        <a:pt x="11" y="0"/>
                        <a:pt x="11" y="0"/>
                        <a:pt x="11" y="0"/>
                      </a:cubicBezTo>
                      <a:cubicBezTo>
                        <a:pt x="11" y="0"/>
                        <a:pt x="11" y="0"/>
                        <a:pt x="11" y="0"/>
                      </a:cubicBezTo>
                      <a:close/>
                      <a:moveTo>
                        <a:pt x="14" y="64"/>
                      </a:moveTo>
                      <a:cubicBezTo>
                        <a:pt x="14" y="64"/>
                        <a:pt x="14" y="64"/>
                        <a:pt x="14" y="64"/>
                      </a:cubicBezTo>
                      <a:cubicBezTo>
                        <a:pt x="15" y="64"/>
                        <a:pt x="15" y="64"/>
                        <a:pt x="15" y="64"/>
                      </a:cubicBezTo>
                      <a:cubicBezTo>
                        <a:pt x="15" y="64"/>
                        <a:pt x="15" y="64"/>
                        <a:pt x="15" y="64"/>
                      </a:cubicBezTo>
                      <a:cubicBezTo>
                        <a:pt x="14" y="64"/>
                        <a:pt x="14" y="64"/>
                        <a:pt x="14" y="64"/>
                      </a:cubicBezTo>
                      <a:cubicBezTo>
                        <a:pt x="14" y="64"/>
                        <a:pt x="14" y="64"/>
                        <a:pt x="14" y="64"/>
                      </a:cubicBezTo>
                      <a:close/>
                      <a:moveTo>
                        <a:pt x="11" y="60"/>
                      </a:moveTo>
                      <a:cubicBezTo>
                        <a:pt x="11" y="60"/>
                        <a:pt x="11" y="60"/>
                        <a:pt x="11" y="60"/>
                      </a:cubicBezTo>
                      <a:cubicBezTo>
                        <a:pt x="11" y="60"/>
                        <a:pt x="11" y="60"/>
                        <a:pt x="11" y="60"/>
                      </a:cubicBezTo>
                      <a:cubicBezTo>
                        <a:pt x="11" y="60"/>
                        <a:pt x="11" y="60"/>
                        <a:pt x="11" y="60"/>
                      </a:cubicBezTo>
                      <a:cubicBezTo>
                        <a:pt x="11" y="60"/>
                        <a:pt x="11" y="60"/>
                        <a:pt x="11" y="60"/>
                      </a:cubicBezTo>
                      <a:close/>
                      <a:moveTo>
                        <a:pt x="8" y="57"/>
                      </a:moveTo>
                      <a:cubicBezTo>
                        <a:pt x="7" y="58"/>
                        <a:pt x="7" y="58"/>
                        <a:pt x="7" y="58"/>
                      </a:cubicBezTo>
                      <a:cubicBezTo>
                        <a:pt x="8" y="58"/>
                        <a:pt x="8" y="58"/>
                        <a:pt x="8" y="58"/>
                      </a:cubicBezTo>
                      <a:cubicBezTo>
                        <a:pt x="8" y="59"/>
                        <a:pt x="8" y="59"/>
                        <a:pt x="8" y="59"/>
                      </a:cubicBezTo>
                      <a:cubicBezTo>
                        <a:pt x="8" y="58"/>
                        <a:pt x="8" y="58"/>
                        <a:pt x="8" y="58"/>
                      </a:cubicBezTo>
                      <a:cubicBezTo>
                        <a:pt x="8" y="57"/>
                        <a:pt x="8" y="57"/>
                        <a:pt x="8" y="57"/>
                      </a:cubicBezTo>
                      <a:cubicBezTo>
                        <a:pt x="8" y="57"/>
                        <a:pt x="8" y="57"/>
                        <a:pt x="8" y="57"/>
                      </a:cubicBezTo>
                      <a:close/>
                      <a:moveTo>
                        <a:pt x="25" y="39"/>
                      </a:moveTo>
                      <a:cubicBezTo>
                        <a:pt x="25" y="39"/>
                        <a:pt x="25" y="39"/>
                        <a:pt x="25" y="39"/>
                      </a:cubicBezTo>
                      <a:cubicBezTo>
                        <a:pt x="26" y="40"/>
                        <a:pt x="26" y="40"/>
                        <a:pt x="26" y="40"/>
                      </a:cubicBezTo>
                      <a:cubicBezTo>
                        <a:pt x="26" y="40"/>
                        <a:pt x="26" y="40"/>
                        <a:pt x="26" y="40"/>
                      </a:cubicBezTo>
                      <a:cubicBezTo>
                        <a:pt x="25" y="39"/>
                        <a:pt x="25" y="39"/>
                        <a:pt x="25" y="39"/>
                      </a:cubicBezTo>
                      <a:close/>
                      <a:moveTo>
                        <a:pt x="16" y="49"/>
                      </a:moveTo>
                      <a:cubicBezTo>
                        <a:pt x="15" y="50"/>
                        <a:pt x="15" y="50"/>
                        <a:pt x="15" y="50"/>
                      </a:cubicBezTo>
                      <a:cubicBezTo>
                        <a:pt x="15" y="50"/>
                        <a:pt x="15" y="50"/>
                        <a:pt x="15" y="50"/>
                      </a:cubicBezTo>
                      <a:cubicBezTo>
                        <a:pt x="16" y="49"/>
                        <a:pt x="16" y="49"/>
                        <a:pt x="16" y="49"/>
                      </a:cubicBezTo>
                      <a:close/>
                      <a:moveTo>
                        <a:pt x="16" y="50"/>
                      </a:moveTo>
                      <a:cubicBezTo>
                        <a:pt x="15" y="51"/>
                        <a:pt x="15" y="51"/>
                        <a:pt x="15" y="51"/>
                      </a:cubicBezTo>
                      <a:cubicBezTo>
                        <a:pt x="15" y="51"/>
                        <a:pt x="15" y="51"/>
                        <a:pt x="15" y="51"/>
                      </a:cubicBezTo>
                      <a:cubicBezTo>
                        <a:pt x="16" y="52"/>
                        <a:pt x="16" y="52"/>
                        <a:pt x="16" y="52"/>
                      </a:cubicBezTo>
                      <a:cubicBezTo>
                        <a:pt x="16" y="51"/>
                        <a:pt x="16" y="51"/>
                        <a:pt x="16" y="51"/>
                      </a:cubicBezTo>
                      <a:lnTo>
                        <a:pt x="16" y="50"/>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Freeform 33">
                  <a:extLst>
                    <a:ext uri="{FF2B5EF4-FFF2-40B4-BE49-F238E27FC236}">
                      <a16:creationId xmlns:a16="http://schemas.microsoft.com/office/drawing/2014/main" id="{E4050BBF-D99B-D56F-E958-8C953E786588}"/>
                    </a:ext>
                  </a:extLst>
                </p:cNvPr>
                <p:cNvSpPr>
                  <a:spLocks noEditPoints="1"/>
                </p:cNvSpPr>
                <p:nvPr/>
              </p:nvSpPr>
              <p:spPr bwMode="auto">
                <a:xfrm>
                  <a:off x="3690" y="2294"/>
                  <a:ext cx="100" cy="204"/>
                </a:xfrm>
                <a:custGeom>
                  <a:avLst/>
                  <a:gdLst>
                    <a:gd name="T0" fmla="*/ 55 w 100"/>
                    <a:gd name="T1" fmla="*/ 2 h 204"/>
                    <a:gd name="T2" fmla="*/ 64 w 100"/>
                    <a:gd name="T3" fmla="*/ 17 h 204"/>
                    <a:gd name="T4" fmla="*/ 62 w 100"/>
                    <a:gd name="T5" fmla="*/ 28 h 204"/>
                    <a:gd name="T6" fmla="*/ 57 w 100"/>
                    <a:gd name="T7" fmla="*/ 35 h 204"/>
                    <a:gd name="T8" fmla="*/ 57 w 100"/>
                    <a:gd name="T9" fmla="*/ 43 h 204"/>
                    <a:gd name="T10" fmla="*/ 69 w 100"/>
                    <a:gd name="T11" fmla="*/ 47 h 204"/>
                    <a:gd name="T12" fmla="*/ 74 w 100"/>
                    <a:gd name="T13" fmla="*/ 54 h 204"/>
                    <a:gd name="T14" fmla="*/ 83 w 100"/>
                    <a:gd name="T15" fmla="*/ 59 h 204"/>
                    <a:gd name="T16" fmla="*/ 78 w 100"/>
                    <a:gd name="T17" fmla="*/ 69 h 204"/>
                    <a:gd name="T18" fmla="*/ 86 w 100"/>
                    <a:gd name="T19" fmla="*/ 73 h 204"/>
                    <a:gd name="T20" fmla="*/ 100 w 100"/>
                    <a:gd name="T21" fmla="*/ 73 h 204"/>
                    <a:gd name="T22" fmla="*/ 93 w 100"/>
                    <a:gd name="T23" fmla="*/ 83 h 204"/>
                    <a:gd name="T24" fmla="*/ 83 w 100"/>
                    <a:gd name="T25" fmla="*/ 90 h 204"/>
                    <a:gd name="T26" fmla="*/ 78 w 100"/>
                    <a:gd name="T27" fmla="*/ 97 h 204"/>
                    <a:gd name="T28" fmla="*/ 67 w 100"/>
                    <a:gd name="T29" fmla="*/ 104 h 204"/>
                    <a:gd name="T30" fmla="*/ 64 w 100"/>
                    <a:gd name="T31" fmla="*/ 114 h 204"/>
                    <a:gd name="T32" fmla="*/ 76 w 100"/>
                    <a:gd name="T33" fmla="*/ 128 h 204"/>
                    <a:gd name="T34" fmla="*/ 76 w 100"/>
                    <a:gd name="T35" fmla="*/ 137 h 204"/>
                    <a:gd name="T36" fmla="*/ 81 w 100"/>
                    <a:gd name="T37" fmla="*/ 154 h 204"/>
                    <a:gd name="T38" fmla="*/ 88 w 100"/>
                    <a:gd name="T39" fmla="*/ 171 h 204"/>
                    <a:gd name="T40" fmla="*/ 90 w 100"/>
                    <a:gd name="T41" fmla="*/ 185 h 204"/>
                    <a:gd name="T42" fmla="*/ 83 w 100"/>
                    <a:gd name="T43" fmla="*/ 199 h 204"/>
                    <a:gd name="T44" fmla="*/ 78 w 100"/>
                    <a:gd name="T45" fmla="*/ 197 h 204"/>
                    <a:gd name="T46" fmla="*/ 81 w 100"/>
                    <a:gd name="T47" fmla="*/ 192 h 204"/>
                    <a:gd name="T48" fmla="*/ 83 w 100"/>
                    <a:gd name="T49" fmla="*/ 182 h 204"/>
                    <a:gd name="T50" fmla="*/ 78 w 100"/>
                    <a:gd name="T51" fmla="*/ 168 h 204"/>
                    <a:gd name="T52" fmla="*/ 74 w 100"/>
                    <a:gd name="T53" fmla="*/ 163 h 204"/>
                    <a:gd name="T54" fmla="*/ 69 w 100"/>
                    <a:gd name="T55" fmla="*/ 152 h 204"/>
                    <a:gd name="T56" fmla="*/ 67 w 100"/>
                    <a:gd name="T57" fmla="*/ 137 h 204"/>
                    <a:gd name="T58" fmla="*/ 64 w 100"/>
                    <a:gd name="T59" fmla="*/ 133 h 204"/>
                    <a:gd name="T60" fmla="*/ 57 w 100"/>
                    <a:gd name="T61" fmla="*/ 123 h 204"/>
                    <a:gd name="T62" fmla="*/ 57 w 100"/>
                    <a:gd name="T63" fmla="*/ 126 h 204"/>
                    <a:gd name="T64" fmla="*/ 50 w 100"/>
                    <a:gd name="T65" fmla="*/ 130 h 204"/>
                    <a:gd name="T66" fmla="*/ 48 w 100"/>
                    <a:gd name="T67" fmla="*/ 135 h 204"/>
                    <a:gd name="T68" fmla="*/ 38 w 100"/>
                    <a:gd name="T69" fmla="*/ 140 h 204"/>
                    <a:gd name="T70" fmla="*/ 31 w 100"/>
                    <a:gd name="T71" fmla="*/ 142 h 204"/>
                    <a:gd name="T72" fmla="*/ 29 w 100"/>
                    <a:gd name="T73" fmla="*/ 137 h 204"/>
                    <a:gd name="T74" fmla="*/ 31 w 100"/>
                    <a:gd name="T75" fmla="*/ 123 h 204"/>
                    <a:gd name="T76" fmla="*/ 26 w 100"/>
                    <a:gd name="T77" fmla="*/ 114 h 204"/>
                    <a:gd name="T78" fmla="*/ 19 w 100"/>
                    <a:gd name="T79" fmla="*/ 102 h 204"/>
                    <a:gd name="T80" fmla="*/ 12 w 100"/>
                    <a:gd name="T81" fmla="*/ 102 h 204"/>
                    <a:gd name="T82" fmla="*/ 17 w 100"/>
                    <a:gd name="T83" fmla="*/ 102 h 204"/>
                    <a:gd name="T84" fmla="*/ 17 w 100"/>
                    <a:gd name="T85" fmla="*/ 95 h 204"/>
                    <a:gd name="T86" fmla="*/ 7 w 100"/>
                    <a:gd name="T87" fmla="*/ 92 h 204"/>
                    <a:gd name="T88" fmla="*/ 7 w 100"/>
                    <a:gd name="T89" fmla="*/ 92 h 204"/>
                    <a:gd name="T90" fmla="*/ 0 w 100"/>
                    <a:gd name="T91" fmla="*/ 81 h 204"/>
                    <a:gd name="T92" fmla="*/ 5 w 100"/>
                    <a:gd name="T93" fmla="*/ 71 h 204"/>
                    <a:gd name="T94" fmla="*/ 10 w 100"/>
                    <a:gd name="T95" fmla="*/ 62 h 204"/>
                    <a:gd name="T96" fmla="*/ 17 w 100"/>
                    <a:gd name="T97" fmla="*/ 50 h 204"/>
                    <a:gd name="T98" fmla="*/ 22 w 100"/>
                    <a:gd name="T99" fmla="*/ 28 h 204"/>
                    <a:gd name="T100" fmla="*/ 31 w 100"/>
                    <a:gd name="T101" fmla="*/ 12 h 204"/>
                    <a:gd name="T102" fmla="*/ 43 w 100"/>
                    <a:gd name="T103" fmla="*/ 7 h 204"/>
                    <a:gd name="T104" fmla="*/ 15 w 100"/>
                    <a:gd name="T105" fmla="*/ 109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0" h="204">
                      <a:moveTo>
                        <a:pt x="45" y="0"/>
                      </a:moveTo>
                      <a:lnTo>
                        <a:pt x="48" y="0"/>
                      </a:lnTo>
                      <a:lnTo>
                        <a:pt x="50" y="0"/>
                      </a:lnTo>
                      <a:lnTo>
                        <a:pt x="52" y="0"/>
                      </a:lnTo>
                      <a:lnTo>
                        <a:pt x="55" y="0"/>
                      </a:lnTo>
                      <a:lnTo>
                        <a:pt x="55" y="2"/>
                      </a:lnTo>
                      <a:lnTo>
                        <a:pt x="57" y="5"/>
                      </a:lnTo>
                      <a:lnTo>
                        <a:pt x="57" y="7"/>
                      </a:lnTo>
                      <a:lnTo>
                        <a:pt x="59" y="7"/>
                      </a:lnTo>
                      <a:lnTo>
                        <a:pt x="62" y="9"/>
                      </a:lnTo>
                      <a:lnTo>
                        <a:pt x="62" y="12"/>
                      </a:lnTo>
                      <a:lnTo>
                        <a:pt x="64" y="17"/>
                      </a:lnTo>
                      <a:lnTo>
                        <a:pt x="64" y="19"/>
                      </a:lnTo>
                      <a:lnTo>
                        <a:pt x="64" y="24"/>
                      </a:lnTo>
                      <a:lnTo>
                        <a:pt x="64" y="26"/>
                      </a:lnTo>
                      <a:lnTo>
                        <a:pt x="64" y="26"/>
                      </a:lnTo>
                      <a:lnTo>
                        <a:pt x="62" y="28"/>
                      </a:lnTo>
                      <a:lnTo>
                        <a:pt x="62" y="28"/>
                      </a:lnTo>
                      <a:lnTo>
                        <a:pt x="59" y="28"/>
                      </a:lnTo>
                      <a:lnTo>
                        <a:pt x="59" y="31"/>
                      </a:lnTo>
                      <a:lnTo>
                        <a:pt x="59" y="33"/>
                      </a:lnTo>
                      <a:lnTo>
                        <a:pt x="59" y="33"/>
                      </a:lnTo>
                      <a:lnTo>
                        <a:pt x="57" y="33"/>
                      </a:lnTo>
                      <a:lnTo>
                        <a:pt x="57" y="35"/>
                      </a:lnTo>
                      <a:lnTo>
                        <a:pt x="55" y="38"/>
                      </a:lnTo>
                      <a:lnTo>
                        <a:pt x="57" y="38"/>
                      </a:lnTo>
                      <a:lnTo>
                        <a:pt x="55" y="40"/>
                      </a:lnTo>
                      <a:lnTo>
                        <a:pt x="55" y="40"/>
                      </a:lnTo>
                      <a:lnTo>
                        <a:pt x="57" y="43"/>
                      </a:lnTo>
                      <a:lnTo>
                        <a:pt x="57" y="43"/>
                      </a:lnTo>
                      <a:lnTo>
                        <a:pt x="59" y="45"/>
                      </a:lnTo>
                      <a:lnTo>
                        <a:pt x="59" y="47"/>
                      </a:lnTo>
                      <a:lnTo>
                        <a:pt x="59" y="50"/>
                      </a:lnTo>
                      <a:lnTo>
                        <a:pt x="62" y="47"/>
                      </a:lnTo>
                      <a:lnTo>
                        <a:pt x="69" y="47"/>
                      </a:lnTo>
                      <a:lnTo>
                        <a:pt x="69" y="47"/>
                      </a:lnTo>
                      <a:lnTo>
                        <a:pt x="69" y="50"/>
                      </a:lnTo>
                      <a:lnTo>
                        <a:pt x="69" y="50"/>
                      </a:lnTo>
                      <a:lnTo>
                        <a:pt x="71" y="50"/>
                      </a:lnTo>
                      <a:lnTo>
                        <a:pt x="74" y="52"/>
                      </a:lnTo>
                      <a:lnTo>
                        <a:pt x="71" y="54"/>
                      </a:lnTo>
                      <a:lnTo>
                        <a:pt x="74" y="54"/>
                      </a:lnTo>
                      <a:lnTo>
                        <a:pt x="76" y="57"/>
                      </a:lnTo>
                      <a:lnTo>
                        <a:pt x="76" y="57"/>
                      </a:lnTo>
                      <a:lnTo>
                        <a:pt x="76" y="59"/>
                      </a:lnTo>
                      <a:lnTo>
                        <a:pt x="76" y="57"/>
                      </a:lnTo>
                      <a:lnTo>
                        <a:pt x="81" y="57"/>
                      </a:lnTo>
                      <a:lnTo>
                        <a:pt x="83" y="59"/>
                      </a:lnTo>
                      <a:lnTo>
                        <a:pt x="83" y="59"/>
                      </a:lnTo>
                      <a:lnTo>
                        <a:pt x="81" y="62"/>
                      </a:lnTo>
                      <a:lnTo>
                        <a:pt x="81" y="64"/>
                      </a:lnTo>
                      <a:lnTo>
                        <a:pt x="78" y="66"/>
                      </a:lnTo>
                      <a:lnTo>
                        <a:pt x="76" y="69"/>
                      </a:lnTo>
                      <a:lnTo>
                        <a:pt x="78" y="69"/>
                      </a:lnTo>
                      <a:lnTo>
                        <a:pt x="78" y="69"/>
                      </a:lnTo>
                      <a:lnTo>
                        <a:pt x="83" y="69"/>
                      </a:lnTo>
                      <a:lnTo>
                        <a:pt x="83" y="71"/>
                      </a:lnTo>
                      <a:lnTo>
                        <a:pt x="86" y="69"/>
                      </a:lnTo>
                      <a:lnTo>
                        <a:pt x="86" y="71"/>
                      </a:lnTo>
                      <a:lnTo>
                        <a:pt x="86" y="73"/>
                      </a:lnTo>
                      <a:lnTo>
                        <a:pt x="86" y="76"/>
                      </a:lnTo>
                      <a:lnTo>
                        <a:pt x="90" y="76"/>
                      </a:lnTo>
                      <a:lnTo>
                        <a:pt x="90" y="76"/>
                      </a:lnTo>
                      <a:lnTo>
                        <a:pt x="93" y="76"/>
                      </a:lnTo>
                      <a:lnTo>
                        <a:pt x="97" y="73"/>
                      </a:lnTo>
                      <a:lnTo>
                        <a:pt x="100" y="73"/>
                      </a:lnTo>
                      <a:lnTo>
                        <a:pt x="100" y="76"/>
                      </a:lnTo>
                      <a:lnTo>
                        <a:pt x="97" y="78"/>
                      </a:lnTo>
                      <a:lnTo>
                        <a:pt x="95" y="78"/>
                      </a:lnTo>
                      <a:lnTo>
                        <a:pt x="95" y="81"/>
                      </a:lnTo>
                      <a:lnTo>
                        <a:pt x="93" y="83"/>
                      </a:lnTo>
                      <a:lnTo>
                        <a:pt x="93" y="83"/>
                      </a:lnTo>
                      <a:lnTo>
                        <a:pt x="90" y="85"/>
                      </a:lnTo>
                      <a:lnTo>
                        <a:pt x="90" y="85"/>
                      </a:lnTo>
                      <a:lnTo>
                        <a:pt x="88" y="88"/>
                      </a:lnTo>
                      <a:lnTo>
                        <a:pt x="86" y="88"/>
                      </a:lnTo>
                      <a:lnTo>
                        <a:pt x="83" y="90"/>
                      </a:lnTo>
                      <a:lnTo>
                        <a:pt x="83" y="90"/>
                      </a:lnTo>
                      <a:lnTo>
                        <a:pt x="83" y="92"/>
                      </a:lnTo>
                      <a:lnTo>
                        <a:pt x="83" y="92"/>
                      </a:lnTo>
                      <a:lnTo>
                        <a:pt x="81" y="92"/>
                      </a:lnTo>
                      <a:lnTo>
                        <a:pt x="78" y="92"/>
                      </a:lnTo>
                      <a:lnTo>
                        <a:pt x="78" y="97"/>
                      </a:lnTo>
                      <a:lnTo>
                        <a:pt x="78" y="97"/>
                      </a:lnTo>
                      <a:lnTo>
                        <a:pt x="76" y="97"/>
                      </a:lnTo>
                      <a:lnTo>
                        <a:pt x="74" y="99"/>
                      </a:lnTo>
                      <a:lnTo>
                        <a:pt x="69" y="97"/>
                      </a:lnTo>
                      <a:lnTo>
                        <a:pt x="67" y="99"/>
                      </a:lnTo>
                      <a:lnTo>
                        <a:pt x="67" y="104"/>
                      </a:lnTo>
                      <a:lnTo>
                        <a:pt x="67" y="104"/>
                      </a:lnTo>
                      <a:lnTo>
                        <a:pt x="67" y="107"/>
                      </a:lnTo>
                      <a:lnTo>
                        <a:pt x="67" y="109"/>
                      </a:lnTo>
                      <a:lnTo>
                        <a:pt x="64" y="111"/>
                      </a:lnTo>
                      <a:lnTo>
                        <a:pt x="62" y="111"/>
                      </a:lnTo>
                      <a:lnTo>
                        <a:pt x="62" y="114"/>
                      </a:lnTo>
                      <a:lnTo>
                        <a:pt x="64" y="114"/>
                      </a:lnTo>
                      <a:lnTo>
                        <a:pt x="67" y="116"/>
                      </a:lnTo>
                      <a:lnTo>
                        <a:pt x="67" y="118"/>
                      </a:lnTo>
                      <a:lnTo>
                        <a:pt x="67" y="121"/>
                      </a:lnTo>
                      <a:lnTo>
                        <a:pt x="71" y="121"/>
                      </a:lnTo>
                      <a:lnTo>
                        <a:pt x="74" y="128"/>
                      </a:lnTo>
                      <a:lnTo>
                        <a:pt x="76" y="128"/>
                      </a:lnTo>
                      <a:lnTo>
                        <a:pt x="76" y="130"/>
                      </a:lnTo>
                      <a:lnTo>
                        <a:pt x="76" y="133"/>
                      </a:lnTo>
                      <a:lnTo>
                        <a:pt x="78" y="133"/>
                      </a:lnTo>
                      <a:lnTo>
                        <a:pt x="78" y="135"/>
                      </a:lnTo>
                      <a:lnTo>
                        <a:pt x="78" y="137"/>
                      </a:lnTo>
                      <a:lnTo>
                        <a:pt x="76" y="137"/>
                      </a:lnTo>
                      <a:lnTo>
                        <a:pt x="78" y="142"/>
                      </a:lnTo>
                      <a:lnTo>
                        <a:pt x="78" y="145"/>
                      </a:lnTo>
                      <a:lnTo>
                        <a:pt x="76" y="147"/>
                      </a:lnTo>
                      <a:lnTo>
                        <a:pt x="76" y="149"/>
                      </a:lnTo>
                      <a:lnTo>
                        <a:pt x="76" y="152"/>
                      </a:lnTo>
                      <a:lnTo>
                        <a:pt x="81" y="154"/>
                      </a:lnTo>
                      <a:lnTo>
                        <a:pt x="83" y="156"/>
                      </a:lnTo>
                      <a:lnTo>
                        <a:pt x="86" y="161"/>
                      </a:lnTo>
                      <a:lnTo>
                        <a:pt x="88" y="163"/>
                      </a:lnTo>
                      <a:lnTo>
                        <a:pt x="88" y="166"/>
                      </a:lnTo>
                      <a:lnTo>
                        <a:pt x="88" y="168"/>
                      </a:lnTo>
                      <a:lnTo>
                        <a:pt x="88" y="171"/>
                      </a:lnTo>
                      <a:lnTo>
                        <a:pt x="88" y="171"/>
                      </a:lnTo>
                      <a:lnTo>
                        <a:pt x="88" y="175"/>
                      </a:lnTo>
                      <a:lnTo>
                        <a:pt x="90" y="175"/>
                      </a:lnTo>
                      <a:lnTo>
                        <a:pt x="90" y="180"/>
                      </a:lnTo>
                      <a:lnTo>
                        <a:pt x="90" y="182"/>
                      </a:lnTo>
                      <a:lnTo>
                        <a:pt x="90" y="185"/>
                      </a:lnTo>
                      <a:lnTo>
                        <a:pt x="90" y="185"/>
                      </a:lnTo>
                      <a:lnTo>
                        <a:pt x="88" y="192"/>
                      </a:lnTo>
                      <a:lnTo>
                        <a:pt x="86" y="194"/>
                      </a:lnTo>
                      <a:lnTo>
                        <a:pt x="83" y="197"/>
                      </a:lnTo>
                      <a:lnTo>
                        <a:pt x="83" y="199"/>
                      </a:lnTo>
                      <a:lnTo>
                        <a:pt x="83" y="199"/>
                      </a:lnTo>
                      <a:lnTo>
                        <a:pt x="83" y="199"/>
                      </a:lnTo>
                      <a:lnTo>
                        <a:pt x="81" y="201"/>
                      </a:lnTo>
                      <a:lnTo>
                        <a:pt x="81" y="204"/>
                      </a:lnTo>
                      <a:lnTo>
                        <a:pt x="81" y="201"/>
                      </a:lnTo>
                      <a:lnTo>
                        <a:pt x="81" y="199"/>
                      </a:lnTo>
                      <a:lnTo>
                        <a:pt x="78" y="197"/>
                      </a:lnTo>
                      <a:lnTo>
                        <a:pt x="78" y="197"/>
                      </a:lnTo>
                      <a:lnTo>
                        <a:pt x="81" y="197"/>
                      </a:lnTo>
                      <a:lnTo>
                        <a:pt x="81" y="197"/>
                      </a:lnTo>
                      <a:lnTo>
                        <a:pt x="83" y="194"/>
                      </a:lnTo>
                      <a:lnTo>
                        <a:pt x="83" y="192"/>
                      </a:lnTo>
                      <a:lnTo>
                        <a:pt x="81" y="192"/>
                      </a:lnTo>
                      <a:lnTo>
                        <a:pt x="83" y="190"/>
                      </a:lnTo>
                      <a:lnTo>
                        <a:pt x="83" y="187"/>
                      </a:lnTo>
                      <a:lnTo>
                        <a:pt x="83" y="187"/>
                      </a:lnTo>
                      <a:lnTo>
                        <a:pt x="83" y="185"/>
                      </a:lnTo>
                      <a:lnTo>
                        <a:pt x="83" y="182"/>
                      </a:lnTo>
                      <a:lnTo>
                        <a:pt x="83" y="182"/>
                      </a:lnTo>
                      <a:lnTo>
                        <a:pt x="81" y="180"/>
                      </a:lnTo>
                      <a:lnTo>
                        <a:pt x="81" y="178"/>
                      </a:lnTo>
                      <a:lnTo>
                        <a:pt x="81" y="175"/>
                      </a:lnTo>
                      <a:lnTo>
                        <a:pt x="81" y="175"/>
                      </a:lnTo>
                      <a:lnTo>
                        <a:pt x="81" y="173"/>
                      </a:lnTo>
                      <a:lnTo>
                        <a:pt x="78" y="168"/>
                      </a:lnTo>
                      <a:lnTo>
                        <a:pt x="78" y="166"/>
                      </a:lnTo>
                      <a:lnTo>
                        <a:pt x="76" y="163"/>
                      </a:lnTo>
                      <a:lnTo>
                        <a:pt x="76" y="161"/>
                      </a:lnTo>
                      <a:lnTo>
                        <a:pt x="76" y="166"/>
                      </a:lnTo>
                      <a:lnTo>
                        <a:pt x="74" y="166"/>
                      </a:lnTo>
                      <a:lnTo>
                        <a:pt x="74" y="163"/>
                      </a:lnTo>
                      <a:lnTo>
                        <a:pt x="74" y="161"/>
                      </a:lnTo>
                      <a:lnTo>
                        <a:pt x="74" y="156"/>
                      </a:lnTo>
                      <a:lnTo>
                        <a:pt x="71" y="156"/>
                      </a:lnTo>
                      <a:lnTo>
                        <a:pt x="71" y="154"/>
                      </a:lnTo>
                      <a:lnTo>
                        <a:pt x="74" y="152"/>
                      </a:lnTo>
                      <a:lnTo>
                        <a:pt x="69" y="152"/>
                      </a:lnTo>
                      <a:lnTo>
                        <a:pt x="69" y="147"/>
                      </a:lnTo>
                      <a:lnTo>
                        <a:pt x="69" y="147"/>
                      </a:lnTo>
                      <a:lnTo>
                        <a:pt x="69" y="140"/>
                      </a:lnTo>
                      <a:lnTo>
                        <a:pt x="67" y="140"/>
                      </a:lnTo>
                      <a:lnTo>
                        <a:pt x="67" y="137"/>
                      </a:lnTo>
                      <a:lnTo>
                        <a:pt x="67" y="137"/>
                      </a:lnTo>
                      <a:lnTo>
                        <a:pt x="67" y="135"/>
                      </a:lnTo>
                      <a:lnTo>
                        <a:pt x="67" y="133"/>
                      </a:lnTo>
                      <a:lnTo>
                        <a:pt x="67" y="133"/>
                      </a:lnTo>
                      <a:lnTo>
                        <a:pt x="67" y="130"/>
                      </a:lnTo>
                      <a:lnTo>
                        <a:pt x="67" y="133"/>
                      </a:lnTo>
                      <a:lnTo>
                        <a:pt x="64" y="133"/>
                      </a:lnTo>
                      <a:lnTo>
                        <a:pt x="62" y="133"/>
                      </a:lnTo>
                      <a:lnTo>
                        <a:pt x="62" y="130"/>
                      </a:lnTo>
                      <a:lnTo>
                        <a:pt x="62" y="130"/>
                      </a:lnTo>
                      <a:lnTo>
                        <a:pt x="59" y="126"/>
                      </a:lnTo>
                      <a:lnTo>
                        <a:pt x="57" y="123"/>
                      </a:lnTo>
                      <a:lnTo>
                        <a:pt x="57" y="123"/>
                      </a:lnTo>
                      <a:lnTo>
                        <a:pt x="57" y="123"/>
                      </a:lnTo>
                      <a:lnTo>
                        <a:pt x="55" y="121"/>
                      </a:lnTo>
                      <a:lnTo>
                        <a:pt x="57" y="123"/>
                      </a:lnTo>
                      <a:lnTo>
                        <a:pt x="55" y="123"/>
                      </a:lnTo>
                      <a:lnTo>
                        <a:pt x="55" y="126"/>
                      </a:lnTo>
                      <a:lnTo>
                        <a:pt x="57" y="126"/>
                      </a:lnTo>
                      <a:lnTo>
                        <a:pt x="57" y="128"/>
                      </a:lnTo>
                      <a:lnTo>
                        <a:pt x="55" y="128"/>
                      </a:lnTo>
                      <a:lnTo>
                        <a:pt x="57" y="130"/>
                      </a:lnTo>
                      <a:lnTo>
                        <a:pt x="52" y="133"/>
                      </a:lnTo>
                      <a:lnTo>
                        <a:pt x="52" y="133"/>
                      </a:lnTo>
                      <a:lnTo>
                        <a:pt x="50" y="130"/>
                      </a:lnTo>
                      <a:lnTo>
                        <a:pt x="50" y="130"/>
                      </a:lnTo>
                      <a:lnTo>
                        <a:pt x="50" y="133"/>
                      </a:lnTo>
                      <a:lnTo>
                        <a:pt x="50" y="133"/>
                      </a:lnTo>
                      <a:lnTo>
                        <a:pt x="52" y="133"/>
                      </a:lnTo>
                      <a:lnTo>
                        <a:pt x="50" y="135"/>
                      </a:lnTo>
                      <a:lnTo>
                        <a:pt x="48" y="135"/>
                      </a:lnTo>
                      <a:lnTo>
                        <a:pt x="45" y="135"/>
                      </a:lnTo>
                      <a:lnTo>
                        <a:pt x="45" y="135"/>
                      </a:lnTo>
                      <a:lnTo>
                        <a:pt x="41" y="140"/>
                      </a:lnTo>
                      <a:lnTo>
                        <a:pt x="38" y="137"/>
                      </a:lnTo>
                      <a:lnTo>
                        <a:pt x="38" y="140"/>
                      </a:lnTo>
                      <a:lnTo>
                        <a:pt x="38" y="140"/>
                      </a:lnTo>
                      <a:lnTo>
                        <a:pt x="38" y="137"/>
                      </a:lnTo>
                      <a:lnTo>
                        <a:pt x="38" y="140"/>
                      </a:lnTo>
                      <a:lnTo>
                        <a:pt x="36" y="140"/>
                      </a:lnTo>
                      <a:lnTo>
                        <a:pt x="36" y="137"/>
                      </a:lnTo>
                      <a:lnTo>
                        <a:pt x="31" y="140"/>
                      </a:lnTo>
                      <a:lnTo>
                        <a:pt x="31" y="142"/>
                      </a:lnTo>
                      <a:lnTo>
                        <a:pt x="31" y="142"/>
                      </a:lnTo>
                      <a:lnTo>
                        <a:pt x="31" y="137"/>
                      </a:lnTo>
                      <a:lnTo>
                        <a:pt x="33" y="135"/>
                      </a:lnTo>
                      <a:lnTo>
                        <a:pt x="33" y="133"/>
                      </a:lnTo>
                      <a:lnTo>
                        <a:pt x="31" y="135"/>
                      </a:lnTo>
                      <a:lnTo>
                        <a:pt x="29" y="137"/>
                      </a:lnTo>
                      <a:lnTo>
                        <a:pt x="29" y="140"/>
                      </a:lnTo>
                      <a:lnTo>
                        <a:pt x="26" y="140"/>
                      </a:lnTo>
                      <a:lnTo>
                        <a:pt x="29" y="137"/>
                      </a:lnTo>
                      <a:lnTo>
                        <a:pt x="26" y="135"/>
                      </a:lnTo>
                      <a:lnTo>
                        <a:pt x="29" y="126"/>
                      </a:lnTo>
                      <a:lnTo>
                        <a:pt x="31" y="123"/>
                      </a:lnTo>
                      <a:lnTo>
                        <a:pt x="31" y="123"/>
                      </a:lnTo>
                      <a:lnTo>
                        <a:pt x="29" y="118"/>
                      </a:lnTo>
                      <a:lnTo>
                        <a:pt x="29" y="114"/>
                      </a:lnTo>
                      <a:lnTo>
                        <a:pt x="26" y="114"/>
                      </a:lnTo>
                      <a:lnTo>
                        <a:pt x="26" y="114"/>
                      </a:lnTo>
                      <a:lnTo>
                        <a:pt x="26" y="114"/>
                      </a:lnTo>
                      <a:lnTo>
                        <a:pt x="26" y="111"/>
                      </a:lnTo>
                      <a:lnTo>
                        <a:pt x="24" y="109"/>
                      </a:lnTo>
                      <a:lnTo>
                        <a:pt x="24" y="107"/>
                      </a:lnTo>
                      <a:lnTo>
                        <a:pt x="22" y="107"/>
                      </a:lnTo>
                      <a:lnTo>
                        <a:pt x="22" y="104"/>
                      </a:lnTo>
                      <a:lnTo>
                        <a:pt x="19" y="102"/>
                      </a:lnTo>
                      <a:lnTo>
                        <a:pt x="22" y="104"/>
                      </a:lnTo>
                      <a:lnTo>
                        <a:pt x="22" y="107"/>
                      </a:lnTo>
                      <a:lnTo>
                        <a:pt x="17" y="107"/>
                      </a:lnTo>
                      <a:lnTo>
                        <a:pt x="15" y="104"/>
                      </a:lnTo>
                      <a:lnTo>
                        <a:pt x="15" y="104"/>
                      </a:lnTo>
                      <a:lnTo>
                        <a:pt x="12" y="102"/>
                      </a:lnTo>
                      <a:lnTo>
                        <a:pt x="12" y="99"/>
                      </a:lnTo>
                      <a:lnTo>
                        <a:pt x="15" y="99"/>
                      </a:lnTo>
                      <a:lnTo>
                        <a:pt x="15" y="102"/>
                      </a:lnTo>
                      <a:lnTo>
                        <a:pt x="17" y="102"/>
                      </a:lnTo>
                      <a:lnTo>
                        <a:pt x="17" y="102"/>
                      </a:lnTo>
                      <a:lnTo>
                        <a:pt x="17" y="102"/>
                      </a:lnTo>
                      <a:lnTo>
                        <a:pt x="15" y="99"/>
                      </a:lnTo>
                      <a:lnTo>
                        <a:pt x="17" y="99"/>
                      </a:lnTo>
                      <a:lnTo>
                        <a:pt x="19" y="99"/>
                      </a:lnTo>
                      <a:lnTo>
                        <a:pt x="19" y="99"/>
                      </a:lnTo>
                      <a:lnTo>
                        <a:pt x="19" y="99"/>
                      </a:lnTo>
                      <a:lnTo>
                        <a:pt x="17" y="95"/>
                      </a:lnTo>
                      <a:lnTo>
                        <a:pt x="15" y="95"/>
                      </a:lnTo>
                      <a:lnTo>
                        <a:pt x="12" y="95"/>
                      </a:lnTo>
                      <a:lnTo>
                        <a:pt x="12" y="92"/>
                      </a:lnTo>
                      <a:lnTo>
                        <a:pt x="10" y="92"/>
                      </a:lnTo>
                      <a:lnTo>
                        <a:pt x="10" y="92"/>
                      </a:lnTo>
                      <a:lnTo>
                        <a:pt x="7" y="92"/>
                      </a:lnTo>
                      <a:lnTo>
                        <a:pt x="7" y="92"/>
                      </a:lnTo>
                      <a:lnTo>
                        <a:pt x="10" y="90"/>
                      </a:lnTo>
                      <a:lnTo>
                        <a:pt x="7" y="90"/>
                      </a:lnTo>
                      <a:lnTo>
                        <a:pt x="5" y="90"/>
                      </a:lnTo>
                      <a:lnTo>
                        <a:pt x="5" y="90"/>
                      </a:lnTo>
                      <a:lnTo>
                        <a:pt x="7" y="92"/>
                      </a:lnTo>
                      <a:lnTo>
                        <a:pt x="3" y="88"/>
                      </a:lnTo>
                      <a:lnTo>
                        <a:pt x="0" y="85"/>
                      </a:lnTo>
                      <a:lnTo>
                        <a:pt x="0" y="83"/>
                      </a:lnTo>
                      <a:lnTo>
                        <a:pt x="0" y="83"/>
                      </a:lnTo>
                      <a:lnTo>
                        <a:pt x="0" y="83"/>
                      </a:lnTo>
                      <a:lnTo>
                        <a:pt x="0" y="81"/>
                      </a:lnTo>
                      <a:lnTo>
                        <a:pt x="3" y="78"/>
                      </a:lnTo>
                      <a:lnTo>
                        <a:pt x="3" y="78"/>
                      </a:lnTo>
                      <a:lnTo>
                        <a:pt x="5" y="76"/>
                      </a:lnTo>
                      <a:lnTo>
                        <a:pt x="5" y="73"/>
                      </a:lnTo>
                      <a:lnTo>
                        <a:pt x="5" y="71"/>
                      </a:lnTo>
                      <a:lnTo>
                        <a:pt x="5" y="71"/>
                      </a:lnTo>
                      <a:lnTo>
                        <a:pt x="7" y="71"/>
                      </a:lnTo>
                      <a:lnTo>
                        <a:pt x="7" y="69"/>
                      </a:lnTo>
                      <a:lnTo>
                        <a:pt x="7" y="66"/>
                      </a:lnTo>
                      <a:lnTo>
                        <a:pt x="7" y="64"/>
                      </a:lnTo>
                      <a:lnTo>
                        <a:pt x="7" y="59"/>
                      </a:lnTo>
                      <a:lnTo>
                        <a:pt x="10" y="62"/>
                      </a:lnTo>
                      <a:lnTo>
                        <a:pt x="10" y="57"/>
                      </a:lnTo>
                      <a:lnTo>
                        <a:pt x="10" y="54"/>
                      </a:lnTo>
                      <a:lnTo>
                        <a:pt x="10" y="50"/>
                      </a:lnTo>
                      <a:lnTo>
                        <a:pt x="12" y="50"/>
                      </a:lnTo>
                      <a:lnTo>
                        <a:pt x="15" y="50"/>
                      </a:lnTo>
                      <a:lnTo>
                        <a:pt x="17" y="50"/>
                      </a:lnTo>
                      <a:lnTo>
                        <a:pt x="19" y="45"/>
                      </a:lnTo>
                      <a:lnTo>
                        <a:pt x="19" y="43"/>
                      </a:lnTo>
                      <a:lnTo>
                        <a:pt x="22" y="35"/>
                      </a:lnTo>
                      <a:lnTo>
                        <a:pt x="19" y="35"/>
                      </a:lnTo>
                      <a:lnTo>
                        <a:pt x="19" y="33"/>
                      </a:lnTo>
                      <a:lnTo>
                        <a:pt x="22" y="28"/>
                      </a:lnTo>
                      <a:lnTo>
                        <a:pt x="24" y="24"/>
                      </a:lnTo>
                      <a:lnTo>
                        <a:pt x="22" y="24"/>
                      </a:lnTo>
                      <a:lnTo>
                        <a:pt x="24" y="21"/>
                      </a:lnTo>
                      <a:lnTo>
                        <a:pt x="26" y="17"/>
                      </a:lnTo>
                      <a:lnTo>
                        <a:pt x="29" y="14"/>
                      </a:lnTo>
                      <a:lnTo>
                        <a:pt x="31" y="12"/>
                      </a:lnTo>
                      <a:lnTo>
                        <a:pt x="33" y="9"/>
                      </a:lnTo>
                      <a:lnTo>
                        <a:pt x="36" y="9"/>
                      </a:lnTo>
                      <a:lnTo>
                        <a:pt x="41" y="7"/>
                      </a:lnTo>
                      <a:lnTo>
                        <a:pt x="43" y="7"/>
                      </a:lnTo>
                      <a:lnTo>
                        <a:pt x="45" y="9"/>
                      </a:lnTo>
                      <a:lnTo>
                        <a:pt x="43" y="7"/>
                      </a:lnTo>
                      <a:lnTo>
                        <a:pt x="43" y="5"/>
                      </a:lnTo>
                      <a:lnTo>
                        <a:pt x="45" y="2"/>
                      </a:lnTo>
                      <a:lnTo>
                        <a:pt x="45" y="0"/>
                      </a:lnTo>
                      <a:lnTo>
                        <a:pt x="45" y="0"/>
                      </a:lnTo>
                      <a:lnTo>
                        <a:pt x="45" y="0"/>
                      </a:lnTo>
                      <a:close/>
                      <a:moveTo>
                        <a:pt x="15" y="109"/>
                      </a:moveTo>
                      <a:lnTo>
                        <a:pt x="15" y="109"/>
                      </a:lnTo>
                      <a:lnTo>
                        <a:pt x="17" y="111"/>
                      </a:lnTo>
                      <a:lnTo>
                        <a:pt x="17" y="109"/>
                      </a:lnTo>
                      <a:lnTo>
                        <a:pt x="17" y="107"/>
                      </a:lnTo>
                      <a:lnTo>
                        <a:pt x="15" y="109"/>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Freeform 34">
                  <a:extLst>
                    <a:ext uri="{FF2B5EF4-FFF2-40B4-BE49-F238E27FC236}">
                      <a16:creationId xmlns:a16="http://schemas.microsoft.com/office/drawing/2014/main" id="{80283054-EB59-1A44-DC77-B9178920649B}"/>
                    </a:ext>
                  </a:extLst>
                </p:cNvPr>
                <p:cNvSpPr>
                  <a:spLocks noEditPoints="1"/>
                </p:cNvSpPr>
                <p:nvPr/>
              </p:nvSpPr>
              <p:spPr bwMode="auto">
                <a:xfrm>
                  <a:off x="3558" y="2500"/>
                  <a:ext cx="26" cy="40"/>
                </a:xfrm>
                <a:custGeom>
                  <a:avLst/>
                  <a:gdLst>
                    <a:gd name="T0" fmla="*/ 0 w 26"/>
                    <a:gd name="T1" fmla="*/ 17 h 40"/>
                    <a:gd name="T2" fmla="*/ 2 w 26"/>
                    <a:gd name="T3" fmla="*/ 14 h 40"/>
                    <a:gd name="T4" fmla="*/ 2 w 26"/>
                    <a:gd name="T5" fmla="*/ 17 h 40"/>
                    <a:gd name="T6" fmla="*/ 0 w 26"/>
                    <a:gd name="T7" fmla="*/ 19 h 40"/>
                    <a:gd name="T8" fmla="*/ 5 w 26"/>
                    <a:gd name="T9" fmla="*/ 2 h 40"/>
                    <a:gd name="T10" fmla="*/ 2 w 26"/>
                    <a:gd name="T11" fmla="*/ 0 h 40"/>
                    <a:gd name="T12" fmla="*/ 7 w 26"/>
                    <a:gd name="T13" fmla="*/ 0 h 40"/>
                    <a:gd name="T14" fmla="*/ 5 w 26"/>
                    <a:gd name="T15" fmla="*/ 2 h 40"/>
                    <a:gd name="T16" fmla="*/ 5 w 26"/>
                    <a:gd name="T17" fmla="*/ 2 h 40"/>
                    <a:gd name="T18" fmla="*/ 9 w 26"/>
                    <a:gd name="T19" fmla="*/ 0 h 40"/>
                    <a:gd name="T20" fmla="*/ 12 w 26"/>
                    <a:gd name="T21" fmla="*/ 5 h 40"/>
                    <a:gd name="T22" fmla="*/ 12 w 26"/>
                    <a:gd name="T23" fmla="*/ 5 h 40"/>
                    <a:gd name="T24" fmla="*/ 9 w 26"/>
                    <a:gd name="T25" fmla="*/ 2 h 40"/>
                    <a:gd name="T26" fmla="*/ 7 w 26"/>
                    <a:gd name="T27" fmla="*/ 2 h 40"/>
                    <a:gd name="T28" fmla="*/ 7 w 26"/>
                    <a:gd name="T29" fmla="*/ 0 h 40"/>
                    <a:gd name="T30" fmla="*/ 7 w 26"/>
                    <a:gd name="T31" fmla="*/ 0 h 40"/>
                    <a:gd name="T32" fmla="*/ 5 w 26"/>
                    <a:gd name="T33" fmla="*/ 5 h 40"/>
                    <a:gd name="T34" fmla="*/ 5 w 26"/>
                    <a:gd name="T35" fmla="*/ 5 h 40"/>
                    <a:gd name="T36" fmla="*/ 5 w 26"/>
                    <a:gd name="T37" fmla="*/ 5 h 40"/>
                    <a:gd name="T38" fmla="*/ 5 w 26"/>
                    <a:gd name="T39" fmla="*/ 10 h 40"/>
                    <a:gd name="T40" fmla="*/ 2 w 26"/>
                    <a:gd name="T41" fmla="*/ 7 h 40"/>
                    <a:gd name="T42" fmla="*/ 0 w 26"/>
                    <a:gd name="T43" fmla="*/ 7 h 40"/>
                    <a:gd name="T44" fmla="*/ 2 w 26"/>
                    <a:gd name="T45" fmla="*/ 10 h 40"/>
                    <a:gd name="T46" fmla="*/ 2 w 26"/>
                    <a:gd name="T47" fmla="*/ 12 h 40"/>
                    <a:gd name="T48" fmla="*/ 2 w 26"/>
                    <a:gd name="T49" fmla="*/ 17 h 40"/>
                    <a:gd name="T50" fmla="*/ 2 w 26"/>
                    <a:gd name="T51" fmla="*/ 21 h 40"/>
                    <a:gd name="T52" fmla="*/ 2 w 26"/>
                    <a:gd name="T53" fmla="*/ 26 h 40"/>
                    <a:gd name="T54" fmla="*/ 2 w 26"/>
                    <a:gd name="T55" fmla="*/ 33 h 40"/>
                    <a:gd name="T56" fmla="*/ 7 w 26"/>
                    <a:gd name="T57" fmla="*/ 40 h 40"/>
                    <a:gd name="T58" fmla="*/ 12 w 26"/>
                    <a:gd name="T59" fmla="*/ 40 h 40"/>
                    <a:gd name="T60" fmla="*/ 19 w 26"/>
                    <a:gd name="T61" fmla="*/ 40 h 40"/>
                    <a:gd name="T62" fmla="*/ 24 w 26"/>
                    <a:gd name="T63" fmla="*/ 33 h 40"/>
                    <a:gd name="T64" fmla="*/ 26 w 26"/>
                    <a:gd name="T65" fmla="*/ 31 h 40"/>
                    <a:gd name="T66" fmla="*/ 26 w 26"/>
                    <a:gd name="T67" fmla="*/ 26 h 40"/>
                    <a:gd name="T68" fmla="*/ 26 w 26"/>
                    <a:gd name="T69" fmla="*/ 24 h 40"/>
                    <a:gd name="T70" fmla="*/ 21 w 26"/>
                    <a:gd name="T71" fmla="*/ 17 h 40"/>
                    <a:gd name="T72" fmla="*/ 19 w 26"/>
                    <a:gd name="T73" fmla="*/ 14 h 40"/>
                    <a:gd name="T74" fmla="*/ 16 w 26"/>
                    <a:gd name="T75" fmla="*/ 14 h 40"/>
                    <a:gd name="T76" fmla="*/ 19 w 26"/>
                    <a:gd name="T77" fmla="*/ 12 h 40"/>
                    <a:gd name="T78" fmla="*/ 16 w 26"/>
                    <a:gd name="T79" fmla="*/ 10 h 40"/>
                    <a:gd name="T80" fmla="*/ 14 w 26"/>
                    <a:gd name="T81" fmla="*/ 7 h 40"/>
                    <a:gd name="T82" fmla="*/ 14 w 26"/>
                    <a:gd name="T83" fmla="*/ 5 h 40"/>
                    <a:gd name="T84" fmla="*/ 9 w 26"/>
                    <a:gd name="T85" fmla="*/ 5 h 40"/>
                    <a:gd name="T86" fmla="*/ 7 w 26"/>
                    <a:gd name="T87" fmla="*/ 5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 h="40">
                      <a:moveTo>
                        <a:pt x="0" y="19"/>
                      </a:moveTo>
                      <a:lnTo>
                        <a:pt x="0" y="17"/>
                      </a:lnTo>
                      <a:lnTo>
                        <a:pt x="0" y="17"/>
                      </a:lnTo>
                      <a:lnTo>
                        <a:pt x="2" y="14"/>
                      </a:lnTo>
                      <a:lnTo>
                        <a:pt x="2" y="17"/>
                      </a:lnTo>
                      <a:lnTo>
                        <a:pt x="2" y="17"/>
                      </a:lnTo>
                      <a:lnTo>
                        <a:pt x="2" y="17"/>
                      </a:lnTo>
                      <a:lnTo>
                        <a:pt x="0" y="19"/>
                      </a:lnTo>
                      <a:lnTo>
                        <a:pt x="0" y="19"/>
                      </a:lnTo>
                      <a:close/>
                      <a:moveTo>
                        <a:pt x="5" y="2"/>
                      </a:moveTo>
                      <a:lnTo>
                        <a:pt x="2" y="0"/>
                      </a:lnTo>
                      <a:lnTo>
                        <a:pt x="2" y="0"/>
                      </a:lnTo>
                      <a:lnTo>
                        <a:pt x="5" y="0"/>
                      </a:lnTo>
                      <a:lnTo>
                        <a:pt x="7" y="0"/>
                      </a:lnTo>
                      <a:lnTo>
                        <a:pt x="5" y="2"/>
                      </a:lnTo>
                      <a:lnTo>
                        <a:pt x="5" y="2"/>
                      </a:lnTo>
                      <a:lnTo>
                        <a:pt x="5" y="2"/>
                      </a:lnTo>
                      <a:lnTo>
                        <a:pt x="5" y="2"/>
                      </a:lnTo>
                      <a:close/>
                      <a:moveTo>
                        <a:pt x="7" y="0"/>
                      </a:moveTo>
                      <a:lnTo>
                        <a:pt x="9" y="0"/>
                      </a:lnTo>
                      <a:lnTo>
                        <a:pt x="9" y="2"/>
                      </a:lnTo>
                      <a:lnTo>
                        <a:pt x="12" y="5"/>
                      </a:lnTo>
                      <a:lnTo>
                        <a:pt x="12" y="5"/>
                      </a:lnTo>
                      <a:lnTo>
                        <a:pt x="12" y="5"/>
                      </a:lnTo>
                      <a:lnTo>
                        <a:pt x="9" y="5"/>
                      </a:lnTo>
                      <a:lnTo>
                        <a:pt x="9" y="2"/>
                      </a:lnTo>
                      <a:lnTo>
                        <a:pt x="7" y="2"/>
                      </a:lnTo>
                      <a:lnTo>
                        <a:pt x="7" y="2"/>
                      </a:lnTo>
                      <a:lnTo>
                        <a:pt x="7" y="2"/>
                      </a:lnTo>
                      <a:lnTo>
                        <a:pt x="7" y="0"/>
                      </a:lnTo>
                      <a:lnTo>
                        <a:pt x="7" y="0"/>
                      </a:lnTo>
                      <a:lnTo>
                        <a:pt x="7" y="0"/>
                      </a:lnTo>
                      <a:close/>
                      <a:moveTo>
                        <a:pt x="5" y="2"/>
                      </a:moveTo>
                      <a:lnTo>
                        <a:pt x="5" y="5"/>
                      </a:lnTo>
                      <a:lnTo>
                        <a:pt x="7" y="5"/>
                      </a:lnTo>
                      <a:lnTo>
                        <a:pt x="5" y="5"/>
                      </a:lnTo>
                      <a:lnTo>
                        <a:pt x="5" y="5"/>
                      </a:lnTo>
                      <a:lnTo>
                        <a:pt x="5" y="5"/>
                      </a:lnTo>
                      <a:lnTo>
                        <a:pt x="5" y="7"/>
                      </a:lnTo>
                      <a:lnTo>
                        <a:pt x="5" y="10"/>
                      </a:lnTo>
                      <a:lnTo>
                        <a:pt x="2" y="10"/>
                      </a:lnTo>
                      <a:lnTo>
                        <a:pt x="2" y="7"/>
                      </a:lnTo>
                      <a:lnTo>
                        <a:pt x="0" y="7"/>
                      </a:lnTo>
                      <a:lnTo>
                        <a:pt x="0" y="7"/>
                      </a:lnTo>
                      <a:lnTo>
                        <a:pt x="2" y="10"/>
                      </a:lnTo>
                      <a:lnTo>
                        <a:pt x="2" y="10"/>
                      </a:lnTo>
                      <a:lnTo>
                        <a:pt x="2" y="10"/>
                      </a:lnTo>
                      <a:lnTo>
                        <a:pt x="2" y="12"/>
                      </a:lnTo>
                      <a:lnTo>
                        <a:pt x="2" y="14"/>
                      </a:lnTo>
                      <a:lnTo>
                        <a:pt x="2" y="17"/>
                      </a:lnTo>
                      <a:lnTo>
                        <a:pt x="2" y="21"/>
                      </a:lnTo>
                      <a:lnTo>
                        <a:pt x="2" y="21"/>
                      </a:lnTo>
                      <a:lnTo>
                        <a:pt x="2" y="21"/>
                      </a:lnTo>
                      <a:lnTo>
                        <a:pt x="2" y="26"/>
                      </a:lnTo>
                      <a:lnTo>
                        <a:pt x="2" y="29"/>
                      </a:lnTo>
                      <a:lnTo>
                        <a:pt x="2" y="33"/>
                      </a:lnTo>
                      <a:lnTo>
                        <a:pt x="5" y="38"/>
                      </a:lnTo>
                      <a:lnTo>
                        <a:pt x="7" y="40"/>
                      </a:lnTo>
                      <a:lnTo>
                        <a:pt x="9" y="40"/>
                      </a:lnTo>
                      <a:lnTo>
                        <a:pt x="12" y="40"/>
                      </a:lnTo>
                      <a:lnTo>
                        <a:pt x="16" y="40"/>
                      </a:lnTo>
                      <a:lnTo>
                        <a:pt x="19" y="40"/>
                      </a:lnTo>
                      <a:lnTo>
                        <a:pt x="24" y="36"/>
                      </a:lnTo>
                      <a:lnTo>
                        <a:pt x="24" y="33"/>
                      </a:lnTo>
                      <a:lnTo>
                        <a:pt x="26" y="31"/>
                      </a:lnTo>
                      <a:lnTo>
                        <a:pt x="26" y="31"/>
                      </a:lnTo>
                      <a:lnTo>
                        <a:pt x="26" y="29"/>
                      </a:lnTo>
                      <a:lnTo>
                        <a:pt x="26" y="26"/>
                      </a:lnTo>
                      <a:lnTo>
                        <a:pt x="24" y="26"/>
                      </a:lnTo>
                      <a:lnTo>
                        <a:pt x="26" y="24"/>
                      </a:lnTo>
                      <a:lnTo>
                        <a:pt x="24" y="21"/>
                      </a:lnTo>
                      <a:lnTo>
                        <a:pt x="21" y="17"/>
                      </a:lnTo>
                      <a:lnTo>
                        <a:pt x="19" y="14"/>
                      </a:lnTo>
                      <a:lnTo>
                        <a:pt x="19" y="14"/>
                      </a:lnTo>
                      <a:lnTo>
                        <a:pt x="19" y="14"/>
                      </a:lnTo>
                      <a:lnTo>
                        <a:pt x="16" y="14"/>
                      </a:lnTo>
                      <a:lnTo>
                        <a:pt x="19" y="12"/>
                      </a:lnTo>
                      <a:lnTo>
                        <a:pt x="19" y="12"/>
                      </a:lnTo>
                      <a:lnTo>
                        <a:pt x="16" y="12"/>
                      </a:lnTo>
                      <a:lnTo>
                        <a:pt x="16" y="10"/>
                      </a:lnTo>
                      <a:lnTo>
                        <a:pt x="14" y="10"/>
                      </a:lnTo>
                      <a:lnTo>
                        <a:pt x="14" y="7"/>
                      </a:lnTo>
                      <a:lnTo>
                        <a:pt x="14" y="7"/>
                      </a:lnTo>
                      <a:lnTo>
                        <a:pt x="14" y="5"/>
                      </a:lnTo>
                      <a:lnTo>
                        <a:pt x="9" y="5"/>
                      </a:lnTo>
                      <a:lnTo>
                        <a:pt x="9" y="5"/>
                      </a:lnTo>
                      <a:lnTo>
                        <a:pt x="7" y="5"/>
                      </a:lnTo>
                      <a:lnTo>
                        <a:pt x="7" y="5"/>
                      </a:lnTo>
                      <a:lnTo>
                        <a:pt x="5" y="2"/>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Freeform 35">
                  <a:extLst>
                    <a:ext uri="{FF2B5EF4-FFF2-40B4-BE49-F238E27FC236}">
                      <a16:creationId xmlns:a16="http://schemas.microsoft.com/office/drawing/2014/main" id="{6F58EADE-65C4-B511-8AAB-D4E3E88A7A2C}"/>
                    </a:ext>
                  </a:extLst>
                </p:cNvPr>
                <p:cNvSpPr>
                  <a:spLocks noEditPoints="1"/>
                </p:cNvSpPr>
                <p:nvPr/>
              </p:nvSpPr>
              <p:spPr bwMode="auto">
                <a:xfrm>
                  <a:off x="3418" y="2237"/>
                  <a:ext cx="317" cy="282"/>
                </a:xfrm>
                <a:custGeom>
                  <a:avLst/>
                  <a:gdLst>
                    <a:gd name="T0" fmla="*/ 109 w 317"/>
                    <a:gd name="T1" fmla="*/ 24 h 282"/>
                    <a:gd name="T2" fmla="*/ 126 w 317"/>
                    <a:gd name="T3" fmla="*/ 33 h 282"/>
                    <a:gd name="T4" fmla="*/ 130 w 317"/>
                    <a:gd name="T5" fmla="*/ 55 h 282"/>
                    <a:gd name="T6" fmla="*/ 166 w 317"/>
                    <a:gd name="T7" fmla="*/ 69 h 282"/>
                    <a:gd name="T8" fmla="*/ 206 w 317"/>
                    <a:gd name="T9" fmla="*/ 76 h 282"/>
                    <a:gd name="T10" fmla="*/ 223 w 317"/>
                    <a:gd name="T11" fmla="*/ 62 h 282"/>
                    <a:gd name="T12" fmla="*/ 239 w 317"/>
                    <a:gd name="T13" fmla="*/ 76 h 282"/>
                    <a:gd name="T14" fmla="*/ 256 w 317"/>
                    <a:gd name="T15" fmla="*/ 64 h 282"/>
                    <a:gd name="T16" fmla="*/ 272 w 317"/>
                    <a:gd name="T17" fmla="*/ 52 h 282"/>
                    <a:gd name="T18" fmla="*/ 296 w 317"/>
                    <a:gd name="T19" fmla="*/ 45 h 282"/>
                    <a:gd name="T20" fmla="*/ 308 w 317"/>
                    <a:gd name="T21" fmla="*/ 47 h 282"/>
                    <a:gd name="T22" fmla="*/ 317 w 317"/>
                    <a:gd name="T23" fmla="*/ 57 h 282"/>
                    <a:gd name="T24" fmla="*/ 301 w 317"/>
                    <a:gd name="T25" fmla="*/ 71 h 282"/>
                    <a:gd name="T26" fmla="*/ 291 w 317"/>
                    <a:gd name="T27" fmla="*/ 102 h 282"/>
                    <a:gd name="T28" fmla="*/ 279 w 317"/>
                    <a:gd name="T29" fmla="*/ 123 h 282"/>
                    <a:gd name="T30" fmla="*/ 275 w 317"/>
                    <a:gd name="T31" fmla="*/ 128 h 282"/>
                    <a:gd name="T32" fmla="*/ 265 w 317"/>
                    <a:gd name="T33" fmla="*/ 109 h 282"/>
                    <a:gd name="T34" fmla="*/ 261 w 317"/>
                    <a:gd name="T35" fmla="*/ 114 h 282"/>
                    <a:gd name="T36" fmla="*/ 263 w 317"/>
                    <a:gd name="T37" fmla="*/ 104 h 282"/>
                    <a:gd name="T38" fmla="*/ 261 w 317"/>
                    <a:gd name="T39" fmla="*/ 92 h 282"/>
                    <a:gd name="T40" fmla="*/ 239 w 317"/>
                    <a:gd name="T41" fmla="*/ 85 h 282"/>
                    <a:gd name="T42" fmla="*/ 230 w 317"/>
                    <a:gd name="T43" fmla="*/ 81 h 282"/>
                    <a:gd name="T44" fmla="*/ 223 w 317"/>
                    <a:gd name="T45" fmla="*/ 78 h 282"/>
                    <a:gd name="T46" fmla="*/ 227 w 317"/>
                    <a:gd name="T47" fmla="*/ 92 h 282"/>
                    <a:gd name="T48" fmla="*/ 230 w 317"/>
                    <a:gd name="T49" fmla="*/ 114 h 282"/>
                    <a:gd name="T50" fmla="*/ 232 w 317"/>
                    <a:gd name="T51" fmla="*/ 133 h 282"/>
                    <a:gd name="T52" fmla="*/ 225 w 317"/>
                    <a:gd name="T53" fmla="*/ 130 h 282"/>
                    <a:gd name="T54" fmla="*/ 223 w 317"/>
                    <a:gd name="T55" fmla="*/ 130 h 282"/>
                    <a:gd name="T56" fmla="*/ 211 w 317"/>
                    <a:gd name="T57" fmla="*/ 147 h 282"/>
                    <a:gd name="T58" fmla="*/ 197 w 317"/>
                    <a:gd name="T59" fmla="*/ 154 h 282"/>
                    <a:gd name="T60" fmla="*/ 175 w 317"/>
                    <a:gd name="T61" fmla="*/ 178 h 282"/>
                    <a:gd name="T62" fmla="*/ 154 w 317"/>
                    <a:gd name="T63" fmla="*/ 197 h 282"/>
                    <a:gd name="T64" fmla="*/ 142 w 317"/>
                    <a:gd name="T65" fmla="*/ 216 h 282"/>
                    <a:gd name="T66" fmla="*/ 140 w 317"/>
                    <a:gd name="T67" fmla="*/ 258 h 282"/>
                    <a:gd name="T68" fmla="*/ 135 w 317"/>
                    <a:gd name="T69" fmla="*/ 270 h 282"/>
                    <a:gd name="T70" fmla="*/ 121 w 317"/>
                    <a:gd name="T71" fmla="*/ 280 h 282"/>
                    <a:gd name="T72" fmla="*/ 97 w 317"/>
                    <a:gd name="T73" fmla="*/ 254 h 282"/>
                    <a:gd name="T74" fmla="*/ 83 w 317"/>
                    <a:gd name="T75" fmla="*/ 228 h 282"/>
                    <a:gd name="T76" fmla="*/ 71 w 317"/>
                    <a:gd name="T77" fmla="*/ 204 h 282"/>
                    <a:gd name="T78" fmla="*/ 59 w 317"/>
                    <a:gd name="T79" fmla="*/ 173 h 282"/>
                    <a:gd name="T80" fmla="*/ 52 w 317"/>
                    <a:gd name="T81" fmla="*/ 152 h 282"/>
                    <a:gd name="T82" fmla="*/ 50 w 317"/>
                    <a:gd name="T83" fmla="*/ 135 h 282"/>
                    <a:gd name="T84" fmla="*/ 50 w 317"/>
                    <a:gd name="T85" fmla="*/ 126 h 282"/>
                    <a:gd name="T86" fmla="*/ 40 w 317"/>
                    <a:gd name="T87" fmla="*/ 142 h 282"/>
                    <a:gd name="T88" fmla="*/ 7 w 317"/>
                    <a:gd name="T89" fmla="*/ 128 h 282"/>
                    <a:gd name="T90" fmla="*/ 17 w 317"/>
                    <a:gd name="T91" fmla="*/ 128 h 282"/>
                    <a:gd name="T92" fmla="*/ 19 w 317"/>
                    <a:gd name="T93" fmla="*/ 123 h 282"/>
                    <a:gd name="T94" fmla="*/ 0 w 317"/>
                    <a:gd name="T95" fmla="*/ 114 h 282"/>
                    <a:gd name="T96" fmla="*/ 24 w 317"/>
                    <a:gd name="T97" fmla="*/ 102 h 282"/>
                    <a:gd name="T98" fmla="*/ 24 w 317"/>
                    <a:gd name="T99" fmla="*/ 90 h 282"/>
                    <a:gd name="T100" fmla="*/ 7 w 317"/>
                    <a:gd name="T101" fmla="*/ 76 h 282"/>
                    <a:gd name="T102" fmla="*/ 26 w 317"/>
                    <a:gd name="T103" fmla="*/ 64 h 282"/>
                    <a:gd name="T104" fmla="*/ 52 w 317"/>
                    <a:gd name="T105" fmla="*/ 36 h 282"/>
                    <a:gd name="T106" fmla="*/ 64 w 317"/>
                    <a:gd name="T107" fmla="*/ 14 h 282"/>
                    <a:gd name="T108" fmla="*/ 93 w 317"/>
                    <a:gd name="T109" fmla="*/ 2 h 282"/>
                    <a:gd name="T110" fmla="*/ 230 w 317"/>
                    <a:gd name="T111" fmla="*/ 133 h 282"/>
                    <a:gd name="T112" fmla="*/ 227 w 317"/>
                    <a:gd name="T113" fmla="*/ 135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17" h="282">
                      <a:moveTo>
                        <a:pt x="102" y="10"/>
                      </a:moveTo>
                      <a:lnTo>
                        <a:pt x="102" y="10"/>
                      </a:lnTo>
                      <a:lnTo>
                        <a:pt x="102" y="12"/>
                      </a:lnTo>
                      <a:lnTo>
                        <a:pt x="107" y="12"/>
                      </a:lnTo>
                      <a:lnTo>
                        <a:pt x="104" y="17"/>
                      </a:lnTo>
                      <a:lnTo>
                        <a:pt x="107" y="19"/>
                      </a:lnTo>
                      <a:lnTo>
                        <a:pt x="107" y="21"/>
                      </a:lnTo>
                      <a:lnTo>
                        <a:pt x="107" y="21"/>
                      </a:lnTo>
                      <a:lnTo>
                        <a:pt x="109" y="24"/>
                      </a:lnTo>
                      <a:lnTo>
                        <a:pt x="109" y="24"/>
                      </a:lnTo>
                      <a:lnTo>
                        <a:pt x="109" y="24"/>
                      </a:lnTo>
                      <a:lnTo>
                        <a:pt x="111" y="26"/>
                      </a:lnTo>
                      <a:lnTo>
                        <a:pt x="114" y="28"/>
                      </a:lnTo>
                      <a:lnTo>
                        <a:pt x="114" y="26"/>
                      </a:lnTo>
                      <a:lnTo>
                        <a:pt x="116" y="26"/>
                      </a:lnTo>
                      <a:lnTo>
                        <a:pt x="119" y="26"/>
                      </a:lnTo>
                      <a:lnTo>
                        <a:pt x="121" y="28"/>
                      </a:lnTo>
                      <a:lnTo>
                        <a:pt x="123" y="28"/>
                      </a:lnTo>
                      <a:lnTo>
                        <a:pt x="123" y="31"/>
                      </a:lnTo>
                      <a:lnTo>
                        <a:pt x="126" y="33"/>
                      </a:lnTo>
                      <a:lnTo>
                        <a:pt x="128" y="33"/>
                      </a:lnTo>
                      <a:lnTo>
                        <a:pt x="128" y="36"/>
                      </a:lnTo>
                      <a:lnTo>
                        <a:pt x="128" y="33"/>
                      </a:lnTo>
                      <a:lnTo>
                        <a:pt x="128" y="38"/>
                      </a:lnTo>
                      <a:lnTo>
                        <a:pt x="128" y="43"/>
                      </a:lnTo>
                      <a:lnTo>
                        <a:pt x="128" y="47"/>
                      </a:lnTo>
                      <a:lnTo>
                        <a:pt x="123" y="50"/>
                      </a:lnTo>
                      <a:lnTo>
                        <a:pt x="126" y="52"/>
                      </a:lnTo>
                      <a:lnTo>
                        <a:pt x="128" y="52"/>
                      </a:lnTo>
                      <a:lnTo>
                        <a:pt x="130" y="55"/>
                      </a:lnTo>
                      <a:lnTo>
                        <a:pt x="130" y="55"/>
                      </a:lnTo>
                      <a:lnTo>
                        <a:pt x="133" y="57"/>
                      </a:lnTo>
                      <a:lnTo>
                        <a:pt x="137" y="57"/>
                      </a:lnTo>
                      <a:lnTo>
                        <a:pt x="142" y="59"/>
                      </a:lnTo>
                      <a:lnTo>
                        <a:pt x="147" y="64"/>
                      </a:lnTo>
                      <a:lnTo>
                        <a:pt x="149" y="64"/>
                      </a:lnTo>
                      <a:lnTo>
                        <a:pt x="152" y="66"/>
                      </a:lnTo>
                      <a:lnTo>
                        <a:pt x="156" y="66"/>
                      </a:lnTo>
                      <a:lnTo>
                        <a:pt x="159" y="69"/>
                      </a:lnTo>
                      <a:lnTo>
                        <a:pt x="166" y="69"/>
                      </a:lnTo>
                      <a:lnTo>
                        <a:pt x="168" y="69"/>
                      </a:lnTo>
                      <a:lnTo>
                        <a:pt x="173" y="69"/>
                      </a:lnTo>
                      <a:lnTo>
                        <a:pt x="178" y="69"/>
                      </a:lnTo>
                      <a:lnTo>
                        <a:pt x="180" y="71"/>
                      </a:lnTo>
                      <a:lnTo>
                        <a:pt x="182" y="74"/>
                      </a:lnTo>
                      <a:lnTo>
                        <a:pt x="187" y="76"/>
                      </a:lnTo>
                      <a:lnTo>
                        <a:pt x="190" y="74"/>
                      </a:lnTo>
                      <a:lnTo>
                        <a:pt x="194" y="74"/>
                      </a:lnTo>
                      <a:lnTo>
                        <a:pt x="204" y="78"/>
                      </a:lnTo>
                      <a:lnTo>
                        <a:pt x="206" y="76"/>
                      </a:lnTo>
                      <a:lnTo>
                        <a:pt x="211" y="78"/>
                      </a:lnTo>
                      <a:lnTo>
                        <a:pt x="218" y="78"/>
                      </a:lnTo>
                      <a:lnTo>
                        <a:pt x="218" y="74"/>
                      </a:lnTo>
                      <a:lnTo>
                        <a:pt x="216" y="69"/>
                      </a:lnTo>
                      <a:lnTo>
                        <a:pt x="218" y="64"/>
                      </a:lnTo>
                      <a:lnTo>
                        <a:pt x="216" y="62"/>
                      </a:lnTo>
                      <a:lnTo>
                        <a:pt x="218" y="62"/>
                      </a:lnTo>
                      <a:lnTo>
                        <a:pt x="218" y="59"/>
                      </a:lnTo>
                      <a:lnTo>
                        <a:pt x="220" y="59"/>
                      </a:lnTo>
                      <a:lnTo>
                        <a:pt x="223" y="62"/>
                      </a:lnTo>
                      <a:lnTo>
                        <a:pt x="223" y="64"/>
                      </a:lnTo>
                      <a:lnTo>
                        <a:pt x="225" y="66"/>
                      </a:lnTo>
                      <a:lnTo>
                        <a:pt x="225" y="66"/>
                      </a:lnTo>
                      <a:lnTo>
                        <a:pt x="225" y="69"/>
                      </a:lnTo>
                      <a:lnTo>
                        <a:pt x="225" y="69"/>
                      </a:lnTo>
                      <a:lnTo>
                        <a:pt x="227" y="74"/>
                      </a:lnTo>
                      <a:lnTo>
                        <a:pt x="230" y="74"/>
                      </a:lnTo>
                      <a:lnTo>
                        <a:pt x="232" y="74"/>
                      </a:lnTo>
                      <a:lnTo>
                        <a:pt x="237" y="76"/>
                      </a:lnTo>
                      <a:lnTo>
                        <a:pt x="239" y="76"/>
                      </a:lnTo>
                      <a:lnTo>
                        <a:pt x="242" y="74"/>
                      </a:lnTo>
                      <a:lnTo>
                        <a:pt x="244" y="74"/>
                      </a:lnTo>
                      <a:lnTo>
                        <a:pt x="246" y="74"/>
                      </a:lnTo>
                      <a:lnTo>
                        <a:pt x="251" y="74"/>
                      </a:lnTo>
                      <a:lnTo>
                        <a:pt x="253" y="74"/>
                      </a:lnTo>
                      <a:lnTo>
                        <a:pt x="258" y="71"/>
                      </a:lnTo>
                      <a:lnTo>
                        <a:pt x="258" y="71"/>
                      </a:lnTo>
                      <a:lnTo>
                        <a:pt x="258" y="66"/>
                      </a:lnTo>
                      <a:lnTo>
                        <a:pt x="256" y="66"/>
                      </a:lnTo>
                      <a:lnTo>
                        <a:pt x="256" y="64"/>
                      </a:lnTo>
                      <a:lnTo>
                        <a:pt x="256" y="62"/>
                      </a:lnTo>
                      <a:lnTo>
                        <a:pt x="258" y="62"/>
                      </a:lnTo>
                      <a:lnTo>
                        <a:pt x="261" y="59"/>
                      </a:lnTo>
                      <a:lnTo>
                        <a:pt x="263" y="59"/>
                      </a:lnTo>
                      <a:lnTo>
                        <a:pt x="265" y="57"/>
                      </a:lnTo>
                      <a:lnTo>
                        <a:pt x="265" y="57"/>
                      </a:lnTo>
                      <a:lnTo>
                        <a:pt x="268" y="57"/>
                      </a:lnTo>
                      <a:lnTo>
                        <a:pt x="268" y="55"/>
                      </a:lnTo>
                      <a:lnTo>
                        <a:pt x="270" y="55"/>
                      </a:lnTo>
                      <a:lnTo>
                        <a:pt x="272" y="52"/>
                      </a:lnTo>
                      <a:lnTo>
                        <a:pt x="272" y="50"/>
                      </a:lnTo>
                      <a:lnTo>
                        <a:pt x="275" y="50"/>
                      </a:lnTo>
                      <a:lnTo>
                        <a:pt x="279" y="50"/>
                      </a:lnTo>
                      <a:lnTo>
                        <a:pt x="282" y="47"/>
                      </a:lnTo>
                      <a:lnTo>
                        <a:pt x="282" y="45"/>
                      </a:lnTo>
                      <a:lnTo>
                        <a:pt x="284" y="45"/>
                      </a:lnTo>
                      <a:lnTo>
                        <a:pt x="287" y="43"/>
                      </a:lnTo>
                      <a:lnTo>
                        <a:pt x="289" y="45"/>
                      </a:lnTo>
                      <a:lnTo>
                        <a:pt x="291" y="45"/>
                      </a:lnTo>
                      <a:lnTo>
                        <a:pt x="296" y="45"/>
                      </a:lnTo>
                      <a:lnTo>
                        <a:pt x="296" y="45"/>
                      </a:lnTo>
                      <a:lnTo>
                        <a:pt x="296" y="43"/>
                      </a:lnTo>
                      <a:lnTo>
                        <a:pt x="301" y="40"/>
                      </a:lnTo>
                      <a:lnTo>
                        <a:pt x="303" y="40"/>
                      </a:lnTo>
                      <a:lnTo>
                        <a:pt x="305" y="43"/>
                      </a:lnTo>
                      <a:lnTo>
                        <a:pt x="305" y="43"/>
                      </a:lnTo>
                      <a:lnTo>
                        <a:pt x="305" y="43"/>
                      </a:lnTo>
                      <a:lnTo>
                        <a:pt x="305" y="45"/>
                      </a:lnTo>
                      <a:lnTo>
                        <a:pt x="305" y="47"/>
                      </a:lnTo>
                      <a:lnTo>
                        <a:pt x="308" y="47"/>
                      </a:lnTo>
                      <a:lnTo>
                        <a:pt x="308" y="47"/>
                      </a:lnTo>
                      <a:lnTo>
                        <a:pt x="308" y="47"/>
                      </a:lnTo>
                      <a:lnTo>
                        <a:pt x="310" y="50"/>
                      </a:lnTo>
                      <a:lnTo>
                        <a:pt x="310" y="52"/>
                      </a:lnTo>
                      <a:lnTo>
                        <a:pt x="308" y="52"/>
                      </a:lnTo>
                      <a:lnTo>
                        <a:pt x="310" y="55"/>
                      </a:lnTo>
                      <a:lnTo>
                        <a:pt x="313" y="55"/>
                      </a:lnTo>
                      <a:lnTo>
                        <a:pt x="313" y="55"/>
                      </a:lnTo>
                      <a:lnTo>
                        <a:pt x="315" y="55"/>
                      </a:lnTo>
                      <a:lnTo>
                        <a:pt x="317" y="57"/>
                      </a:lnTo>
                      <a:lnTo>
                        <a:pt x="317" y="59"/>
                      </a:lnTo>
                      <a:lnTo>
                        <a:pt x="315" y="62"/>
                      </a:lnTo>
                      <a:lnTo>
                        <a:pt x="315" y="64"/>
                      </a:lnTo>
                      <a:lnTo>
                        <a:pt x="317" y="66"/>
                      </a:lnTo>
                      <a:lnTo>
                        <a:pt x="315" y="64"/>
                      </a:lnTo>
                      <a:lnTo>
                        <a:pt x="313" y="64"/>
                      </a:lnTo>
                      <a:lnTo>
                        <a:pt x="308" y="66"/>
                      </a:lnTo>
                      <a:lnTo>
                        <a:pt x="305" y="66"/>
                      </a:lnTo>
                      <a:lnTo>
                        <a:pt x="303" y="69"/>
                      </a:lnTo>
                      <a:lnTo>
                        <a:pt x="301" y="71"/>
                      </a:lnTo>
                      <a:lnTo>
                        <a:pt x="298" y="74"/>
                      </a:lnTo>
                      <a:lnTo>
                        <a:pt x="296" y="78"/>
                      </a:lnTo>
                      <a:lnTo>
                        <a:pt x="294" y="81"/>
                      </a:lnTo>
                      <a:lnTo>
                        <a:pt x="296" y="81"/>
                      </a:lnTo>
                      <a:lnTo>
                        <a:pt x="294" y="85"/>
                      </a:lnTo>
                      <a:lnTo>
                        <a:pt x="291" y="90"/>
                      </a:lnTo>
                      <a:lnTo>
                        <a:pt x="291" y="92"/>
                      </a:lnTo>
                      <a:lnTo>
                        <a:pt x="294" y="92"/>
                      </a:lnTo>
                      <a:lnTo>
                        <a:pt x="291" y="100"/>
                      </a:lnTo>
                      <a:lnTo>
                        <a:pt x="291" y="102"/>
                      </a:lnTo>
                      <a:lnTo>
                        <a:pt x="289" y="107"/>
                      </a:lnTo>
                      <a:lnTo>
                        <a:pt x="287" y="107"/>
                      </a:lnTo>
                      <a:lnTo>
                        <a:pt x="284" y="107"/>
                      </a:lnTo>
                      <a:lnTo>
                        <a:pt x="282" y="107"/>
                      </a:lnTo>
                      <a:lnTo>
                        <a:pt x="282" y="111"/>
                      </a:lnTo>
                      <a:lnTo>
                        <a:pt x="282" y="114"/>
                      </a:lnTo>
                      <a:lnTo>
                        <a:pt x="282" y="119"/>
                      </a:lnTo>
                      <a:lnTo>
                        <a:pt x="279" y="116"/>
                      </a:lnTo>
                      <a:lnTo>
                        <a:pt x="279" y="121"/>
                      </a:lnTo>
                      <a:lnTo>
                        <a:pt x="279" y="123"/>
                      </a:lnTo>
                      <a:lnTo>
                        <a:pt x="279" y="126"/>
                      </a:lnTo>
                      <a:lnTo>
                        <a:pt x="279" y="128"/>
                      </a:lnTo>
                      <a:lnTo>
                        <a:pt x="277" y="128"/>
                      </a:lnTo>
                      <a:lnTo>
                        <a:pt x="277" y="128"/>
                      </a:lnTo>
                      <a:lnTo>
                        <a:pt x="277" y="130"/>
                      </a:lnTo>
                      <a:lnTo>
                        <a:pt x="277" y="130"/>
                      </a:lnTo>
                      <a:lnTo>
                        <a:pt x="277" y="130"/>
                      </a:lnTo>
                      <a:lnTo>
                        <a:pt x="275" y="130"/>
                      </a:lnTo>
                      <a:lnTo>
                        <a:pt x="275" y="128"/>
                      </a:lnTo>
                      <a:lnTo>
                        <a:pt x="275" y="128"/>
                      </a:lnTo>
                      <a:lnTo>
                        <a:pt x="275" y="126"/>
                      </a:lnTo>
                      <a:lnTo>
                        <a:pt x="272" y="123"/>
                      </a:lnTo>
                      <a:lnTo>
                        <a:pt x="272" y="119"/>
                      </a:lnTo>
                      <a:lnTo>
                        <a:pt x="272" y="119"/>
                      </a:lnTo>
                      <a:lnTo>
                        <a:pt x="272" y="116"/>
                      </a:lnTo>
                      <a:lnTo>
                        <a:pt x="270" y="114"/>
                      </a:lnTo>
                      <a:lnTo>
                        <a:pt x="270" y="111"/>
                      </a:lnTo>
                      <a:lnTo>
                        <a:pt x="270" y="111"/>
                      </a:lnTo>
                      <a:lnTo>
                        <a:pt x="268" y="111"/>
                      </a:lnTo>
                      <a:lnTo>
                        <a:pt x="265" y="109"/>
                      </a:lnTo>
                      <a:lnTo>
                        <a:pt x="265" y="111"/>
                      </a:lnTo>
                      <a:lnTo>
                        <a:pt x="265" y="111"/>
                      </a:lnTo>
                      <a:lnTo>
                        <a:pt x="265" y="111"/>
                      </a:lnTo>
                      <a:lnTo>
                        <a:pt x="265" y="114"/>
                      </a:lnTo>
                      <a:lnTo>
                        <a:pt x="263" y="116"/>
                      </a:lnTo>
                      <a:lnTo>
                        <a:pt x="265" y="116"/>
                      </a:lnTo>
                      <a:lnTo>
                        <a:pt x="265" y="116"/>
                      </a:lnTo>
                      <a:lnTo>
                        <a:pt x="263" y="119"/>
                      </a:lnTo>
                      <a:lnTo>
                        <a:pt x="261" y="116"/>
                      </a:lnTo>
                      <a:lnTo>
                        <a:pt x="261" y="114"/>
                      </a:lnTo>
                      <a:lnTo>
                        <a:pt x="258" y="114"/>
                      </a:lnTo>
                      <a:lnTo>
                        <a:pt x="258" y="111"/>
                      </a:lnTo>
                      <a:lnTo>
                        <a:pt x="256" y="109"/>
                      </a:lnTo>
                      <a:lnTo>
                        <a:pt x="256" y="107"/>
                      </a:lnTo>
                      <a:lnTo>
                        <a:pt x="258" y="107"/>
                      </a:lnTo>
                      <a:lnTo>
                        <a:pt x="258" y="107"/>
                      </a:lnTo>
                      <a:lnTo>
                        <a:pt x="261" y="104"/>
                      </a:lnTo>
                      <a:lnTo>
                        <a:pt x="261" y="104"/>
                      </a:lnTo>
                      <a:lnTo>
                        <a:pt x="263" y="104"/>
                      </a:lnTo>
                      <a:lnTo>
                        <a:pt x="263" y="104"/>
                      </a:lnTo>
                      <a:lnTo>
                        <a:pt x="263" y="102"/>
                      </a:lnTo>
                      <a:lnTo>
                        <a:pt x="265" y="102"/>
                      </a:lnTo>
                      <a:lnTo>
                        <a:pt x="265" y="100"/>
                      </a:lnTo>
                      <a:lnTo>
                        <a:pt x="268" y="97"/>
                      </a:lnTo>
                      <a:lnTo>
                        <a:pt x="268" y="95"/>
                      </a:lnTo>
                      <a:lnTo>
                        <a:pt x="268" y="95"/>
                      </a:lnTo>
                      <a:lnTo>
                        <a:pt x="265" y="92"/>
                      </a:lnTo>
                      <a:lnTo>
                        <a:pt x="263" y="92"/>
                      </a:lnTo>
                      <a:lnTo>
                        <a:pt x="263" y="92"/>
                      </a:lnTo>
                      <a:lnTo>
                        <a:pt x="261" y="92"/>
                      </a:lnTo>
                      <a:lnTo>
                        <a:pt x="256" y="92"/>
                      </a:lnTo>
                      <a:lnTo>
                        <a:pt x="253" y="92"/>
                      </a:lnTo>
                      <a:lnTo>
                        <a:pt x="249" y="92"/>
                      </a:lnTo>
                      <a:lnTo>
                        <a:pt x="246" y="92"/>
                      </a:lnTo>
                      <a:lnTo>
                        <a:pt x="244" y="90"/>
                      </a:lnTo>
                      <a:lnTo>
                        <a:pt x="242" y="90"/>
                      </a:lnTo>
                      <a:lnTo>
                        <a:pt x="239" y="90"/>
                      </a:lnTo>
                      <a:lnTo>
                        <a:pt x="239" y="90"/>
                      </a:lnTo>
                      <a:lnTo>
                        <a:pt x="239" y="88"/>
                      </a:lnTo>
                      <a:lnTo>
                        <a:pt x="239" y="85"/>
                      </a:lnTo>
                      <a:lnTo>
                        <a:pt x="237" y="83"/>
                      </a:lnTo>
                      <a:lnTo>
                        <a:pt x="237" y="81"/>
                      </a:lnTo>
                      <a:lnTo>
                        <a:pt x="234" y="81"/>
                      </a:lnTo>
                      <a:lnTo>
                        <a:pt x="234" y="81"/>
                      </a:lnTo>
                      <a:lnTo>
                        <a:pt x="232" y="81"/>
                      </a:lnTo>
                      <a:lnTo>
                        <a:pt x="232" y="81"/>
                      </a:lnTo>
                      <a:lnTo>
                        <a:pt x="230" y="78"/>
                      </a:lnTo>
                      <a:lnTo>
                        <a:pt x="230" y="78"/>
                      </a:lnTo>
                      <a:lnTo>
                        <a:pt x="227" y="81"/>
                      </a:lnTo>
                      <a:lnTo>
                        <a:pt x="230" y="81"/>
                      </a:lnTo>
                      <a:lnTo>
                        <a:pt x="230" y="81"/>
                      </a:lnTo>
                      <a:lnTo>
                        <a:pt x="227" y="81"/>
                      </a:lnTo>
                      <a:lnTo>
                        <a:pt x="225" y="78"/>
                      </a:lnTo>
                      <a:lnTo>
                        <a:pt x="225" y="78"/>
                      </a:lnTo>
                      <a:lnTo>
                        <a:pt x="223" y="76"/>
                      </a:lnTo>
                      <a:lnTo>
                        <a:pt x="223" y="76"/>
                      </a:lnTo>
                      <a:lnTo>
                        <a:pt x="223" y="76"/>
                      </a:lnTo>
                      <a:lnTo>
                        <a:pt x="220" y="76"/>
                      </a:lnTo>
                      <a:lnTo>
                        <a:pt x="220" y="78"/>
                      </a:lnTo>
                      <a:lnTo>
                        <a:pt x="223" y="78"/>
                      </a:lnTo>
                      <a:lnTo>
                        <a:pt x="220" y="81"/>
                      </a:lnTo>
                      <a:lnTo>
                        <a:pt x="218" y="83"/>
                      </a:lnTo>
                      <a:lnTo>
                        <a:pt x="218" y="85"/>
                      </a:lnTo>
                      <a:lnTo>
                        <a:pt x="225" y="88"/>
                      </a:lnTo>
                      <a:lnTo>
                        <a:pt x="225" y="88"/>
                      </a:lnTo>
                      <a:lnTo>
                        <a:pt x="230" y="88"/>
                      </a:lnTo>
                      <a:lnTo>
                        <a:pt x="227" y="88"/>
                      </a:lnTo>
                      <a:lnTo>
                        <a:pt x="230" y="90"/>
                      </a:lnTo>
                      <a:lnTo>
                        <a:pt x="227" y="92"/>
                      </a:lnTo>
                      <a:lnTo>
                        <a:pt x="227" y="92"/>
                      </a:lnTo>
                      <a:lnTo>
                        <a:pt x="225" y="92"/>
                      </a:lnTo>
                      <a:lnTo>
                        <a:pt x="223" y="95"/>
                      </a:lnTo>
                      <a:lnTo>
                        <a:pt x="223" y="95"/>
                      </a:lnTo>
                      <a:lnTo>
                        <a:pt x="220" y="100"/>
                      </a:lnTo>
                      <a:lnTo>
                        <a:pt x="225" y="102"/>
                      </a:lnTo>
                      <a:lnTo>
                        <a:pt x="227" y="104"/>
                      </a:lnTo>
                      <a:lnTo>
                        <a:pt x="230" y="107"/>
                      </a:lnTo>
                      <a:lnTo>
                        <a:pt x="230" y="111"/>
                      </a:lnTo>
                      <a:lnTo>
                        <a:pt x="230" y="114"/>
                      </a:lnTo>
                      <a:lnTo>
                        <a:pt x="230" y="114"/>
                      </a:lnTo>
                      <a:lnTo>
                        <a:pt x="230" y="119"/>
                      </a:lnTo>
                      <a:lnTo>
                        <a:pt x="234" y="121"/>
                      </a:lnTo>
                      <a:lnTo>
                        <a:pt x="234" y="126"/>
                      </a:lnTo>
                      <a:lnTo>
                        <a:pt x="234" y="126"/>
                      </a:lnTo>
                      <a:lnTo>
                        <a:pt x="234" y="130"/>
                      </a:lnTo>
                      <a:lnTo>
                        <a:pt x="234" y="130"/>
                      </a:lnTo>
                      <a:lnTo>
                        <a:pt x="237" y="133"/>
                      </a:lnTo>
                      <a:lnTo>
                        <a:pt x="234" y="135"/>
                      </a:lnTo>
                      <a:lnTo>
                        <a:pt x="232" y="133"/>
                      </a:lnTo>
                      <a:lnTo>
                        <a:pt x="232" y="133"/>
                      </a:lnTo>
                      <a:lnTo>
                        <a:pt x="232" y="133"/>
                      </a:lnTo>
                      <a:lnTo>
                        <a:pt x="232" y="130"/>
                      </a:lnTo>
                      <a:lnTo>
                        <a:pt x="230" y="130"/>
                      </a:lnTo>
                      <a:lnTo>
                        <a:pt x="230" y="130"/>
                      </a:lnTo>
                      <a:lnTo>
                        <a:pt x="230" y="130"/>
                      </a:lnTo>
                      <a:lnTo>
                        <a:pt x="230" y="130"/>
                      </a:lnTo>
                      <a:lnTo>
                        <a:pt x="230" y="133"/>
                      </a:lnTo>
                      <a:lnTo>
                        <a:pt x="227" y="133"/>
                      </a:lnTo>
                      <a:lnTo>
                        <a:pt x="227" y="133"/>
                      </a:lnTo>
                      <a:lnTo>
                        <a:pt x="225" y="130"/>
                      </a:lnTo>
                      <a:lnTo>
                        <a:pt x="225" y="128"/>
                      </a:lnTo>
                      <a:lnTo>
                        <a:pt x="225" y="128"/>
                      </a:lnTo>
                      <a:lnTo>
                        <a:pt x="223" y="126"/>
                      </a:lnTo>
                      <a:lnTo>
                        <a:pt x="223" y="126"/>
                      </a:lnTo>
                      <a:lnTo>
                        <a:pt x="223" y="126"/>
                      </a:lnTo>
                      <a:lnTo>
                        <a:pt x="223" y="126"/>
                      </a:lnTo>
                      <a:lnTo>
                        <a:pt x="225" y="128"/>
                      </a:lnTo>
                      <a:lnTo>
                        <a:pt x="223" y="128"/>
                      </a:lnTo>
                      <a:lnTo>
                        <a:pt x="223" y="130"/>
                      </a:lnTo>
                      <a:lnTo>
                        <a:pt x="223" y="130"/>
                      </a:lnTo>
                      <a:lnTo>
                        <a:pt x="220" y="133"/>
                      </a:lnTo>
                      <a:lnTo>
                        <a:pt x="213" y="135"/>
                      </a:lnTo>
                      <a:lnTo>
                        <a:pt x="213" y="135"/>
                      </a:lnTo>
                      <a:lnTo>
                        <a:pt x="213" y="138"/>
                      </a:lnTo>
                      <a:lnTo>
                        <a:pt x="211" y="140"/>
                      </a:lnTo>
                      <a:lnTo>
                        <a:pt x="211" y="140"/>
                      </a:lnTo>
                      <a:lnTo>
                        <a:pt x="213" y="142"/>
                      </a:lnTo>
                      <a:lnTo>
                        <a:pt x="213" y="145"/>
                      </a:lnTo>
                      <a:lnTo>
                        <a:pt x="213" y="145"/>
                      </a:lnTo>
                      <a:lnTo>
                        <a:pt x="211" y="147"/>
                      </a:lnTo>
                      <a:lnTo>
                        <a:pt x="211" y="147"/>
                      </a:lnTo>
                      <a:lnTo>
                        <a:pt x="208" y="147"/>
                      </a:lnTo>
                      <a:lnTo>
                        <a:pt x="208" y="149"/>
                      </a:lnTo>
                      <a:lnTo>
                        <a:pt x="206" y="152"/>
                      </a:lnTo>
                      <a:lnTo>
                        <a:pt x="206" y="154"/>
                      </a:lnTo>
                      <a:lnTo>
                        <a:pt x="199" y="156"/>
                      </a:lnTo>
                      <a:lnTo>
                        <a:pt x="199" y="156"/>
                      </a:lnTo>
                      <a:lnTo>
                        <a:pt x="199" y="154"/>
                      </a:lnTo>
                      <a:lnTo>
                        <a:pt x="197" y="154"/>
                      </a:lnTo>
                      <a:lnTo>
                        <a:pt x="197" y="154"/>
                      </a:lnTo>
                      <a:lnTo>
                        <a:pt x="194" y="154"/>
                      </a:lnTo>
                      <a:lnTo>
                        <a:pt x="194" y="156"/>
                      </a:lnTo>
                      <a:lnTo>
                        <a:pt x="194" y="159"/>
                      </a:lnTo>
                      <a:lnTo>
                        <a:pt x="194" y="156"/>
                      </a:lnTo>
                      <a:lnTo>
                        <a:pt x="197" y="156"/>
                      </a:lnTo>
                      <a:lnTo>
                        <a:pt x="197" y="156"/>
                      </a:lnTo>
                      <a:lnTo>
                        <a:pt x="190" y="164"/>
                      </a:lnTo>
                      <a:lnTo>
                        <a:pt x="187" y="168"/>
                      </a:lnTo>
                      <a:lnTo>
                        <a:pt x="178" y="175"/>
                      </a:lnTo>
                      <a:lnTo>
                        <a:pt x="175" y="178"/>
                      </a:lnTo>
                      <a:lnTo>
                        <a:pt x="173" y="180"/>
                      </a:lnTo>
                      <a:lnTo>
                        <a:pt x="168" y="183"/>
                      </a:lnTo>
                      <a:lnTo>
                        <a:pt x="166" y="185"/>
                      </a:lnTo>
                      <a:lnTo>
                        <a:pt x="166" y="187"/>
                      </a:lnTo>
                      <a:lnTo>
                        <a:pt x="166" y="190"/>
                      </a:lnTo>
                      <a:lnTo>
                        <a:pt x="164" y="192"/>
                      </a:lnTo>
                      <a:lnTo>
                        <a:pt x="161" y="192"/>
                      </a:lnTo>
                      <a:lnTo>
                        <a:pt x="156" y="192"/>
                      </a:lnTo>
                      <a:lnTo>
                        <a:pt x="154" y="194"/>
                      </a:lnTo>
                      <a:lnTo>
                        <a:pt x="154" y="197"/>
                      </a:lnTo>
                      <a:lnTo>
                        <a:pt x="152" y="199"/>
                      </a:lnTo>
                      <a:lnTo>
                        <a:pt x="149" y="199"/>
                      </a:lnTo>
                      <a:lnTo>
                        <a:pt x="147" y="197"/>
                      </a:lnTo>
                      <a:lnTo>
                        <a:pt x="147" y="197"/>
                      </a:lnTo>
                      <a:lnTo>
                        <a:pt x="142" y="202"/>
                      </a:lnTo>
                      <a:lnTo>
                        <a:pt x="142" y="204"/>
                      </a:lnTo>
                      <a:lnTo>
                        <a:pt x="142" y="206"/>
                      </a:lnTo>
                      <a:lnTo>
                        <a:pt x="145" y="211"/>
                      </a:lnTo>
                      <a:lnTo>
                        <a:pt x="142" y="213"/>
                      </a:lnTo>
                      <a:lnTo>
                        <a:pt x="142" y="216"/>
                      </a:lnTo>
                      <a:lnTo>
                        <a:pt x="142" y="225"/>
                      </a:lnTo>
                      <a:lnTo>
                        <a:pt x="145" y="225"/>
                      </a:lnTo>
                      <a:lnTo>
                        <a:pt x="147" y="230"/>
                      </a:lnTo>
                      <a:lnTo>
                        <a:pt x="142" y="237"/>
                      </a:lnTo>
                      <a:lnTo>
                        <a:pt x="140" y="242"/>
                      </a:lnTo>
                      <a:lnTo>
                        <a:pt x="140" y="247"/>
                      </a:lnTo>
                      <a:lnTo>
                        <a:pt x="142" y="247"/>
                      </a:lnTo>
                      <a:lnTo>
                        <a:pt x="142" y="256"/>
                      </a:lnTo>
                      <a:lnTo>
                        <a:pt x="142" y="258"/>
                      </a:lnTo>
                      <a:lnTo>
                        <a:pt x="140" y="258"/>
                      </a:lnTo>
                      <a:lnTo>
                        <a:pt x="140" y="258"/>
                      </a:lnTo>
                      <a:lnTo>
                        <a:pt x="135" y="258"/>
                      </a:lnTo>
                      <a:lnTo>
                        <a:pt x="135" y="261"/>
                      </a:lnTo>
                      <a:lnTo>
                        <a:pt x="135" y="261"/>
                      </a:lnTo>
                      <a:lnTo>
                        <a:pt x="133" y="265"/>
                      </a:lnTo>
                      <a:lnTo>
                        <a:pt x="130" y="265"/>
                      </a:lnTo>
                      <a:lnTo>
                        <a:pt x="133" y="268"/>
                      </a:lnTo>
                      <a:lnTo>
                        <a:pt x="135" y="270"/>
                      </a:lnTo>
                      <a:lnTo>
                        <a:pt x="135" y="270"/>
                      </a:lnTo>
                      <a:lnTo>
                        <a:pt x="135" y="270"/>
                      </a:lnTo>
                      <a:lnTo>
                        <a:pt x="135" y="270"/>
                      </a:lnTo>
                      <a:lnTo>
                        <a:pt x="133" y="268"/>
                      </a:lnTo>
                      <a:lnTo>
                        <a:pt x="128" y="270"/>
                      </a:lnTo>
                      <a:lnTo>
                        <a:pt x="128" y="270"/>
                      </a:lnTo>
                      <a:lnTo>
                        <a:pt x="123" y="273"/>
                      </a:lnTo>
                      <a:lnTo>
                        <a:pt x="123" y="273"/>
                      </a:lnTo>
                      <a:lnTo>
                        <a:pt x="123" y="275"/>
                      </a:lnTo>
                      <a:lnTo>
                        <a:pt x="123" y="275"/>
                      </a:lnTo>
                      <a:lnTo>
                        <a:pt x="123" y="275"/>
                      </a:lnTo>
                      <a:lnTo>
                        <a:pt x="121" y="280"/>
                      </a:lnTo>
                      <a:lnTo>
                        <a:pt x="116" y="282"/>
                      </a:lnTo>
                      <a:lnTo>
                        <a:pt x="114" y="282"/>
                      </a:lnTo>
                      <a:lnTo>
                        <a:pt x="109" y="280"/>
                      </a:lnTo>
                      <a:lnTo>
                        <a:pt x="107" y="275"/>
                      </a:lnTo>
                      <a:lnTo>
                        <a:pt x="102" y="268"/>
                      </a:lnTo>
                      <a:lnTo>
                        <a:pt x="102" y="263"/>
                      </a:lnTo>
                      <a:lnTo>
                        <a:pt x="102" y="258"/>
                      </a:lnTo>
                      <a:lnTo>
                        <a:pt x="100" y="256"/>
                      </a:lnTo>
                      <a:lnTo>
                        <a:pt x="100" y="254"/>
                      </a:lnTo>
                      <a:lnTo>
                        <a:pt x="97" y="254"/>
                      </a:lnTo>
                      <a:lnTo>
                        <a:pt x="97" y="251"/>
                      </a:lnTo>
                      <a:lnTo>
                        <a:pt x="95" y="247"/>
                      </a:lnTo>
                      <a:lnTo>
                        <a:pt x="93" y="244"/>
                      </a:lnTo>
                      <a:lnTo>
                        <a:pt x="90" y="239"/>
                      </a:lnTo>
                      <a:lnTo>
                        <a:pt x="90" y="239"/>
                      </a:lnTo>
                      <a:lnTo>
                        <a:pt x="85" y="237"/>
                      </a:lnTo>
                      <a:lnTo>
                        <a:pt x="85" y="235"/>
                      </a:lnTo>
                      <a:lnTo>
                        <a:pt x="83" y="235"/>
                      </a:lnTo>
                      <a:lnTo>
                        <a:pt x="83" y="230"/>
                      </a:lnTo>
                      <a:lnTo>
                        <a:pt x="83" y="228"/>
                      </a:lnTo>
                      <a:lnTo>
                        <a:pt x="81" y="223"/>
                      </a:lnTo>
                      <a:lnTo>
                        <a:pt x="81" y="220"/>
                      </a:lnTo>
                      <a:lnTo>
                        <a:pt x="78" y="218"/>
                      </a:lnTo>
                      <a:lnTo>
                        <a:pt x="78" y="216"/>
                      </a:lnTo>
                      <a:lnTo>
                        <a:pt x="78" y="213"/>
                      </a:lnTo>
                      <a:lnTo>
                        <a:pt x="76" y="213"/>
                      </a:lnTo>
                      <a:lnTo>
                        <a:pt x="74" y="209"/>
                      </a:lnTo>
                      <a:lnTo>
                        <a:pt x="74" y="209"/>
                      </a:lnTo>
                      <a:lnTo>
                        <a:pt x="74" y="209"/>
                      </a:lnTo>
                      <a:lnTo>
                        <a:pt x="71" y="204"/>
                      </a:lnTo>
                      <a:lnTo>
                        <a:pt x="71" y="202"/>
                      </a:lnTo>
                      <a:lnTo>
                        <a:pt x="69" y="202"/>
                      </a:lnTo>
                      <a:lnTo>
                        <a:pt x="69" y="199"/>
                      </a:lnTo>
                      <a:lnTo>
                        <a:pt x="66" y="197"/>
                      </a:lnTo>
                      <a:lnTo>
                        <a:pt x="64" y="192"/>
                      </a:lnTo>
                      <a:lnTo>
                        <a:pt x="64" y="187"/>
                      </a:lnTo>
                      <a:lnTo>
                        <a:pt x="59" y="178"/>
                      </a:lnTo>
                      <a:lnTo>
                        <a:pt x="59" y="175"/>
                      </a:lnTo>
                      <a:lnTo>
                        <a:pt x="57" y="173"/>
                      </a:lnTo>
                      <a:lnTo>
                        <a:pt x="59" y="173"/>
                      </a:lnTo>
                      <a:lnTo>
                        <a:pt x="57" y="168"/>
                      </a:lnTo>
                      <a:lnTo>
                        <a:pt x="57" y="166"/>
                      </a:lnTo>
                      <a:lnTo>
                        <a:pt x="57" y="166"/>
                      </a:lnTo>
                      <a:lnTo>
                        <a:pt x="57" y="166"/>
                      </a:lnTo>
                      <a:lnTo>
                        <a:pt x="57" y="164"/>
                      </a:lnTo>
                      <a:lnTo>
                        <a:pt x="52" y="159"/>
                      </a:lnTo>
                      <a:lnTo>
                        <a:pt x="52" y="154"/>
                      </a:lnTo>
                      <a:lnTo>
                        <a:pt x="55" y="154"/>
                      </a:lnTo>
                      <a:lnTo>
                        <a:pt x="52" y="152"/>
                      </a:lnTo>
                      <a:lnTo>
                        <a:pt x="52" y="152"/>
                      </a:lnTo>
                      <a:lnTo>
                        <a:pt x="55" y="149"/>
                      </a:lnTo>
                      <a:lnTo>
                        <a:pt x="55" y="145"/>
                      </a:lnTo>
                      <a:lnTo>
                        <a:pt x="52" y="142"/>
                      </a:lnTo>
                      <a:lnTo>
                        <a:pt x="52" y="142"/>
                      </a:lnTo>
                      <a:lnTo>
                        <a:pt x="50" y="138"/>
                      </a:lnTo>
                      <a:lnTo>
                        <a:pt x="52" y="135"/>
                      </a:lnTo>
                      <a:lnTo>
                        <a:pt x="55" y="135"/>
                      </a:lnTo>
                      <a:lnTo>
                        <a:pt x="55" y="135"/>
                      </a:lnTo>
                      <a:lnTo>
                        <a:pt x="55" y="135"/>
                      </a:lnTo>
                      <a:lnTo>
                        <a:pt x="50" y="135"/>
                      </a:lnTo>
                      <a:lnTo>
                        <a:pt x="50" y="135"/>
                      </a:lnTo>
                      <a:lnTo>
                        <a:pt x="50" y="133"/>
                      </a:lnTo>
                      <a:lnTo>
                        <a:pt x="48" y="130"/>
                      </a:lnTo>
                      <a:lnTo>
                        <a:pt x="50" y="128"/>
                      </a:lnTo>
                      <a:lnTo>
                        <a:pt x="50" y="128"/>
                      </a:lnTo>
                      <a:lnTo>
                        <a:pt x="50" y="128"/>
                      </a:lnTo>
                      <a:lnTo>
                        <a:pt x="52" y="126"/>
                      </a:lnTo>
                      <a:lnTo>
                        <a:pt x="55" y="126"/>
                      </a:lnTo>
                      <a:lnTo>
                        <a:pt x="52" y="126"/>
                      </a:lnTo>
                      <a:lnTo>
                        <a:pt x="50" y="126"/>
                      </a:lnTo>
                      <a:lnTo>
                        <a:pt x="48" y="126"/>
                      </a:lnTo>
                      <a:lnTo>
                        <a:pt x="48" y="126"/>
                      </a:lnTo>
                      <a:lnTo>
                        <a:pt x="48" y="126"/>
                      </a:lnTo>
                      <a:lnTo>
                        <a:pt x="48" y="128"/>
                      </a:lnTo>
                      <a:lnTo>
                        <a:pt x="45" y="133"/>
                      </a:lnTo>
                      <a:lnTo>
                        <a:pt x="48" y="133"/>
                      </a:lnTo>
                      <a:lnTo>
                        <a:pt x="45" y="138"/>
                      </a:lnTo>
                      <a:lnTo>
                        <a:pt x="45" y="140"/>
                      </a:lnTo>
                      <a:lnTo>
                        <a:pt x="45" y="140"/>
                      </a:lnTo>
                      <a:lnTo>
                        <a:pt x="40" y="142"/>
                      </a:lnTo>
                      <a:lnTo>
                        <a:pt x="36" y="145"/>
                      </a:lnTo>
                      <a:lnTo>
                        <a:pt x="31" y="147"/>
                      </a:lnTo>
                      <a:lnTo>
                        <a:pt x="29" y="145"/>
                      </a:lnTo>
                      <a:lnTo>
                        <a:pt x="19" y="140"/>
                      </a:lnTo>
                      <a:lnTo>
                        <a:pt x="14" y="135"/>
                      </a:lnTo>
                      <a:lnTo>
                        <a:pt x="14" y="135"/>
                      </a:lnTo>
                      <a:lnTo>
                        <a:pt x="14" y="135"/>
                      </a:lnTo>
                      <a:lnTo>
                        <a:pt x="12" y="133"/>
                      </a:lnTo>
                      <a:lnTo>
                        <a:pt x="7" y="128"/>
                      </a:lnTo>
                      <a:lnTo>
                        <a:pt x="7" y="128"/>
                      </a:lnTo>
                      <a:lnTo>
                        <a:pt x="7" y="126"/>
                      </a:lnTo>
                      <a:lnTo>
                        <a:pt x="10" y="126"/>
                      </a:lnTo>
                      <a:lnTo>
                        <a:pt x="10" y="126"/>
                      </a:lnTo>
                      <a:lnTo>
                        <a:pt x="12" y="126"/>
                      </a:lnTo>
                      <a:lnTo>
                        <a:pt x="12" y="128"/>
                      </a:lnTo>
                      <a:lnTo>
                        <a:pt x="12" y="128"/>
                      </a:lnTo>
                      <a:lnTo>
                        <a:pt x="14" y="128"/>
                      </a:lnTo>
                      <a:lnTo>
                        <a:pt x="14" y="128"/>
                      </a:lnTo>
                      <a:lnTo>
                        <a:pt x="17" y="128"/>
                      </a:lnTo>
                      <a:lnTo>
                        <a:pt x="17" y="128"/>
                      </a:lnTo>
                      <a:lnTo>
                        <a:pt x="22" y="123"/>
                      </a:lnTo>
                      <a:lnTo>
                        <a:pt x="22" y="123"/>
                      </a:lnTo>
                      <a:lnTo>
                        <a:pt x="24" y="121"/>
                      </a:lnTo>
                      <a:lnTo>
                        <a:pt x="26" y="121"/>
                      </a:lnTo>
                      <a:lnTo>
                        <a:pt x="26" y="119"/>
                      </a:lnTo>
                      <a:lnTo>
                        <a:pt x="24" y="119"/>
                      </a:lnTo>
                      <a:lnTo>
                        <a:pt x="24" y="119"/>
                      </a:lnTo>
                      <a:lnTo>
                        <a:pt x="24" y="119"/>
                      </a:lnTo>
                      <a:lnTo>
                        <a:pt x="24" y="121"/>
                      </a:lnTo>
                      <a:lnTo>
                        <a:pt x="19" y="123"/>
                      </a:lnTo>
                      <a:lnTo>
                        <a:pt x="17" y="123"/>
                      </a:lnTo>
                      <a:lnTo>
                        <a:pt x="14" y="123"/>
                      </a:lnTo>
                      <a:lnTo>
                        <a:pt x="7" y="121"/>
                      </a:lnTo>
                      <a:lnTo>
                        <a:pt x="3" y="119"/>
                      </a:lnTo>
                      <a:lnTo>
                        <a:pt x="3" y="116"/>
                      </a:lnTo>
                      <a:lnTo>
                        <a:pt x="3" y="114"/>
                      </a:lnTo>
                      <a:lnTo>
                        <a:pt x="5" y="111"/>
                      </a:lnTo>
                      <a:lnTo>
                        <a:pt x="7" y="111"/>
                      </a:lnTo>
                      <a:lnTo>
                        <a:pt x="3" y="111"/>
                      </a:lnTo>
                      <a:lnTo>
                        <a:pt x="0" y="114"/>
                      </a:lnTo>
                      <a:lnTo>
                        <a:pt x="0" y="111"/>
                      </a:lnTo>
                      <a:lnTo>
                        <a:pt x="3" y="109"/>
                      </a:lnTo>
                      <a:lnTo>
                        <a:pt x="5" y="109"/>
                      </a:lnTo>
                      <a:lnTo>
                        <a:pt x="5" y="107"/>
                      </a:lnTo>
                      <a:lnTo>
                        <a:pt x="7" y="107"/>
                      </a:lnTo>
                      <a:lnTo>
                        <a:pt x="10" y="107"/>
                      </a:lnTo>
                      <a:lnTo>
                        <a:pt x="17" y="107"/>
                      </a:lnTo>
                      <a:lnTo>
                        <a:pt x="22" y="104"/>
                      </a:lnTo>
                      <a:lnTo>
                        <a:pt x="22" y="104"/>
                      </a:lnTo>
                      <a:lnTo>
                        <a:pt x="24" y="102"/>
                      </a:lnTo>
                      <a:lnTo>
                        <a:pt x="24" y="104"/>
                      </a:lnTo>
                      <a:lnTo>
                        <a:pt x="24" y="107"/>
                      </a:lnTo>
                      <a:lnTo>
                        <a:pt x="26" y="104"/>
                      </a:lnTo>
                      <a:lnTo>
                        <a:pt x="29" y="104"/>
                      </a:lnTo>
                      <a:lnTo>
                        <a:pt x="29" y="102"/>
                      </a:lnTo>
                      <a:lnTo>
                        <a:pt x="29" y="102"/>
                      </a:lnTo>
                      <a:lnTo>
                        <a:pt x="26" y="95"/>
                      </a:lnTo>
                      <a:lnTo>
                        <a:pt x="24" y="92"/>
                      </a:lnTo>
                      <a:lnTo>
                        <a:pt x="24" y="90"/>
                      </a:lnTo>
                      <a:lnTo>
                        <a:pt x="24" y="90"/>
                      </a:lnTo>
                      <a:lnTo>
                        <a:pt x="22" y="90"/>
                      </a:lnTo>
                      <a:lnTo>
                        <a:pt x="17" y="88"/>
                      </a:lnTo>
                      <a:lnTo>
                        <a:pt x="17" y="83"/>
                      </a:lnTo>
                      <a:lnTo>
                        <a:pt x="17" y="81"/>
                      </a:lnTo>
                      <a:lnTo>
                        <a:pt x="14" y="78"/>
                      </a:lnTo>
                      <a:lnTo>
                        <a:pt x="12" y="78"/>
                      </a:lnTo>
                      <a:lnTo>
                        <a:pt x="12" y="78"/>
                      </a:lnTo>
                      <a:lnTo>
                        <a:pt x="10" y="78"/>
                      </a:lnTo>
                      <a:lnTo>
                        <a:pt x="7" y="78"/>
                      </a:lnTo>
                      <a:lnTo>
                        <a:pt x="7" y="76"/>
                      </a:lnTo>
                      <a:lnTo>
                        <a:pt x="10" y="71"/>
                      </a:lnTo>
                      <a:lnTo>
                        <a:pt x="10" y="71"/>
                      </a:lnTo>
                      <a:lnTo>
                        <a:pt x="14" y="66"/>
                      </a:lnTo>
                      <a:lnTo>
                        <a:pt x="14" y="64"/>
                      </a:lnTo>
                      <a:lnTo>
                        <a:pt x="17" y="64"/>
                      </a:lnTo>
                      <a:lnTo>
                        <a:pt x="17" y="62"/>
                      </a:lnTo>
                      <a:lnTo>
                        <a:pt x="19" y="64"/>
                      </a:lnTo>
                      <a:lnTo>
                        <a:pt x="22" y="66"/>
                      </a:lnTo>
                      <a:lnTo>
                        <a:pt x="22" y="66"/>
                      </a:lnTo>
                      <a:lnTo>
                        <a:pt x="26" y="64"/>
                      </a:lnTo>
                      <a:lnTo>
                        <a:pt x="33" y="64"/>
                      </a:lnTo>
                      <a:lnTo>
                        <a:pt x="36" y="59"/>
                      </a:lnTo>
                      <a:lnTo>
                        <a:pt x="38" y="55"/>
                      </a:lnTo>
                      <a:lnTo>
                        <a:pt x="43" y="50"/>
                      </a:lnTo>
                      <a:lnTo>
                        <a:pt x="45" y="47"/>
                      </a:lnTo>
                      <a:lnTo>
                        <a:pt x="45" y="45"/>
                      </a:lnTo>
                      <a:lnTo>
                        <a:pt x="48" y="43"/>
                      </a:lnTo>
                      <a:lnTo>
                        <a:pt x="52" y="40"/>
                      </a:lnTo>
                      <a:lnTo>
                        <a:pt x="52" y="38"/>
                      </a:lnTo>
                      <a:lnTo>
                        <a:pt x="52" y="36"/>
                      </a:lnTo>
                      <a:lnTo>
                        <a:pt x="52" y="36"/>
                      </a:lnTo>
                      <a:lnTo>
                        <a:pt x="55" y="31"/>
                      </a:lnTo>
                      <a:lnTo>
                        <a:pt x="57" y="31"/>
                      </a:lnTo>
                      <a:lnTo>
                        <a:pt x="57" y="28"/>
                      </a:lnTo>
                      <a:lnTo>
                        <a:pt x="57" y="24"/>
                      </a:lnTo>
                      <a:lnTo>
                        <a:pt x="57" y="19"/>
                      </a:lnTo>
                      <a:lnTo>
                        <a:pt x="55" y="19"/>
                      </a:lnTo>
                      <a:lnTo>
                        <a:pt x="59" y="14"/>
                      </a:lnTo>
                      <a:lnTo>
                        <a:pt x="62" y="14"/>
                      </a:lnTo>
                      <a:lnTo>
                        <a:pt x="64" y="14"/>
                      </a:lnTo>
                      <a:lnTo>
                        <a:pt x="64" y="14"/>
                      </a:lnTo>
                      <a:lnTo>
                        <a:pt x="66" y="10"/>
                      </a:lnTo>
                      <a:lnTo>
                        <a:pt x="71" y="5"/>
                      </a:lnTo>
                      <a:lnTo>
                        <a:pt x="74" y="2"/>
                      </a:lnTo>
                      <a:lnTo>
                        <a:pt x="76" y="2"/>
                      </a:lnTo>
                      <a:lnTo>
                        <a:pt x="78" y="0"/>
                      </a:lnTo>
                      <a:lnTo>
                        <a:pt x="81" y="0"/>
                      </a:lnTo>
                      <a:lnTo>
                        <a:pt x="88" y="5"/>
                      </a:lnTo>
                      <a:lnTo>
                        <a:pt x="90" y="2"/>
                      </a:lnTo>
                      <a:lnTo>
                        <a:pt x="93" y="2"/>
                      </a:lnTo>
                      <a:lnTo>
                        <a:pt x="95" y="7"/>
                      </a:lnTo>
                      <a:lnTo>
                        <a:pt x="97" y="7"/>
                      </a:lnTo>
                      <a:lnTo>
                        <a:pt x="102" y="10"/>
                      </a:lnTo>
                      <a:lnTo>
                        <a:pt x="102" y="10"/>
                      </a:lnTo>
                      <a:lnTo>
                        <a:pt x="102" y="10"/>
                      </a:lnTo>
                      <a:close/>
                      <a:moveTo>
                        <a:pt x="230" y="133"/>
                      </a:moveTo>
                      <a:lnTo>
                        <a:pt x="230" y="135"/>
                      </a:lnTo>
                      <a:lnTo>
                        <a:pt x="232" y="135"/>
                      </a:lnTo>
                      <a:lnTo>
                        <a:pt x="230" y="133"/>
                      </a:lnTo>
                      <a:lnTo>
                        <a:pt x="230" y="133"/>
                      </a:lnTo>
                      <a:close/>
                      <a:moveTo>
                        <a:pt x="230" y="133"/>
                      </a:moveTo>
                      <a:lnTo>
                        <a:pt x="227" y="133"/>
                      </a:lnTo>
                      <a:lnTo>
                        <a:pt x="227" y="135"/>
                      </a:lnTo>
                      <a:lnTo>
                        <a:pt x="230" y="135"/>
                      </a:lnTo>
                      <a:lnTo>
                        <a:pt x="230" y="133"/>
                      </a:lnTo>
                      <a:lnTo>
                        <a:pt x="230" y="133"/>
                      </a:lnTo>
                      <a:lnTo>
                        <a:pt x="230" y="133"/>
                      </a:lnTo>
                      <a:close/>
                      <a:moveTo>
                        <a:pt x="225" y="133"/>
                      </a:moveTo>
                      <a:lnTo>
                        <a:pt x="227" y="135"/>
                      </a:lnTo>
                      <a:lnTo>
                        <a:pt x="227" y="135"/>
                      </a:lnTo>
                      <a:lnTo>
                        <a:pt x="227" y="133"/>
                      </a:lnTo>
                      <a:lnTo>
                        <a:pt x="225" y="133"/>
                      </a:lnTo>
                      <a:lnTo>
                        <a:pt x="225" y="133"/>
                      </a:lnTo>
                      <a:close/>
                      <a:moveTo>
                        <a:pt x="223" y="133"/>
                      </a:moveTo>
                      <a:lnTo>
                        <a:pt x="223" y="135"/>
                      </a:lnTo>
                      <a:lnTo>
                        <a:pt x="223" y="135"/>
                      </a:lnTo>
                      <a:lnTo>
                        <a:pt x="225" y="133"/>
                      </a:lnTo>
                      <a:lnTo>
                        <a:pt x="225" y="130"/>
                      </a:lnTo>
                      <a:lnTo>
                        <a:pt x="223" y="133"/>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Freeform 36">
                  <a:extLst>
                    <a:ext uri="{FF2B5EF4-FFF2-40B4-BE49-F238E27FC236}">
                      <a16:creationId xmlns:a16="http://schemas.microsoft.com/office/drawing/2014/main" id="{9D5CBE31-4462-5BE3-152C-314DFAA30F6C}"/>
                    </a:ext>
                  </a:extLst>
                </p:cNvPr>
                <p:cNvSpPr>
                  <a:spLocks noEditPoints="1"/>
                </p:cNvSpPr>
                <p:nvPr/>
              </p:nvSpPr>
              <p:spPr bwMode="auto">
                <a:xfrm>
                  <a:off x="3636" y="2313"/>
                  <a:ext cx="59" cy="69"/>
                </a:xfrm>
                <a:custGeom>
                  <a:avLst/>
                  <a:gdLst>
                    <a:gd name="T0" fmla="*/ 24 w 25"/>
                    <a:gd name="T1" fmla="*/ 25 h 29"/>
                    <a:gd name="T2" fmla="*/ 23 w 25"/>
                    <a:gd name="T3" fmla="*/ 27 h 29"/>
                    <a:gd name="T4" fmla="*/ 23 w 25"/>
                    <a:gd name="T5" fmla="*/ 28 h 29"/>
                    <a:gd name="T6" fmla="*/ 21 w 25"/>
                    <a:gd name="T7" fmla="*/ 26 h 29"/>
                    <a:gd name="T8" fmla="*/ 21 w 25"/>
                    <a:gd name="T9" fmla="*/ 24 h 29"/>
                    <a:gd name="T10" fmla="*/ 20 w 25"/>
                    <a:gd name="T11" fmla="*/ 25 h 29"/>
                    <a:gd name="T12" fmla="*/ 20 w 25"/>
                    <a:gd name="T13" fmla="*/ 22 h 29"/>
                    <a:gd name="T14" fmla="*/ 18 w 25"/>
                    <a:gd name="T15" fmla="*/ 18 h 29"/>
                    <a:gd name="T16" fmla="*/ 18 w 25"/>
                    <a:gd name="T17" fmla="*/ 19 h 29"/>
                    <a:gd name="T18" fmla="*/ 15 w 25"/>
                    <a:gd name="T19" fmla="*/ 18 h 29"/>
                    <a:gd name="T20" fmla="*/ 13 w 25"/>
                    <a:gd name="T21" fmla="*/ 16 h 29"/>
                    <a:gd name="T22" fmla="*/ 14 w 25"/>
                    <a:gd name="T23" fmla="*/ 19 h 29"/>
                    <a:gd name="T24" fmla="*/ 14 w 25"/>
                    <a:gd name="T25" fmla="*/ 20 h 29"/>
                    <a:gd name="T26" fmla="*/ 12 w 25"/>
                    <a:gd name="T27" fmla="*/ 23 h 29"/>
                    <a:gd name="T28" fmla="*/ 12 w 25"/>
                    <a:gd name="T29" fmla="*/ 22 h 29"/>
                    <a:gd name="T30" fmla="*/ 11 w 25"/>
                    <a:gd name="T31" fmla="*/ 23 h 29"/>
                    <a:gd name="T32" fmla="*/ 11 w 25"/>
                    <a:gd name="T33" fmla="*/ 20 h 29"/>
                    <a:gd name="T34" fmla="*/ 11 w 25"/>
                    <a:gd name="T35" fmla="*/ 21 h 29"/>
                    <a:gd name="T36" fmla="*/ 11 w 25"/>
                    <a:gd name="T37" fmla="*/ 23 h 29"/>
                    <a:gd name="T38" fmla="*/ 10 w 25"/>
                    <a:gd name="T39" fmla="*/ 23 h 29"/>
                    <a:gd name="T40" fmla="*/ 9 w 25"/>
                    <a:gd name="T41" fmla="*/ 24 h 29"/>
                    <a:gd name="T42" fmla="*/ 8 w 25"/>
                    <a:gd name="T43" fmla="*/ 23 h 29"/>
                    <a:gd name="T44" fmla="*/ 7 w 25"/>
                    <a:gd name="T45" fmla="*/ 21 h 29"/>
                    <a:gd name="T46" fmla="*/ 5 w 25"/>
                    <a:gd name="T47" fmla="*/ 16 h 29"/>
                    <a:gd name="T48" fmla="*/ 5 w 25"/>
                    <a:gd name="T49" fmla="*/ 13 h 29"/>
                    <a:gd name="T50" fmla="*/ 1 w 25"/>
                    <a:gd name="T51" fmla="*/ 10 h 29"/>
                    <a:gd name="T52" fmla="*/ 3 w 25"/>
                    <a:gd name="T53" fmla="*/ 7 h 29"/>
                    <a:gd name="T54" fmla="*/ 5 w 25"/>
                    <a:gd name="T55" fmla="*/ 6 h 29"/>
                    <a:gd name="T56" fmla="*/ 3 w 25"/>
                    <a:gd name="T57" fmla="*/ 5 h 29"/>
                    <a:gd name="T58" fmla="*/ 0 w 25"/>
                    <a:gd name="T59" fmla="*/ 3 h 29"/>
                    <a:gd name="T60" fmla="*/ 1 w 25"/>
                    <a:gd name="T61" fmla="*/ 1 h 29"/>
                    <a:gd name="T62" fmla="*/ 2 w 25"/>
                    <a:gd name="T63" fmla="*/ 0 h 29"/>
                    <a:gd name="T64" fmla="*/ 3 w 25"/>
                    <a:gd name="T65" fmla="*/ 1 h 29"/>
                    <a:gd name="T66" fmla="*/ 5 w 25"/>
                    <a:gd name="T67" fmla="*/ 2 h 29"/>
                    <a:gd name="T68" fmla="*/ 5 w 25"/>
                    <a:gd name="T69" fmla="*/ 1 h 29"/>
                    <a:gd name="T70" fmla="*/ 7 w 25"/>
                    <a:gd name="T71" fmla="*/ 2 h 29"/>
                    <a:gd name="T72" fmla="*/ 8 w 25"/>
                    <a:gd name="T73" fmla="*/ 3 h 29"/>
                    <a:gd name="T74" fmla="*/ 9 w 25"/>
                    <a:gd name="T75" fmla="*/ 6 h 29"/>
                    <a:gd name="T76" fmla="*/ 11 w 25"/>
                    <a:gd name="T77" fmla="*/ 6 h 29"/>
                    <a:gd name="T78" fmla="*/ 15 w 25"/>
                    <a:gd name="T79" fmla="*/ 7 h 29"/>
                    <a:gd name="T80" fmla="*/ 19 w 25"/>
                    <a:gd name="T81" fmla="*/ 7 h 29"/>
                    <a:gd name="T82" fmla="*/ 21 w 25"/>
                    <a:gd name="T83" fmla="*/ 8 h 29"/>
                    <a:gd name="T84" fmla="*/ 20 w 25"/>
                    <a:gd name="T85" fmla="*/ 10 h 29"/>
                    <a:gd name="T86" fmla="*/ 19 w 25"/>
                    <a:gd name="T87" fmla="*/ 12 h 29"/>
                    <a:gd name="T88" fmla="*/ 18 w 25"/>
                    <a:gd name="T89" fmla="*/ 12 h 29"/>
                    <a:gd name="T90" fmla="*/ 16 w 25"/>
                    <a:gd name="T91" fmla="*/ 13 h 29"/>
                    <a:gd name="T92" fmla="*/ 17 w 25"/>
                    <a:gd name="T93" fmla="*/ 16 h 29"/>
                    <a:gd name="T94" fmla="*/ 19 w 25"/>
                    <a:gd name="T95" fmla="*/ 18 h 29"/>
                    <a:gd name="T96" fmla="*/ 19 w 25"/>
                    <a:gd name="T97" fmla="*/ 17 h 29"/>
                    <a:gd name="T98" fmla="*/ 20 w 25"/>
                    <a:gd name="T99" fmla="*/ 15 h 29"/>
                    <a:gd name="T100" fmla="*/ 21 w 25"/>
                    <a:gd name="T101" fmla="*/ 15 h 29"/>
                    <a:gd name="T102" fmla="*/ 22 w 25"/>
                    <a:gd name="T103" fmla="*/ 16 h 29"/>
                    <a:gd name="T104" fmla="*/ 23 w 25"/>
                    <a:gd name="T105" fmla="*/ 18 h 29"/>
                    <a:gd name="T106" fmla="*/ 24 w 25"/>
                    <a:gd name="T107" fmla="*/ 22 h 29"/>
                    <a:gd name="T108" fmla="*/ 25 w 25"/>
                    <a:gd name="T109" fmla="*/ 23 h 29"/>
                    <a:gd name="T110" fmla="*/ 18 w 25"/>
                    <a:gd name="T111" fmla="*/ 20 h 29"/>
                    <a:gd name="T112" fmla="*/ 18 w 25"/>
                    <a:gd name="T113" fmla="*/ 20 h 29"/>
                    <a:gd name="T114" fmla="*/ 16 w 25"/>
                    <a:gd name="T115" fmla="*/ 21 h 29"/>
                    <a:gd name="T116" fmla="*/ 17 w 25"/>
                    <a:gd name="T117" fmla="*/ 21 h 29"/>
                    <a:gd name="T118" fmla="*/ 16 w 25"/>
                    <a:gd name="T119" fmla="*/ 20 h 29"/>
                    <a:gd name="T120" fmla="*/ 14 w 25"/>
                    <a:gd name="T121" fmla="*/ 20 h 29"/>
                    <a:gd name="T122" fmla="*/ 15 w 25"/>
                    <a:gd name="T123" fmla="*/ 2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 h="29">
                      <a:moveTo>
                        <a:pt x="25" y="23"/>
                      </a:moveTo>
                      <a:cubicBezTo>
                        <a:pt x="25" y="24"/>
                        <a:pt x="25" y="24"/>
                        <a:pt x="25" y="24"/>
                      </a:cubicBezTo>
                      <a:cubicBezTo>
                        <a:pt x="24" y="25"/>
                        <a:pt x="24" y="25"/>
                        <a:pt x="24" y="25"/>
                      </a:cubicBezTo>
                      <a:cubicBezTo>
                        <a:pt x="24" y="25"/>
                        <a:pt x="24" y="25"/>
                        <a:pt x="24" y="25"/>
                      </a:cubicBezTo>
                      <a:cubicBezTo>
                        <a:pt x="23" y="26"/>
                        <a:pt x="23" y="26"/>
                        <a:pt x="23" y="26"/>
                      </a:cubicBezTo>
                      <a:cubicBezTo>
                        <a:pt x="23" y="27"/>
                        <a:pt x="23" y="27"/>
                        <a:pt x="23" y="27"/>
                      </a:cubicBezTo>
                      <a:cubicBezTo>
                        <a:pt x="23" y="27"/>
                        <a:pt x="23" y="27"/>
                        <a:pt x="23" y="27"/>
                      </a:cubicBezTo>
                      <a:cubicBezTo>
                        <a:pt x="23" y="27"/>
                        <a:pt x="23" y="27"/>
                        <a:pt x="23" y="27"/>
                      </a:cubicBezTo>
                      <a:cubicBezTo>
                        <a:pt x="23" y="28"/>
                        <a:pt x="23" y="28"/>
                        <a:pt x="23" y="28"/>
                      </a:cubicBezTo>
                      <a:cubicBezTo>
                        <a:pt x="23" y="29"/>
                        <a:pt x="23" y="29"/>
                        <a:pt x="23" y="29"/>
                      </a:cubicBezTo>
                      <a:cubicBezTo>
                        <a:pt x="22" y="27"/>
                        <a:pt x="22" y="27"/>
                        <a:pt x="22" y="27"/>
                      </a:cubicBezTo>
                      <a:cubicBezTo>
                        <a:pt x="21" y="26"/>
                        <a:pt x="21" y="26"/>
                        <a:pt x="21" y="26"/>
                      </a:cubicBezTo>
                      <a:cubicBezTo>
                        <a:pt x="21" y="25"/>
                        <a:pt x="21" y="25"/>
                        <a:pt x="21" y="25"/>
                      </a:cubicBezTo>
                      <a:cubicBezTo>
                        <a:pt x="21" y="25"/>
                        <a:pt x="21" y="25"/>
                        <a:pt x="21" y="25"/>
                      </a:cubicBezTo>
                      <a:cubicBezTo>
                        <a:pt x="21" y="24"/>
                        <a:pt x="21" y="24"/>
                        <a:pt x="21" y="24"/>
                      </a:cubicBezTo>
                      <a:cubicBezTo>
                        <a:pt x="21" y="25"/>
                        <a:pt x="21" y="25"/>
                        <a:pt x="21" y="25"/>
                      </a:cubicBezTo>
                      <a:cubicBezTo>
                        <a:pt x="20" y="25"/>
                        <a:pt x="20" y="25"/>
                        <a:pt x="20" y="25"/>
                      </a:cubicBezTo>
                      <a:cubicBezTo>
                        <a:pt x="20" y="25"/>
                        <a:pt x="20" y="25"/>
                        <a:pt x="20" y="25"/>
                      </a:cubicBezTo>
                      <a:cubicBezTo>
                        <a:pt x="21" y="24"/>
                        <a:pt x="21" y="24"/>
                        <a:pt x="21" y="24"/>
                      </a:cubicBezTo>
                      <a:cubicBezTo>
                        <a:pt x="20" y="23"/>
                        <a:pt x="20" y="23"/>
                        <a:pt x="20" y="23"/>
                      </a:cubicBezTo>
                      <a:cubicBezTo>
                        <a:pt x="20" y="22"/>
                        <a:pt x="20" y="22"/>
                        <a:pt x="20" y="22"/>
                      </a:cubicBezTo>
                      <a:cubicBezTo>
                        <a:pt x="20" y="22"/>
                        <a:pt x="20" y="22"/>
                        <a:pt x="20" y="22"/>
                      </a:cubicBezTo>
                      <a:cubicBezTo>
                        <a:pt x="20" y="21"/>
                        <a:pt x="20" y="21"/>
                        <a:pt x="20" y="21"/>
                      </a:cubicBezTo>
                      <a:cubicBezTo>
                        <a:pt x="18" y="18"/>
                        <a:pt x="18" y="18"/>
                        <a:pt x="18" y="18"/>
                      </a:cubicBezTo>
                      <a:cubicBezTo>
                        <a:pt x="18" y="18"/>
                        <a:pt x="18" y="18"/>
                        <a:pt x="18" y="18"/>
                      </a:cubicBezTo>
                      <a:cubicBezTo>
                        <a:pt x="18" y="19"/>
                        <a:pt x="18" y="19"/>
                        <a:pt x="18" y="19"/>
                      </a:cubicBezTo>
                      <a:cubicBezTo>
                        <a:pt x="18" y="19"/>
                        <a:pt x="18" y="19"/>
                        <a:pt x="18" y="19"/>
                      </a:cubicBezTo>
                      <a:cubicBezTo>
                        <a:pt x="17" y="19"/>
                        <a:pt x="17" y="19"/>
                        <a:pt x="17" y="19"/>
                      </a:cubicBezTo>
                      <a:cubicBezTo>
                        <a:pt x="15" y="18"/>
                        <a:pt x="15" y="18"/>
                        <a:pt x="15" y="18"/>
                      </a:cubicBezTo>
                      <a:cubicBezTo>
                        <a:pt x="15" y="18"/>
                        <a:pt x="15" y="18"/>
                        <a:pt x="15" y="18"/>
                      </a:cubicBezTo>
                      <a:cubicBezTo>
                        <a:pt x="14" y="18"/>
                        <a:pt x="14" y="18"/>
                        <a:pt x="14" y="18"/>
                      </a:cubicBezTo>
                      <a:cubicBezTo>
                        <a:pt x="13" y="17"/>
                        <a:pt x="13" y="17"/>
                        <a:pt x="13" y="17"/>
                      </a:cubicBezTo>
                      <a:cubicBezTo>
                        <a:pt x="13" y="16"/>
                        <a:pt x="13" y="16"/>
                        <a:pt x="13" y="16"/>
                      </a:cubicBezTo>
                      <a:cubicBezTo>
                        <a:pt x="13" y="18"/>
                        <a:pt x="13" y="18"/>
                        <a:pt x="13" y="18"/>
                      </a:cubicBezTo>
                      <a:cubicBezTo>
                        <a:pt x="14" y="18"/>
                        <a:pt x="14" y="18"/>
                        <a:pt x="14" y="18"/>
                      </a:cubicBezTo>
                      <a:cubicBezTo>
                        <a:pt x="14" y="19"/>
                        <a:pt x="14" y="19"/>
                        <a:pt x="14" y="19"/>
                      </a:cubicBezTo>
                      <a:cubicBezTo>
                        <a:pt x="13" y="19"/>
                        <a:pt x="13" y="19"/>
                        <a:pt x="13" y="19"/>
                      </a:cubicBezTo>
                      <a:cubicBezTo>
                        <a:pt x="13" y="19"/>
                        <a:pt x="13" y="19"/>
                        <a:pt x="13" y="19"/>
                      </a:cubicBezTo>
                      <a:cubicBezTo>
                        <a:pt x="14" y="20"/>
                        <a:pt x="14" y="20"/>
                        <a:pt x="14" y="20"/>
                      </a:cubicBezTo>
                      <a:cubicBezTo>
                        <a:pt x="14" y="22"/>
                        <a:pt x="14" y="22"/>
                        <a:pt x="14" y="22"/>
                      </a:cubicBezTo>
                      <a:cubicBezTo>
                        <a:pt x="13" y="22"/>
                        <a:pt x="13" y="22"/>
                        <a:pt x="13" y="22"/>
                      </a:cubicBezTo>
                      <a:cubicBezTo>
                        <a:pt x="12" y="23"/>
                        <a:pt x="12" y="23"/>
                        <a:pt x="12" y="23"/>
                      </a:cubicBezTo>
                      <a:cubicBezTo>
                        <a:pt x="12" y="23"/>
                        <a:pt x="12" y="23"/>
                        <a:pt x="12" y="23"/>
                      </a:cubicBezTo>
                      <a:cubicBezTo>
                        <a:pt x="12" y="22"/>
                        <a:pt x="12" y="22"/>
                        <a:pt x="12" y="22"/>
                      </a:cubicBezTo>
                      <a:cubicBezTo>
                        <a:pt x="12" y="22"/>
                        <a:pt x="12" y="22"/>
                        <a:pt x="12" y="22"/>
                      </a:cubicBezTo>
                      <a:cubicBezTo>
                        <a:pt x="13" y="21"/>
                        <a:pt x="13" y="21"/>
                        <a:pt x="13" y="21"/>
                      </a:cubicBezTo>
                      <a:cubicBezTo>
                        <a:pt x="12" y="22"/>
                        <a:pt x="12" y="22"/>
                        <a:pt x="12" y="22"/>
                      </a:cubicBezTo>
                      <a:cubicBezTo>
                        <a:pt x="11" y="23"/>
                        <a:pt x="11" y="23"/>
                        <a:pt x="11" y="23"/>
                      </a:cubicBezTo>
                      <a:cubicBezTo>
                        <a:pt x="11" y="22"/>
                        <a:pt x="11" y="22"/>
                        <a:pt x="11" y="22"/>
                      </a:cubicBezTo>
                      <a:cubicBezTo>
                        <a:pt x="11" y="20"/>
                        <a:pt x="11" y="20"/>
                        <a:pt x="11" y="20"/>
                      </a:cubicBezTo>
                      <a:cubicBezTo>
                        <a:pt x="11" y="20"/>
                        <a:pt x="11" y="20"/>
                        <a:pt x="11" y="20"/>
                      </a:cubicBezTo>
                      <a:cubicBezTo>
                        <a:pt x="11" y="20"/>
                        <a:pt x="11" y="20"/>
                        <a:pt x="11" y="20"/>
                      </a:cubicBezTo>
                      <a:cubicBezTo>
                        <a:pt x="11" y="20"/>
                        <a:pt x="11" y="20"/>
                        <a:pt x="11" y="20"/>
                      </a:cubicBezTo>
                      <a:cubicBezTo>
                        <a:pt x="11" y="21"/>
                        <a:pt x="11" y="21"/>
                        <a:pt x="11" y="21"/>
                      </a:cubicBezTo>
                      <a:cubicBezTo>
                        <a:pt x="11" y="22"/>
                        <a:pt x="11" y="22"/>
                        <a:pt x="11" y="22"/>
                      </a:cubicBezTo>
                      <a:cubicBezTo>
                        <a:pt x="10" y="22"/>
                        <a:pt x="10" y="22"/>
                        <a:pt x="10" y="22"/>
                      </a:cubicBezTo>
                      <a:cubicBezTo>
                        <a:pt x="11" y="23"/>
                        <a:pt x="11" y="23"/>
                        <a:pt x="11" y="23"/>
                      </a:cubicBezTo>
                      <a:cubicBezTo>
                        <a:pt x="11" y="23"/>
                        <a:pt x="11" y="23"/>
                        <a:pt x="11" y="23"/>
                      </a:cubicBezTo>
                      <a:cubicBezTo>
                        <a:pt x="10" y="24"/>
                        <a:pt x="10" y="24"/>
                        <a:pt x="10" y="24"/>
                      </a:cubicBezTo>
                      <a:cubicBezTo>
                        <a:pt x="10" y="23"/>
                        <a:pt x="10" y="23"/>
                        <a:pt x="10" y="23"/>
                      </a:cubicBezTo>
                      <a:cubicBezTo>
                        <a:pt x="10" y="23"/>
                        <a:pt x="10" y="23"/>
                        <a:pt x="10" y="23"/>
                      </a:cubicBezTo>
                      <a:cubicBezTo>
                        <a:pt x="9" y="23"/>
                        <a:pt x="9" y="23"/>
                        <a:pt x="9" y="23"/>
                      </a:cubicBezTo>
                      <a:cubicBezTo>
                        <a:pt x="9" y="24"/>
                        <a:pt x="9" y="24"/>
                        <a:pt x="9" y="24"/>
                      </a:cubicBezTo>
                      <a:cubicBezTo>
                        <a:pt x="8" y="24"/>
                        <a:pt x="8" y="24"/>
                        <a:pt x="8" y="24"/>
                      </a:cubicBezTo>
                      <a:cubicBezTo>
                        <a:pt x="8" y="23"/>
                        <a:pt x="8" y="23"/>
                        <a:pt x="8" y="23"/>
                      </a:cubicBezTo>
                      <a:cubicBezTo>
                        <a:pt x="8" y="23"/>
                        <a:pt x="8" y="23"/>
                        <a:pt x="8" y="23"/>
                      </a:cubicBezTo>
                      <a:cubicBezTo>
                        <a:pt x="7" y="23"/>
                        <a:pt x="7" y="23"/>
                        <a:pt x="7" y="23"/>
                      </a:cubicBezTo>
                      <a:cubicBezTo>
                        <a:pt x="7" y="21"/>
                        <a:pt x="7" y="21"/>
                        <a:pt x="7" y="21"/>
                      </a:cubicBezTo>
                      <a:cubicBezTo>
                        <a:pt x="7" y="21"/>
                        <a:pt x="7" y="21"/>
                        <a:pt x="7" y="21"/>
                      </a:cubicBezTo>
                      <a:cubicBezTo>
                        <a:pt x="7" y="19"/>
                        <a:pt x="7" y="19"/>
                        <a:pt x="7" y="19"/>
                      </a:cubicBezTo>
                      <a:cubicBezTo>
                        <a:pt x="5" y="18"/>
                        <a:pt x="5" y="18"/>
                        <a:pt x="5" y="18"/>
                      </a:cubicBezTo>
                      <a:cubicBezTo>
                        <a:pt x="5" y="16"/>
                        <a:pt x="5" y="16"/>
                        <a:pt x="5" y="16"/>
                      </a:cubicBezTo>
                      <a:cubicBezTo>
                        <a:pt x="5" y="16"/>
                        <a:pt x="5" y="16"/>
                        <a:pt x="5" y="16"/>
                      </a:cubicBezTo>
                      <a:cubicBezTo>
                        <a:pt x="5" y="15"/>
                        <a:pt x="5" y="15"/>
                        <a:pt x="5" y="15"/>
                      </a:cubicBezTo>
                      <a:cubicBezTo>
                        <a:pt x="5" y="13"/>
                        <a:pt x="5" y="13"/>
                        <a:pt x="5" y="13"/>
                      </a:cubicBezTo>
                      <a:cubicBezTo>
                        <a:pt x="4" y="12"/>
                        <a:pt x="4" y="12"/>
                        <a:pt x="4" y="12"/>
                      </a:cubicBezTo>
                      <a:cubicBezTo>
                        <a:pt x="3" y="11"/>
                        <a:pt x="3" y="11"/>
                        <a:pt x="3" y="11"/>
                      </a:cubicBezTo>
                      <a:cubicBezTo>
                        <a:pt x="1" y="10"/>
                        <a:pt x="1" y="10"/>
                        <a:pt x="1" y="10"/>
                      </a:cubicBezTo>
                      <a:cubicBezTo>
                        <a:pt x="2" y="8"/>
                        <a:pt x="2" y="8"/>
                        <a:pt x="2" y="8"/>
                      </a:cubicBezTo>
                      <a:cubicBezTo>
                        <a:pt x="2" y="8"/>
                        <a:pt x="2" y="8"/>
                        <a:pt x="2" y="8"/>
                      </a:cubicBezTo>
                      <a:cubicBezTo>
                        <a:pt x="3" y="7"/>
                        <a:pt x="3" y="7"/>
                        <a:pt x="3" y="7"/>
                      </a:cubicBezTo>
                      <a:cubicBezTo>
                        <a:pt x="4" y="7"/>
                        <a:pt x="4" y="7"/>
                        <a:pt x="4" y="7"/>
                      </a:cubicBezTo>
                      <a:cubicBezTo>
                        <a:pt x="4" y="7"/>
                        <a:pt x="4" y="7"/>
                        <a:pt x="4" y="7"/>
                      </a:cubicBezTo>
                      <a:cubicBezTo>
                        <a:pt x="5" y="6"/>
                        <a:pt x="5" y="6"/>
                        <a:pt x="5" y="6"/>
                      </a:cubicBezTo>
                      <a:cubicBezTo>
                        <a:pt x="4" y="5"/>
                        <a:pt x="4" y="5"/>
                        <a:pt x="4" y="5"/>
                      </a:cubicBezTo>
                      <a:cubicBezTo>
                        <a:pt x="5" y="5"/>
                        <a:pt x="5" y="5"/>
                        <a:pt x="5" y="5"/>
                      </a:cubicBezTo>
                      <a:cubicBezTo>
                        <a:pt x="3" y="5"/>
                        <a:pt x="3" y="5"/>
                        <a:pt x="3" y="5"/>
                      </a:cubicBezTo>
                      <a:cubicBezTo>
                        <a:pt x="3" y="5"/>
                        <a:pt x="3" y="5"/>
                        <a:pt x="3" y="5"/>
                      </a:cubicBezTo>
                      <a:cubicBezTo>
                        <a:pt x="0" y="4"/>
                        <a:pt x="0" y="4"/>
                        <a:pt x="0" y="4"/>
                      </a:cubicBezTo>
                      <a:cubicBezTo>
                        <a:pt x="0" y="3"/>
                        <a:pt x="0" y="3"/>
                        <a:pt x="0" y="3"/>
                      </a:cubicBezTo>
                      <a:cubicBezTo>
                        <a:pt x="1" y="2"/>
                        <a:pt x="1" y="2"/>
                        <a:pt x="1" y="2"/>
                      </a:cubicBezTo>
                      <a:cubicBezTo>
                        <a:pt x="2" y="1"/>
                        <a:pt x="2" y="1"/>
                        <a:pt x="2" y="1"/>
                      </a:cubicBezTo>
                      <a:cubicBezTo>
                        <a:pt x="1" y="1"/>
                        <a:pt x="1" y="1"/>
                        <a:pt x="1" y="1"/>
                      </a:cubicBezTo>
                      <a:cubicBezTo>
                        <a:pt x="1" y="0"/>
                        <a:pt x="1" y="0"/>
                        <a:pt x="1" y="0"/>
                      </a:cubicBezTo>
                      <a:cubicBezTo>
                        <a:pt x="2" y="0"/>
                        <a:pt x="2" y="0"/>
                        <a:pt x="2" y="0"/>
                      </a:cubicBezTo>
                      <a:cubicBezTo>
                        <a:pt x="2" y="0"/>
                        <a:pt x="2" y="0"/>
                        <a:pt x="2" y="0"/>
                      </a:cubicBezTo>
                      <a:cubicBezTo>
                        <a:pt x="2" y="0"/>
                        <a:pt x="2" y="0"/>
                        <a:pt x="2" y="0"/>
                      </a:cubicBezTo>
                      <a:cubicBezTo>
                        <a:pt x="3" y="1"/>
                        <a:pt x="3" y="1"/>
                        <a:pt x="3" y="1"/>
                      </a:cubicBezTo>
                      <a:cubicBezTo>
                        <a:pt x="3" y="1"/>
                        <a:pt x="3" y="1"/>
                        <a:pt x="3" y="1"/>
                      </a:cubicBezTo>
                      <a:cubicBezTo>
                        <a:pt x="4" y="2"/>
                        <a:pt x="4" y="2"/>
                        <a:pt x="4" y="2"/>
                      </a:cubicBezTo>
                      <a:cubicBezTo>
                        <a:pt x="5" y="2"/>
                        <a:pt x="5" y="2"/>
                        <a:pt x="5" y="2"/>
                      </a:cubicBezTo>
                      <a:cubicBezTo>
                        <a:pt x="5" y="2"/>
                        <a:pt x="5" y="2"/>
                        <a:pt x="5" y="2"/>
                      </a:cubicBezTo>
                      <a:cubicBezTo>
                        <a:pt x="4" y="2"/>
                        <a:pt x="4" y="2"/>
                        <a:pt x="4" y="2"/>
                      </a:cubicBezTo>
                      <a:cubicBezTo>
                        <a:pt x="5" y="1"/>
                        <a:pt x="5" y="1"/>
                        <a:pt x="5" y="1"/>
                      </a:cubicBezTo>
                      <a:cubicBezTo>
                        <a:pt x="5" y="1"/>
                        <a:pt x="5" y="1"/>
                        <a:pt x="5" y="1"/>
                      </a:cubicBezTo>
                      <a:cubicBezTo>
                        <a:pt x="6" y="2"/>
                        <a:pt x="6" y="2"/>
                        <a:pt x="6" y="2"/>
                      </a:cubicBezTo>
                      <a:cubicBezTo>
                        <a:pt x="6" y="2"/>
                        <a:pt x="6" y="2"/>
                        <a:pt x="6" y="2"/>
                      </a:cubicBezTo>
                      <a:cubicBezTo>
                        <a:pt x="7" y="2"/>
                        <a:pt x="7" y="2"/>
                        <a:pt x="7" y="2"/>
                      </a:cubicBezTo>
                      <a:cubicBezTo>
                        <a:pt x="7" y="2"/>
                        <a:pt x="7" y="2"/>
                        <a:pt x="7" y="2"/>
                      </a:cubicBezTo>
                      <a:cubicBezTo>
                        <a:pt x="8" y="2"/>
                        <a:pt x="8" y="2"/>
                        <a:pt x="8" y="2"/>
                      </a:cubicBezTo>
                      <a:cubicBezTo>
                        <a:pt x="8" y="3"/>
                        <a:pt x="8" y="3"/>
                        <a:pt x="8" y="3"/>
                      </a:cubicBezTo>
                      <a:cubicBezTo>
                        <a:pt x="9" y="4"/>
                        <a:pt x="9" y="4"/>
                        <a:pt x="9" y="4"/>
                      </a:cubicBezTo>
                      <a:cubicBezTo>
                        <a:pt x="9" y="5"/>
                        <a:pt x="9" y="5"/>
                        <a:pt x="9" y="5"/>
                      </a:cubicBezTo>
                      <a:cubicBezTo>
                        <a:pt x="9" y="6"/>
                        <a:pt x="9" y="6"/>
                        <a:pt x="9" y="6"/>
                      </a:cubicBezTo>
                      <a:cubicBezTo>
                        <a:pt x="9" y="6"/>
                        <a:pt x="9" y="6"/>
                        <a:pt x="9" y="6"/>
                      </a:cubicBezTo>
                      <a:cubicBezTo>
                        <a:pt x="10" y="6"/>
                        <a:pt x="10" y="6"/>
                        <a:pt x="10" y="6"/>
                      </a:cubicBezTo>
                      <a:cubicBezTo>
                        <a:pt x="11" y="6"/>
                        <a:pt x="11" y="6"/>
                        <a:pt x="11" y="6"/>
                      </a:cubicBezTo>
                      <a:cubicBezTo>
                        <a:pt x="12" y="7"/>
                        <a:pt x="12" y="7"/>
                        <a:pt x="12" y="7"/>
                      </a:cubicBezTo>
                      <a:cubicBezTo>
                        <a:pt x="13" y="7"/>
                        <a:pt x="13" y="7"/>
                        <a:pt x="13" y="7"/>
                      </a:cubicBezTo>
                      <a:cubicBezTo>
                        <a:pt x="15" y="7"/>
                        <a:pt x="15" y="7"/>
                        <a:pt x="15" y="7"/>
                      </a:cubicBezTo>
                      <a:cubicBezTo>
                        <a:pt x="16" y="7"/>
                        <a:pt x="16" y="7"/>
                        <a:pt x="16" y="7"/>
                      </a:cubicBezTo>
                      <a:cubicBezTo>
                        <a:pt x="18" y="7"/>
                        <a:pt x="18" y="7"/>
                        <a:pt x="18" y="7"/>
                      </a:cubicBezTo>
                      <a:cubicBezTo>
                        <a:pt x="19" y="7"/>
                        <a:pt x="19" y="7"/>
                        <a:pt x="19" y="7"/>
                      </a:cubicBezTo>
                      <a:cubicBezTo>
                        <a:pt x="19" y="7"/>
                        <a:pt x="19" y="7"/>
                        <a:pt x="19" y="7"/>
                      </a:cubicBezTo>
                      <a:cubicBezTo>
                        <a:pt x="20" y="7"/>
                        <a:pt x="20" y="7"/>
                        <a:pt x="20" y="7"/>
                      </a:cubicBezTo>
                      <a:cubicBezTo>
                        <a:pt x="21" y="8"/>
                        <a:pt x="21" y="8"/>
                        <a:pt x="21" y="8"/>
                      </a:cubicBezTo>
                      <a:cubicBezTo>
                        <a:pt x="21" y="8"/>
                        <a:pt x="21" y="8"/>
                        <a:pt x="21" y="8"/>
                      </a:cubicBezTo>
                      <a:cubicBezTo>
                        <a:pt x="21" y="9"/>
                        <a:pt x="21" y="9"/>
                        <a:pt x="21" y="9"/>
                      </a:cubicBezTo>
                      <a:cubicBezTo>
                        <a:pt x="20" y="10"/>
                        <a:pt x="20" y="10"/>
                        <a:pt x="20" y="10"/>
                      </a:cubicBezTo>
                      <a:cubicBezTo>
                        <a:pt x="20" y="11"/>
                        <a:pt x="20" y="11"/>
                        <a:pt x="20" y="11"/>
                      </a:cubicBezTo>
                      <a:cubicBezTo>
                        <a:pt x="19" y="11"/>
                        <a:pt x="19" y="11"/>
                        <a:pt x="19" y="11"/>
                      </a:cubicBezTo>
                      <a:cubicBezTo>
                        <a:pt x="19" y="12"/>
                        <a:pt x="19" y="12"/>
                        <a:pt x="19" y="12"/>
                      </a:cubicBezTo>
                      <a:cubicBezTo>
                        <a:pt x="19" y="12"/>
                        <a:pt x="19" y="12"/>
                        <a:pt x="19" y="12"/>
                      </a:cubicBezTo>
                      <a:cubicBezTo>
                        <a:pt x="18" y="12"/>
                        <a:pt x="18" y="12"/>
                        <a:pt x="18" y="12"/>
                      </a:cubicBezTo>
                      <a:cubicBezTo>
                        <a:pt x="18" y="12"/>
                        <a:pt x="18" y="12"/>
                        <a:pt x="18" y="12"/>
                      </a:cubicBezTo>
                      <a:cubicBezTo>
                        <a:pt x="17" y="13"/>
                        <a:pt x="17" y="13"/>
                        <a:pt x="17" y="13"/>
                      </a:cubicBezTo>
                      <a:cubicBezTo>
                        <a:pt x="17" y="13"/>
                        <a:pt x="17" y="13"/>
                        <a:pt x="17" y="13"/>
                      </a:cubicBezTo>
                      <a:cubicBezTo>
                        <a:pt x="16" y="13"/>
                        <a:pt x="16" y="13"/>
                        <a:pt x="16" y="13"/>
                      </a:cubicBezTo>
                      <a:cubicBezTo>
                        <a:pt x="16" y="14"/>
                        <a:pt x="16" y="14"/>
                        <a:pt x="16" y="14"/>
                      </a:cubicBezTo>
                      <a:cubicBezTo>
                        <a:pt x="17" y="15"/>
                        <a:pt x="17" y="15"/>
                        <a:pt x="17" y="15"/>
                      </a:cubicBezTo>
                      <a:cubicBezTo>
                        <a:pt x="17" y="16"/>
                        <a:pt x="17" y="16"/>
                        <a:pt x="17" y="16"/>
                      </a:cubicBezTo>
                      <a:cubicBezTo>
                        <a:pt x="18" y="16"/>
                        <a:pt x="18" y="16"/>
                        <a:pt x="18" y="16"/>
                      </a:cubicBezTo>
                      <a:cubicBezTo>
                        <a:pt x="18" y="17"/>
                        <a:pt x="18" y="17"/>
                        <a:pt x="18" y="17"/>
                      </a:cubicBezTo>
                      <a:cubicBezTo>
                        <a:pt x="19" y="18"/>
                        <a:pt x="19" y="18"/>
                        <a:pt x="19" y="18"/>
                      </a:cubicBezTo>
                      <a:cubicBezTo>
                        <a:pt x="20" y="17"/>
                        <a:pt x="20" y="17"/>
                        <a:pt x="20" y="17"/>
                      </a:cubicBezTo>
                      <a:cubicBezTo>
                        <a:pt x="20" y="17"/>
                        <a:pt x="20" y="17"/>
                        <a:pt x="20" y="17"/>
                      </a:cubicBezTo>
                      <a:cubicBezTo>
                        <a:pt x="19" y="17"/>
                        <a:pt x="19" y="17"/>
                        <a:pt x="19" y="17"/>
                      </a:cubicBezTo>
                      <a:cubicBezTo>
                        <a:pt x="20" y="16"/>
                        <a:pt x="20" y="16"/>
                        <a:pt x="20" y="16"/>
                      </a:cubicBezTo>
                      <a:cubicBezTo>
                        <a:pt x="20" y="15"/>
                        <a:pt x="20" y="15"/>
                        <a:pt x="20" y="15"/>
                      </a:cubicBezTo>
                      <a:cubicBezTo>
                        <a:pt x="20" y="15"/>
                        <a:pt x="20" y="15"/>
                        <a:pt x="20" y="15"/>
                      </a:cubicBezTo>
                      <a:cubicBezTo>
                        <a:pt x="20" y="15"/>
                        <a:pt x="20" y="15"/>
                        <a:pt x="20" y="15"/>
                      </a:cubicBezTo>
                      <a:cubicBezTo>
                        <a:pt x="20" y="14"/>
                        <a:pt x="20" y="14"/>
                        <a:pt x="20" y="14"/>
                      </a:cubicBezTo>
                      <a:cubicBezTo>
                        <a:pt x="21" y="15"/>
                        <a:pt x="21" y="15"/>
                        <a:pt x="21" y="15"/>
                      </a:cubicBezTo>
                      <a:cubicBezTo>
                        <a:pt x="22" y="15"/>
                        <a:pt x="22" y="15"/>
                        <a:pt x="22" y="15"/>
                      </a:cubicBezTo>
                      <a:cubicBezTo>
                        <a:pt x="22" y="15"/>
                        <a:pt x="22" y="15"/>
                        <a:pt x="22" y="15"/>
                      </a:cubicBezTo>
                      <a:cubicBezTo>
                        <a:pt x="22" y="16"/>
                        <a:pt x="22" y="16"/>
                        <a:pt x="22" y="16"/>
                      </a:cubicBezTo>
                      <a:cubicBezTo>
                        <a:pt x="23" y="17"/>
                        <a:pt x="23" y="17"/>
                        <a:pt x="23" y="17"/>
                      </a:cubicBezTo>
                      <a:cubicBezTo>
                        <a:pt x="23" y="18"/>
                        <a:pt x="23" y="18"/>
                        <a:pt x="23" y="18"/>
                      </a:cubicBezTo>
                      <a:cubicBezTo>
                        <a:pt x="23" y="18"/>
                        <a:pt x="23" y="18"/>
                        <a:pt x="23" y="18"/>
                      </a:cubicBezTo>
                      <a:cubicBezTo>
                        <a:pt x="23" y="20"/>
                        <a:pt x="23" y="20"/>
                        <a:pt x="23" y="20"/>
                      </a:cubicBezTo>
                      <a:cubicBezTo>
                        <a:pt x="24" y="21"/>
                        <a:pt x="24" y="21"/>
                        <a:pt x="24" y="21"/>
                      </a:cubicBezTo>
                      <a:cubicBezTo>
                        <a:pt x="24" y="22"/>
                        <a:pt x="24" y="22"/>
                        <a:pt x="24" y="22"/>
                      </a:cubicBezTo>
                      <a:cubicBezTo>
                        <a:pt x="24" y="22"/>
                        <a:pt x="24" y="22"/>
                        <a:pt x="24" y="22"/>
                      </a:cubicBezTo>
                      <a:cubicBezTo>
                        <a:pt x="24" y="23"/>
                        <a:pt x="24" y="23"/>
                        <a:pt x="24" y="23"/>
                      </a:cubicBezTo>
                      <a:cubicBezTo>
                        <a:pt x="25" y="23"/>
                        <a:pt x="25" y="23"/>
                        <a:pt x="25" y="23"/>
                      </a:cubicBezTo>
                      <a:cubicBezTo>
                        <a:pt x="25" y="23"/>
                        <a:pt x="25" y="23"/>
                        <a:pt x="25" y="23"/>
                      </a:cubicBezTo>
                      <a:close/>
                      <a:moveTo>
                        <a:pt x="18" y="20"/>
                      </a:moveTo>
                      <a:cubicBezTo>
                        <a:pt x="18" y="20"/>
                        <a:pt x="18" y="20"/>
                        <a:pt x="18" y="20"/>
                      </a:cubicBezTo>
                      <a:cubicBezTo>
                        <a:pt x="18" y="20"/>
                        <a:pt x="18" y="20"/>
                        <a:pt x="18" y="20"/>
                      </a:cubicBezTo>
                      <a:cubicBezTo>
                        <a:pt x="18" y="21"/>
                        <a:pt x="18" y="21"/>
                        <a:pt x="18" y="21"/>
                      </a:cubicBezTo>
                      <a:cubicBezTo>
                        <a:pt x="18" y="20"/>
                        <a:pt x="18" y="20"/>
                        <a:pt x="18" y="20"/>
                      </a:cubicBezTo>
                      <a:cubicBezTo>
                        <a:pt x="18" y="20"/>
                        <a:pt x="18" y="20"/>
                        <a:pt x="18" y="20"/>
                      </a:cubicBezTo>
                      <a:close/>
                      <a:moveTo>
                        <a:pt x="16" y="20"/>
                      </a:moveTo>
                      <a:cubicBezTo>
                        <a:pt x="16" y="21"/>
                        <a:pt x="16" y="21"/>
                        <a:pt x="16" y="21"/>
                      </a:cubicBezTo>
                      <a:cubicBezTo>
                        <a:pt x="16" y="21"/>
                        <a:pt x="16" y="21"/>
                        <a:pt x="16" y="21"/>
                      </a:cubicBezTo>
                      <a:cubicBezTo>
                        <a:pt x="17" y="22"/>
                        <a:pt x="17" y="22"/>
                        <a:pt x="17" y="22"/>
                      </a:cubicBezTo>
                      <a:cubicBezTo>
                        <a:pt x="17" y="21"/>
                        <a:pt x="17" y="21"/>
                        <a:pt x="17" y="21"/>
                      </a:cubicBezTo>
                      <a:cubicBezTo>
                        <a:pt x="17" y="20"/>
                        <a:pt x="17" y="20"/>
                        <a:pt x="17" y="20"/>
                      </a:cubicBezTo>
                      <a:cubicBezTo>
                        <a:pt x="16" y="19"/>
                        <a:pt x="16" y="19"/>
                        <a:pt x="16" y="19"/>
                      </a:cubicBezTo>
                      <a:cubicBezTo>
                        <a:pt x="16" y="19"/>
                        <a:pt x="16" y="20"/>
                        <a:pt x="16" y="20"/>
                      </a:cubicBezTo>
                      <a:close/>
                      <a:moveTo>
                        <a:pt x="15" y="19"/>
                      </a:moveTo>
                      <a:cubicBezTo>
                        <a:pt x="14" y="19"/>
                        <a:pt x="14" y="19"/>
                        <a:pt x="14" y="19"/>
                      </a:cubicBezTo>
                      <a:cubicBezTo>
                        <a:pt x="14" y="20"/>
                        <a:pt x="14" y="20"/>
                        <a:pt x="14" y="20"/>
                      </a:cubicBezTo>
                      <a:cubicBezTo>
                        <a:pt x="15" y="21"/>
                        <a:pt x="15" y="21"/>
                        <a:pt x="15" y="21"/>
                      </a:cubicBezTo>
                      <a:cubicBezTo>
                        <a:pt x="16" y="21"/>
                        <a:pt x="16" y="21"/>
                        <a:pt x="16" y="21"/>
                      </a:cubicBezTo>
                      <a:cubicBezTo>
                        <a:pt x="15" y="20"/>
                        <a:pt x="15" y="20"/>
                        <a:pt x="15" y="20"/>
                      </a:cubicBezTo>
                      <a:lnTo>
                        <a:pt x="15" y="19"/>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Freeform 37">
                  <a:extLst>
                    <a:ext uri="{FF2B5EF4-FFF2-40B4-BE49-F238E27FC236}">
                      <a16:creationId xmlns:a16="http://schemas.microsoft.com/office/drawing/2014/main" id="{82637F8E-B924-648C-31AD-BF498A61DECC}"/>
                    </a:ext>
                  </a:extLst>
                </p:cNvPr>
                <p:cNvSpPr>
                  <a:spLocks/>
                </p:cNvSpPr>
                <p:nvPr/>
              </p:nvSpPr>
              <p:spPr bwMode="auto">
                <a:xfrm>
                  <a:off x="3643" y="2294"/>
                  <a:ext cx="33" cy="19"/>
                </a:xfrm>
                <a:custGeom>
                  <a:avLst/>
                  <a:gdLst>
                    <a:gd name="T0" fmla="*/ 0 w 33"/>
                    <a:gd name="T1" fmla="*/ 9 h 19"/>
                    <a:gd name="T2" fmla="*/ 2 w 33"/>
                    <a:gd name="T3" fmla="*/ 7 h 19"/>
                    <a:gd name="T4" fmla="*/ 5 w 33"/>
                    <a:gd name="T5" fmla="*/ 2 h 19"/>
                    <a:gd name="T6" fmla="*/ 9 w 33"/>
                    <a:gd name="T7" fmla="*/ 0 h 19"/>
                    <a:gd name="T8" fmla="*/ 14 w 33"/>
                    <a:gd name="T9" fmla="*/ 0 h 19"/>
                    <a:gd name="T10" fmla="*/ 14 w 33"/>
                    <a:gd name="T11" fmla="*/ 2 h 19"/>
                    <a:gd name="T12" fmla="*/ 21 w 33"/>
                    <a:gd name="T13" fmla="*/ 2 h 19"/>
                    <a:gd name="T14" fmla="*/ 24 w 33"/>
                    <a:gd name="T15" fmla="*/ 2 h 19"/>
                    <a:gd name="T16" fmla="*/ 26 w 33"/>
                    <a:gd name="T17" fmla="*/ 2 h 19"/>
                    <a:gd name="T18" fmla="*/ 28 w 33"/>
                    <a:gd name="T19" fmla="*/ 2 h 19"/>
                    <a:gd name="T20" fmla="*/ 31 w 33"/>
                    <a:gd name="T21" fmla="*/ 5 h 19"/>
                    <a:gd name="T22" fmla="*/ 31 w 33"/>
                    <a:gd name="T23" fmla="*/ 5 h 19"/>
                    <a:gd name="T24" fmla="*/ 31 w 33"/>
                    <a:gd name="T25" fmla="*/ 7 h 19"/>
                    <a:gd name="T26" fmla="*/ 31 w 33"/>
                    <a:gd name="T27" fmla="*/ 9 h 19"/>
                    <a:gd name="T28" fmla="*/ 33 w 33"/>
                    <a:gd name="T29" fmla="*/ 9 h 19"/>
                    <a:gd name="T30" fmla="*/ 33 w 33"/>
                    <a:gd name="T31" fmla="*/ 14 h 19"/>
                    <a:gd name="T32" fmla="*/ 33 w 33"/>
                    <a:gd name="T33" fmla="*/ 14 h 19"/>
                    <a:gd name="T34" fmla="*/ 28 w 33"/>
                    <a:gd name="T35" fmla="*/ 17 h 19"/>
                    <a:gd name="T36" fmla="*/ 26 w 33"/>
                    <a:gd name="T37" fmla="*/ 17 h 19"/>
                    <a:gd name="T38" fmla="*/ 21 w 33"/>
                    <a:gd name="T39" fmla="*/ 17 h 19"/>
                    <a:gd name="T40" fmla="*/ 19 w 33"/>
                    <a:gd name="T41" fmla="*/ 17 h 19"/>
                    <a:gd name="T42" fmla="*/ 17 w 33"/>
                    <a:gd name="T43" fmla="*/ 17 h 19"/>
                    <a:gd name="T44" fmla="*/ 14 w 33"/>
                    <a:gd name="T45" fmla="*/ 19 h 19"/>
                    <a:gd name="T46" fmla="*/ 12 w 33"/>
                    <a:gd name="T47" fmla="*/ 19 h 19"/>
                    <a:gd name="T48" fmla="*/ 7 w 33"/>
                    <a:gd name="T49" fmla="*/ 17 h 19"/>
                    <a:gd name="T50" fmla="*/ 5 w 33"/>
                    <a:gd name="T51" fmla="*/ 17 h 19"/>
                    <a:gd name="T52" fmla="*/ 2 w 33"/>
                    <a:gd name="T53" fmla="*/ 17 h 19"/>
                    <a:gd name="T54" fmla="*/ 0 w 33"/>
                    <a:gd name="T55" fmla="*/ 12 h 19"/>
                    <a:gd name="T56" fmla="*/ 0 w 33"/>
                    <a:gd name="T57" fmla="*/ 12 h 19"/>
                    <a:gd name="T58" fmla="*/ 0 w 33"/>
                    <a:gd name="T59" fmla="*/ 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3" h="19">
                      <a:moveTo>
                        <a:pt x="0" y="9"/>
                      </a:moveTo>
                      <a:lnTo>
                        <a:pt x="2" y="7"/>
                      </a:lnTo>
                      <a:lnTo>
                        <a:pt x="5" y="2"/>
                      </a:lnTo>
                      <a:lnTo>
                        <a:pt x="9" y="0"/>
                      </a:lnTo>
                      <a:lnTo>
                        <a:pt x="14" y="0"/>
                      </a:lnTo>
                      <a:lnTo>
                        <a:pt x="14" y="2"/>
                      </a:lnTo>
                      <a:lnTo>
                        <a:pt x="21" y="2"/>
                      </a:lnTo>
                      <a:lnTo>
                        <a:pt x="24" y="2"/>
                      </a:lnTo>
                      <a:lnTo>
                        <a:pt x="26" y="2"/>
                      </a:lnTo>
                      <a:lnTo>
                        <a:pt x="28" y="2"/>
                      </a:lnTo>
                      <a:lnTo>
                        <a:pt x="31" y="5"/>
                      </a:lnTo>
                      <a:lnTo>
                        <a:pt x="31" y="5"/>
                      </a:lnTo>
                      <a:lnTo>
                        <a:pt x="31" y="7"/>
                      </a:lnTo>
                      <a:lnTo>
                        <a:pt x="31" y="9"/>
                      </a:lnTo>
                      <a:lnTo>
                        <a:pt x="33" y="9"/>
                      </a:lnTo>
                      <a:lnTo>
                        <a:pt x="33" y="14"/>
                      </a:lnTo>
                      <a:lnTo>
                        <a:pt x="33" y="14"/>
                      </a:lnTo>
                      <a:lnTo>
                        <a:pt x="28" y="17"/>
                      </a:lnTo>
                      <a:lnTo>
                        <a:pt x="26" y="17"/>
                      </a:lnTo>
                      <a:lnTo>
                        <a:pt x="21" y="17"/>
                      </a:lnTo>
                      <a:lnTo>
                        <a:pt x="19" y="17"/>
                      </a:lnTo>
                      <a:lnTo>
                        <a:pt x="17" y="17"/>
                      </a:lnTo>
                      <a:lnTo>
                        <a:pt x="14" y="19"/>
                      </a:lnTo>
                      <a:lnTo>
                        <a:pt x="12" y="19"/>
                      </a:lnTo>
                      <a:lnTo>
                        <a:pt x="7" y="17"/>
                      </a:lnTo>
                      <a:lnTo>
                        <a:pt x="5" y="17"/>
                      </a:lnTo>
                      <a:lnTo>
                        <a:pt x="2" y="17"/>
                      </a:lnTo>
                      <a:lnTo>
                        <a:pt x="0" y="12"/>
                      </a:lnTo>
                      <a:lnTo>
                        <a:pt x="0" y="12"/>
                      </a:lnTo>
                      <a:lnTo>
                        <a:pt x="0" y="9"/>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Freeform 38">
                  <a:extLst>
                    <a:ext uri="{FF2B5EF4-FFF2-40B4-BE49-F238E27FC236}">
                      <a16:creationId xmlns:a16="http://schemas.microsoft.com/office/drawing/2014/main" id="{5459B364-0128-E72F-375F-F5F7E78A401D}"/>
                    </a:ext>
                  </a:extLst>
                </p:cNvPr>
                <p:cNvSpPr>
                  <a:spLocks/>
                </p:cNvSpPr>
                <p:nvPr/>
              </p:nvSpPr>
              <p:spPr bwMode="auto">
                <a:xfrm>
                  <a:off x="3541" y="2270"/>
                  <a:ext cx="95" cy="45"/>
                </a:xfrm>
                <a:custGeom>
                  <a:avLst/>
                  <a:gdLst>
                    <a:gd name="T0" fmla="*/ 5 w 95"/>
                    <a:gd name="T1" fmla="*/ 0 h 45"/>
                    <a:gd name="T2" fmla="*/ 10 w 95"/>
                    <a:gd name="T3" fmla="*/ 3 h 45"/>
                    <a:gd name="T4" fmla="*/ 14 w 95"/>
                    <a:gd name="T5" fmla="*/ 5 h 45"/>
                    <a:gd name="T6" fmla="*/ 17 w 95"/>
                    <a:gd name="T7" fmla="*/ 3 h 45"/>
                    <a:gd name="T8" fmla="*/ 24 w 95"/>
                    <a:gd name="T9" fmla="*/ 5 h 45"/>
                    <a:gd name="T10" fmla="*/ 26 w 95"/>
                    <a:gd name="T11" fmla="*/ 5 h 45"/>
                    <a:gd name="T12" fmla="*/ 33 w 95"/>
                    <a:gd name="T13" fmla="*/ 10 h 45"/>
                    <a:gd name="T14" fmla="*/ 36 w 95"/>
                    <a:gd name="T15" fmla="*/ 12 h 45"/>
                    <a:gd name="T16" fmla="*/ 41 w 95"/>
                    <a:gd name="T17" fmla="*/ 14 h 45"/>
                    <a:gd name="T18" fmla="*/ 41 w 95"/>
                    <a:gd name="T19" fmla="*/ 12 h 45"/>
                    <a:gd name="T20" fmla="*/ 43 w 95"/>
                    <a:gd name="T21" fmla="*/ 12 h 45"/>
                    <a:gd name="T22" fmla="*/ 48 w 95"/>
                    <a:gd name="T23" fmla="*/ 12 h 45"/>
                    <a:gd name="T24" fmla="*/ 50 w 95"/>
                    <a:gd name="T25" fmla="*/ 19 h 45"/>
                    <a:gd name="T26" fmla="*/ 57 w 95"/>
                    <a:gd name="T27" fmla="*/ 17 h 45"/>
                    <a:gd name="T28" fmla="*/ 57 w 95"/>
                    <a:gd name="T29" fmla="*/ 24 h 45"/>
                    <a:gd name="T30" fmla="*/ 64 w 95"/>
                    <a:gd name="T31" fmla="*/ 26 h 45"/>
                    <a:gd name="T32" fmla="*/ 67 w 95"/>
                    <a:gd name="T33" fmla="*/ 24 h 45"/>
                    <a:gd name="T34" fmla="*/ 74 w 95"/>
                    <a:gd name="T35" fmla="*/ 22 h 45"/>
                    <a:gd name="T36" fmla="*/ 76 w 95"/>
                    <a:gd name="T37" fmla="*/ 26 h 45"/>
                    <a:gd name="T38" fmla="*/ 83 w 95"/>
                    <a:gd name="T39" fmla="*/ 29 h 45"/>
                    <a:gd name="T40" fmla="*/ 88 w 95"/>
                    <a:gd name="T41" fmla="*/ 29 h 45"/>
                    <a:gd name="T42" fmla="*/ 93 w 95"/>
                    <a:gd name="T43" fmla="*/ 29 h 45"/>
                    <a:gd name="T44" fmla="*/ 95 w 95"/>
                    <a:gd name="T45" fmla="*/ 31 h 45"/>
                    <a:gd name="T46" fmla="*/ 95 w 95"/>
                    <a:gd name="T47" fmla="*/ 41 h 45"/>
                    <a:gd name="T48" fmla="*/ 88 w 95"/>
                    <a:gd name="T49" fmla="*/ 45 h 45"/>
                    <a:gd name="T50" fmla="*/ 81 w 95"/>
                    <a:gd name="T51" fmla="*/ 45 h 45"/>
                    <a:gd name="T52" fmla="*/ 67 w 95"/>
                    <a:gd name="T53" fmla="*/ 41 h 45"/>
                    <a:gd name="T54" fmla="*/ 59 w 95"/>
                    <a:gd name="T55" fmla="*/ 41 h 45"/>
                    <a:gd name="T56" fmla="*/ 55 w 95"/>
                    <a:gd name="T57" fmla="*/ 36 h 45"/>
                    <a:gd name="T58" fmla="*/ 45 w 95"/>
                    <a:gd name="T59" fmla="*/ 36 h 45"/>
                    <a:gd name="T60" fmla="*/ 36 w 95"/>
                    <a:gd name="T61" fmla="*/ 36 h 45"/>
                    <a:gd name="T62" fmla="*/ 29 w 95"/>
                    <a:gd name="T63" fmla="*/ 33 h 45"/>
                    <a:gd name="T64" fmla="*/ 24 w 95"/>
                    <a:gd name="T65" fmla="*/ 31 h 45"/>
                    <a:gd name="T66" fmla="*/ 14 w 95"/>
                    <a:gd name="T67" fmla="*/ 24 h 45"/>
                    <a:gd name="T68" fmla="*/ 7 w 95"/>
                    <a:gd name="T69" fmla="*/ 22 h 45"/>
                    <a:gd name="T70" fmla="*/ 5 w 95"/>
                    <a:gd name="T71" fmla="*/ 19 h 45"/>
                    <a:gd name="T72" fmla="*/ 0 w 95"/>
                    <a:gd name="T73" fmla="*/ 17 h 45"/>
                    <a:gd name="T74" fmla="*/ 5 w 95"/>
                    <a:gd name="T75" fmla="*/ 10 h 45"/>
                    <a:gd name="T76" fmla="*/ 5 w 95"/>
                    <a:gd name="T77"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5" h="45">
                      <a:moveTo>
                        <a:pt x="5" y="0"/>
                      </a:moveTo>
                      <a:lnTo>
                        <a:pt x="5" y="0"/>
                      </a:lnTo>
                      <a:lnTo>
                        <a:pt x="10" y="3"/>
                      </a:lnTo>
                      <a:lnTo>
                        <a:pt x="10" y="3"/>
                      </a:lnTo>
                      <a:lnTo>
                        <a:pt x="12" y="3"/>
                      </a:lnTo>
                      <a:lnTo>
                        <a:pt x="14" y="5"/>
                      </a:lnTo>
                      <a:lnTo>
                        <a:pt x="14" y="3"/>
                      </a:lnTo>
                      <a:lnTo>
                        <a:pt x="17" y="3"/>
                      </a:lnTo>
                      <a:lnTo>
                        <a:pt x="22" y="3"/>
                      </a:lnTo>
                      <a:lnTo>
                        <a:pt x="24" y="5"/>
                      </a:lnTo>
                      <a:lnTo>
                        <a:pt x="26" y="5"/>
                      </a:lnTo>
                      <a:lnTo>
                        <a:pt x="26" y="5"/>
                      </a:lnTo>
                      <a:lnTo>
                        <a:pt x="31" y="10"/>
                      </a:lnTo>
                      <a:lnTo>
                        <a:pt x="33" y="10"/>
                      </a:lnTo>
                      <a:lnTo>
                        <a:pt x="36" y="10"/>
                      </a:lnTo>
                      <a:lnTo>
                        <a:pt x="36" y="12"/>
                      </a:lnTo>
                      <a:lnTo>
                        <a:pt x="38" y="14"/>
                      </a:lnTo>
                      <a:lnTo>
                        <a:pt x="41" y="14"/>
                      </a:lnTo>
                      <a:lnTo>
                        <a:pt x="41" y="14"/>
                      </a:lnTo>
                      <a:lnTo>
                        <a:pt x="41" y="12"/>
                      </a:lnTo>
                      <a:lnTo>
                        <a:pt x="43" y="12"/>
                      </a:lnTo>
                      <a:lnTo>
                        <a:pt x="43" y="12"/>
                      </a:lnTo>
                      <a:lnTo>
                        <a:pt x="45" y="12"/>
                      </a:lnTo>
                      <a:lnTo>
                        <a:pt x="48" y="12"/>
                      </a:lnTo>
                      <a:lnTo>
                        <a:pt x="48" y="17"/>
                      </a:lnTo>
                      <a:lnTo>
                        <a:pt x="50" y="19"/>
                      </a:lnTo>
                      <a:lnTo>
                        <a:pt x="55" y="17"/>
                      </a:lnTo>
                      <a:lnTo>
                        <a:pt x="57" y="17"/>
                      </a:lnTo>
                      <a:lnTo>
                        <a:pt x="57" y="22"/>
                      </a:lnTo>
                      <a:lnTo>
                        <a:pt x="57" y="24"/>
                      </a:lnTo>
                      <a:lnTo>
                        <a:pt x="59" y="24"/>
                      </a:lnTo>
                      <a:lnTo>
                        <a:pt x="64" y="26"/>
                      </a:lnTo>
                      <a:lnTo>
                        <a:pt x="64" y="24"/>
                      </a:lnTo>
                      <a:lnTo>
                        <a:pt x="67" y="24"/>
                      </a:lnTo>
                      <a:lnTo>
                        <a:pt x="69" y="22"/>
                      </a:lnTo>
                      <a:lnTo>
                        <a:pt x="74" y="22"/>
                      </a:lnTo>
                      <a:lnTo>
                        <a:pt x="76" y="24"/>
                      </a:lnTo>
                      <a:lnTo>
                        <a:pt x="76" y="26"/>
                      </a:lnTo>
                      <a:lnTo>
                        <a:pt x="81" y="26"/>
                      </a:lnTo>
                      <a:lnTo>
                        <a:pt x="83" y="29"/>
                      </a:lnTo>
                      <a:lnTo>
                        <a:pt x="85" y="31"/>
                      </a:lnTo>
                      <a:lnTo>
                        <a:pt x="88" y="29"/>
                      </a:lnTo>
                      <a:lnTo>
                        <a:pt x="88" y="29"/>
                      </a:lnTo>
                      <a:lnTo>
                        <a:pt x="93" y="29"/>
                      </a:lnTo>
                      <a:lnTo>
                        <a:pt x="93" y="29"/>
                      </a:lnTo>
                      <a:lnTo>
                        <a:pt x="95" y="31"/>
                      </a:lnTo>
                      <a:lnTo>
                        <a:pt x="93" y="36"/>
                      </a:lnTo>
                      <a:lnTo>
                        <a:pt x="95" y="41"/>
                      </a:lnTo>
                      <a:lnTo>
                        <a:pt x="95" y="45"/>
                      </a:lnTo>
                      <a:lnTo>
                        <a:pt x="88" y="45"/>
                      </a:lnTo>
                      <a:lnTo>
                        <a:pt x="83" y="43"/>
                      </a:lnTo>
                      <a:lnTo>
                        <a:pt x="81" y="45"/>
                      </a:lnTo>
                      <a:lnTo>
                        <a:pt x="71" y="41"/>
                      </a:lnTo>
                      <a:lnTo>
                        <a:pt x="67" y="41"/>
                      </a:lnTo>
                      <a:lnTo>
                        <a:pt x="64" y="43"/>
                      </a:lnTo>
                      <a:lnTo>
                        <a:pt x="59" y="41"/>
                      </a:lnTo>
                      <a:lnTo>
                        <a:pt x="57" y="38"/>
                      </a:lnTo>
                      <a:lnTo>
                        <a:pt x="55" y="36"/>
                      </a:lnTo>
                      <a:lnTo>
                        <a:pt x="50" y="36"/>
                      </a:lnTo>
                      <a:lnTo>
                        <a:pt x="45" y="36"/>
                      </a:lnTo>
                      <a:lnTo>
                        <a:pt x="43" y="36"/>
                      </a:lnTo>
                      <a:lnTo>
                        <a:pt x="36" y="36"/>
                      </a:lnTo>
                      <a:lnTo>
                        <a:pt x="33" y="33"/>
                      </a:lnTo>
                      <a:lnTo>
                        <a:pt x="29" y="33"/>
                      </a:lnTo>
                      <a:lnTo>
                        <a:pt x="26" y="31"/>
                      </a:lnTo>
                      <a:lnTo>
                        <a:pt x="24" y="31"/>
                      </a:lnTo>
                      <a:lnTo>
                        <a:pt x="19" y="26"/>
                      </a:lnTo>
                      <a:lnTo>
                        <a:pt x="14" y="24"/>
                      </a:lnTo>
                      <a:lnTo>
                        <a:pt x="10" y="24"/>
                      </a:lnTo>
                      <a:lnTo>
                        <a:pt x="7" y="22"/>
                      </a:lnTo>
                      <a:lnTo>
                        <a:pt x="7" y="22"/>
                      </a:lnTo>
                      <a:lnTo>
                        <a:pt x="5" y="19"/>
                      </a:lnTo>
                      <a:lnTo>
                        <a:pt x="3" y="19"/>
                      </a:lnTo>
                      <a:lnTo>
                        <a:pt x="0" y="17"/>
                      </a:lnTo>
                      <a:lnTo>
                        <a:pt x="5" y="14"/>
                      </a:lnTo>
                      <a:lnTo>
                        <a:pt x="5" y="10"/>
                      </a:lnTo>
                      <a:lnTo>
                        <a:pt x="5" y="5"/>
                      </a:lnTo>
                      <a:lnTo>
                        <a:pt x="5" y="0"/>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Freeform 39">
                  <a:extLst>
                    <a:ext uri="{FF2B5EF4-FFF2-40B4-BE49-F238E27FC236}">
                      <a16:creationId xmlns:a16="http://schemas.microsoft.com/office/drawing/2014/main" id="{5C297058-AA27-AD10-3C56-242CB2512FA8}"/>
                    </a:ext>
                  </a:extLst>
                </p:cNvPr>
                <p:cNvSpPr>
                  <a:spLocks/>
                </p:cNvSpPr>
                <p:nvPr/>
              </p:nvSpPr>
              <p:spPr bwMode="auto">
                <a:xfrm>
                  <a:off x="3326" y="2194"/>
                  <a:ext cx="158" cy="157"/>
                </a:xfrm>
                <a:custGeom>
                  <a:avLst/>
                  <a:gdLst>
                    <a:gd name="T0" fmla="*/ 97 w 158"/>
                    <a:gd name="T1" fmla="*/ 152 h 157"/>
                    <a:gd name="T2" fmla="*/ 109 w 158"/>
                    <a:gd name="T3" fmla="*/ 150 h 157"/>
                    <a:gd name="T4" fmla="*/ 116 w 158"/>
                    <a:gd name="T5" fmla="*/ 147 h 157"/>
                    <a:gd name="T6" fmla="*/ 121 w 158"/>
                    <a:gd name="T7" fmla="*/ 145 h 157"/>
                    <a:gd name="T8" fmla="*/ 116 w 158"/>
                    <a:gd name="T9" fmla="*/ 133 h 157"/>
                    <a:gd name="T10" fmla="*/ 109 w 158"/>
                    <a:gd name="T11" fmla="*/ 126 h 157"/>
                    <a:gd name="T12" fmla="*/ 104 w 158"/>
                    <a:gd name="T13" fmla="*/ 121 h 157"/>
                    <a:gd name="T14" fmla="*/ 102 w 158"/>
                    <a:gd name="T15" fmla="*/ 114 h 157"/>
                    <a:gd name="T16" fmla="*/ 109 w 158"/>
                    <a:gd name="T17" fmla="*/ 107 h 157"/>
                    <a:gd name="T18" fmla="*/ 114 w 158"/>
                    <a:gd name="T19" fmla="*/ 109 h 157"/>
                    <a:gd name="T20" fmla="*/ 130 w 158"/>
                    <a:gd name="T21" fmla="*/ 98 h 157"/>
                    <a:gd name="T22" fmla="*/ 140 w 158"/>
                    <a:gd name="T23" fmla="*/ 86 h 157"/>
                    <a:gd name="T24" fmla="*/ 144 w 158"/>
                    <a:gd name="T25" fmla="*/ 79 h 157"/>
                    <a:gd name="T26" fmla="*/ 149 w 158"/>
                    <a:gd name="T27" fmla="*/ 67 h 157"/>
                    <a:gd name="T28" fmla="*/ 154 w 158"/>
                    <a:gd name="T29" fmla="*/ 57 h 157"/>
                    <a:gd name="T30" fmla="*/ 158 w 158"/>
                    <a:gd name="T31" fmla="*/ 53 h 157"/>
                    <a:gd name="T32" fmla="*/ 149 w 158"/>
                    <a:gd name="T33" fmla="*/ 50 h 157"/>
                    <a:gd name="T34" fmla="*/ 135 w 158"/>
                    <a:gd name="T35" fmla="*/ 41 h 157"/>
                    <a:gd name="T36" fmla="*/ 132 w 158"/>
                    <a:gd name="T37" fmla="*/ 26 h 157"/>
                    <a:gd name="T38" fmla="*/ 132 w 158"/>
                    <a:gd name="T39" fmla="*/ 19 h 157"/>
                    <a:gd name="T40" fmla="*/ 125 w 158"/>
                    <a:gd name="T41" fmla="*/ 10 h 157"/>
                    <a:gd name="T42" fmla="*/ 118 w 158"/>
                    <a:gd name="T43" fmla="*/ 7 h 157"/>
                    <a:gd name="T44" fmla="*/ 118 w 158"/>
                    <a:gd name="T45" fmla="*/ 0 h 157"/>
                    <a:gd name="T46" fmla="*/ 106 w 158"/>
                    <a:gd name="T47" fmla="*/ 7 h 157"/>
                    <a:gd name="T48" fmla="*/ 104 w 158"/>
                    <a:gd name="T49" fmla="*/ 26 h 157"/>
                    <a:gd name="T50" fmla="*/ 99 w 158"/>
                    <a:gd name="T51" fmla="*/ 36 h 157"/>
                    <a:gd name="T52" fmla="*/ 97 w 158"/>
                    <a:gd name="T53" fmla="*/ 38 h 157"/>
                    <a:gd name="T54" fmla="*/ 92 w 158"/>
                    <a:gd name="T55" fmla="*/ 45 h 157"/>
                    <a:gd name="T56" fmla="*/ 90 w 158"/>
                    <a:gd name="T57" fmla="*/ 55 h 157"/>
                    <a:gd name="T58" fmla="*/ 85 w 158"/>
                    <a:gd name="T59" fmla="*/ 60 h 157"/>
                    <a:gd name="T60" fmla="*/ 80 w 158"/>
                    <a:gd name="T61" fmla="*/ 62 h 157"/>
                    <a:gd name="T62" fmla="*/ 73 w 158"/>
                    <a:gd name="T63" fmla="*/ 67 h 157"/>
                    <a:gd name="T64" fmla="*/ 64 w 158"/>
                    <a:gd name="T65" fmla="*/ 69 h 157"/>
                    <a:gd name="T66" fmla="*/ 59 w 158"/>
                    <a:gd name="T67" fmla="*/ 74 h 157"/>
                    <a:gd name="T68" fmla="*/ 61 w 158"/>
                    <a:gd name="T69" fmla="*/ 86 h 157"/>
                    <a:gd name="T70" fmla="*/ 47 w 158"/>
                    <a:gd name="T71" fmla="*/ 88 h 157"/>
                    <a:gd name="T72" fmla="*/ 33 w 158"/>
                    <a:gd name="T73" fmla="*/ 90 h 157"/>
                    <a:gd name="T74" fmla="*/ 0 w 158"/>
                    <a:gd name="T75" fmla="*/ 88 h 157"/>
                    <a:gd name="T76" fmla="*/ 14 w 158"/>
                    <a:gd name="T77" fmla="*/ 102 h 157"/>
                    <a:gd name="T78" fmla="*/ 21 w 158"/>
                    <a:gd name="T79" fmla="*/ 105 h 157"/>
                    <a:gd name="T80" fmla="*/ 26 w 158"/>
                    <a:gd name="T81" fmla="*/ 114 h 157"/>
                    <a:gd name="T82" fmla="*/ 33 w 158"/>
                    <a:gd name="T83" fmla="*/ 121 h 157"/>
                    <a:gd name="T84" fmla="*/ 21 w 158"/>
                    <a:gd name="T85" fmla="*/ 124 h 157"/>
                    <a:gd name="T86" fmla="*/ 14 w 158"/>
                    <a:gd name="T87" fmla="*/ 131 h 157"/>
                    <a:gd name="T88" fmla="*/ 17 w 158"/>
                    <a:gd name="T89" fmla="*/ 140 h 157"/>
                    <a:gd name="T90" fmla="*/ 24 w 158"/>
                    <a:gd name="T91" fmla="*/ 140 h 157"/>
                    <a:gd name="T92" fmla="*/ 28 w 158"/>
                    <a:gd name="T93" fmla="*/ 138 h 157"/>
                    <a:gd name="T94" fmla="*/ 35 w 158"/>
                    <a:gd name="T95" fmla="*/ 138 h 157"/>
                    <a:gd name="T96" fmla="*/ 40 w 158"/>
                    <a:gd name="T97" fmla="*/ 138 h 157"/>
                    <a:gd name="T98" fmla="*/ 43 w 158"/>
                    <a:gd name="T99" fmla="*/ 138 h 157"/>
                    <a:gd name="T100" fmla="*/ 52 w 158"/>
                    <a:gd name="T101" fmla="*/ 138 h 157"/>
                    <a:gd name="T102" fmla="*/ 59 w 158"/>
                    <a:gd name="T103" fmla="*/ 135 h 157"/>
                    <a:gd name="T104" fmla="*/ 69 w 158"/>
                    <a:gd name="T105" fmla="*/ 135 h 157"/>
                    <a:gd name="T106" fmla="*/ 71 w 158"/>
                    <a:gd name="T107" fmla="*/ 143 h 157"/>
                    <a:gd name="T108" fmla="*/ 76 w 158"/>
                    <a:gd name="T109" fmla="*/ 140 h 157"/>
                    <a:gd name="T110" fmla="*/ 80 w 158"/>
                    <a:gd name="T111" fmla="*/ 150 h 157"/>
                    <a:gd name="T112" fmla="*/ 80 w 158"/>
                    <a:gd name="T113" fmla="*/ 152 h 157"/>
                    <a:gd name="T114" fmla="*/ 90 w 158"/>
                    <a:gd name="T115" fmla="*/ 157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8" h="157">
                      <a:moveTo>
                        <a:pt x="92" y="157"/>
                      </a:moveTo>
                      <a:lnTo>
                        <a:pt x="92" y="154"/>
                      </a:lnTo>
                      <a:lnTo>
                        <a:pt x="95" y="152"/>
                      </a:lnTo>
                      <a:lnTo>
                        <a:pt x="97" y="152"/>
                      </a:lnTo>
                      <a:lnTo>
                        <a:pt x="97" y="150"/>
                      </a:lnTo>
                      <a:lnTo>
                        <a:pt x="99" y="150"/>
                      </a:lnTo>
                      <a:lnTo>
                        <a:pt x="102" y="150"/>
                      </a:lnTo>
                      <a:lnTo>
                        <a:pt x="109" y="150"/>
                      </a:lnTo>
                      <a:lnTo>
                        <a:pt x="114" y="147"/>
                      </a:lnTo>
                      <a:lnTo>
                        <a:pt x="114" y="147"/>
                      </a:lnTo>
                      <a:lnTo>
                        <a:pt x="116" y="145"/>
                      </a:lnTo>
                      <a:lnTo>
                        <a:pt x="116" y="147"/>
                      </a:lnTo>
                      <a:lnTo>
                        <a:pt x="116" y="150"/>
                      </a:lnTo>
                      <a:lnTo>
                        <a:pt x="118" y="147"/>
                      </a:lnTo>
                      <a:lnTo>
                        <a:pt x="121" y="147"/>
                      </a:lnTo>
                      <a:lnTo>
                        <a:pt x="121" y="145"/>
                      </a:lnTo>
                      <a:lnTo>
                        <a:pt x="121" y="145"/>
                      </a:lnTo>
                      <a:lnTo>
                        <a:pt x="118" y="138"/>
                      </a:lnTo>
                      <a:lnTo>
                        <a:pt x="116" y="135"/>
                      </a:lnTo>
                      <a:lnTo>
                        <a:pt x="116" y="133"/>
                      </a:lnTo>
                      <a:lnTo>
                        <a:pt x="116" y="133"/>
                      </a:lnTo>
                      <a:lnTo>
                        <a:pt x="114" y="133"/>
                      </a:lnTo>
                      <a:lnTo>
                        <a:pt x="109" y="131"/>
                      </a:lnTo>
                      <a:lnTo>
                        <a:pt x="109" y="126"/>
                      </a:lnTo>
                      <a:lnTo>
                        <a:pt x="109" y="124"/>
                      </a:lnTo>
                      <a:lnTo>
                        <a:pt x="106" y="121"/>
                      </a:lnTo>
                      <a:lnTo>
                        <a:pt x="104" y="121"/>
                      </a:lnTo>
                      <a:lnTo>
                        <a:pt x="104" y="121"/>
                      </a:lnTo>
                      <a:lnTo>
                        <a:pt x="102" y="121"/>
                      </a:lnTo>
                      <a:lnTo>
                        <a:pt x="99" y="121"/>
                      </a:lnTo>
                      <a:lnTo>
                        <a:pt x="99" y="119"/>
                      </a:lnTo>
                      <a:lnTo>
                        <a:pt x="102" y="114"/>
                      </a:lnTo>
                      <a:lnTo>
                        <a:pt x="102" y="114"/>
                      </a:lnTo>
                      <a:lnTo>
                        <a:pt x="106" y="109"/>
                      </a:lnTo>
                      <a:lnTo>
                        <a:pt x="106" y="107"/>
                      </a:lnTo>
                      <a:lnTo>
                        <a:pt x="109" y="107"/>
                      </a:lnTo>
                      <a:lnTo>
                        <a:pt x="109" y="105"/>
                      </a:lnTo>
                      <a:lnTo>
                        <a:pt x="111" y="107"/>
                      </a:lnTo>
                      <a:lnTo>
                        <a:pt x="114" y="109"/>
                      </a:lnTo>
                      <a:lnTo>
                        <a:pt x="114" y="109"/>
                      </a:lnTo>
                      <a:lnTo>
                        <a:pt x="118" y="107"/>
                      </a:lnTo>
                      <a:lnTo>
                        <a:pt x="125" y="107"/>
                      </a:lnTo>
                      <a:lnTo>
                        <a:pt x="128" y="102"/>
                      </a:lnTo>
                      <a:lnTo>
                        <a:pt x="130" y="98"/>
                      </a:lnTo>
                      <a:lnTo>
                        <a:pt x="135" y="93"/>
                      </a:lnTo>
                      <a:lnTo>
                        <a:pt x="137" y="90"/>
                      </a:lnTo>
                      <a:lnTo>
                        <a:pt x="137" y="88"/>
                      </a:lnTo>
                      <a:lnTo>
                        <a:pt x="140" y="86"/>
                      </a:lnTo>
                      <a:lnTo>
                        <a:pt x="144" y="83"/>
                      </a:lnTo>
                      <a:lnTo>
                        <a:pt x="144" y="81"/>
                      </a:lnTo>
                      <a:lnTo>
                        <a:pt x="144" y="79"/>
                      </a:lnTo>
                      <a:lnTo>
                        <a:pt x="144" y="79"/>
                      </a:lnTo>
                      <a:lnTo>
                        <a:pt x="147" y="74"/>
                      </a:lnTo>
                      <a:lnTo>
                        <a:pt x="149" y="74"/>
                      </a:lnTo>
                      <a:lnTo>
                        <a:pt x="149" y="71"/>
                      </a:lnTo>
                      <a:lnTo>
                        <a:pt x="149" y="67"/>
                      </a:lnTo>
                      <a:lnTo>
                        <a:pt x="149" y="62"/>
                      </a:lnTo>
                      <a:lnTo>
                        <a:pt x="147" y="62"/>
                      </a:lnTo>
                      <a:lnTo>
                        <a:pt x="151" y="57"/>
                      </a:lnTo>
                      <a:lnTo>
                        <a:pt x="154" y="57"/>
                      </a:lnTo>
                      <a:lnTo>
                        <a:pt x="156" y="57"/>
                      </a:lnTo>
                      <a:lnTo>
                        <a:pt x="156" y="57"/>
                      </a:lnTo>
                      <a:lnTo>
                        <a:pt x="158" y="55"/>
                      </a:lnTo>
                      <a:lnTo>
                        <a:pt x="158" y="53"/>
                      </a:lnTo>
                      <a:lnTo>
                        <a:pt x="156" y="53"/>
                      </a:lnTo>
                      <a:lnTo>
                        <a:pt x="154" y="53"/>
                      </a:lnTo>
                      <a:lnTo>
                        <a:pt x="149" y="53"/>
                      </a:lnTo>
                      <a:lnTo>
                        <a:pt x="149" y="50"/>
                      </a:lnTo>
                      <a:lnTo>
                        <a:pt x="144" y="48"/>
                      </a:lnTo>
                      <a:lnTo>
                        <a:pt x="140" y="48"/>
                      </a:lnTo>
                      <a:lnTo>
                        <a:pt x="135" y="43"/>
                      </a:lnTo>
                      <a:lnTo>
                        <a:pt x="135" y="41"/>
                      </a:lnTo>
                      <a:lnTo>
                        <a:pt x="132" y="34"/>
                      </a:lnTo>
                      <a:lnTo>
                        <a:pt x="132" y="31"/>
                      </a:lnTo>
                      <a:lnTo>
                        <a:pt x="132" y="26"/>
                      </a:lnTo>
                      <a:lnTo>
                        <a:pt x="132" y="26"/>
                      </a:lnTo>
                      <a:lnTo>
                        <a:pt x="132" y="24"/>
                      </a:lnTo>
                      <a:lnTo>
                        <a:pt x="137" y="22"/>
                      </a:lnTo>
                      <a:lnTo>
                        <a:pt x="137" y="19"/>
                      </a:lnTo>
                      <a:lnTo>
                        <a:pt x="132" y="19"/>
                      </a:lnTo>
                      <a:lnTo>
                        <a:pt x="132" y="17"/>
                      </a:lnTo>
                      <a:lnTo>
                        <a:pt x="130" y="15"/>
                      </a:lnTo>
                      <a:lnTo>
                        <a:pt x="128" y="12"/>
                      </a:lnTo>
                      <a:lnTo>
                        <a:pt x="125" y="10"/>
                      </a:lnTo>
                      <a:lnTo>
                        <a:pt x="123" y="12"/>
                      </a:lnTo>
                      <a:lnTo>
                        <a:pt x="121" y="12"/>
                      </a:lnTo>
                      <a:lnTo>
                        <a:pt x="118" y="10"/>
                      </a:lnTo>
                      <a:lnTo>
                        <a:pt x="118" y="7"/>
                      </a:lnTo>
                      <a:lnTo>
                        <a:pt x="123" y="3"/>
                      </a:lnTo>
                      <a:lnTo>
                        <a:pt x="123" y="0"/>
                      </a:lnTo>
                      <a:lnTo>
                        <a:pt x="121" y="3"/>
                      </a:lnTo>
                      <a:lnTo>
                        <a:pt x="118" y="0"/>
                      </a:lnTo>
                      <a:lnTo>
                        <a:pt x="114" y="3"/>
                      </a:lnTo>
                      <a:lnTo>
                        <a:pt x="111" y="5"/>
                      </a:lnTo>
                      <a:lnTo>
                        <a:pt x="106" y="5"/>
                      </a:lnTo>
                      <a:lnTo>
                        <a:pt x="106" y="7"/>
                      </a:lnTo>
                      <a:lnTo>
                        <a:pt x="104" y="10"/>
                      </a:lnTo>
                      <a:lnTo>
                        <a:pt x="109" y="15"/>
                      </a:lnTo>
                      <a:lnTo>
                        <a:pt x="109" y="19"/>
                      </a:lnTo>
                      <a:lnTo>
                        <a:pt x="104" y="26"/>
                      </a:lnTo>
                      <a:lnTo>
                        <a:pt x="106" y="29"/>
                      </a:lnTo>
                      <a:lnTo>
                        <a:pt x="106" y="31"/>
                      </a:lnTo>
                      <a:lnTo>
                        <a:pt x="104" y="36"/>
                      </a:lnTo>
                      <a:lnTo>
                        <a:pt x="99" y="36"/>
                      </a:lnTo>
                      <a:lnTo>
                        <a:pt x="95" y="34"/>
                      </a:lnTo>
                      <a:lnTo>
                        <a:pt x="92" y="36"/>
                      </a:lnTo>
                      <a:lnTo>
                        <a:pt x="95" y="38"/>
                      </a:lnTo>
                      <a:lnTo>
                        <a:pt x="97" y="38"/>
                      </a:lnTo>
                      <a:lnTo>
                        <a:pt x="97" y="43"/>
                      </a:lnTo>
                      <a:lnTo>
                        <a:pt x="97" y="43"/>
                      </a:lnTo>
                      <a:lnTo>
                        <a:pt x="95" y="45"/>
                      </a:lnTo>
                      <a:lnTo>
                        <a:pt x="92" y="45"/>
                      </a:lnTo>
                      <a:lnTo>
                        <a:pt x="90" y="48"/>
                      </a:lnTo>
                      <a:lnTo>
                        <a:pt x="90" y="50"/>
                      </a:lnTo>
                      <a:lnTo>
                        <a:pt x="90" y="53"/>
                      </a:lnTo>
                      <a:lnTo>
                        <a:pt x="90" y="55"/>
                      </a:lnTo>
                      <a:lnTo>
                        <a:pt x="88" y="55"/>
                      </a:lnTo>
                      <a:lnTo>
                        <a:pt x="90" y="60"/>
                      </a:lnTo>
                      <a:lnTo>
                        <a:pt x="88" y="62"/>
                      </a:lnTo>
                      <a:lnTo>
                        <a:pt x="85" y="60"/>
                      </a:lnTo>
                      <a:lnTo>
                        <a:pt x="83" y="60"/>
                      </a:lnTo>
                      <a:lnTo>
                        <a:pt x="83" y="62"/>
                      </a:lnTo>
                      <a:lnTo>
                        <a:pt x="80" y="62"/>
                      </a:lnTo>
                      <a:lnTo>
                        <a:pt x="80" y="62"/>
                      </a:lnTo>
                      <a:lnTo>
                        <a:pt x="76" y="62"/>
                      </a:lnTo>
                      <a:lnTo>
                        <a:pt x="76" y="62"/>
                      </a:lnTo>
                      <a:lnTo>
                        <a:pt x="71" y="64"/>
                      </a:lnTo>
                      <a:lnTo>
                        <a:pt x="73" y="67"/>
                      </a:lnTo>
                      <a:lnTo>
                        <a:pt x="73" y="67"/>
                      </a:lnTo>
                      <a:lnTo>
                        <a:pt x="69" y="69"/>
                      </a:lnTo>
                      <a:lnTo>
                        <a:pt x="66" y="69"/>
                      </a:lnTo>
                      <a:lnTo>
                        <a:pt x="64" y="69"/>
                      </a:lnTo>
                      <a:lnTo>
                        <a:pt x="64" y="71"/>
                      </a:lnTo>
                      <a:lnTo>
                        <a:pt x="64" y="71"/>
                      </a:lnTo>
                      <a:lnTo>
                        <a:pt x="61" y="74"/>
                      </a:lnTo>
                      <a:lnTo>
                        <a:pt x="59" y="74"/>
                      </a:lnTo>
                      <a:lnTo>
                        <a:pt x="59" y="76"/>
                      </a:lnTo>
                      <a:lnTo>
                        <a:pt x="59" y="81"/>
                      </a:lnTo>
                      <a:lnTo>
                        <a:pt x="59" y="83"/>
                      </a:lnTo>
                      <a:lnTo>
                        <a:pt x="61" y="86"/>
                      </a:lnTo>
                      <a:lnTo>
                        <a:pt x="61" y="86"/>
                      </a:lnTo>
                      <a:lnTo>
                        <a:pt x="57" y="88"/>
                      </a:lnTo>
                      <a:lnTo>
                        <a:pt x="52" y="88"/>
                      </a:lnTo>
                      <a:lnTo>
                        <a:pt x="47" y="88"/>
                      </a:lnTo>
                      <a:lnTo>
                        <a:pt x="43" y="88"/>
                      </a:lnTo>
                      <a:lnTo>
                        <a:pt x="38" y="90"/>
                      </a:lnTo>
                      <a:lnTo>
                        <a:pt x="38" y="90"/>
                      </a:lnTo>
                      <a:lnTo>
                        <a:pt x="33" y="90"/>
                      </a:lnTo>
                      <a:lnTo>
                        <a:pt x="31" y="93"/>
                      </a:lnTo>
                      <a:lnTo>
                        <a:pt x="17" y="93"/>
                      </a:lnTo>
                      <a:lnTo>
                        <a:pt x="0" y="88"/>
                      </a:lnTo>
                      <a:lnTo>
                        <a:pt x="0" y="88"/>
                      </a:lnTo>
                      <a:lnTo>
                        <a:pt x="7" y="95"/>
                      </a:lnTo>
                      <a:lnTo>
                        <a:pt x="7" y="98"/>
                      </a:lnTo>
                      <a:lnTo>
                        <a:pt x="12" y="100"/>
                      </a:lnTo>
                      <a:lnTo>
                        <a:pt x="14" y="102"/>
                      </a:lnTo>
                      <a:lnTo>
                        <a:pt x="14" y="102"/>
                      </a:lnTo>
                      <a:lnTo>
                        <a:pt x="19" y="102"/>
                      </a:lnTo>
                      <a:lnTo>
                        <a:pt x="21" y="105"/>
                      </a:lnTo>
                      <a:lnTo>
                        <a:pt x="21" y="105"/>
                      </a:lnTo>
                      <a:lnTo>
                        <a:pt x="24" y="105"/>
                      </a:lnTo>
                      <a:lnTo>
                        <a:pt x="24" y="109"/>
                      </a:lnTo>
                      <a:lnTo>
                        <a:pt x="26" y="112"/>
                      </a:lnTo>
                      <a:lnTo>
                        <a:pt x="26" y="114"/>
                      </a:lnTo>
                      <a:lnTo>
                        <a:pt x="26" y="117"/>
                      </a:lnTo>
                      <a:lnTo>
                        <a:pt x="28" y="117"/>
                      </a:lnTo>
                      <a:lnTo>
                        <a:pt x="31" y="117"/>
                      </a:lnTo>
                      <a:lnTo>
                        <a:pt x="33" y="121"/>
                      </a:lnTo>
                      <a:lnTo>
                        <a:pt x="31" y="124"/>
                      </a:lnTo>
                      <a:lnTo>
                        <a:pt x="28" y="121"/>
                      </a:lnTo>
                      <a:lnTo>
                        <a:pt x="21" y="124"/>
                      </a:lnTo>
                      <a:lnTo>
                        <a:pt x="21" y="124"/>
                      </a:lnTo>
                      <a:lnTo>
                        <a:pt x="17" y="126"/>
                      </a:lnTo>
                      <a:lnTo>
                        <a:pt x="17" y="128"/>
                      </a:lnTo>
                      <a:lnTo>
                        <a:pt x="17" y="128"/>
                      </a:lnTo>
                      <a:lnTo>
                        <a:pt x="14" y="131"/>
                      </a:lnTo>
                      <a:lnTo>
                        <a:pt x="17" y="133"/>
                      </a:lnTo>
                      <a:lnTo>
                        <a:pt x="17" y="138"/>
                      </a:lnTo>
                      <a:lnTo>
                        <a:pt x="17" y="140"/>
                      </a:lnTo>
                      <a:lnTo>
                        <a:pt x="17" y="140"/>
                      </a:lnTo>
                      <a:lnTo>
                        <a:pt x="17" y="140"/>
                      </a:lnTo>
                      <a:lnTo>
                        <a:pt x="19" y="140"/>
                      </a:lnTo>
                      <a:lnTo>
                        <a:pt x="21" y="140"/>
                      </a:lnTo>
                      <a:lnTo>
                        <a:pt x="24" y="140"/>
                      </a:lnTo>
                      <a:lnTo>
                        <a:pt x="24" y="140"/>
                      </a:lnTo>
                      <a:lnTo>
                        <a:pt x="26" y="140"/>
                      </a:lnTo>
                      <a:lnTo>
                        <a:pt x="26" y="138"/>
                      </a:lnTo>
                      <a:lnTo>
                        <a:pt x="28" y="138"/>
                      </a:lnTo>
                      <a:lnTo>
                        <a:pt x="31" y="138"/>
                      </a:lnTo>
                      <a:lnTo>
                        <a:pt x="33" y="138"/>
                      </a:lnTo>
                      <a:lnTo>
                        <a:pt x="33" y="138"/>
                      </a:lnTo>
                      <a:lnTo>
                        <a:pt x="35" y="138"/>
                      </a:lnTo>
                      <a:lnTo>
                        <a:pt x="35" y="138"/>
                      </a:lnTo>
                      <a:lnTo>
                        <a:pt x="35" y="135"/>
                      </a:lnTo>
                      <a:lnTo>
                        <a:pt x="38" y="138"/>
                      </a:lnTo>
                      <a:lnTo>
                        <a:pt x="40" y="138"/>
                      </a:lnTo>
                      <a:lnTo>
                        <a:pt x="40" y="138"/>
                      </a:lnTo>
                      <a:lnTo>
                        <a:pt x="40" y="138"/>
                      </a:lnTo>
                      <a:lnTo>
                        <a:pt x="43" y="138"/>
                      </a:lnTo>
                      <a:lnTo>
                        <a:pt x="43" y="138"/>
                      </a:lnTo>
                      <a:lnTo>
                        <a:pt x="45" y="140"/>
                      </a:lnTo>
                      <a:lnTo>
                        <a:pt x="47" y="140"/>
                      </a:lnTo>
                      <a:lnTo>
                        <a:pt x="50" y="138"/>
                      </a:lnTo>
                      <a:lnTo>
                        <a:pt x="52" y="138"/>
                      </a:lnTo>
                      <a:lnTo>
                        <a:pt x="54" y="138"/>
                      </a:lnTo>
                      <a:lnTo>
                        <a:pt x="57" y="135"/>
                      </a:lnTo>
                      <a:lnTo>
                        <a:pt x="57" y="135"/>
                      </a:lnTo>
                      <a:lnTo>
                        <a:pt x="59" y="135"/>
                      </a:lnTo>
                      <a:lnTo>
                        <a:pt x="59" y="135"/>
                      </a:lnTo>
                      <a:lnTo>
                        <a:pt x="61" y="138"/>
                      </a:lnTo>
                      <a:lnTo>
                        <a:pt x="64" y="135"/>
                      </a:lnTo>
                      <a:lnTo>
                        <a:pt x="69" y="135"/>
                      </a:lnTo>
                      <a:lnTo>
                        <a:pt x="71" y="138"/>
                      </a:lnTo>
                      <a:lnTo>
                        <a:pt x="71" y="140"/>
                      </a:lnTo>
                      <a:lnTo>
                        <a:pt x="71" y="140"/>
                      </a:lnTo>
                      <a:lnTo>
                        <a:pt x="71" y="143"/>
                      </a:lnTo>
                      <a:lnTo>
                        <a:pt x="71" y="143"/>
                      </a:lnTo>
                      <a:lnTo>
                        <a:pt x="71" y="143"/>
                      </a:lnTo>
                      <a:lnTo>
                        <a:pt x="73" y="143"/>
                      </a:lnTo>
                      <a:lnTo>
                        <a:pt x="76" y="140"/>
                      </a:lnTo>
                      <a:lnTo>
                        <a:pt x="76" y="143"/>
                      </a:lnTo>
                      <a:lnTo>
                        <a:pt x="78" y="145"/>
                      </a:lnTo>
                      <a:lnTo>
                        <a:pt x="80" y="150"/>
                      </a:lnTo>
                      <a:lnTo>
                        <a:pt x="80" y="150"/>
                      </a:lnTo>
                      <a:lnTo>
                        <a:pt x="80" y="152"/>
                      </a:lnTo>
                      <a:lnTo>
                        <a:pt x="78" y="152"/>
                      </a:lnTo>
                      <a:lnTo>
                        <a:pt x="80" y="152"/>
                      </a:lnTo>
                      <a:lnTo>
                        <a:pt x="80" y="152"/>
                      </a:lnTo>
                      <a:lnTo>
                        <a:pt x="80" y="154"/>
                      </a:lnTo>
                      <a:lnTo>
                        <a:pt x="83" y="154"/>
                      </a:lnTo>
                      <a:lnTo>
                        <a:pt x="88" y="154"/>
                      </a:lnTo>
                      <a:lnTo>
                        <a:pt x="90" y="157"/>
                      </a:lnTo>
                      <a:lnTo>
                        <a:pt x="90" y="157"/>
                      </a:lnTo>
                      <a:lnTo>
                        <a:pt x="92" y="157"/>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Freeform 40">
                  <a:extLst>
                    <a:ext uri="{FF2B5EF4-FFF2-40B4-BE49-F238E27FC236}">
                      <a16:creationId xmlns:a16="http://schemas.microsoft.com/office/drawing/2014/main" id="{9ECBCB51-F3CF-4B63-1DF8-00CEB7EF9DE8}"/>
                    </a:ext>
                  </a:extLst>
                </p:cNvPr>
                <p:cNvSpPr>
                  <a:spLocks/>
                </p:cNvSpPr>
                <p:nvPr/>
              </p:nvSpPr>
              <p:spPr bwMode="auto">
                <a:xfrm>
                  <a:off x="3444" y="2187"/>
                  <a:ext cx="83" cy="62"/>
                </a:xfrm>
                <a:custGeom>
                  <a:avLst/>
                  <a:gdLst>
                    <a:gd name="T0" fmla="*/ 40 w 83"/>
                    <a:gd name="T1" fmla="*/ 60 h 62"/>
                    <a:gd name="T2" fmla="*/ 48 w 83"/>
                    <a:gd name="T3" fmla="*/ 52 h 62"/>
                    <a:gd name="T4" fmla="*/ 52 w 83"/>
                    <a:gd name="T5" fmla="*/ 50 h 62"/>
                    <a:gd name="T6" fmla="*/ 62 w 83"/>
                    <a:gd name="T7" fmla="*/ 55 h 62"/>
                    <a:gd name="T8" fmla="*/ 67 w 83"/>
                    <a:gd name="T9" fmla="*/ 52 h 62"/>
                    <a:gd name="T10" fmla="*/ 71 w 83"/>
                    <a:gd name="T11" fmla="*/ 57 h 62"/>
                    <a:gd name="T12" fmla="*/ 78 w 83"/>
                    <a:gd name="T13" fmla="*/ 55 h 62"/>
                    <a:gd name="T14" fmla="*/ 81 w 83"/>
                    <a:gd name="T15" fmla="*/ 57 h 62"/>
                    <a:gd name="T16" fmla="*/ 83 w 83"/>
                    <a:gd name="T17" fmla="*/ 52 h 62"/>
                    <a:gd name="T18" fmla="*/ 78 w 83"/>
                    <a:gd name="T19" fmla="*/ 48 h 62"/>
                    <a:gd name="T20" fmla="*/ 76 w 83"/>
                    <a:gd name="T21" fmla="*/ 38 h 62"/>
                    <a:gd name="T22" fmla="*/ 71 w 83"/>
                    <a:gd name="T23" fmla="*/ 33 h 62"/>
                    <a:gd name="T24" fmla="*/ 67 w 83"/>
                    <a:gd name="T25" fmla="*/ 24 h 62"/>
                    <a:gd name="T26" fmla="*/ 57 w 83"/>
                    <a:gd name="T27" fmla="*/ 22 h 62"/>
                    <a:gd name="T28" fmla="*/ 55 w 83"/>
                    <a:gd name="T29" fmla="*/ 19 h 62"/>
                    <a:gd name="T30" fmla="*/ 45 w 83"/>
                    <a:gd name="T31" fmla="*/ 19 h 62"/>
                    <a:gd name="T32" fmla="*/ 43 w 83"/>
                    <a:gd name="T33" fmla="*/ 14 h 62"/>
                    <a:gd name="T34" fmla="*/ 40 w 83"/>
                    <a:gd name="T35" fmla="*/ 12 h 62"/>
                    <a:gd name="T36" fmla="*/ 33 w 83"/>
                    <a:gd name="T37" fmla="*/ 0 h 62"/>
                    <a:gd name="T38" fmla="*/ 31 w 83"/>
                    <a:gd name="T39" fmla="*/ 0 h 62"/>
                    <a:gd name="T40" fmla="*/ 29 w 83"/>
                    <a:gd name="T41" fmla="*/ 0 h 62"/>
                    <a:gd name="T42" fmla="*/ 24 w 83"/>
                    <a:gd name="T43" fmla="*/ 3 h 62"/>
                    <a:gd name="T44" fmla="*/ 22 w 83"/>
                    <a:gd name="T45" fmla="*/ 0 h 62"/>
                    <a:gd name="T46" fmla="*/ 22 w 83"/>
                    <a:gd name="T47" fmla="*/ 0 h 62"/>
                    <a:gd name="T48" fmla="*/ 12 w 83"/>
                    <a:gd name="T49" fmla="*/ 7 h 62"/>
                    <a:gd name="T50" fmla="*/ 5 w 83"/>
                    <a:gd name="T51" fmla="*/ 10 h 62"/>
                    <a:gd name="T52" fmla="*/ 0 w 83"/>
                    <a:gd name="T53" fmla="*/ 17 h 62"/>
                    <a:gd name="T54" fmla="*/ 5 w 83"/>
                    <a:gd name="T55" fmla="*/ 19 h 62"/>
                    <a:gd name="T56" fmla="*/ 10 w 83"/>
                    <a:gd name="T57" fmla="*/ 19 h 62"/>
                    <a:gd name="T58" fmla="*/ 14 w 83"/>
                    <a:gd name="T59" fmla="*/ 24 h 62"/>
                    <a:gd name="T60" fmla="*/ 19 w 83"/>
                    <a:gd name="T61" fmla="*/ 26 h 62"/>
                    <a:gd name="T62" fmla="*/ 14 w 83"/>
                    <a:gd name="T63" fmla="*/ 31 h 62"/>
                    <a:gd name="T64" fmla="*/ 14 w 83"/>
                    <a:gd name="T65" fmla="*/ 33 h 62"/>
                    <a:gd name="T66" fmla="*/ 14 w 83"/>
                    <a:gd name="T67" fmla="*/ 41 h 62"/>
                    <a:gd name="T68" fmla="*/ 17 w 83"/>
                    <a:gd name="T69" fmla="*/ 50 h 62"/>
                    <a:gd name="T70" fmla="*/ 26 w 83"/>
                    <a:gd name="T71" fmla="*/ 55 h 62"/>
                    <a:gd name="T72" fmla="*/ 31 w 83"/>
                    <a:gd name="T73" fmla="*/ 60 h 62"/>
                    <a:gd name="T74" fmla="*/ 38 w 83"/>
                    <a:gd name="T75" fmla="*/ 60 h 62"/>
                    <a:gd name="T76" fmla="*/ 40 w 83"/>
                    <a:gd name="T77"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3" h="62">
                      <a:moveTo>
                        <a:pt x="40" y="62"/>
                      </a:moveTo>
                      <a:lnTo>
                        <a:pt x="40" y="60"/>
                      </a:lnTo>
                      <a:lnTo>
                        <a:pt x="45" y="55"/>
                      </a:lnTo>
                      <a:lnTo>
                        <a:pt x="48" y="52"/>
                      </a:lnTo>
                      <a:lnTo>
                        <a:pt x="50" y="52"/>
                      </a:lnTo>
                      <a:lnTo>
                        <a:pt x="52" y="50"/>
                      </a:lnTo>
                      <a:lnTo>
                        <a:pt x="55" y="50"/>
                      </a:lnTo>
                      <a:lnTo>
                        <a:pt x="62" y="55"/>
                      </a:lnTo>
                      <a:lnTo>
                        <a:pt x="64" y="52"/>
                      </a:lnTo>
                      <a:lnTo>
                        <a:pt x="67" y="52"/>
                      </a:lnTo>
                      <a:lnTo>
                        <a:pt x="69" y="57"/>
                      </a:lnTo>
                      <a:lnTo>
                        <a:pt x="71" y="57"/>
                      </a:lnTo>
                      <a:lnTo>
                        <a:pt x="76" y="60"/>
                      </a:lnTo>
                      <a:lnTo>
                        <a:pt x="78" y="55"/>
                      </a:lnTo>
                      <a:lnTo>
                        <a:pt x="81" y="57"/>
                      </a:lnTo>
                      <a:lnTo>
                        <a:pt x="81" y="57"/>
                      </a:lnTo>
                      <a:lnTo>
                        <a:pt x="83" y="55"/>
                      </a:lnTo>
                      <a:lnTo>
                        <a:pt x="83" y="52"/>
                      </a:lnTo>
                      <a:lnTo>
                        <a:pt x="81" y="48"/>
                      </a:lnTo>
                      <a:lnTo>
                        <a:pt x="78" y="48"/>
                      </a:lnTo>
                      <a:lnTo>
                        <a:pt x="76" y="43"/>
                      </a:lnTo>
                      <a:lnTo>
                        <a:pt x="76" y="38"/>
                      </a:lnTo>
                      <a:lnTo>
                        <a:pt x="74" y="33"/>
                      </a:lnTo>
                      <a:lnTo>
                        <a:pt x="71" y="33"/>
                      </a:lnTo>
                      <a:lnTo>
                        <a:pt x="67" y="29"/>
                      </a:lnTo>
                      <a:lnTo>
                        <a:pt x="67" y="24"/>
                      </a:lnTo>
                      <a:lnTo>
                        <a:pt x="62" y="24"/>
                      </a:lnTo>
                      <a:lnTo>
                        <a:pt x="57" y="22"/>
                      </a:lnTo>
                      <a:lnTo>
                        <a:pt x="57" y="19"/>
                      </a:lnTo>
                      <a:lnTo>
                        <a:pt x="55" y="19"/>
                      </a:lnTo>
                      <a:lnTo>
                        <a:pt x="50" y="19"/>
                      </a:lnTo>
                      <a:lnTo>
                        <a:pt x="45" y="19"/>
                      </a:lnTo>
                      <a:lnTo>
                        <a:pt x="45" y="17"/>
                      </a:lnTo>
                      <a:lnTo>
                        <a:pt x="43" y="14"/>
                      </a:lnTo>
                      <a:lnTo>
                        <a:pt x="43" y="12"/>
                      </a:lnTo>
                      <a:lnTo>
                        <a:pt x="40" y="12"/>
                      </a:lnTo>
                      <a:lnTo>
                        <a:pt x="36" y="5"/>
                      </a:lnTo>
                      <a:lnTo>
                        <a:pt x="33" y="0"/>
                      </a:lnTo>
                      <a:lnTo>
                        <a:pt x="31" y="0"/>
                      </a:lnTo>
                      <a:lnTo>
                        <a:pt x="31" y="0"/>
                      </a:lnTo>
                      <a:lnTo>
                        <a:pt x="29" y="0"/>
                      </a:lnTo>
                      <a:lnTo>
                        <a:pt x="29" y="0"/>
                      </a:lnTo>
                      <a:lnTo>
                        <a:pt x="26" y="0"/>
                      </a:lnTo>
                      <a:lnTo>
                        <a:pt x="24" y="3"/>
                      </a:lnTo>
                      <a:lnTo>
                        <a:pt x="24" y="0"/>
                      </a:lnTo>
                      <a:lnTo>
                        <a:pt x="22" y="0"/>
                      </a:lnTo>
                      <a:lnTo>
                        <a:pt x="19" y="0"/>
                      </a:lnTo>
                      <a:lnTo>
                        <a:pt x="22" y="0"/>
                      </a:lnTo>
                      <a:lnTo>
                        <a:pt x="19" y="5"/>
                      </a:lnTo>
                      <a:lnTo>
                        <a:pt x="12" y="7"/>
                      </a:lnTo>
                      <a:lnTo>
                        <a:pt x="5" y="7"/>
                      </a:lnTo>
                      <a:lnTo>
                        <a:pt x="5" y="10"/>
                      </a:lnTo>
                      <a:lnTo>
                        <a:pt x="0" y="14"/>
                      </a:lnTo>
                      <a:lnTo>
                        <a:pt x="0" y="17"/>
                      </a:lnTo>
                      <a:lnTo>
                        <a:pt x="3" y="19"/>
                      </a:lnTo>
                      <a:lnTo>
                        <a:pt x="5" y="19"/>
                      </a:lnTo>
                      <a:lnTo>
                        <a:pt x="7" y="17"/>
                      </a:lnTo>
                      <a:lnTo>
                        <a:pt x="10" y="19"/>
                      </a:lnTo>
                      <a:lnTo>
                        <a:pt x="12" y="22"/>
                      </a:lnTo>
                      <a:lnTo>
                        <a:pt x="14" y="24"/>
                      </a:lnTo>
                      <a:lnTo>
                        <a:pt x="14" y="26"/>
                      </a:lnTo>
                      <a:lnTo>
                        <a:pt x="19" y="26"/>
                      </a:lnTo>
                      <a:lnTo>
                        <a:pt x="19" y="29"/>
                      </a:lnTo>
                      <a:lnTo>
                        <a:pt x="14" y="31"/>
                      </a:lnTo>
                      <a:lnTo>
                        <a:pt x="14" y="33"/>
                      </a:lnTo>
                      <a:lnTo>
                        <a:pt x="14" y="33"/>
                      </a:lnTo>
                      <a:lnTo>
                        <a:pt x="14" y="38"/>
                      </a:lnTo>
                      <a:lnTo>
                        <a:pt x="14" y="41"/>
                      </a:lnTo>
                      <a:lnTo>
                        <a:pt x="17" y="48"/>
                      </a:lnTo>
                      <a:lnTo>
                        <a:pt x="17" y="50"/>
                      </a:lnTo>
                      <a:lnTo>
                        <a:pt x="22" y="55"/>
                      </a:lnTo>
                      <a:lnTo>
                        <a:pt x="26" y="55"/>
                      </a:lnTo>
                      <a:lnTo>
                        <a:pt x="31" y="57"/>
                      </a:lnTo>
                      <a:lnTo>
                        <a:pt x="31" y="60"/>
                      </a:lnTo>
                      <a:lnTo>
                        <a:pt x="36" y="60"/>
                      </a:lnTo>
                      <a:lnTo>
                        <a:pt x="38" y="60"/>
                      </a:lnTo>
                      <a:lnTo>
                        <a:pt x="40" y="60"/>
                      </a:lnTo>
                      <a:lnTo>
                        <a:pt x="40" y="62"/>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Freeform 41">
                  <a:extLst>
                    <a:ext uri="{FF2B5EF4-FFF2-40B4-BE49-F238E27FC236}">
                      <a16:creationId xmlns:a16="http://schemas.microsoft.com/office/drawing/2014/main" id="{6B12E6C2-5077-483B-0588-F3B2026943FE}"/>
                    </a:ext>
                  </a:extLst>
                </p:cNvPr>
                <p:cNvSpPr>
                  <a:spLocks/>
                </p:cNvSpPr>
                <p:nvPr/>
              </p:nvSpPr>
              <p:spPr bwMode="auto">
                <a:xfrm>
                  <a:off x="3317" y="2173"/>
                  <a:ext cx="149" cy="114"/>
                </a:xfrm>
                <a:custGeom>
                  <a:avLst/>
                  <a:gdLst>
                    <a:gd name="T0" fmla="*/ 137 w 149"/>
                    <a:gd name="T1" fmla="*/ 10 h 114"/>
                    <a:gd name="T2" fmla="*/ 144 w 149"/>
                    <a:gd name="T3" fmla="*/ 10 h 114"/>
                    <a:gd name="T4" fmla="*/ 146 w 149"/>
                    <a:gd name="T5" fmla="*/ 14 h 114"/>
                    <a:gd name="T6" fmla="*/ 139 w 149"/>
                    <a:gd name="T7" fmla="*/ 21 h 114"/>
                    <a:gd name="T8" fmla="*/ 123 w 149"/>
                    <a:gd name="T9" fmla="*/ 24 h 114"/>
                    <a:gd name="T10" fmla="*/ 115 w 149"/>
                    <a:gd name="T11" fmla="*/ 28 h 114"/>
                    <a:gd name="T12" fmla="*/ 118 w 149"/>
                    <a:gd name="T13" fmla="*/ 40 h 114"/>
                    <a:gd name="T14" fmla="*/ 115 w 149"/>
                    <a:gd name="T15" fmla="*/ 52 h 114"/>
                    <a:gd name="T16" fmla="*/ 104 w 149"/>
                    <a:gd name="T17" fmla="*/ 55 h 114"/>
                    <a:gd name="T18" fmla="*/ 106 w 149"/>
                    <a:gd name="T19" fmla="*/ 59 h 114"/>
                    <a:gd name="T20" fmla="*/ 104 w 149"/>
                    <a:gd name="T21" fmla="*/ 66 h 114"/>
                    <a:gd name="T22" fmla="*/ 99 w 149"/>
                    <a:gd name="T23" fmla="*/ 71 h 114"/>
                    <a:gd name="T24" fmla="*/ 97 w 149"/>
                    <a:gd name="T25" fmla="*/ 76 h 114"/>
                    <a:gd name="T26" fmla="*/ 94 w 149"/>
                    <a:gd name="T27" fmla="*/ 81 h 114"/>
                    <a:gd name="T28" fmla="*/ 89 w 149"/>
                    <a:gd name="T29" fmla="*/ 83 h 114"/>
                    <a:gd name="T30" fmla="*/ 85 w 149"/>
                    <a:gd name="T31" fmla="*/ 83 h 114"/>
                    <a:gd name="T32" fmla="*/ 82 w 149"/>
                    <a:gd name="T33" fmla="*/ 88 h 114"/>
                    <a:gd name="T34" fmla="*/ 73 w 149"/>
                    <a:gd name="T35" fmla="*/ 90 h 114"/>
                    <a:gd name="T36" fmla="*/ 70 w 149"/>
                    <a:gd name="T37" fmla="*/ 95 h 114"/>
                    <a:gd name="T38" fmla="*/ 68 w 149"/>
                    <a:gd name="T39" fmla="*/ 102 h 114"/>
                    <a:gd name="T40" fmla="*/ 70 w 149"/>
                    <a:gd name="T41" fmla="*/ 107 h 114"/>
                    <a:gd name="T42" fmla="*/ 56 w 149"/>
                    <a:gd name="T43" fmla="*/ 109 h 114"/>
                    <a:gd name="T44" fmla="*/ 47 w 149"/>
                    <a:gd name="T45" fmla="*/ 111 h 114"/>
                    <a:gd name="T46" fmla="*/ 26 w 149"/>
                    <a:gd name="T47" fmla="*/ 114 h 114"/>
                    <a:gd name="T48" fmla="*/ 18 w 149"/>
                    <a:gd name="T49" fmla="*/ 97 h 114"/>
                    <a:gd name="T50" fmla="*/ 16 w 149"/>
                    <a:gd name="T51" fmla="*/ 88 h 114"/>
                    <a:gd name="T52" fmla="*/ 4 w 149"/>
                    <a:gd name="T53" fmla="*/ 81 h 114"/>
                    <a:gd name="T54" fmla="*/ 2 w 149"/>
                    <a:gd name="T55" fmla="*/ 69 h 114"/>
                    <a:gd name="T56" fmla="*/ 4 w 149"/>
                    <a:gd name="T57" fmla="*/ 64 h 114"/>
                    <a:gd name="T58" fmla="*/ 0 w 149"/>
                    <a:gd name="T59" fmla="*/ 57 h 114"/>
                    <a:gd name="T60" fmla="*/ 0 w 149"/>
                    <a:gd name="T61" fmla="*/ 52 h 114"/>
                    <a:gd name="T62" fmla="*/ 4 w 149"/>
                    <a:gd name="T63" fmla="*/ 47 h 114"/>
                    <a:gd name="T64" fmla="*/ 4 w 149"/>
                    <a:gd name="T65" fmla="*/ 45 h 114"/>
                    <a:gd name="T66" fmla="*/ 4 w 149"/>
                    <a:gd name="T67" fmla="*/ 38 h 114"/>
                    <a:gd name="T68" fmla="*/ 7 w 149"/>
                    <a:gd name="T69" fmla="*/ 38 h 114"/>
                    <a:gd name="T70" fmla="*/ 11 w 149"/>
                    <a:gd name="T71" fmla="*/ 38 h 114"/>
                    <a:gd name="T72" fmla="*/ 18 w 149"/>
                    <a:gd name="T73" fmla="*/ 43 h 114"/>
                    <a:gd name="T74" fmla="*/ 23 w 149"/>
                    <a:gd name="T75" fmla="*/ 40 h 114"/>
                    <a:gd name="T76" fmla="*/ 26 w 149"/>
                    <a:gd name="T77" fmla="*/ 38 h 114"/>
                    <a:gd name="T78" fmla="*/ 33 w 149"/>
                    <a:gd name="T79" fmla="*/ 33 h 114"/>
                    <a:gd name="T80" fmla="*/ 37 w 149"/>
                    <a:gd name="T81" fmla="*/ 31 h 114"/>
                    <a:gd name="T82" fmla="*/ 42 w 149"/>
                    <a:gd name="T83" fmla="*/ 24 h 114"/>
                    <a:gd name="T84" fmla="*/ 40 w 149"/>
                    <a:gd name="T85" fmla="*/ 19 h 114"/>
                    <a:gd name="T86" fmla="*/ 44 w 149"/>
                    <a:gd name="T87" fmla="*/ 17 h 114"/>
                    <a:gd name="T88" fmla="*/ 52 w 149"/>
                    <a:gd name="T89" fmla="*/ 14 h 114"/>
                    <a:gd name="T90" fmla="*/ 59 w 149"/>
                    <a:gd name="T91" fmla="*/ 14 h 114"/>
                    <a:gd name="T92" fmla="*/ 66 w 149"/>
                    <a:gd name="T93" fmla="*/ 17 h 114"/>
                    <a:gd name="T94" fmla="*/ 70 w 149"/>
                    <a:gd name="T95" fmla="*/ 17 h 114"/>
                    <a:gd name="T96" fmla="*/ 80 w 149"/>
                    <a:gd name="T97" fmla="*/ 19 h 114"/>
                    <a:gd name="T98" fmla="*/ 85 w 149"/>
                    <a:gd name="T99" fmla="*/ 17 h 114"/>
                    <a:gd name="T100" fmla="*/ 87 w 149"/>
                    <a:gd name="T101" fmla="*/ 17 h 114"/>
                    <a:gd name="T102" fmla="*/ 89 w 149"/>
                    <a:gd name="T103" fmla="*/ 14 h 114"/>
                    <a:gd name="T104" fmla="*/ 94 w 149"/>
                    <a:gd name="T105" fmla="*/ 12 h 114"/>
                    <a:gd name="T106" fmla="*/ 97 w 149"/>
                    <a:gd name="T107" fmla="*/ 12 h 114"/>
                    <a:gd name="T108" fmla="*/ 99 w 149"/>
                    <a:gd name="T109" fmla="*/ 5 h 114"/>
                    <a:gd name="T110" fmla="*/ 104 w 149"/>
                    <a:gd name="T111" fmla="*/ 0 h 114"/>
                    <a:gd name="T112" fmla="*/ 108 w 149"/>
                    <a:gd name="T113" fmla="*/ 2 h 114"/>
                    <a:gd name="T114" fmla="*/ 108 w 149"/>
                    <a:gd name="T115" fmla="*/ 7 h 114"/>
                    <a:gd name="T116" fmla="*/ 111 w 149"/>
                    <a:gd name="T117" fmla="*/ 12 h 114"/>
                    <a:gd name="T118" fmla="*/ 113 w 149"/>
                    <a:gd name="T119" fmla="*/ 21 h 114"/>
                    <a:gd name="T120" fmla="*/ 118 w 149"/>
                    <a:gd name="T121" fmla="*/ 24 h 114"/>
                    <a:gd name="T122" fmla="*/ 125 w 149"/>
                    <a:gd name="T123" fmla="*/ 19 h 114"/>
                    <a:gd name="T124" fmla="*/ 130 w 149"/>
                    <a:gd name="T125" fmla="*/ 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9" h="114">
                      <a:moveTo>
                        <a:pt x="130" y="14"/>
                      </a:moveTo>
                      <a:lnTo>
                        <a:pt x="134" y="12"/>
                      </a:lnTo>
                      <a:lnTo>
                        <a:pt x="137" y="10"/>
                      </a:lnTo>
                      <a:lnTo>
                        <a:pt x="139" y="12"/>
                      </a:lnTo>
                      <a:lnTo>
                        <a:pt x="141" y="12"/>
                      </a:lnTo>
                      <a:lnTo>
                        <a:pt x="144" y="10"/>
                      </a:lnTo>
                      <a:lnTo>
                        <a:pt x="149" y="10"/>
                      </a:lnTo>
                      <a:lnTo>
                        <a:pt x="149" y="12"/>
                      </a:lnTo>
                      <a:lnTo>
                        <a:pt x="146" y="14"/>
                      </a:lnTo>
                      <a:lnTo>
                        <a:pt x="149" y="14"/>
                      </a:lnTo>
                      <a:lnTo>
                        <a:pt x="146" y="19"/>
                      </a:lnTo>
                      <a:lnTo>
                        <a:pt x="139" y="21"/>
                      </a:lnTo>
                      <a:lnTo>
                        <a:pt x="130" y="24"/>
                      </a:lnTo>
                      <a:lnTo>
                        <a:pt x="127" y="21"/>
                      </a:lnTo>
                      <a:lnTo>
                        <a:pt x="123" y="24"/>
                      </a:lnTo>
                      <a:lnTo>
                        <a:pt x="120" y="26"/>
                      </a:lnTo>
                      <a:lnTo>
                        <a:pt x="115" y="26"/>
                      </a:lnTo>
                      <a:lnTo>
                        <a:pt x="115" y="28"/>
                      </a:lnTo>
                      <a:lnTo>
                        <a:pt x="113" y="31"/>
                      </a:lnTo>
                      <a:lnTo>
                        <a:pt x="118" y="36"/>
                      </a:lnTo>
                      <a:lnTo>
                        <a:pt x="118" y="40"/>
                      </a:lnTo>
                      <a:lnTo>
                        <a:pt x="113" y="47"/>
                      </a:lnTo>
                      <a:lnTo>
                        <a:pt x="115" y="50"/>
                      </a:lnTo>
                      <a:lnTo>
                        <a:pt x="115" y="52"/>
                      </a:lnTo>
                      <a:lnTo>
                        <a:pt x="113" y="57"/>
                      </a:lnTo>
                      <a:lnTo>
                        <a:pt x="108" y="57"/>
                      </a:lnTo>
                      <a:lnTo>
                        <a:pt x="104" y="55"/>
                      </a:lnTo>
                      <a:lnTo>
                        <a:pt x="101" y="57"/>
                      </a:lnTo>
                      <a:lnTo>
                        <a:pt x="104" y="59"/>
                      </a:lnTo>
                      <a:lnTo>
                        <a:pt x="106" y="59"/>
                      </a:lnTo>
                      <a:lnTo>
                        <a:pt x="106" y="64"/>
                      </a:lnTo>
                      <a:lnTo>
                        <a:pt x="106" y="64"/>
                      </a:lnTo>
                      <a:lnTo>
                        <a:pt x="104" y="66"/>
                      </a:lnTo>
                      <a:lnTo>
                        <a:pt x="101" y="66"/>
                      </a:lnTo>
                      <a:lnTo>
                        <a:pt x="99" y="69"/>
                      </a:lnTo>
                      <a:lnTo>
                        <a:pt x="99" y="71"/>
                      </a:lnTo>
                      <a:lnTo>
                        <a:pt x="99" y="74"/>
                      </a:lnTo>
                      <a:lnTo>
                        <a:pt x="99" y="76"/>
                      </a:lnTo>
                      <a:lnTo>
                        <a:pt x="97" y="76"/>
                      </a:lnTo>
                      <a:lnTo>
                        <a:pt x="99" y="81"/>
                      </a:lnTo>
                      <a:lnTo>
                        <a:pt x="97" y="83"/>
                      </a:lnTo>
                      <a:lnTo>
                        <a:pt x="94" y="81"/>
                      </a:lnTo>
                      <a:lnTo>
                        <a:pt x="92" y="81"/>
                      </a:lnTo>
                      <a:lnTo>
                        <a:pt x="92" y="83"/>
                      </a:lnTo>
                      <a:lnTo>
                        <a:pt x="89" y="83"/>
                      </a:lnTo>
                      <a:lnTo>
                        <a:pt x="89" y="83"/>
                      </a:lnTo>
                      <a:lnTo>
                        <a:pt x="85" y="83"/>
                      </a:lnTo>
                      <a:lnTo>
                        <a:pt x="85" y="83"/>
                      </a:lnTo>
                      <a:lnTo>
                        <a:pt x="80" y="85"/>
                      </a:lnTo>
                      <a:lnTo>
                        <a:pt x="82" y="88"/>
                      </a:lnTo>
                      <a:lnTo>
                        <a:pt x="82" y="88"/>
                      </a:lnTo>
                      <a:lnTo>
                        <a:pt x="78" y="90"/>
                      </a:lnTo>
                      <a:lnTo>
                        <a:pt x="75" y="90"/>
                      </a:lnTo>
                      <a:lnTo>
                        <a:pt x="73" y="90"/>
                      </a:lnTo>
                      <a:lnTo>
                        <a:pt x="73" y="92"/>
                      </a:lnTo>
                      <a:lnTo>
                        <a:pt x="73" y="92"/>
                      </a:lnTo>
                      <a:lnTo>
                        <a:pt x="70" y="95"/>
                      </a:lnTo>
                      <a:lnTo>
                        <a:pt x="68" y="95"/>
                      </a:lnTo>
                      <a:lnTo>
                        <a:pt x="68" y="97"/>
                      </a:lnTo>
                      <a:lnTo>
                        <a:pt x="68" y="102"/>
                      </a:lnTo>
                      <a:lnTo>
                        <a:pt x="68" y="104"/>
                      </a:lnTo>
                      <a:lnTo>
                        <a:pt x="70" y="107"/>
                      </a:lnTo>
                      <a:lnTo>
                        <a:pt x="70" y="107"/>
                      </a:lnTo>
                      <a:lnTo>
                        <a:pt x="66" y="109"/>
                      </a:lnTo>
                      <a:lnTo>
                        <a:pt x="61" y="109"/>
                      </a:lnTo>
                      <a:lnTo>
                        <a:pt x="56" y="109"/>
                      </a:lnTo>
                      <a:lnTo>
                        <a:pt x="52" y="109"/>
                      </a:lnTo>
                      <a:lnTo>
                        <a:pt x="47" y="111"/>
                      </a:lnTo>
                      <a:lnTo>
                        <a:pt x="47" y="111"/>
                      </a:lnTo>
                      <a:lnTo>
                        <a:pt x="42" y="111"/>
                      </a:lnTo>
                      <a:lnTo>
                        <a:pt x="40" y="114"/>
                      </a:lnTo>
                      <a:lnTo>
                        <a:pt x="26" y="114"/>
                      </a:lnTo>
                      <a:lnTo>
                        <a:pt x="9" y="109"/>
                      </a:lnTo>
                      <a:lnTo>
                        <a:pt x="18" y="100"/>
                      </a:lnTo>
                      <a:lnTo>
                        <a:pt x="18" y="97"/>
                      </a:lnTo>
                      <a:lnTo>
                        <a:pt x="18" y="92"/>
                      </a:lnTo>
                      <a:lnTo>
                        <a:pt x="18" y="90"/>
                      </a:lnTo>
                      <a:lnTo>
                        <a:pt x="16" y="88"/>
                      </a:lnTo>
                      <a:lnTo>
                        <a:pt x="7" y="88"/>
                      </a:lnTo>
                      <a:lnTo>
                        <a:pt x="7" y="83"/>
                      </a:lnTo>
                      <a:lnTo>
                        <a:pt x="4" y="81"/>
                      </a:lnTo>
                      <a:lnTo>
                        <a:pt x="7" y="81"/>
                      </a:lnTo>
                      <a:lnTo>
                        <a:pt x="4" y="76"/>
                      </a:lnTo>
                      <a:lnTo>
                        <a:pt x="2" y="69"/>
                      </a:lnTo>
                      <a:lnTo>
                        <a:pt x="2" y="66"/>
                      </a:lnTo>
                      <a:lnTo>
                        <a:pt x="7" y="64"/>
                      </a:lnTo>
                      <a:lnTo>
                        <a:pt x="4" y="64"/>
                      </a:lnTo>
                      <a:lnTo>
                        <a:pt x="2" y="62"/>
                      </a:lnTo>
                      <a:lnTo>
                        <a:pt x="2" y="59"/>
                      </a:lnTo>
                      <a:lnTo>
                        <a:pt x="0" y="57"/>
                      </a:lnTo>
                      <a:lnTo>
                        <a:pt x="0" y="57"/>
                      </a:lnTo>
                      <a:lnTo>
                        <a:pt x="2" y="55"/>
                      </a:lnTo>
                      <a:lnTo>
                        <a:pt x="0" y="52"/>
                      </a:lnTo>
                      <a:lnTo>
                        <a:pt x="0" y="50"/>
                      </a:lnTo>
                      <a:lnTo>
                        <a:pt x="2" y="50"/>
                      </a:lnTo>
                      <a:lnTo>
                        <a:pt x="4" y="47"/>
                      </a:lnTo>
                      <a:lnTo>
                        <a:pt x="4" y="47"/>
                      </a:lnTo>
                      <a:lnTo>
                        <a:pt x="4" y="47"/>
                      </a:lnTo>
                      <a:lnTo>
                        <a:pt x="4" y="45"/>
                      </a:lnTo>
                      <a:lnTo>
                        <a:pt x="4" y="43"/>
                      </a:lnTo>
                      <a:lnTo>
                        <a:pt x="4" y="43"/>
                      </a:lnTo>
                      <a:lnTo>
                        <a:pt x="4" y="38"/>
                      </a:lnTo>
                      <a:lnTo>
                        <a:pt x="4" y="38"/>
                      </a:lnTo>
                      <a:lnTo>
                        <a:pt x="4" y="38"/>
                      </a:lnTo>
                      <a:lnTo>
                        <a:pt x="7" y="38"/>
                      </a:lnTo>
                      <a:lnTo>
                        <a:pt x="9" y="40"/>
                      </a:lnTo>
                      <a:lnTo>
                        <a:pt x="11" y="40"/>
                      </a:lnTo>
                      <a:lnTo>
                        <a:pt x="11" y="38"/>
                      </a:lnTo>
                      <a:lnTo>
                        <a:pt x="14" y="38"/>
                      </a:lnTo>
                      <a:lnTo>
                        <a:pt x="16" y="40"/>
                      </a:lnTo>
                      <a:lnTo>
                        <a:pt x="18" y="43"/>
                      </a:lnTo>
                      <a:lnTo>
                        <a:pt x="18" y="43"/>
                      </a:lnTo>
                      <a:lnTo>
                        <a:pt x="21" y="43"/>
                      </a:lnTo>
                      <a:lnTo>
                        <a:pt x="23" y="40"/>
                      </a:lnTo>
                      <a:lnTo>
                        <a:pt x="26" y="40"/>
                      </a:lnTo>
                      <a:lnTo>
                        <a:pt x="26" y="38"/>
                      </a:lnTo>
                      <a:lnTo>
                        <a:pt x="26" y="38"/>
                      </a:lnTo>
                      <a:lnTo>
                        <a:pt x="26" y="36"/>
                      </a:lnTo>
                      <a:lnTo>
                        <a:pt x="30" y="33"/>
                      </a:lnTo>
                      <a:lnTo>
                        <a:pt x="33" y="33"/>
                      </a:lnTo>
                      <a:lnTo>
                        <a:pt x="35" y="33"/>
                      </a:lnTo>
                      <a:lnTo>
                        <a:pt x="35" y="31"/>
                      </a:lnTo>
                      <a:lnTo>
                        <a:pt x="37" y="31"/>
                      </a:lnTo>
                      <a:lnTo>
                        <a:pt x="37" y="28"/>
                      </a:lnTo>
                      <a:lnTo>
                        <a:pt x="37" y="26"/>
                      </a:lnTo>
                      <a:lnTo>
                        <a:pt x="42" y="24"/>
                      </a:lnTo>
                      <a:lnTo>
                        <a:pt x="42" y="21"/>
                      </a:lnTo>
                      <a:lnTo>
                        <a:pt x="40" y="19"/>
                      </a:lnTo>
                      <a:lnTo>
                        <a:pt x="40" y="19"/>
                      </a:lnTo>
                      <a:lnTo>
                        <a:pt x="42" y="19"/>
                      </a:lnTo>
                      <a:lnTo>
                        <a:pt x="42" y="17"/>
                      </a:lnTo>
                      <a:lnTo>
                        <a:pt x="44" y="17"/>
                      </a:lnTo>
                      <a:lnTo>
                        <a:pt x="47" y="17"/>
                      </a:lnTo>
                      <a:lnTo>
                        <a:pt x="49" y="14"/>
                      </a:lnTo>
                      <a:lnTo>
                        <a:pt x="52" y="14"/>
                      </a:lnTo>
                      <a:lnTo>
                        <a:pt x="54" y="14"/>
                      </a:lnTo>
                      <a:lnTo>
                        <a:pt x="56" y="14"/>
                      </a:lnTo>
                      <a:lnTo>
                        <a:pt x="59" y="14"/>
                      </a:lnTo>
                      <a:lnTo>
                        <a:pt x="61" y="14"/>
                      </a:lnTo>
                      <a:lnTo>
                        <a:pt x="63" y="14"/>
                      </a:lnTo>
                      <a:lnTo>
                        <a:pt x="66" y="17"/>
                      </a:lnTo>
                      <a:lnTo>
                        <a:pt x="68" y="17"/>
                      </a:lnTo>
                      <a:lnTo>
                        <a:pt x="68" y="17"/>
                      </a:lnTo>
                      <a:lnTo>
                        <a:pt x="70" y="17"/>
                      </a:lnTo>
                      <a:lnTo>
                        <a:pt x="73" y="19"/>
                      </a:lnTo>
                      <a:lnTo>
                        <a:pt x="75" y="19"/>
                      </a:lnTo>
                      <a:lnTo>
                        <a:pt x="80" y="19"/>
                      </a:lnTo>
                      <a:lnTo>
                        <a:pt x="82" y="17"/>
                      </a:lnTo>
                      <a:lnTo>
                        <a:pt x="82" y="17"/>
                      </a:lnTo>
                      <a:lnTo>
                        <a:pt x="85" y="17"/>
                      </a:lnTo>
                      <a:lnTo>
                        <a:pt x="85" y="14"/>
                      </a:lnTo>
                      <a:lnTo>
                        <a:pt x="87" y="14"/>
                      </a:lnTo>
                      <a:lnTo>
                        <a:pt x="87" y="17"/>
                      </a:lnTo>
                      <a:lnTo>
                        <a:pt x="92" y="17"/>
                      </a:lnTo>
                      <a:lnTo>
                        <a:pt x="92" y="14"/>
                      </a:lnTo>
                      <a:lnTo>
                        <a:pt x="89" y="14"/>
                      </a:lnTo>
                      <a:lnTo>
                        <a:pt x="89" y="12"/>
                      </a:lnTo>
                      <a:lnTo>
                        <a:pt x="92" y="12"/>
                      </a:lnTo>
                      <a:lnTo>
                        <a:pt x="94" y="12"/>
                      </a:lnTo>
                      <a:lnTo>
                        <a:pt x="94" y="12"/>
                      </a:lnTo>
                      <a:lnTo>
                        <a:pt x="94" y="12"/>
                      </a:lnTo>
                      <a:lnTo>
                        <a:pt x="97" y="12"/>
                      </a:lnTo>
                      <a:lnTo>
                        <a:pt x="99" y="10"/>
                      </a:lnTo>
                      <a:lnTo>
                        <a:pt x="99" y="7"/>
                      </a:lnTo>
                      <a:lnTo>
                        <a:pt x="99" y="5"/>
                      </a:lnTo>
                      <a:lnTo>
                        <a:pt x="101" y="5"/>
                      </a:lnTo>
                      <a:lnTo>
                        <a:pt x="101" y="2"/>
                      </a:lnTo>
                      <a:lnTo>
                        <a:pt x="104" y="0"/>
                      </a:lnTo>
                      <a:lnTo>
                        <a:pt x="106" y="0"/>
                      </a:lnTo>
                      <a:lnTo>
                        <a:pt x="106" y="0"/>
                      </a:lnTo>
                      <a:lnTo>
                        <a:pt x="108" y="2"/>
                      </a:lnTo>
                      <a:lnTo>
                        <a:pt x="108" y="5"/>
                      </a:lnTo>
                      <a:lnTo>
                        <a:pt x="108" y="7"/>
                      </a:lnTo>
                      <a:lnTo>
                        <a:pt x="108" y="7"/>
                      </a:lnTo>
                      <a:lnTo>
                        <a:pt x="111" y="7"/>
                      </a:lnTo>
                      <a:lnTo>
                        <a:pt x="113" y="10"/>
                      </a:lnTo>
                      <a:lnTo>
                        <a:pt x="111" y="12"/>
                      </a:lnTo>
                      <a:lnTo>
                        <a:pt x="113" y="14"/>
                      </a:lnTo>
                      <a:lnTo>
                        <a:pt x="113" y="19"/>
                      </a:lnTo>
                      <a:lnTo>
                        <a:pt x="113" y="21"/>
                      </a:lnTo>
                      <a:lnTo>
                        <a:pt x="113" y="21"/>
                      </a:lnTo>
                      <a:lnTo>
                        <a:pt x="115" y="24"/>
                      </a:lnTo>
                      <a:lnTo>
                        <a:pt x="118" y="24"/>
                      </a:lnTo>
                      <a:lnTo>
                        <a:pt x="120" y="21"/>
                      </a:lnTo>
                      <a:lnTo>
                        <a:pt x="120" y="21"/>
                      </a:lnTo>
                      <a:lnTo>
                        <a:pt x="125" y="19"/>
                      </a:lnTo>
                      <a:lnTo>
                        <a:pt x="127" y="17"/>
                      </a:lnTo>
                      <a:lnTo>
                        <a:pt x="127" y="14"/>
                      </a:lnTo>
                      <a:lnTo>
                        <a:pt x="130" y="14"/>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Freeform 42">
                  <a:extLst>
                    <a:ext uri="{FF2B5EF4-FFF2-40B4-BE49-F238E27FC236}">
                      <a16:creationId xmlns:a16="http://schemas.microsoft.com/office/drawing/2014/main" id="{C5C237B9-7FF7-DF23-BFA8-9D29D6BEC71B}"/>
                    </a:ext>
                  </a:extLst>
                </p:cNvPr>
                <p:cNvSpPr>
                  <a:spLocks noEditPoints="1"/>
                </p:cNvSpPr>
                <p:nvPr/>
              </p:nvSpPr>
              <p:spPr bwMode="auto">
                <a:xfrm>
                  <a:off x="2730" y="1929"/>
                  <a:ext cx="71" cy="52"/>
                </a:xfrm>
                <a:custGeom>
                  <a:avLst/>
                  <a:gdLst>
                    <a:gd name="T0" fmla="*/ 23 w 30"/>
                    <a:gd name="T1" fmla="*/ 21 h 22"/>
                    <a:gd name="T2" fmla="*/ 24 w 30"/>
                    <a:gd name="T3" fmla="*/ 19 h 22"/>
                    <a:gd name="T4" fmla="*/ 22 w 30"/>
                    <a:gd name="T5" fmla="*/ 19 h 22"/>
                    <a:gd name="T6" fmla="*/ 22 w 30"/>
                    <a:gd name="T7" fmla="*/ 20 h 22"/>
                    <a:gd name="T8" fmla="*/ 28 w 30"/>
                    <a:gd name="T9" fmla="*/ 17 h 22"/>
                    <a:gd name="T10" fmla="*/ 28 w 30"/>
                    <a:gd name="T11" fmla="*/ 15 h 22"/>
                    <a:gd name="T12" fmla="*/ 19 w 30"/>
                    <a:gd name="T13" fmla="*/ 13 h 22"/>
                    <a:gd name="T14" fmla="*/ 16 w 30"/>
                    <a:gd name="T15" fmla="*/ 17 h 22"/>
                    <a:gd name="T16" fmla="*/ 14 w 30"/>
                    <a:gd name="T17" fmla="*/ 15 h 22"/>
                    <a:gd name="T18" fmla="*/ 14 w 30"/>
                    <a:gd name="T19" fmla="*/ 13 h 22"/>
                    <a:gd name="T20" fmla="*/ 15 w 30"/>
                    <a:gd name="T21" fmla="*/ 13 h 22"/>
                    <a:gd name="T22" fmla="*/ 17 w 30"/>
                    <a:gd name="T23" fmla="*/ 13 h 22"/>
                    <a:gd name="T24" fmla="*/ 17 w 30"/>
                    <a:gd name="T25" fmla="*/ 11 h 22"/>
                    <a:gd name="T26" fmla="*/ 18 w 30"/>
                    <a:gd name="T27" fmla="*/ 14 h 22"/>
                    <a:gd name="T28" fmla="*/ 18 w 30"/>
                    <a:gd name="T29" fmla="*/ 16 h 22"/>
                    <a:gd name="T30" fmla="*/ 17 w 30"/>
                    <a:gd name="T31" fmla="*/ 17 h 22"/>
                    <a:gd name="T32" fmla="*/ 18 w 30"/>
                    <a:gd name="T33" fmla="*/ 17 h 22"/>
                    <a:gd name="T34" fmla="*/ 14 w 30"/>
                    <a:gd name="T35" fmla="*/ 18 h 22"/>
                    <a:gd name="T36" fmla="*/ 16 w 30"/>
                    <a:gd name="T37" fmla="*/ 18 h 22"/>
                    <a:gd name="T38" fmla="*/ 17 w 30"/>
                    <a:gd name="T39" fmla="*/ 19 h 22"/>
                    <a:gd name="T40" fmla="*/ 16 w 30"/>
                    <a:gd name="T41" fmla="*/ 20 h 22"/>
                    <a:gd name="T42" fmla="*/ 13 w 30"/>
                    <a:gd name="T43" fmla="*/ 19 h 22"/>
                    <a:gd name="T44" fmla="*/ 10 w 30"/>
                    <a:gd name="T45" fmla="*/ 13 h 22"/>
                    <a:gd name="T46" fmla="*/ 11 w 30"/>
                    <a:gd name="T47" fmla="*/ 13 h 22"/>
                    <a:gd name="T48" fmla="*/ 11 w 30"/>
                    <a:gd name="T49" fmla="*/ 18 h 22"/>
                    <a:gd name="T50" fmla="*/ 11 w 30"/>
                    <a:gd name="T51" fmla="*/ 18 h 22"/>
                    <a:gd name="T52" fmla="*/ 12 w 30"/>
                    <a:gd name="T53" fmla="*/ 16 h 22"/>
                    <a:gd name="T54" fmla="*/ 11 w 30"/>
                    <a:gd name="T55" fmla="*/ 14 h 22"/>
                    <a:gd name="T56" fmla="*/ 10 w 30"/>
                    <a:gd name="T57" fmla="*/ 17 h 22"/>
                    <a:gd name="T58" fmla="*/ 7 w 30"/>
                    <a:gd name="T59" fmla="*/ 15 h 22"/>
                    <a:gd name="T60" fmla="*/ 13 w 30"/>
                    <a:gd name="T61" fmla="*/ 3 h 22"/>
                    <a:gd name="T62" fmla="*/ 3 w 30"/>
                    <a:gd name="T63" fmla="*/ 7 h 22"/>
                    <a:gd name="T64" fmla="*/ 3 w 30"/>
                    <a:gd name="T65" fmla="*/ 7 h 22"/>
                    <a:gd name="T66" fmla="*/ 3 w 30"/>
                    <a:gd name="T67" fmla="*/ 6 h 22"/>
                    <a:gd name="T68" fmla="*/ 6 w 30"/>
                    <a:gd name="T69" fmla="*/ 5 h 22"/>
                    <a:gd name="T70" fmla="*/ 9 w 30"/>
                    <a:gd name="T71" fmla="*/ 5 h 22"/>
                    <a:gd name="T72" fmla="*/ 10 w 30"/>
                    <a:gd name="T73" fmla="*/ 2 h 22"/>
                    <a:gd name="T74" fmla="*/ 8 w 30"/>
                    <a:gd name="T75" fmla="*/ 2 h 22"/>
                    <a:gd name="T76" fmla="*/ 5 w 30"/>
                    <a:gd name="T77" fmla="*/ 4 h 22"/>
                    <a:gd name="T78" fmla="*/ 2 w 30"/>
                    <a:gd name="T79" fmla="*/ 5 h 22"/>
                    <a:gd name="T80" fmla="*/ 2 w 30"/>
                    <a:gd name="T81" fmla="*/ 7 h 22"/>
                    <a:gd name="T82" fmla="*/ 7 w 30"/>
                    <a:gd name="T83" fmla="*/ 18 h 22"/>
                    <a:gd name="T84" fmla="*/ 6 w 30"/>
                    <a:gd name="T85" fmla="*/ 16 h 22"/>
                    <a:gd name="T86" fmla="*/ 8 w 30"/>
                    <a:gd name="T87" fmla="*/ 14 h 22"/>
                    <a:gd name="T88" fmla="*/ 10 w 30"/>
                    <a:gd name="T89" fmla="*/ 13 h 22"/>
                    <a:gd name="T90" fmla="*/ 11 w 30"/>
                    <a:gd name="T91" fmla="*/ 10 h 22"/>
                    <a:gd name="T92" fmla="*/ 12 w 30"/>
                    <a:gd name="T93" fmla="*/ 10 h 22"/>
                    <a:gd name="T94" fmla="*/ 10 w 30"/>
                    <a:gd name="T95" fmla="*/ 9 h 22"/>
                    <a:gd name="T96" fmla="*/ 9 w 30"/>
                    <a:gd name="T97" fmla="*/ 7 h 22"/>
                    <a:gd name="T98" fmla="*/ 6 w 30"/>
                    <a:gd name="T99" fmla="*/ 6 h 22"/>
                    <a:gd name="T100" fmla="*/ 5 w 30"/>
                    <a:gd name="T101" fmla="*/ 8 h 22"/>
                    <a:gd name="T102" fmla="*/ 4 w 30"/>
                    <a:gd name="T103" fmla="*/ 9 h 22"/>
                    <a:gd name="T104" fmla="*/ 4 w 30"/>
                    <a:gd name="T105" fmla="*/ 7 h 22"/>
                    <a:gd name="T106" fmla="*/ 2 w 30"/>
                    <a:gd name="T107" fmla="*/ 8 h 22"/>
                    <a:gd name="T108" fmla="*/ 1 w 30"/>
                    <a:gd name="T109" fmla="*/ 9 h 22"/>
                    <a:gd name="T110" fmla="*/ 1 w 30"/>
                    <a:gd name="T111" fmla="*/ 11 h 22"/>
                    <a:gd name="T112" fmla="*/ 0 w 30"/>
                    <a:gd name="T113" fmla="*/ 13 h 22"/>
                    <a:gd name="T114" fmla="*/ 2 w 30"/>
                    <a:gd name="T115" fmla="*/ 15 h 22"/>
                    <a:gd name="T116" fmla="*/ 4 w 30"/>
                    <a:gd name="T117" fmla="*/ 18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0" h="22">
                      <a:moveTo>
                        <a:pt x="21" y="21"/>
                      </a:moveTo>
                      <a:cubicBezTo>
                        <a:pt x="22" y="21"/>
                        <a:pt x="22" y="21"/>
                        <a:pt x="22" y="21"/>
                      </a:cubicBezTo>
                      <a:cubicBezTo>
                        <a:pt x="23" y="22"/>
                        <a:pt x="23" y="22"/>
                        <a:pt x="23" y="22"/>
                      </a:cubicBezTo>
                      <a:cubicBezTo>
                        <a:pt x="23" y="21"/>
                        <a:pt x="23" y="21"/>
                        <a:pt x="23" y="21"/>
                      </a:cubicBezTo>
                      <a:cubicBezTo>
                        <a:pt x="24" y="21"/>
                        <a:pt x="24" y="21"/>
                        <a:pt x="24" y="21"/>
                      </a:cubicBezTo>
                      <a:cubicBezTo>
                        <a:pt x="24" y="21"/>
                        <a:pt x="24" y="21"/>
                        <a:pt x="24" y="21"/>
                      </a:cubicBezTo>
                      <a:cubicBezTo>
                        <a:pt x="24" y="20"/>
                        <a:pt x="24" y="20"/>
                        <a:pt x="24" y="20"/>
                      </a:cubicBezTo>
                      <a:cubicBezTo>
                        <a:pt x="24" y="19"/>
                        <a:pt x="24" y="19"/>
                        <a:pt x="24" y="19"/>
                      </a:cubicBezTo>
                      <a:cubicBezTo>
                        <a:pt x="23" y="19"/>
                        <a:pt x="23" y="19"/>
                        <a:pt x="23" y="19"/>
                      </a:cubicBezTo>
                      <a:cubicBezTo>
                        <a:pt x="23" y="19"/>
                        <a:pt x="23" y="19"/>
                        <a:pt x="23" y="19"/>
                      </a:cubicBezTo>
                      <a:cubicBezTo>
                        <a:pt x="22" y="19"/>
                        <a:pt x="22" y="19"/>
                        <a:pt x="22" y="19"/>
                      </a:cubicBezTo>
                      <a:cubicBezTo>
                        <a:pt x="22" y="19"/>
                        <a:pt x="22" y="19"/>
                        <a:pt x="22" y="19"/>
                      </a:cubicBezTo>
                      <a:cubicBezTo>
                        <a:pt x="22" y="20"/>
                        <a:pt x="22" y="20"/>
                        <a:pt x="22" y="20"/>
                      </a:cubicBezTo>
                      <a:cubicBezTo>
                        <a:pt x="23" y="20"/>
                        <a:pt x="23" y="20"/>
                        <a:pt x="23" y="20"/>
                      </a:cubicBezTo>
                      <a:cubicBezTo>
                        <a:pt x="22" y="20"/>
                        <a:pt x="22" y="20"/>
                        <a:pt x="22" y="20"/>
                      </a:cubicBezTo>
                      <a:cubicBezTo>
                        <a:pt x="22" y="20"/>
                        <a:pt x="22" y="20"/>
                        <a:pt x="22" y="20"/>
                      </a:cubicBezTo>
                      <a:cubicBezTo>
                        <a:pt x="21" y="21"/>
                        <a:pt x="21" y="21"/>
                        <a:pt x="21" y="21"/>
                      </a:cubicBezTo>
                      <a:close/>
                      <a:moveTo>
                        <a:pt x="28" y="15"/>
                      </a:moveTo>
                      <a:cubicBezTo>
                        <a:pt x="28" y="16"/>
                        <a:pt x="28" y="16"/>
                        <a:pt x="28" y="16"/>
                      </a:cubicBezTo>
                      <a:cubicBezTo>
                        <a:pt x="28" y="17"/>
                        <a:pt x="28" y="17"/>
                        <a:pt x="28" y="17"/>
                      </a:cubicBezTo>
                      <a:cubicBezTo>
                        <a:pt x="30" y="17"/>
                        <a:pt x="30" y="17"/>
                        <a:pt x="30" y="17"/>
                      </a:cubicBezTo>
                      <a:cubicBezTo>
                        <a:pt x="30" y="17"/>
                        <a:pt x="30" y="17"/>
                        <a:pt x="30" y="17"/>
                      </a:cubicBezTo>
                      <a:cubicBezTo>
                        <a:pt x="29" y="16"/>
                        <a:pt x="29" y="16"/>
                        <a:pt x="29" y="16"/>
                      </a:cubicBezTo>
                      <a:cubicBezTo>
                        <a:pt x="28" y="15"/>
                        <a:pt x="28" y="15"/>
                        <a:pt x="28" y="15"/>
                      </a:cubicBezTo>
                      <a:close/>
                      <a:moveTo>
                        <a:pt x="19" y="13"/>
                      </a:moveTo>
                      <a:cubicBezTo>
                        <a:pt x="19" y="14"/>
                        <a:pt x="19" y="14"/>
                        <a:pt x="19" y="14"/>
                      </a:cubicBezTo>
                      <a:cubicBezTo>
                        <a:pt x="19" y="14"/>
                        <a:pt x="19" y="14"/>
                        <a:pt x="19" y="14"/>
                      </a:cubicBezTo>
                      <a:cubicBezTo>
                        <a:pt x="19" y="13"/>
                        <a:pt x="19" y="13"/>
                        <a:pt x="19" y="13"/>
                      </a:cubicBezTo>
                      <a:close/>
                      <a:moveTo>
                        <a:pt x="17" y="17"/>
                      </a:moveTo>
                      <a:cubicBezTo>
                        <a:pt x="16" y="17"/>
                        <a:pt x="16" y="17"/>
                        <a:pt x="16" y="17"/>
                      </a:cubicBezTo>
                      <a:cubicBezTo>
                        <a:pt x="16" y="17"/>
                        <a:pt x="16" y="17"/>
                        <a:pt x="16" y="17"/>
                      </a:cubicBezTo>
                      <a:cubicBezTo>
                        <a:pt x="16" y="17"/>
                        <a:pt x="16" y="17"/>
                        <a:pt x="16" y="17"/>
                      </a:cubicBezTo>
                      <a:cubicBezTo>
                        <a:pt x="16" y="16"/>
                        <a:pt x="16" y="16"/>
                        <a:pt x="16" y="16"/>
                      </a:cubicBezTo>
                      <a:cubicBezTo>
                        <a:pt x="15" y="16"/>
                        <a:pt x="15" y="16"/>
                        <a:pt x="15" y="16"/>
                      </a:cubicBezTo>
                      <a:cubicBezTo>
                        <a:pt x="14" y="16"/>
                        <a:pt x="14" y="16"/>
                        <a:pt x="14" y="16"/>
                      </a:cubicBezTo>
                      <a:cubicBezTo>
                        <a:pt x="14" y="15"/>
                        <a:pt x="14" y="15"/>
                        <a:pt x="14" y="15"/>
                      </a:cubicBezTo>
                      <a:cubicBezTo>
                        <a:pt x="14" y="14"/>
                        <a:pt x="14" y="14"/>
                        <a:pt x="14" y="14"/>
                      </a:cubicBezTo>
                      <a:cubicBezTo>
                        <a:pt x="13" y="14"/>
                        <a:pt x="13" y="14"/>
                        <a:pt x="13" y="14"/>
                      </a:cubicBezTo>
                      <a:cubicBezTo>
                        <a:pt x="13" y="13"/>
                        <a:pt x="13" y="13"/>
                        <a:pt x="13" y="13"/>
                      </a:cubicBezTo>
                      <a:cubicBezTo>
                        <a:pt x="14" y="13"/>
                        <a:pt x="14" y="13"/>
                        <a:pt x="14" y="13"/>
                      </a:cubicBezTo>
                      <a:cubicBezTo>
                        <a:pt x="14" y="12"/>
                        <a:pt x="14" y="12"/>
                        <a:pt x="14" y="12"/>
                      </a:cubicBezTo>
                      <a:cubicBezTo>
                        <a:pt x="14" y="12"/>
                        <a:pt x="14" y="12"/>
                        <a:pt x="14" y="12"/>
                      </a:cubicBezTo>
                      <a:cubicBezTo>
                        <a:pt x="15" y="13"/>
                        <a:pt x="15" y="13"/>
                        <a:pt x="15" y="13"/>
                      </a:cubicBezTo>
                      <a:cubicBezTo>
                        <a:pt x="15" y="13"/>
                        <a:pt x="15" y="13"/>
                        <a:pt x="15" y="13"/>
                      </a:cubicBezTo>
                      <a:cubicBezTo>
                        <a:pt x="16" y="14"/>
                        <a:pt x="16" y="14"/>
                        <a:pt x="16" y="14"/>
                      </a:cubicBezTo>
                      <a:cubicBezTo>
                        <a:pt x="16" y="13"/>
                        <a:pt x="16" y="13"/>
                        <a:pt x="16" y="13"/>
                      </a:cubicBezTo>
                      <a:cubicBezTo>
                        <a:pt x="17" y="13"/>
                        <a:pt x="17" y="13"/>
                        <a:pt x="17" y="13"/>
                      </a:cubicBezTo>
                      <a:cubicBezTo>
                        <a:pt x="17" y="13"/>
                        <a:pt x="17" y="13"/>
                        <a:pt x="17" y="13"/>
                      </a:cubicBezTo>
                      <a:cubicBezTo>
                        <a:pt x="16" y="13"/>
                        <a:pt x="16" y="13"/>
                        <a:pt x="16" y="13"/>
                      </a:cubicBezTo>
                      <a:cubicBezTo>
                        <a:pt x="16" y="12"/>
                        <a:pt x="16" y="12"/>
                        <a:pt x="16" y="12"/>
                      </a:cubicBezTo>
                      <a:cubicBezTo>
                        <a:pt x="16" y="11"/>
                        <a:pt x="16" y="11"/>
                        <a:pt x="16" y="11"/>
                      </a:cubicBezTo>
                      <a:cubicBezTo>
                        <a:pt x="17" y="11"/>
                        <a:pt x="17" y="11"/>
                        <a:pt x="17" y="11"/>
                      </a:cubicBezTo>
                      <a:cubicBezTo>
                        <a:pt x="18" y="11"/>
                        <a:pt x="18" y="11"/>
                        <a:pt x="18" y="11"/>
                      </a:cubicBezTo>
                      <a:cubicBezTo>
                        <a:pt x="19" y="12"/>
                        <a:pt x="19" y="12"/>
                        <a:pt x="19" y="12"/>
                      </a:cubicBezTo>
                      <a:cubicBezTo>
                        <a:pt x="19" y="13"/>
                        <a:pt x="19" y="13"/>
                        <a:pt x="19" y="13"/>
                      </a:cubicBezTo>
                      <a:cubicBezTo>
                        <a:pt x="18" y="14"/>
                        <a:pt x="18" y="14"/>
                        <a:pt x="18" y="14"/>
                      </a:cubicBezTo>
                      <a:cubicBezTo>
                        <a:pt x="17" y="14"/>
                        <a:pt x="17" y="14"/>
                        <a:pt x="17" y="14"/>
                      </a:cubicBezTo>
                      <a:cubicBezTo>
                        <a:pt x="17" y="14"/>
                        <a:pt x="17" y="14"/>
                        <a:pt x="17" y="14"/>
                      </a:cubicBezTo>
                      <a:cubicBezTo>
                        <a:pt x="18" y="15"/>
                        <a:pt x="18" y="15"/>
                        <a:pt x="18" y="15"/>
                      </a:cubicBezTo>
                      <a:cubicBezTo>
                        <a:pt x="18" y="16"/>
                        <a:pt x="18" y="16"/>
                        <a:pt x="18" y="16"/>
                      </a:cubicBezTo>
                      <a:cubicBezTo>
                        <a:pt x="18" y="16"/>
                        <a:pt x="18" y="16"/>
                        <a:pt x="18" y="16"/>
                      </a:cubicBezTo>
                      <a:cubicBezTo>
                        <a:pt x="17" y="16"/>
                        <a:pt x="17" y="16"/>
                        <a:pt x="17" y="16"/>
                      </a:cubicBezTo>
                      <a:cubicBezTo>
                        <a:pt x="17" y="17"/>
                        <a:pt x="17" y="17"/>
                        <a:pt x="17" y="17"/>
                      </a:cubicBezTo>
                      <a:cubicBezTo>
                        <a:pt x="17" y="17"/>
                        <a:pt x="17" y="17"/>
                        <a:pt x="17" y="17"/>
                      </a:cubicBezTo>
                      <a:close/>
                      <a:moveTo>
                        <a:pt x="17" y="18"/>
                      </a:moveTo>
                      <a:cubicBezTo>
                        <a:pt x="17" y="18"/>
                        <a:pt x="17" y="18"/>
                        <a:pt x="17" y="18"/>
                      </a:cubicBezTo>
                      <a:cubicBezTo>
                        <a:pt x="18" y="17"/>
                        <a:pt x="18" y="17"/>
                        <a:pt x="18" y="17"/>
                      </a:cubicBezTo>
                      <a:cubicBezTo>
                        <a:pt x="18" y="17"/>
                        <a:pt x="18" y="17"/>
                        <a:pt x="18" y="17"/>
                      </a:cubicBezTo>
                      <a:cubicBezTo>
                        <a:pt x="18" y="17"/>
                        <a:pt x="18" y="17"/>
                        <a:pt x="18" y="17"/>
                      </a:cubicBezTo>
                      <a:cubicBezTo>
                        <a:pt x="18" y="17"/>
                        <a:pt x="18" y="17"/>
                        <a:pt x="18" y="17"/>
                      </a:cubicBezTo>
                      <a:cubicBezTo>
                        <a:pt x="17" y="18"/>
                        <a:pt x="17" y="18"/>
                        <a:pt x="17" y="18"/>
                      </a:cubicBezTo>
                      <a:close/>
                      <a:moveTo>
                        <a:pt x="14" y="18"/>
                      </a:moveTo>
                      <a:cubicBezTo>
                        <a:pt x="15" y="19"/>
                        <a:pt x="15" y="19"/>
                        <a:pt x="15" y="19"/>
                      </a:cubicBezTo>
                      <a:cubicBezTo>
                        <a:pt x="15" y="18"/>
                        <a:pt x="15" y="18"/>
                        <a:pt x="15" y="18"/>
                      </a:cubicBezTo>
                      <a:cubicBezTo>
                        <a:pt x="16" y="18"/>
                        <a:pt x="16" y="18"/>
                        <a:pt x="16" y="18"/>
                      </a:cubicBezTo>
                      <a:cubicBezTo>
                        <a:pt x="16" y="18"/>
                        <a:pt x="16" y="18"/>
                        <a:pt x="16" y="18"/>
                      </a:cubicBezTo>
                      <a:cubicBezTo>
                        <a:pt x="17" y="18"/>
                        <a:pt x="17" y="18"/>
                        <a:pt x="17" y="18"/>
                      </a:cubicBezTo>
                      <a:cubicBezTo>
                        <a:pt x="17" y="18"/>
                        <a:pt x="17" y="18"/>
                        <a:pt x="17" y="18"/>
                      </a:cubicBezTo>
                      <a:cubicBezTo>
                        <a:pt x="17" y="18"/>
                        <a:pt x="17" y="18"/>
                        <a:pt x="17" y="18"/>
                      </a:cubicBezTo>
                      <a:cubicBezTo>
                        <a:pt x="17" y="19"/>
                        <a:pt x="17" y="19"/>
                        <a:pt x="17" y="19"/>
                      </a:cubicBezTo>
                      <a:cubicBezTo>
                        <a:pt x="17" y="20"/>
                        <a:pt x="17" y="20"/>
                        <a:pt x="17" y="20"/>
                      </a:cubicBezTo>
                      <a:cubicBezTo>
                        <a:pt x="16" y="20"/>
                        <a:pt x="16" y="20"/>
                        <a:pt x="16" y="20"/>
                      </a:cubicBezTo>
                      <a:cubicBezTo>
                        <a:pt x="16" y="19"/>
                        <a:pt x="16" y="19"/>
                        <a:pt x="16" y="19"/>
                      </a:cubicBezTo>
                      <a:cubicBezTo>
                        <a:pt x="16" y="20"/>
                        <a:pt x="16" y="20"/>
                        <a:pt x="16" y="20"/>
                      </a:cubicBezTo>
                      <a:cubicBezTo>
                        <a:pt x="14" y="20"/>
                        <a:pt x="14" y="20"/>
                        <a:pt x="14" y="20"/>
                      </a:cubicBezTo>
                      <a:cubicBezTo>
                        <a:pt x="13" y="19"/>
                        <a:pt x="13" y="19"/>
                        <a:pt x="13" y="19"/>
                      </a:cubicBezTo>
                      <a:cubicBezTo>
                        <a:pt x="13" y="19"/>
                        <a:pt x="13" y="19"/>
                        <a:pt x="13" y="19"/>
                      </a:cubicBezTo>
                      <a:cubicBezTo>
                        <a:pt x="13" y="19"/>
                        <a:pt x="13" y="19"/>
                        <a:pt x="13" y="19"/>
                      </a:cubicBezTo>
                      <a:cubicBezTo>
                        <a:pt x="13" y="18"/>
                        <a:pt x="13" y="18"/>
                        <a:pt x="13" y="18"/>
                      </a:cubicBezTo>
                      <a:cubicBezTo>
                        <a:pt x="13" y="18"/>
                        <a:pt x="13" y="18"/>
                        <a:pt x="13" y="18"/>
                      </a:cubicBezTo>
                      <a:cubicBezTo>
                        <a:pt x="14" y="18"/>
                        <a:pt x="14" y="18"/>
                        <a:pt x="14" y="18"/>
                      </a:cubicBezTo>
                      <a:close/>
                      <a:moveTo>
                        <a:pt x="10" y="13"/>
                      </a:moveTo>
                      <a:cubicBezTo>
                        <a:pt x="11" y="13"/>
                        <a:pt x="11" y="13"/>
                        <a:pt x="11" y="13"/>
                      </a:cubicBezTo>
                      <a:cubicBezTo>
                        <a:pt x="11" y="11"/>
                        <a:pt x="11" y="11"/>
                        <a:pt x="11" y="11"/>
                      </a:cubicBezTo>
                      <a:cubicBezTo>
                        <a:pt x="11" y="12"/>
                        <a:pt x="11" y="12"/>
                        <a:pt x="11" y="12"/>
                      </a:cubicBezTo>
                      <a:cubicBezTo>
                        <a:pt x="11" y="13"/>
                        <a:pt x="11" y="13"/>
                        <a:pt x="11" y="13"/>
                      </a:cubicBezTo>
                      <a:cubicBezTo>
                        <a:pt x="10" y="13"/>
                        <a:pt x="10" y="13"/>
                        <a:pt x="10" y="13"/>
                      </a:cubicBezTo>
                      <a:close/>
                      <a:moveTo>
                        <a:pt x="10" y="18"/>
                      </a:moveTo>
                      <a:cubicBezTo>
                        <a:pt x="10" y="18"/>
                        <a:pt x="10" y="18"/>
                        <a:pt x="10" y="18"/>
                      </a:cubicBezTo>
                      <a:cubicBezTo>
                        <a:pt x="11" y="18"/>
                        <a:pt x="11" y="18"/>
                        <a:pt x="11" y="18"/>
                      </a:cubicBezTo>
                      <a:cubicBezTo>
                        <a:pt x="10" y="18"/>
                        <a:pt x="10" y="18"/>
                        <a:pt x="10" y="18"/>
                      </a:cubicBezTo>
                      <a:close/>
                      <a:moveTo>
                        <a:pt x="12" y="16"/>
                      </a:moveTo>
                      <a:cubicBezTo>
                        <a:pt x="12" y="18"/>
                        <a:pt x="12" y="18"/>
                        <a:pt x="12" y="18"/>
                      </a:cubicBezTo>
                      <a:cubicBezTo>
                        <a:pt x="11" y="18"/>
                        <a:pt x="11" y="18"/>
                        <a:pt x="11" y="18"/>
                      </a:cubicBezTo>
                      <a:cubicBezTo>
                        <a:pt x="11" y="19"/>
                        <a:pt x="11" y="19"/>
                        <a:pt x="11" y="19"/>
                      </a:cubicBezTo>
                      <a:cubicBezTo>
                        <a:pt x="12" y="18"/>
                        <a:pt x="12" y="18"/>
                        <a:pt x="12" y="18"/>
                      </a:cubicBezTo>
                      <a:cubicBezTo>
                        <a:pt x="13" y="17"/>
                        <a:pt x="13" y="17"/>
                        <a:pt x="13" y="17"/>
                      </a:cubicBezTo>
                      <a:cubicBezTo>
                        <a:pt x="13" y="17"/>
                        <a:pt x="12" y="16"/>
                        <a:pt x="12" y="16"/>
                      </a:cubicBezTo>
                      <a:close/>
                      <a:moveTo>
                        <a:pt x="8" y="14"/>
                      </a:moveTo>
                      <a:cubicBezTo>
                        <a:pt x="9" y="14"/>
                        <a:pt x="9" y="14"/>
                        <a:pt x="9" y="14"/>
                      </a:cubicBezTo>
                      <a:cubicBezTo>
                        <a:pt x="10" y="14"/>
                        <a:pt x="10" y="14"/>
                        <a:pt x="10" y="14"/>
                      </a:cubicBezTo>
                      <a:cubicBezTo>
                        <a:pt x="11" y="14"/>
                        <a:pt x="11" y="14"/>
                        <a:pt x="11" y="14"/>
                      </a:cubicBezTo>
                      <a:cubicBezTo>
                        <a:pt x="11" y="16"/>
                        <a:pt x="11" y="16"/>
                        <a:pt x="11" y="16"/>
                      </a:cubicBezTo>
                      <a:cubicBezTo>
                        <a:pt x="12" y="16"/>
                        <a:pt x="12" y="16"/>
                        <a:pt x="12" y="16"/>
                      </a:cubicBezTo>
                      <a:cubicBezTo>
                        <a:pt x="11" y="17"/>
                        <a:pt x="11" y="17"/>
                        <a:pt x="11" y="17"/>
                      </a:cubicBezTo>
                      <a:cubicBezTo>
                        <a:pt x="10" y="17"/>
                        <a:pt x="10" y="17"/>
                        <a:pt x="10" y="17"/>
                      </a:cubicBezTo>
                      <a:cubicBezTo>
                        <a:pt x="10" y="17"/>
                        <a:pt x="10" y="17"/>
                        <a:pt x="10" y="17"/>
                      </a:cubicBezTo>
                      <a:cubicBezTo>
                        <a:pt x="9" y="17"/>
                        <a:pt x="9" y="17"/>
                        <a:pt x="9" y="17"/>
                      </a:cubicBezTo>
                      <a:cubicBezTo>
                        <a:pt x="8" y="16"/>
                        <a:pt x="8" y="16"/>
                        <a:pt x="8" y="16"/>
                      </a:cubicBezTo>
                      <a:cubicBezTo>
                        <a:pt x="7" y="15"/>
                        <a:pt x="7" y="15"/>
                        <a:pt x="7" y="15"/>
                      </a:cubicBezTo>
                      <a:cubicBezTo>
                        <a:pt x="8" y="14"/>
                        <a:pt x="8" y="14"/>
                        <a:pt x="8" y="14"/>
                      </a:cubicBezTo>
                      <a:close/>
                      <a:moveTo>
                        <a:pt x="11" y="3"/>
                      </a:moveTo>
                      <a:cubicBezTo>
                        <a:pt x="12" y="3"/>
                        <a:pt x="12" y="3"/>
                        <a:pt x="12" y="3"/>
                      </a:cubicBezTo>
                      <a:cubicBezTo>
                        <a:pt x="13" y="3"/>
                        <a:pt x="13" y="3"/>
                        <a:pt x="13" y="3"/>
                      </a:cubicBezTo>
                      <a:cubicBezTo>
                        <a:pt x="12" y="3"/>
                        <a:pt x="12" y="3"/>
                        <a:pt x="12" y="3"/>
                      </a:cubicBezTo>
                      <a:cubicBezTo>
                        <a:pt x="11" y="3"/>
                        <a:pt x="11" y="3"/>
                        <a:pt x="11" y="3"/>
                      </a:cubicBezTo>
                      <a:close/>
                      <a:moveTo>
                        <a:pt x="3" y="7"/>
                      </a:moveTo>
                      <a:cubicBezTo>
                        <a:pt x="3" y="7"/>
                        <a:pt x="3" y="7"/>
                        <a:pt x="3" y="7"/>
                      </a:cubicBezTo>
                      <a:cubicBezTo>
                        <a:pt x="3" y="6"/>
                        <a:pt x="3" y="6"/>
                        <a:pt x="3" y="6"/>
                      </a:cubicBezTo>
                      <a:cubicBezTo>
                        <a:pt x="4" y="6"/>
                        <a:pt x="4" y="6"/>
                        <a:pt x="4" y="6"/>
                      </a:cubicBezTo>
                      <a:cubicBezTo>
                        <a:pt x="4" y="6"/>
                        <a:pt x="4" y="6"/>
                        <a:pt x="4" y="6"/>
                      </a:cubicBezTo>
                      <a:cubicBezTo>
                        <a:pt x="3" y="7"/>
                        <a:pt x="3" y="7"/>
                        <a:pt x="3" y="7"/>
                      </a:cubicBezTo>
                      <a:cubicBezTo>
                        <a:pt x="3" y="7"/>
                        <a:pt x="3" y="7"/>
                        <a:pt x="3" y="7"/>
                      </a:cubicBezTo>
                      <a:close/>
                      <a:moveTo>
                        <a:pt x="3" y="8"/>
                      </a:moveTo>
                      <a:cubicBezTo>
                        <a:pt x="2" y="7"/>
                        <a:pt x="2" y="7"/>
                        <a:pt x="2" y="7"/>
                      </a:cubicBezTo>
                      <a:cubicBezTo>
                        <a:pt x="3" y="6"/>
                        <a:pt x="3" y="6"/>
                        <a:pt x="3" y="6"/>
                      </a:cubicBezTo>
                      <a:cubicBezTo>
                        <a:pt x="4" y="5"/>
                        <a:pt x="4" y="5"/>
                        <a:pt x="4" y="5"/>
                      </a:cubicBezTo>
                      <a:cubicBezTo>
                        <a:pt x="4" y="5"/>
                        <a:pt x="4" y="5"/>
                        <a:pt x="4" y="5"/>
                      </a:cubicBezTo>
                      <a:cubicBezTo>
                        <a:pt x="5" y="5"/>
                        <a:pt x="5" y="5"/>
                        <a:pt x="5" y="5"/>
                      </a:cubicBezTo>
                      <a:cubicBezTo>
                        <a:pt x="6" y="5"/>
                        <a:pt x="6" y="5"/>
                        <a:pt x="6" y="5"/>
                      </a:cubicBezTo>
                      <a:cubicBezTo>
                        <a:pt x="7" y="5"/>
                        <a:pt x="7" y="5"/>
                        <a:pt x="7" y="5"/>
                      </a:cubicBezTo>
                      <a:cubicBezTo>
                        <a:pt x="8" y="5"/>
                        <a:pt x="8" y="5"/>
                        <a:pt x="8" y="5"/>
                      </a:cubicBezTo>
                      <a:cubicBezTo>
                        <a:pt x="9" y="6"/>
                        <a:pt x="9" y="6"/>
                        <a:pt x="9" y="6"/>
                      </a:cubicBezTo>
                      <a:cubicBezTo>
                        <a:pt x="9" y="5"/>
                        <a:pt x="9" y="5"/>
                        <a:pt x="9" y="5"/>
                      </a:cubicBezTo>
                      <a:cubicBezTo>
                        <a:pt x="10" y="4"/>
                        <a:pt x="10" y="4"/>
                        <a:pt x="10" y="4"/>
                      </a:cubicBezTo>
                      <a:cubicBezTo>
                        <a:pt x="10" y="3"/>
                        <a:pt x="10" y="3"/>
                        <a:pt x="10" y="3"/>
                      </a:cubicBezTo>
                      <a:cubicBezTo>
                        <a:pt x="10" y="3"/>
                        <a:pt x="10" y="3"/>
                        <a:pt x="10" y="3"/>
                      </a:cubicBezTo>
                      <a:cubicBezTo>
                        <a:pt x="10" y="2"/>
                        <a:pt x="10" y="2"/>
                        <a:pt x="10" y="2"/>
                      </a:cubicBezTo>
                      <a:cubicBezTo>
                        <a:pt x="10" y="1"/>
                        <a:pt x="10" y="1"/>
                        <a:pt x="10" y="1"/>
                      </a:cubicBezTo>
                      <a:cubicBezTo>
                        <a:pt x="10" y="0"/>
                        <a:pt x="10" y="0"/>
                        <a:pt x="10" y="0"/>
                      </a:cubicBezTo>
                      <a:cubicBezTo>
                        <a:pt x="9" y="1"/>
                        <a:pt x="9" y="1"/>
                        <a:pt x="9" y="1"/>
                      </a:cubicBezTo>
                      <a:cubicBezTo>
                        <a:pt x="8" y="2"/>
                        <a:pt x="8" y="2"/>
                        <a:pt x="8" y="2"/>
                      </a:cubicBezTo>
                      <a:cubicBezTo>
                        <a:pt x="7" y="2"/>
                        <a:pt x="7" y="2"/>
                        <a:pt x="7" y="2"/>
                      </a:cubicBezTo>
                      <a:cubicBezTo>
                        <a:pt x="6" y="3"/>
                        <a:pt x="6" y="3"/>
                        <a:pt x="6" y="3"/>
                      </a:cubicBezTo>
                      <a:cubicBezTo>
                        <a:pt x="6" y="4"/>
                        <a:pt x="6" y="4"/>
                        <a:pt x="6" y="4"/>
                      </a:cubicBezTo>
                      <a:cubicBezTo>
                        <a:pt x="5" y="4"/>
                        <a:pt x="5" y="4"/>
                        <a:pt x="5" y="4"/>
                      </a:cubicBezTo>
                      <a:cubicBezTo>
                        <a:pt x="4" y="4"/>
                        <a:pt x="4" y="4"/>
                        <a:pt x="4" y="4"/>
                      </a:cubicBezTo>
                      <a:cubicBezTo>
                        <a:pt x="3" y="5"/>
                        <a:pt x="3" y="5"/>
                        <a:pt x="3" y="5"/>
                      </a:cubicBezTo>
                      <a:cubicBezTo>
                        <a:pt x="2" y="5"/>
                        <a:pt x="2" y="5"/>
                        <a:pt x="2" y="5"/>
                      </a:cubicBezTo>
                      <a:cubicBezTo>
                        <a:pt x="2" y="5"/>
                        <a:pt x="2" y="5"/>
                        <a:pt x="2" y="5"/>
                      </a:cubicBezTo>
                      <a:cubicBezTo>
                        <a:pt x="1" y="6"/>
                        <a:pt x="1" y="6"/>
                        <a:pt x="1" y="6"/>
                      </a:cubicBezTo>
                      <a:cubicBezTo>
                        <a:pt x="1" y="7"/>
                        <a:pt x="1" y="7"/>
                        <a:pt x="1" y="7"/>
                      </a:cubicBezTo>
                      <a:cubicBezTo>
                        <a:pt x="1" y="7"/>
                        <a:pt x="1" y="7"/>
                        <a:pt x="1" y="7"/>
                      </a:cubicBezTo>
                      <a:cubicBezTo>
                        <a:pt x="2" y="7"/>
                        <a:pt x="2" y="7"/>
                        <a:pt x="2" y="7"/>
                      </a:cubicBezTo>
                      <a:cubicBezTo>
                        <a:pt x="3" y="8"/>
                        <a:pt x="3" y="8"/>
                        <a:pt x="3" y="8"/>
                      </a:cubicBezTo>
                      <a:close/>
                      <a:moveTo>
                        <a:pt x="7" y="18"/>
                      </a:moveTo>
                      <a:cubicBezTo>
                        <a:pt x="7" y="18"/>
                        <a:pt x="7" y="18"/>
                        <a:pt x="7" y="18"/>
                      </a:cubicBezTo>
                      <a:cubicBezTo>
                        <a:pt x="7" y="18"/>
                        <a:pt x="7" y="18"/>
                        <a:pt x="7" y="18"/>
                      </a:cubicBezTo>
                      <a:cubicBezTo>
                        <a:pt x="6" y="17"/>
                        <a:pt x="6" y="17"/>
                        <a:pt x="6" y="17"/>
                      </a:cubicBezTo>
                      <a:cubicBezTo>
                        <a:pt x="6" y="17"/>
                        <a:pt x="6" y="17"/>
                        <a:pt x="6" y="17"/>
                      </a:cubicBezTo>
                      <a:cubicBezTo>
                        <a:pt x="6" y="16"/>
                        <a:pt x="6" y="16"/>
                        <a:pt x="6" y="16"/>
                      </a:cubicBezTo>
                      <a:cubicBezTo>
                        <a:pt x="6" y="16"/>
                        <a:pt x="6" y="16"/>
                        <a:pt x="6" y="16"/>
                      </a:cubicBezTo>
                      <a:cubicBezTo>
                        <a:pt x="7" y="15"/>
                        <a:pt x="7" y="15"/>
                        <a:pt x="7" y="15"/>
                      </a:cubicBezTo>
                      <a:cubicBezTo>
                        <a:pt x="6" y="15"/>
                        <a:pt x="6" y="15"/>
                        <a:pt x="6" y="15"/>
                      </a:cubicBezTo>
                      <a:cubicBezTo>
                        <a:pt x="6" y="14"/>
                        <a:pt x="6" y="14"/>
                        <a:pt x="6" y="14"/>
                      </a:cubicBezTo>
                      <a:cubicBezTo>
                        <a:pt x="8" y="14"/>
                        <a:pt x="8" y="14"/>
                        <a:pt x="8" y="14"/>
                      </a:cubicBezTo>
                      <a:cubicBezTo>
                        <a:pt x="8" y="13"/>
                        <a:pt x="8" y="13"/>
                        <a:pt x="8" y="13"/>
                      </a:cubicBezTo>
                      <a:cubicBezTo>
                        <a:pt x="8" y="13"/>
                        <a:pt x="8" y="13"/>
                        <a:pt x="8" y="13"/>
                      </a:cubicBezTo>
                      <a:cubicBezTo>
                        <a:pt x="9" y="13"/>
                        <a:pt x="9" y="13"/>
                        <a:pt x="9" y="13"/>
                      </a:cubicBezTo>
                      <a:cubicBezTo>
                        <a:pt x="10" y="13"/>
                        <a:pt x="10" y="13"/>
                        <a:pt x="10" y="13"/>
                      </a:cubicBezTo>
                      <a:cubicBezTo>
                        <a:pt x="10" y="11"/>
                        <a:pt x="10" y="11"/>
                        <a:pt x="10" y="11"/>
                      </a:cubicBezTo>
                      <a:cubicBezTo>
                        <a:pt x="9" y="11"/>
                        <a:pt x="9" y="11"/>
                        <a:pt x="9" y="11"/>
                      </a:cubicBezTo>
                      <a:cubicBezTo>
                        <a:pt x="10" y="10"/>
                        <a:pt x="10" y="10"/>
                        <a:pt x="10" y="10"/>
                      </a:cubicBezTo>
                      <a:cubicBezTo>
                        <a:pt x="11" y="10"/>
                        <a:pt x="11" y="10"/>
                        <a:pt x="11" y="10"/>
                      </a:cubicBezTo>
                      <a:cubicBezTo>
                        <a:pt x="11" y="11"/>
                        <a:pt x="11" y="11"/>
                        <a:pt x="11" y="11"/>
                      </a:cubicBezTo>
                      <a:cubicBezTo>
                        <a:pt x="11" y="10"/>
                        <a:pt x="11" y="10"/>
                        <a:pt x="11" y="10"/>
                      </a:cubicBezTo>
                      <a:cubicBezTo>
                        <a:pt x="12" y="10"/>
                        <a:pt x="12" y="10"/>
                        <a:pt x="12" y="10"/>
                      </a:cubicBezTo>
                      <a:cubicBezTo>
                        <a:pt x="12" y="10"/>
                        <a:pt x="12" y="10"/>
                        <a:pt x="12" y="10"/>
                      </a:cubicBezTo>
                      <a:cubicBezTo>
                        <a:pt x="12" y="9"/>
                        <a:pt x="12" y="9"/>
                        <a:pt x="12" y="9"/>
                      </a:cubicBezTo>
                      <a:cubicBezTo>
                        <a:pt x="12" y="9"/>
                        <a:pt x="12" y="9"/>
                        <a:pt x="12" y="9"/>
                      </a:cubicBezTo>
                      <a:cubicBezTo>
                        <a:pt x="11" y="9"/>
                        <a:pt x="11" y="9"/>
                        <a:pt x="11" y="9"/>
                      </a:cubicBezTo>
                      <a:cubicBezTo>
                        <a:pt x="10" y="9"/>
                        <a:pt x="10" y="9"/>
                        <a:pt x="10" y="9"/>
                      </a:cubicBezTo>
                      <a:cubicBezTo>
                        <a:pt x="9" y="8"/>
                        <a:pt x="9" y="8"/>
                        <a:pt x="9" y="8"/>
                      </a:cubicBezTo>
                      <a:cubicBezTo>
                        <a:pt x="9" y="8"/>
                        <a:pt x="9" y="8"/>
                        <a:pt x="9" y="8"/>
                      </a:cubicBezTo>
                      <a:cubicBezTo>
                        <a:pt x="8" y="8"/>
                        <a:pt x="8" y="8"/>
                        <a:pt x="8" y="8"/>
                      </a:cubicBezTo>
                      <a:cubicBezTo>
                        <a:pt x="9" y="7"/>
                        <a:pt x="9" y="7"/>
                        <a:pt x="9" y="7"/>
                      </a:cubicBezTo>
                      <a:cubicBezTo>
                        <a:pt x="9" y="6"/>
                        <a:pt x="9" y="6"/>
                        <a:pt x="9" y="6"/>
                      </a:cubicBezTo>
                      <a:cubicBezTo>
                        <a:pt x="8" y="6"/>
                        <a:pt x="8" y="6"/>
                        <a:pt x="8" y="6"/>
                      </a:cubicBezTo>
                      <a:cubicBezTo>
                        <a:pt x="7" y="6"/>
                        <a:pt x="7" y="6"/>
                        <a:pt x="7" y="6"/>
                      </a:cubicBezTo>
                      <a:cubicBezTo>
                        <a:pt x="6" y="6"/>
                        <a:pt x="6" y="6"/>
                        <a:pt x="6" y="6"/>
                      </a:cubicBezTo>
                      <a:cubicBezTo>
                        <a:pt x="5" y="6"/>
                        <a:pt x="5" y="6"/>
                        <a:pt x="5" y="6"/>
                      </a:cubicBezTo>
                      <a:cubicBezTo>
                        <a:pt x="5" y="6"/>
                        <a:pt x="5" y="6"/>
                        <a:pt x="5" y="6"/>
                      </a:cubicBezTo>
                      <a:cubicBezTo>
                        <a:pt x="6" y="7"/>
                        <a:pt x="6" y="7"/>
                        <a:pt x="6" y="7"/>
                      </a:cubicBezTo>
                      <a:cubicBezTo>
                        <a:pt x="5" y="8"/>
                        <a:pt x="5" y="8"/>
                        <a:pt x="5" y="8"/>
                      </a:cubicBezTo>
                      <a:cubicBezTo>
                        <a:pt x="6" y="8"/>
                        <a:pt x="6" y="8"/>
                        <a:pt x="6" y="8"/>
                      </a:cubicBezTo>
                      <a:cubicBezTo>
                        <a:pt x="6" y="9"/>
                        <a:pt x="6" y="9"/>
                        <a:pt x="6" y="9"/>
                      </a:cubicBezTo>
                      <a:cubicBezTo>
                        <a:pt x="5" y="8"/>
                        <a:pt x="5" y="8"/>
                        <a:pt x="5" y="8"/>
                      </a:cubicBezTo>
                      <a:cubicBezTo>
                        <a:pt x="4" y="9"/>
                        <a:pt x="4" y="9"/>
                        <a:pt x="4" y="9"/>
                      </a:cubicBezTo>
                      <a:cubicBezTo>
                        <a:pt x="4" y="8"/>
                        <a:pt x="4" y="8"/>
                        <a:pt x="4" y="8"/>
                      </a:cubicBezTo>
                      <a:cubicBezTo>
                        <a:pt x="5" y="8"/>
                        <a:pt x="5" y="8"/>
                        <a:pt x="5" y="8"/>
                      </a:cubicBezTo>
                      <a:cubicBezTo>
                        <a:pt x="4" y="7"/>
                        <a:pt x="4" y="7"/>
                        <a:pt x="4" y="7"/>
                      </a:cubicBezTo>
                      <a:cubicBezTo>
                        <a:pt x="4" y="7"/>
                        <a:pt x="4" y="7"/>
                        <a:pt x="4" y="7"/>
                      </a:cubicBezTo>
                      <a:cubicBezTo>
                        <a:pt x="3" y="8"/>
                        <a:pt x="3" y="8"/>
                        <a:pt x="3" y="8"/>
                      </a:cubicBezTo>
                      <a:cubicBezTo>
                        <a:pt x="4" y="8"/>
                        <a:pt x="4" y="8"/>
                        <a:pt x="4" y="8"/>
                      </a:cubicBezTo>
                      <a:cubicBezTo>
                        <a:pt x="3" y="9"/>
                        <a:pt x="3" y="9"/>
                        <a:pt x="3" y="9"/>
                      </a:cubicBezTo>
                      <a:cubicBezTo>
                        <a:pt x="2" y="8"/>
                        <a:pt x="2" y="8"/>
                        <a:pt x="2" y="8"/>
                      </a:cubicBezTo>
                      <a:cubicBezTo>
                        <a:pt x="2" y="8"/>
                        <a:pt x="2" y="8"/>
                        <a:pt x="2" y="8"/>
                      </a:cubicBezTo>
                      <a:cubicBezTo>
                        <a:pt x="1" y="8"/>
                        <a:pt x="1" y="8"/>
                        <a:pt x="1" y="8"/>
                      </a:cubicBezTo>
                      <a:cubicBezTo>
                        <a:pt x="0" y="9"/>
                        <a:pt x="0" y="9"/>
                        <a:pt x="0" y="9"/>
                      </a:cubicBezTo>
                      <a:cubicBezTo>
                        <a:pt x="1" y="9"/>
                        <a:pt x="1" y="9"/>
                        <a:pt x="1" y="9"/>
                      </a:cubicBezTo>
                      <a:cubicBezTo>
                        <a:pt x="1" y="10"/>
                        <a:pt x="1" y="10"/>
                        <a:pt x="1" y="10"/>
                      </a:cubicBezTo>
                      <a:cubicBezTo>
                        <a:pt x="1" y="10"/>
                        <a:pt x="1" y="10"/>
                        <a:pt x="1" y="10"/>
                      </a:cubicBezTo>
                      <a:cubicBezTo>
                        <a:pt x="0" y="10"/>
                        <a:pt x="0" y="10"/>
                        <a:pt x="0" y="10"/>
                      </a:cubicBezTo>
                      <a:cubicBezTo>
                        <a:pt x="1" y="11"/>
                        <a:pt x="1" y="11"/>
                        <a:pt x="1" y="11"/>
                      </a:cubicBezTo>
                      <a:cubicBezTo>
                        <a:pt x="1" y="11"/>
                        <a:pt x="1" y="11"/>
                        <a:pt x="1" y="11"/>
                      </a:cubicBezTo>
                      <a:cubicBezTo>
                        <a:pt x="1" y="12"/>
                        <a:pt x="1" y="12"/>
                        <a:pt x="1" y="12"/>
                      </a:cubicBezTo>
                      <a:cubicBezTo>
                        <a:pt x="2" y="13"/>
                        <a:pt x="2" y="13"/>
                        <a:pt x="2" y="13"/>
                      </a:cubicBezTo>
                      <a:cubicBezTo>
                        <a:pt x="0" y="13"/>
                        <a:pt x="0" y="13"/>
                        <a:pt x="0" y="13"/>
                      </a:cubicBezTo>
                      <a:cubicBezTo>
                        <a:pt x="0" y="15"/>
                        <a:pt x="0" y="15"/>
                        <a:pt x="0" y="15"/>
                      </a:cubicBezTo>
                      <a:cubicBezTo>
                        <a:pt x="0" y="15"/>
                        <a:pt x="0" y="15"/>
                        <a:pt x="0" y="15"/>
                      </a:cubicBezTo>
                      <a:cubicBezTo>
                        <a:pt x="1" y="15"/>
                        <a:pt x="1" y="15"/>
                        <a:pt x="1" y="15"/>
                      </a:cubicBezTo>
                      <a:cubicBezTo>
                        <a:pt x="2" y="15"/>
                        <a:pt x="2" y="15"/>
                        <a:pt x="2" y="15"/>
                      </a:cubicBezTo>
                      <a:cubicBezTo>
                        <a:pt x="3" y="17"/>
                        <a:pt x="3" y="17"/>
                        <a:pt x="3" y="17"/>
                      </a:cubicBezTo>
                      <a:cubicBezTo>
                        <a:pt x="2" y="17"/>
                        <a:pt x="2" y="17"/>
                        <a:pt x="2" y="17"/>
                      </a:cubicBezTo>
                      <a:cubicBezTo>
                        <a:pt x="2" y="18"/>
                        <a:pt x="2" y="18"/>
                        <a:pt x="2" y="18"/>
                      </a:cubicBezTo>
                      <a:cubicBezTo>
                        <a:pt x="4" y="18"/>
                        <a:pt x="4" y="18"/>
                        <a:pt x="4" y="18"/>
                      </a:cubicBezTo>
                      <a:cubicBezTo>
                        <a:pt x="5" y="18"/>
                        <a:pt x="5" y="18"/>
                        <a:pt x="5" y="18"/>
                      </a:cubicBezTo>
                      <a:cubicBezTo>
                        <a:pt x="6" y="18"/>
                        <a:pt x="6" y="18"/>
                        <a:pt x="6" y="18"/>
                      </a:cubicBezTo>
                      <a:lnTo>
                        <a:pt x="7" y="18"/>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Freeform 43">
                  <a:extLst>
                    <a:ext uri="{FF2B5EF4-FFF2-40B4-BE49-F238E27FC236}">
                      <a16:creationId xmlns:a16="http://schemas.microsoft.com/office/drawing/2014/main" id="{672039B9-D8B8-F58F-1BE0-D1BC08B1F700}"/>
                    </a:ext>
                  </a:extLst>
                </p:cNvPr>
                <p:cNvSpPr>
                  <a:spLocks noEditPoints="1"/>
                </p:cNvSpPr>
                <p:nvPr/>
              </p:nvSpPr>
              <p:spPr bwMode="auto">
                <a:xfrm>
                  <a:off x="2694" y="1687"/>
                  <a:ext cx="230" cy="240"/>
                </a:xfrm>
                <a:custGeom>
                  <a:avLst/>
                  <a:gdLst>
                    <a:gd name="T0" fmla="*/ 93 w 97"/>
                    <a:gd name="T1" fmla="*/ 13 h 101"/>
                    <a:gd name="T2" fmla="*/ 96 w 97"/>
                    <a:gd name="T3" fmla="*/ 7 h 101"/>
                    <a:gd name="T4" fmla="*/ 89 w 97"/>
                    <a:gd name="T5" fmla="*/ 5 h 101"/>
                    <a:gd name="T6" fmla="*/ 85 w 97"/>
                    <a:gd name="T7" fmla="*/ 5 h 101"/>
                    <a:gd name="T8" fmla="*/ 82 w 97"/>
                    <a:gd name="T9" fmla="*/ 0 h 101"/>
                    <a:gd name="T10" fmla="*/ 79 w 97"/>
                    <a:gd name="T11" fmla="*/ 7 h 101"/>
                    <a:gd name="T12" fmla="*/ 73 w 97"/>
                    <a:gd name="T13" fmla="*/ 9 h 101"/>
                    <a:gd name="T14" fmla="*/ 70 w 97"/>
                    <a:gd name="T15" fmla="*/ 4 h 101"/>
                    <a:gd name="T16" fmla="*/ 67 w 97"/>
                    <a:gd name="T17" fmla="*/ 11 h 101"/>
                    <a:gd name="T18" fmla="*/ 61 w 97"/>
                    <a:gd name="T19" fmla="*/ 12 h 101"/>
                    <a:gd name="T20" fmla="*/ 55 w 97"/>
                    <a:gd name="T21" fmla="*/ 17 h 101"/>
                    <a:gd name="T22" fmla="*/ 53 w 97"/>
                    <a:gd name="T23" fmla="*/ 19 h 101"/>
                    <a:gd name="T24" fmla="*/ 47 w 97"/>
                    <a:gd name="T25" fmla="*/ 19 h 101"/>
                    <a:gd name="T26" fmla="*/ 43 w 97"/>
                    <a:gd name="T27" fmla="*/ 25 h 101"/>
                    <a:gd name="T28" fmla="*/ 42 w 97"/>
                    <a:gd name="T29" fmla="*/ 28 h 101"/>
                    <a:gd name="T30" fmla="*/ 37 w 97"/>
                    <a:gd name="T31" fmla="*/ 31 h 101"/>
                    <a:gd name="T32" fmla="*/ 38 w 97"/>
                    <a:gd name="T33" fmla="*/ 35 h 101"/>
                    <a:gd name="T34" fmla="*/ 33 w 97"/>
                    <a:gd name="T35" fmla="*/ 39 h 101"/>
                    <a:gd name="T36" fmla="*/ 32 w 97"/>
                    <a:gd name="T37" fmla="*/ 43 h 101"/>
                    <a:gd name="T38" fmla="*/ 31 w 97"/>
                    <a:gd name="T39" fmla="*/ 49 h 101"/>
                    <a:gd name="T40" fmla="*/ 25 w 97"/>
                    <a:gd name="T41" fmla="*/ 55 h 101"/>
                    <a:gd name="T42" fmla="*/ 19 w 97"/>
                    <a:gd name="T43" fmla="*/ 62 h 101"/>
                    <a:gd name="T44" fmla="*/ 26 w 97"/>
                    <a:gd name="T45" fmla="*/ 61 h 101"/>
                    <a:gd name="T46" fmla="*/ 17 w 97"/>
                    <a:gd name="T47" fmla="*/ 63 h 101"/>
                    <a:gd name="T48" fmla="*/ 15 w 97"/>
                    <a:gd name="T49" fmla="*/ 67 h 101"/>
                    <a:gd name="T50" fmla="*/ 11 w 97"/>
                    <a:gd name="T51" fmla="*/ 69 h 101"/>
                    <a:gd name="T52" fmla="*/ 9 w 97"/>
                    <a:gd name="T53" fmla="*/ 72 h 101"/>
                    <a:gd name="T54" fmla="*/ 1 w 97"/>
                    <a:gd name="T55" fmla="*/ 73 h 101"/>
                    <a:gd name="T56" fmla="*/ 2 w 97"/>
                    <a:gd name="T57" fmla="*/ 77 h 101"/>
                    <a:gd name="T58" fmla="*/ 7 w 97"/>
                    <a:gd name="T59" fmla="*/ 79 h 101"/>
                    <a:gd name="T60" fmla="*/ 9 w 97"/>
                    <a:gd name="T61" fmla="*/ 81 h 101"/>
                    <a:gd name="T62" fmla="*/ 2 w 97"/>
                    <a:gd name="T63" fmla="*/ 83 h 101"/>
                    <a:gd name="T64" fmla="*/ 9 w 97"/>
                    <a:gd name="T65" fmla="*/ 84 h 101"/>
                    <a:gd name="T66" fmla="*/ 4 w 97"/>
                    <a:gd name="T67" fmla="*/ 90 h 101"/>
                    <a:gd name="T68" fmla="*/ 7 w 97"/>
                    <a:gd name="T69" fmla="*/ 95 h 101"/>
                    <a:gd name="T70" fmla="*/ 11 w 97"/>
                    <a:gd name="T71" fmla="*/ 101 h 101"/>
                    <a:gd name="T72" fmla="*/ 20 w 97"/>
                    <a:gd name="T73" fmla="*/ 94 h 101"/>
                    <a:gd name="T74" fmla="*/ 24 w 97"/>
                    <a:gd name="T75" fmla="*/ 91 h 101"/>
                    <a:gd name="T76" fmla="*/ 30 w 97"/>
                    <a:gd name="T77" fmla="*/ 94 h 101"/>
                    <a:gd name="T78" fmla="*/ 30 w 97"/>
                    <a:gd name="T79" fmla="*/ 71 h 101"/>
                    <a:gd name="T80" fmla="*/ 37 w 97"/>
                    <a:gd name="T81" fmla="*/ 43 h 101"/>
                    <a:gd name="T82" fmla="*/ 49 w 97"/>
                    <a:gd name="T83" fmla="*/ 27 h 101"/>
                    <a:gd name="T84" fmla="*/ 57 w 97"/>
                    <a:gd name="T85" fmla="*/ 20 h 101"/>
                    <a:gd name="T86" fmla="*/ 74 w 97"/>
                    <a:gd name="T87" fmla="*/ 22 h 101"/>
                    <a:gd name="T88" fmla="*/ 85 w 97"/>
                    <a:gd name="T89" fmla="*/ 11 h 101"/>
                    <a:gd name="T90" fmla="*/ 3 w 97"/>
                    <a:gd name="T91" fmla="*/ 88 h 101"/>
                    <a:gd name="T92" fmla="*/ 1 w 97"/>
                    <a:gd name="T93" fmla="*/ 86 h 101"/>
                    <a:gd name="T94" fmla="*/ 4 w 97"/>
                    <a:gd name="T95" fmla="*/ 72 h 101"/>
                    <a:gd name="T96" fmla="*/ 16 w 97"/>
                    <a:gd name="T97" fmla="*/ 62 h 101"/>
                    <a:gd name="T98" fmla="*/ 28 w 97"/>
                    <a:gd name="T99" fmla="*/ 47 h 101"/>
                    <a:gd name="T100" fmla="*/ 29 w 97"/>
                    <a:gd name="T101" fmla="*/ 32 h 101"/>
                    <a:gd name="T102" fmla="*/ 36 w 97"/>
                    <a:gd name="T103" fmla="*/ 24 h 101"/>
                    <a:gd name="T104" fmla="*/ 38 w 97"/>
                    <a:gd name="T105" fmla="*/ 21 h 101"/>
                    <a:gd name="T106" fmla="*/ 38 w 97"/>
                    <a:gd name="T107" fmla="*/ 24 h 101"/>
                    <a:gd name="T108" fmla="*/ 47 w 97"/>
                    <a:gd name="T109" fmla="*/ 17 h 101"/>
                    <a:gd name="T110" fmla="*/ 47 w 97"/>
                    <a:gd name="T111" fmla="*/ 17 h 101"/>
                    <a:gd name="T112" fmla="*/ 53 w 97"/>
                    <a:gd name="T113" fmla="*/ 13 h 101"/>
                    <a:gd name="T114" fmla="*/ 54 w 97"/>
                    <a:gd name="T115" fmla="*/ 10 h 101"/>
                    <a:gd name="T116" fmla="*/ 67 w 97"/>
                    <a:gd name="T117" fmla="*/ 7 h 101"/>
                    <a:gd name="T118" fmla="*/ 67 w 97"/>
                    <a:gd name="T119" fmla="*/ 5 h 101"/>
                    <a:gd name="T120" fmla="*/ 76 w 97"/>
                    <a:gd name="T121" fmla="*/ 2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7" h="101">
                      <a:moveTo>
                        <a:pt x="90" y="18"/>
                      </a:moveTo>
                      <a:cubicBezTo>
                        <a:pt x="90" y="18"/>
                        <a:pt x="90" y="18"/>
                        <a:pt x="90" y="18"/>
                      </a:cubicBezTo>
                      <a:cubicBezTo>
                        <a:pt x="91" y="17"/>
                        <a:pt x="91" y="17"/>
                        <a:pt x="91" y="17"/>
                      </a:cubicBezTo>
                      <a:cubicBezTo>
                        <a:pt x="92" y="16"/>
                        <a:pt x="92" y="16"/>
                        <a:pt x="92" y="16"/>
                      </a:cubicBezTo>
                      <a:cubicBezTo>
                        <a:pt x="93" y="16"/>
                        <a:pt x="93" y="16"/>
                        <a:pt x="93" y="16"/>
                      </a:cubicBezTo>
                      <a:cubicBezTo>
                        <a:pt x="94" y="15"/>
                        <a:pt x="94" y="15"/>
                        <a:pt x="94" y="15"/>
                      </a:cubicBezTo>
                      <a:cubicBezTo>
                        <a:pt x="94" y="13"/>
                        <a:pt x="94" y="13"/>
                        <a:pt x="94" y="13"/>
                      </a:cubicBezTo>
                      <a:cubicBezTo>
                        <a:pt x="94" y="13"/>
                        <a:pt x="94" y="13"/>
                        <a:pt x="94" y="13"/>
                      </a:cubicBezTo>
                      <a:cubicBezTo>
                        <a:pt x="95" y="14"/>
                        <a:pt x="95" y="14"/>
                        <a:pt x="95" y="14"/>
                      </a:cubicBezTo>
                      <a:cubicBezTo>
                        <a:pt x="96" y="13"/>
                        <a:pt x="96" y="13"/>
                        <a:pt x="96" y="13"/>
                      </a:cubicBezTo>
                      <a:cubicBezTo>
                        <a:pt x="96" y="12"/>
                        <a:pt x="96" y="12"/>
                        <a:pt x="96" y="12"/>
                      </a:cubicBezTo>
                      <a:cubicBezTo>
                        <a:pt x="96" y="12"/>
                        <a:pt x="96" y="12"/>
                        <a:pt x="96" y="12"/>
                      </a:cubicBezTo>
                      <a:cubicBezTo>
                        <a:pt x="95" y="12"/>
                        <a:pt x="95" y="12"/>
                        <a:pt x="95" y="12"/>
                      </a:cubicBezTo>
                      <a:cubicBezTo>
                        <a:pt x="95" y="12"/>
                        <a:pt x="95" y="12"/>
                        <a:pt x="95" y="12"/>
                      </a:cubicBezTo>
                      <a:cubicBezTo>
                        <a:pt x="94" y="12"/>
                        <a:pt x="94" y="12"/>
                        <a:pt x="94" y="12"/>
                      </a:cubicBezTo>
                      <a:cubicBezTo>
                        <a:pt x="94" y="12"/>
                        <a:pt x="94" y="12"/>
                        <a:pt x="94" y="12"/>
                      </a:cubicBezTo>
                      <a:cubicBezTo>
                        <a:pt x="94" y="12"/>
                        <a:pt x="94" y="12"/>
                        <a:pt x="94" y="12"/>
                      </a:cubicBezTo>
                      <a:cubicBezTo>
                        <a:pt x="94" y="12"/>
                        <a:pt x="94" y="12"/>
                        <a:pt x="94" y="12"/>
                      </a:cubicBezTo>
                      <a:cubicBezTo>
                        <a:pt x="93" y="12"/>
                        <a:pt x="93" y="12"/>
                        <a:pt x="93" y="12"/>
                      </a:cubicBezTo>
                      <a:cubicBezTo>
                        <a:pt x="93" y="12"/>
                        <a:pt x="93" y="12"/>
                        <a:pt x="93" y="12"/>
                      </a:cubicBezTo>
                      <a:cubicBezTo>
                        <a:pt x="93" y="13"/>
                        <a:pt x="93" y="13"/>
                        <a:pt x="93" y="13"/>
                      </a:cubicBezTo>
                      <a:cubicBezTo>
                        <a:pt x="93" y="13"/>
                        <a:pt x="93" y="13"/>
                        <a:pt x="93" y="13"/>
                      </a:cubicBezTo>
                      <a:cubicBezTo>
                        <a:pt x="92" y="12"/>
                        <a:pt x="92" y="12"/>
                        <a:pt x="92" y="12"/>
                      </a:cubicBezTo>
                      <a:cubicBezTo>
                        <a:pt x="92" y="13"/>
                        <a:pt x="92" y="13"/>
                        <a:pt x="92" y="13"/>
                      </a:cubicBezTo>
                      <a:cubicBezTo>
                        <a:pt x="91" y="13"/>
                        <a:pt x="91" y="13"/>
                        <a:pt x="91" y="13"/>
                      </a:cubicBezTo>
                      <a:cubicBezTo>
                        <a:pt x="91" y="12"/>
                        <a:pt x="91" y="12"/>
                        <a:pt x="91" y="12"/>
                      </a:cubicBezTo>
                      <a:cubicBezTo>
                        <a:pt x="91" y="11"/>
                        <a:pt x="91" y="11"/>
                        <a:pt x="91" y="11"/>
                      </a:cubicBezTo>
                      <a:cubicBezTo>
                        <a:pt x="91" y="11"/>
                        <a:pt x="91" y="11"/>
                        <a:pt x="91" y="11"/>
                      </a:cubicBezTo>
                      <a:cubicBezTo>
                        <a:pt x="90" y="10"/>
                        <a:pt x="90" y="10"/>
                        <a:pt x="90" y="10"/>
                      </a:cubicBezTo>
                      <a:cubicBezTo>
                        <a:pt x="90" y="10"/>
                        <a:pt x="90" y="10"/>
                        <a:pt x="90" y="10"/>
                      </a:cubicBezTo>
                      <a:cubicBezTo>
                        <a:pt x="89" y="10"/>
                        <a:pt x="89" y="10"/>
                        <a:pt x="89" y="10"/>
                      </a:cubicBezTo>
                      <a:cubicBezTo>
                        <a:pt x="88" y="10"/>
                        <a:pt x="88" y="10"/>
                        <a:pt x="88" y="10"/>
                      </a:cubicBezTo>
                      <a:cubicBezTo>
                        <a:pt x="87" y="10"/>
                        <a:pt x="87" y="10"/>
                        <a:pt x="87" y="10"/>
                      </a:cubicBezTo>
                      <a:cubicBezTo>
                        <a:pt x="87" y="9"/>
                        <a:pt x="87" y="9"/>
                        <a:pt x="87" y="9"/>
                      </a:cubicBezTo>
                      <a:cubicBezTo>
                        <a:pt x="87" y="9"/>
                        <a:pt x="87" y="9"/>
                        <a:pt x="87" y="9"/>
                      </a:cubicBezTo>
                      <a:cubicBezTo>
                        <a:pt x="88" y="9"/>
                        <a:pt x="88" y="9"/>
                        <a:pt x="88" y="9"/>
                      </a:cubicBezTo>
                      <a:cubicBezTo>
                        <a:pt x="89" y="9"/>
                        <a:pt x="89" y="9"/>
                        <a:pt x="89" y="9"/>
                      </a:cubicBezTo>
                      <a:cubicBezTo>
                        <a:pt x="90" y="9"/>
                        <a:pt x="90" y="9"/>
                        <a:pt x="90" y="9"/>
                      </a:cubicBezTo>
                      <a:cubicBezTo>
                        <a:pt x="92" y="10"/>
                        <a:pt x="92" y="10"/>
                        <a:pt x="92" y="10"/>
                      </a:cubicBezTo>
                      <a:cubicBezTo>
                        <a:pt x="94" y="9"/>
                        <a:pt x="94" y="9"/>
                        <a:pt x="94" y="9"/>
                      </a:cubicBezTo>
                      <a:cubicBezTo>
                        <a:pt x="94" y="8"/>
                        <a:pt x="94" y="8"/>
                        <a:pt x="94" y="8"/>
                      </a:cubicBezTo>
                      <a:cubicBezTo>
                        <a:pt x="96" y="7"/>
                        <a:pt x="96" y="7"/>
                        <a:pt x="96" y="7"/>
                      </a:cubicBezTo>
                      <a:cubicBezTo>
                        <a:pt x="97" y="7"/>
                        <a:pt x="97" y="7"/>
                        <a:pt x="97" y="7"/>
                      </a:cubicBezTo>
                      <a:cubicBezTo>
                        <a:pt x="97" y="6"/>
                        <a:pt x="97" y="6"/>
                        <a:pt x="97" y="6"/>
                      </a:cubicBezTo>
                      <a:cubicBezTo>
                        <a:pt x="96" y="6"/>
                        <a:pt x="96" y="6"/>
                        <a:pt x="96" y="6"/>
                      </a:cubicBezTo>
                      <a:cubicBezTo>
                        <a:pt x="96" y="6"/>
                        <a:pt x="96" y="6"/>
                        <a:pt x="96" y="6"/>
                      </a:cubicBezTo>
                      <a:cubicBezTo>
                        <a:pt x="96" y="6"/>
                        <a:pt x="96" y="6"/>
                        <a:pt x="96" y="6"/>
                      </a:cubicBezTo>
                      <a:cubicBezTo>
                        <a:pt x="95" y="6"/>
                        <a:pt x="95" y="6"/>
                        <a:pt x="95" y="6"/>
                      </a:cubicBezTo>
                      <a:cubicBezTo>
                        <a:pt x="94" y="5"/>
                        <a:pt x="94" y="5"/>
                        <a:pt x="94" y="5"/>
                      </a:cubicBezTo>
                      <a:cubicBezTo>
                        <a:pt x="93" y="5"/>
                        <a:pt x="93" y="5"/>
                        <a:pt x="93" y="5"/>
                      </a:cubicBezTo>
                      <a:cubicBezTo>
                        <a:pt x="92" y="6"/>
                        <a:pt x="92" y="6"/>
                        <a:pt x="92" y="6"/>
                      </a:cubicBezTo>
                      <a:cubicBezTo>
                        <a:pt x="92" y="6"/>
                        <a:pt x="92" y="6"/>
                        <a:pt x="92" y="6"/>
                      </a:cubicBezTo>
                      <a:cubicBezTo>
                        <a:pt x="92" y="5"/>
                        <a:pt x="92" y="5"/>
                        <a:pt x="92" y="5"/>
                      </a:cubicBezTo>
                      <a:cubicBezTo>
                        <a:pt x="92" y="5"/>
                        <a:pt x="92" y="5"/>
                        <a:pt x="92" y="5"/>
                      </a:cubicBezTo>
                      <a:cubicBezTo>
                        <a:pt x="92" y="4"/>
                        <a:pt x="92" y="4"/>
                        <a:pt x="92" y="4"/>
                      </a:cubicBezTo>
                      <a:cubicBezTo>
                        <a:pt x="91" y="4"/>
                        <a:pt x="91" y="4"/>
                        <a:pt x="91" y="4"/>
                      </a:cubicBezTo>
                      <a:cubicBezTo>
                        <a:pt x="91" y="4"/>
                        <a:pt x="91" y="4"/>
                        <a:pt x="91" y="4"/>
                      </a:cubicBezTo>
                      <a:cubicBezTo>
                        <a:pt x="91" y="4"/>
                        <a:pt x="91" y="4"/>
                        <a:pt x="91" y="4"/>
                      </a:cubicBezTo>
                      <a:cubicBezTo>
                        <a:pt x="90" y="5"/>
                        <a:pt x="90" y="5"/>
                        <a:pt x="90" y="5"/>
                      </a:cubicBezTo>
                      <a:cubicBezTo>
                        <a:pt x="90" y="5"/>
                        <a:pt x="90" y="5"/>
                        <a:pt x="90" y="5"/>
                      </a:cubicBezTo>
                      <a:cubicBezTo>
                        <a:pt x="90" y="4"/>
                        <a:pt x="90" y="4"/>
                        <a:pt x="90" y="4"/>
                      </a:cubicBezTo>
                      <a:cubicBezTo>
                        <a:pt x="89" y="4"/>
                        <a:pt x="89" y="4"/>
                        <a:pt x="89" y="4"/>
                      </a:cubicBezTo>
                      <a:cubicBezTo>
                        <a:pt x="89" y="5"/>
                        <a:pt x="89" y="5"/>
                        <a:pt x="89" y="5"/>
                      </a:cubicBezTo>
                      <a:cubicBezTo>
                        <a:pt x="89" y="5"/>
                        <a:pt x="89" y="5"/>
                        <a:pt x="89" y="5"/>
                      </a:cubicBezTo>
                      <a:cubicBezTo>
                        <a:pt x="88" y="4"/>
                        <a:pt x="88" y="4"/>
                        <a:pt x="88" y="4"/>
                      </a:cubicBezTo>
                      <a:cubicBezTo>
                        <a:pt x="89" y="4"/>
                        <a:pt x="89" y="4"/>
                        <a:pt x="89" y="4"/>
                      </a:cubicBezTo>
                      <a:cubicBezTo>
                        <a:pt x="89" y="3"/>
                        <a:pt x="89" y="3"/>
                        <a:pt x="89" y="3"/>
                      </a:cubicBezTo>
                      <a:cubicBezTo>
                        <a:pt x="88" y="3"/>
                        <a:pt x="88" y="3"/>
                        <a:pt x="88" y="3"/>
                      </a:cubicBezTo>
                      <a:cubicBezTo>
                        <a:pt x="87" y="3"/>
                        <a:pt x="87" y="3"/>
                        <a:pt x="87" y="3"/>
                      </a:cubicBezTo>
                      <a:cubicBezTo>
                        <a:pt x="87" y="3"/>
                        <a:pt x="87" y="3"/>
                        <a:pt x="87" y="3"/>
                      </a:cubicBezTo>
                      <a:cubicBezTo>
                        <a:pt x="86" y="4"/>
                        <a:pt x="86" y="4"/>
                        <a:pt x="86" y="4"/>
                      </a:cubicBezTo>
                      <a:cubicBezTo>
                        <a:pt x="86" y="5"/>
                        <a:pt x="86" y="5"/>
                        <a:pt x="86" y="5"/>
                      </a:cubicBezTo>
                      <a:cubicBezTo>
                        <a:pt x="86" y="5"/>
                        <a:pt x="86" y="5"/>
                        <a:pt x="86" y="5"/>
                      </a:cubicBezTo>
                      <a:cubicBezTo>
                        <a:pt x="86" y="6"/>
                        <a:pt x="86" y="6"/>
                        <a:pt x="86" y="6"/>
                      </a:cubicBezTo>
                      <a:cubicBezTo>
                        <a:pt x="86" y="7"/>
                        <a:pt x="86" y="7"/>
                        <a:pt x="86" y="7"/>
                      </a:cubicBezTo>
                      <a:cubicBezTo>
                        <a:pt x="86" y="7"/>
                        <a:pt x="86" y="7"/>
                        <a:pt x="86" y="7"/>
                      </a:cubicBezTo>
                      <a:cubicBezTo>
                        <a:pt x="85" y="6"/>
                        <a:pt x="85" y="6"/>
                        <a:pt x="85" y="6"/>
                      </a:cubicBezTo>
                      <a:cubicBezTo>
                        <a:pt x="85" y="6"/>
                        <a:pt x="85" y="6"/>
                        <a:pt x="85" y="6"/>
                      </a:cubicBezTo>
                      <a:cubicBezTo>
                        <a:pt x="85" y="7"/>
                        <a:pt x="85" y="7"/>
                        <a:pt x="85" y="7"/>
                      </a:cubicBezTo>
                      <a:cubicBezTo>
                        <a:pt x="84" y="7"/>
                        <a:pt x="84" y="7"/>
                        <a:pt x="84" y="7"/>
                      </a:cubicBezTo>
                      <a:cubicBezTo>
                        <a:pt x="83" y="7"/>
                        <a:pt x="83" y="7"/>
                        <a:pt x="83" y="7"/>
                      </a:cubicBezTo>
                      <a:cubicBezTo>
                        <a:pt x="84" y="6"/>
                        <a:pt x="84" y="6"/>
                        <a:pt x="84" y="6"/>
                      </a:cubicBezTo>
                      <a:cubicBezTo>
                        <a:pt x="84" y="6"/>
                        <a:pt x="84" y="6"/>
                        <a:pt x="84" y="6"/>
                      </a:cubicBezTo>
                      <a:cubicBezTo>
                        <a:pt x="85" y="5"/>
                        <a:pt x="85" y="5"/>
                        <a:pt x="85" y="5"/>
                      </a:cubicBezTo>
                      <a:cubicBezTo>
                        <a:pt x="85" y="5"/>
                        <a:pt x="85" y="5"/>
                        <a:pt x="85" y="5"/>
                      </a:cubicBezTo>
                      <a:cubicBezTo>
                        <a:pt x="84" y="5"/>
                        <a:pt x="84" y="5"/>
                        <a:pt x="84" y="5"/>
                      </a:cubicBezTo>
                      <a:cubicBezTo>
                        <a:pt x="83" y="5"/>
                        <a:pt x="83" y="5"/>
                        <a:pt x="83" y="5"/>
                      </a:cubicBezTo>
                      <a:cubicBezTo>
                        <a:pt x="83" y="5"/>
                        <a:pt x="83" y="5"/>
                        <a:pt x="83" y="5"/>
                      </a:cubicBezTo>
                      <a:cubicBezTo>
                        <a:pt x="83" y="5"/>
                        <a:pt x="83" y="5"/>
                        <a:pt x="83" y="5"/>
                      </a:cubicBezTo>
                      <a:cubicBezTo>
                        <a:pt x="84" y="4"/>
                        <a:pt x="84" y="4"/>
                        <a:pt x="84" y="4"/>
                      </a:cubicBezTo>
                      <a:cubicBezTo>
                        <a:pt x="84" y="4"/>
                        <a:pt x="84" y="4"/>
                        <a:pt x="84" y="4"/>
                      </a:cubicBezTo>
                      <a:cubicBezTo>
                        <a:pt x="83" y="4"/>
                        <a:pt x="83" y="4"/>
                        <a:pt x="83" y="4"/>
                      </a:cubicBezTo>
                      <a:cubicBezTo>
                        <a:pt x="83" y="3"/>
                        <a:pt x="83" y="3"/>
                        <a:pt x="83" y="3"/>
                      </a:cubicBezTo>
                      <a:cubicBezTo>
                        <a:pt x="83" y="3"/>
                        <a:pt x="83" y="3"/>
                        <a:pt x="83" y="3"/>
                      </a:cubicBezTo>
                      <a:cubicBezTo>
                        <a:pt x="84" y="3"/>
                        <a:pt x="84" y="3"/>
                        <a:pt x="84" y="3"/>
                      </a:cubicBezTo>
                      <a:cubicBezTo>
                        <a:pt x="85" y="3"/>
                        <a:pt x="85" y="3"/>
                        <a:pt x="85" y="3"/>
                      </a:cubicBezTo>
                      <a:cubicBezTo>
                        <a:pt x="85" y="2"/>
                        <a:pt x="85" y="2"/>
                        <a:pt x="85" y="2"/>
                      </a:cubicBezTo>
                      <a:cubicBezTo>
                        <a:pt x="85" y="2"/>
                        <a:pt x="85" y="2"/>
                        <a:pt x="85" y="2"/>
                      </a:cubicBezTo>
                      <a:cubicBezTo>
                        <a:pt x="84" y="2"/>
                        <a:pt x="84" y="2"/>
                        <a:pt x="84" y="2"/>
                      </a:cubicBezTo>
                      <a:cubicBezTo>
                        <a:pt x="84" y="1"/>
                        <a:pt x="84" y="1"/>
                        <a:pt x="84" y="1"/>
                      </a:cubicBezTo>
                      <a:cubicBezTo>
                        <a:pt x="84" y="1"/>
                        <a:pt x="84" y="1"/>
                        <a:pt x="84" y="1"/>
                      </a:cubicBezTo>
                      <a:cubicBezTo>
                        <a:pt x="84" y="0"/>
                        <a:pt x="84" y="0"/>
                        <a:pt x="84" y="0"/>
                      </a:cubicBezTo>
                      <a:cubicBezTo>
                        <a:pt x="83" y="1"/>
                        <a:pt x="83" y="1"/>
                        <a:pt x="83" y="1"/>
                      </a:cubicBezTo>
                      <a:cubicBezTo>
                        <a:pt x="82" y="1"/>
                        <a:pt x="82" y="1"/>
                        <a:pt x="82" y="1"/>
                      </a:cubicBezTo>
                      <a:cubicBezTo>
                        <a:pt x="82" y="0"/>
                        <a:pt x="82" y="0"/>
                        <a:pt x="82" y="0"/>
                      </a:cubicBezTo>
                      <a:cubicBezTo>
                        <a:pt x="81" y="1"/>
                        <a:pt x="81" y="1"/>
                        <a:pt x="81" y="1"/>
                      </a:cubicBezTo>
                      <a:cubicBezTo>
                        <a:pt x="81" y="1"/>
                        <a:pt x="81" y="1"/>
                        <a:pt x="81" y="1"/>
                      </a:cubicBezTo>
                      <a:cubicBezTo>
                        <a:pt x="82" y="2"/>
                        <a:pt x="82" y="2"/>
                        <a:pt x="82" y="2"/>
                      </a:cubicBezTo>
                      <a:cubicBezTo>
                        <a:pt x="81" y="2"/>
                        <a:pt x="81" y="2"/>
                        <a:pt x="81" y="2"/>
                      </a:cubicBezTo>
                      <a:cubicBezTo>
                        <a:pt x="81" y="2"/>
                        <a:pt x="81" y="2"/>
                        <a:pt x="81" y="2"/>
                      </a:cubicBezTo>
                      <a:cubicBezTo>
                        <a:pt x="80" y="2"/>
                        <a:pt x="80" y="2"/>
                        <a:pt x="80" y="2"/>
                      </a:cubicBezTo>
                      <a:cubicBezTo>
                        <a:pt x="80" y="2"/>
                        <a:pt x="80" y="2"/>
                        <a:pt x="80" y="2"/>
                      </a:cubicBezTo>
                      <a:cubicBezTo>
                        <a:pt x="80" y="3"/>
                        <a:pt x="80" y="3"/>
                        <a:pt x="80" y="3"/>
                      </a:cubicBezTo>
                      <a:cubicBezTo>
                        <a:pt x="80" y="3"/>
                        <a:pt x="80" y="3"/>
                        <a:pt x="80" y="3"/>
                      </a:cubicBezTo>
                      <a:cubicBezTo>
                        <a:pt x="81" y="3"/>
                        <a:pt x="81" y="3"/>
                        <a:pt x="81" y="3"/>
                      </a:cubicBezTo>
                      <a:cubicBezTo>
                        <a:pt x="81" y="3"/>
                        <a:pt x="81" y="3"/>
                        <a:pt x="81" y="3"/>
                      </a:cubicBezTo>
                      <a:cubicBezTo>
                        <a:pt x="81" y="4"/>
                        <a:pt x="81" y="4"/>
                        <a:pt x="81" y="4"/>
                      </a:cubicBezTo>
                      <a:cubicBezTo>
                        <a:pt x="80" y="4"/>
                        <a:pt x="80" y="4"/>
                        <a:pt x="80" y="4"/>
                      </a:cubicBezTo>
                      <a:cubicBezTo>
                        <a:pt x="80" y="4"/>
                        <a:pt x="80" y="4"/>
                        <a:pt x="80" y="4"/>
                      </a:cubicBezTo>
                      <a:cubicBezTo>
                        <a:pt x="80" y="5"/>
                        <a:pt x="80" y="5"/>
                        <a:pt x="80" y="5"/>
                      </a:cubicBezTo>
                      <a:cubicBezTo>
                        <a:pt x="80" y="5"/>
                        <a:pt x="80" y="5"/>
                        <a:pt x="80" y="5"/>
                      </a:cubicBezTo>
                      <a:cubicBezTo>
                        <a:pt x="80" y="6"/>
                        <a:pt x="80" y="6"/>
                        <a:pt x="80" y="6"/>
                      </a:cubicBezTo>
                      <a:cubicBezTo>
                        <a:pt x="79" y="6"/>
                        <a:pt x="79" y="6"/>
                        <a:pt x="79" y="6"/>
                      </a:cubicBezTo>
                      <a:cubicBezTo>
                        <a:pt x="80" y="7"/>
                        <a:pt x="80" y="7"/>
                        <a:pt x="80" y="7"/>
                      </a:cubicBezTo>
                      <a:cubicBezTo>
                        <a:pt x="79" y="7"/>
                        <a:pt x="79" y="7"/>
                        <a:pt x="79" y="7"/>
                      </a:cubicBezTo>
                      <a:cubicBezTo>
                        <a:pt x="79" y="7"/>
                        <a:pt x="79" y="7"/>
                        <a:pt x="79" y="7"/>
                      </a:cubicBezTo>
                      <a:cubicBezTo>
                        <a:pt x="78" y="7"/>
                        <a:pt x="78" y="7"/>
                        <a:pt x="78" y="7"/>
                      </a:cubicBezTo>
                      <a:cubicBezTo>
                        <a:pt x="78" y="7"/>
                        <a:pt x="78" y="7"/>
                        <a:pt x="78" y="7"/>
                      </a:cubicBezTo>
                      <a:cubicBezTo>
                        <a:pt x="77" y="8"/>
                        <a:pt x="77" y="8"/>
                        <a:pt x="77" y="8"/>
                      </a:cubicBezTo>
                      <a:cubicBezTo>
                        <a:pt x="77" y="7"/>
                        <a:pt x="77" y="7"/>
                        <a:pt x="77" y="7"/>
                      </a:cubicBezTo>
                      <a:cubicBezTo>
                        <a:pt x="78" y="5"/>
                        <a:pt x="78" y="5"/>
                        <a:pt x="78" y="5"/>
                      </a:cubicBezTo>
                      <a:cubicBezTo>
                        <a:pt x="77" y="5"/>
                        <a:pt x="77" y="5"/>
                        <a:pt x="77" y="5"/>
                      </a:cubicBezTo>
                      <a:cubicBezTo>
                        <a:pt x="78" y="5"/>
                        <a:pt x="78" y="5"/>
                        <a:pt x="78" y="5"/>
                      </a:cubicBezTo>
                      <a:cubicBezTo>
                        <a:pt x="78" y="4"/>
                        <a:pt x="78" y="4"/>
                        <a:pt x="78" y="4"/>
                      </a:cubicBezTo>
                      <a:cubicBezTo>
                        <a:pt x="78" y="3"/>
                        <a:pt x="78" y="3"/>
                        <a:pt x="78" y="3"/>
                      </a:cubicBezTo>
                      <a:cubicBezTo>
                        <a:pt x="78" y="3"/>
                        <a:pt x="78" y="3"/>
                        <a:pt x="78" y="3"/>
                      </a:cubicBezTo>
                      <a:cubicBezTo>
                        <a:pt x="77" y="3"/>
                        <a:pt x="77" y="3"/>
                        <a:pt x="77" y="3"/>
                      </a:cubicBezTo>
                      <a:cubicBezTo>
                        <a:pt x="76" y="4"/>
                        <a:pt x="76" y="4"/>
                        <a:pt x="76" y="4"/>
                      </a:cubicBezTo>
                      <a:cubicBezTo>
                        <a:pt x="76" y="5"/>
                        <a:pt x="76" y="5"/>
                        <a:pt x="76" y="5"/>
                      </a:cubicBezTo>
                      <a:cubicBezTo>
                        <a:pt x="75" y="7"/>
                        <a:pt x="75" y="7"/>
                        <a:pt x="75" y="7"/>
                      </a:cubicBezTo>
                      <a:cubicBezTo>
                        <a:pt x="75" y="8"/>
                        <a:pt x="75" y="8"/>
                        <a:pt x="75" y="8"/>
                      </a:cubicBezTo>
                      <a:cubicBezTo>
                        <a:pt x="75" y="8"/>
                        <a:pt x="75" y="8"/>
                        <a:pt x="75" y="8"/>
                      </a:cubicBezTo>
                      <a:cubicBezTo>
                        <a:pt x="75" y="9"/>
                        <a:pt x="75" y="9"/>
                        <a:pt x="75" y="9"/>
                      </a:cubicBezTo>
                      <a:cubicBezTo>
                        <a:pt x="74" y="10"/>
                        <a:pt x="74" y="10"/>
                        <a:pt x="74" y="10"/>
                      </a:cubicBezTo>
                      <a:cubicBezTo>
                        <a:pt x="73" y="11"/>
                        <a:pt x="73" y="11"/>
                        <a:pt x="73" y="11"/>
                      </a:cubicBezTo>
                      <a:cubicBezTo>
                        <a:pt x="73" y="10"/>
                        <a:pt x="73" y="10"/>
                        <a:pt x="73" y="10"/>
                      </a:cubicBezTo>
                      <a:cubicBezTo>
                        <a:pt x="73" y="9"/>
                        <a:pt x="73" y="9"/>
                        <a:pt x="73" y="9"/>
                      </a:cubicBezTo>
                      <a:cubicBezTo>
                        <a:pt x="73" y="8"/>
                        <a:pt x="73" y="8"/>
                        <a:pt x="73" y="8"/>
                      </a:cubicBezTo>
                      <a:cubicBezTo>
                        <a:pt x="73" y="7"/>
                        <a:pt x="73" y="7"/>
                        <a:pt x="73" y="7"/>
                      </a:cubicBezTo>
                      <a:cubicBezTo>
                        <a:pt x="74" y="7"/>
                        <a:pt x="74" y="7"/>
                        <a:pt x="74" y="7"/>
                      </a:cubicBezTo>
                      <a:cubicBezTo>
                        <a:pt x="73" y="6"/>
                        <a:pt x="73" y="6"/>
                        <a:pt x="73" y="6"/>
                      </a:cubicBezTo>
                      <a:cubicBezTo>
                        <a:pt x="75" y="5"/>
                        <a:pt x="75" y="5"/>
                        <a:pt x="75" y="5"/>
                      </a:cubicBezTo>
                      <a:cubicBezTo>
                        <a:pt x="75" y="4"/>
                        <a:pt x="75" y="4"/>
                        <a:pt x="75" y="4"/>
                      </a:cubicBezTo>
                      <a:cubicBezTo>
                        <a:pt x="75" y="4"/>
                        <a:pt x="75" y="4"/>
                        <a:pt x="75" y="4"/>
                      </a:cubicBezTo>
                      <a:cubicBezTo>
                        <a:pt x="75" y="3"/>
                        <a:pt x="75" y="3"/>
                        <a:pt x="75" y="3"/>
                      </a:cubicBezTo>
                      <a:cubicBezTo>
                        <a:pt x="74" y="3"/>
                        <a:pt x="74" y="3"/>
                        <a:pt x="74" y="3"/>
                      </a:cubicBezTo>
                      <a:cubicBezTo>
                        <a:pt x="73" y="3"/>
                        <a:pt x="73" y="3"/>
                        <a:pt x="73" y="3"/>
                      </a:cubicBezTo>
                      <a:cubicBezTo>
                        <a:pt x="73" y="3"/>
                        <a:pt x="73" y="3"/>
                        <a:pt x="73" y="3"/>
                      </a:cubicBezTo>
                      <a:cubicBezTo>
                        <a:pt x="73" y="3"/>
                        <a:pt x="73" y="3"/>
                        <a:pt x="73" y="3"/>
                      </a:cubicBezTo>
                      <a:cubicBezTo>
                        <a:pt x="73" y="4"/>
                        <a:pt x="73" y="4"/>
                        <a:pt x="73" y="4"/>
                      </a:cubicBezTo>
                      <a:cubicBezTo>
                        <a:pt x="73" y="3"/>
                        <a:pt x="73" y="3"/>
                        <a:pt x="73" y="3"/>
                      </a:cubicBezTo>
                      <a:cubicBezTo>
                        <a:pt x="72" y="3"/>
                        <a:pt x="72" y="3"/>
                        <a:pt x="72" y="3"/>
                      </a:cubicBezTo>
                      <a:cubicBezTo>
                        <a:pt x="71" y="3"/>
                        <a:pt x="71" y="3"/>
                        <a:pt x="71" y="3"/>
                      </a:cubicBezTo>
                      <a:cubicBezTo>
                        <a:pt x="71" y="3"/>
                        <a:pt x="71" y="3"/>
                        <a:pt x="71" y="3"/>
                      </a:cubicBezTo>
                      <a:cubicBezTo>
                        <a:pt x="71" y="4"/>
                        <a:pt x="71" y="4"/>
                        <a:pt x="71" y="4"/>
                      </a:cubicBezTo>
                      <a:cubicBezTo>
                        <a:pt x="70" y="4"/>
                        <a:pt x="70" y="4"/>
                        <a:pt x="70" y="4"/>
                      </a:cubicBezTo>
                      <a:cubicBezTo>
                        <a:pt x="70" y="4"/>
                        <a:pt x="70" y="4"/>
                        <a:pt x="70" y="4"/>
                      </a:cubicBezTo>
                      <a:cubicBezTo>
                        <a:pt x="70" y="4"/>
                        <a:pt x="70" y="4"/>
                        <a:pt x="70" y="4"/>
                      </a:cubicBezTo>
                      <a:cubicBezTo>
                        <a:pt x="69" y="4"/>
                        <a:pt x="69" y="4"/>
                        <a:pt x="69" y="4"/>
                      </a:cubicBezTo>
                      <a:cubicBezTo>
                        <a:pt x="69" y="4"/>
                        <a:pt x="69" y="4"/>
                        <a:pt x="69" y="4"/>
                      </a:cubicBezTo>
                      <a:cubicBezTo>
                        <a:pt x="70" y="5"/>
                        <a:pt x="70" y="5"/>
                        <a:pt x="70" y="5"/>
                      </a:cubicBezTo>
                      <a:cubicBezTo>
                        <a:pt x="71" y="6"/>
                        <a:pt x="71" y="6"/>
                        <a:pt x="71" y="6"/>
                      </a:cubicBezTo>
                      <a:cubicBezTo>
                        <a:pt x="70" y="6"/>
                        <a:pt x="70" y="6"/>
                        <a:pt x="70" y="6"/>
                      </a:cubicBezTo>
                      <a:cubicBezTo>
                        <a:pt x="70" y="6"/>
                        <a:pt x="70" y="6"/>
                        <a:pt x="70" y="6"/>
                      </a:cubicBezTo>
                      <a:cubicBezTo>
                        <a:pt x="69" y="6"/>
                        <a:pt x="69" y="6"/>
                        <a:pt x="69" y="6"/>
                      </a:cubicBezTo>
                      <a:cubicBezTo>
                        <a:pt x="69" y="6"/>
                        <a:pt x="69" y="6"/>
                        <a:pt x="69" y="6"/>
                      </a:cubicBezTo>
                      <a:cubicBezTo>
                        <a:pt x="70" y="7"/>
                        <a:pt x="70" y="7"/>
                        <a:pt x="70" y="7"/>
                      </a:cubicBezTo>
                      <a:cubicBezTo>
                        <a:pt x="69" y="7"/>
                        <a:pt x="69" y="7"/>
                        <a:pt x="69" y="7"/>
                      </a:cubicBezTo>
                      <a:cubicBezTo>
                        <a:pt x="68" y="7"/>
                        <a:pt x="68" y="7"/>
                        <a:pt x="68" y="7"/>
                      </a:cubicBezTo>
                      <a:cubicBezTo>
                        <a:pt x="68" y="7"/>
                        <a:pt x="68" y="7"/>
                        <a:pt x="68" y="7"/>
                      </a:cubicBezTo>
                      <a:cubicBezTo>
                        <a:pt x="67" y="8"/>
                        <a:pt x="67" y="8"/>
                        <a:pt x="67" y="8"/>
                      </a:cubicBezTo>
                      <a:cubicBezTo>
                        <a:pt x="67" y="8"/>
                        <a:pt x="67" y="8"/>
                        <a:pt x="67" y="8"/>
                      </a:cubicBezTo>
                      <a:cubicBezTo>
                        <a:pt x="67" y="8"/>
                        <a:pt x="67" y="8"/>
                        <a:pt x="67" y="8"/>
                      </a:cubicBezTo>
                      <a:cubicBezTo>
                        <a:pt x="67" y="8"/>
                        <a:pt x="67" y="8"/>
                        <a:pt x="67" y="8"/>
                      </a:cubicBezTo>
                      <a:cubicBezTo>
                        <a:pt x="66" y="9"/>
                        <a:pt x="66" y="9"/>
                        <a:pt x="66" y="9"/>
                      </a:cubicBezTo>
                      <a:cubicBezTo>
                        <a:pt x="66" y="9"/>
                        <a:pt x="66" y="9"/>
                        <a:pt x="66" y="9"/>
                      </a:cubicBezTo>
                      <a:cubicBezTo>
                        <a:pt x="67" y="10"/>
                        <a:pt x="67" y="10"/>
                        <a:pt x="67" y="10"/>
                      </a:cubicBezTo>
                      <a:cubicBezTo>
                        <a:pt x="66" y="11"/>
                        <a:pt x="66" y="11"/>
                        <a:pt x="66" y="11"/>
                      </a:cubicBezTo>
                      <a:cubicBezTo>
                        <a:pt x="67" y="11"/>
                        <a:pt x="67" y="11"/>
                        <a:pt x="67" y="11"/>
                      </a:cubicBezTo>
                      <a:cubicBezTo>
                        <a:pt x="67" y="11"/>
                        <a:pt x="67" y="11"/>
                        <a:pt x="67" y="11"/>
                      </a:cubicBezTo>
                      <a:cubicBezTo>
                        <a:pt x="67" y="12"/>
                        <a:pt x="67" y="12"/>
                        <a:pt x="67" y="12"/>
                      </a:cubicBezTo>
                      <a:cubicBezTo>
                        <a:pt x="66" y="12"/>
                        <a:pt x="66" y="12"/>
                        <a:pt x="66" y="12"/>
                      </a:cubicBezTo>
                      <a:cubicBezTo>
                        <a:pt x="65" y="10"/>
                        <a:pt x="65" y="10"/>
                        <a:pt x="65" y="10"/>
                      </a:cubicBezTo>
                      <a:cubicBezTo>
                        <a:pt x="65" y="10"/>
                        <a:pt x="65" y="10"/>
                        <a:pt x="65" y="10"/>
                      </a:cubicBezTo>
                      <a:cubicBezTo>
                        <a:pt x="65" y="10"/>
                        <a:pt x="65" y="10"/>
                        <a:pt x="65" y="10"/>
                      </a:cubicBezTo>
                      <a:cubicBezTo>
                        <a:pt x="65" y="9"/>
                        <a:pt x="65" y="9"/>
                        <a:pt x="65" y="9"/>
                      </a:cubicBezTo>
                      <a:cubicBezTo>
                        <a:pt x="64" y="9"/>
                        <a:pt x="64" y="9"/>
                        <a:pt x="64" y="9"/>
                      </a:cubicBezTo>
                      <a:cubicBezTo>
                        <a:pt x="63" y="9"/>
                        <a:pt x="63" y="9"/>
                        <a:pt x="63" y="9"/>
                      </a:cubicBezTo>
                      <a:cubicBezTo>
                        <a:pt x="61" y="8"/>
                        <a:pt x="61" y="8"/>
                        <a:pt x="61" y="8"/>
                      </a:cubicBezTo>
                      <a:cubicBezTo>
                        <a:pt x="61" y="8"/>
                        <a:pt x="61" y="8"/>
                        <a:pt x="61" y="8"/>
                      </a:cubicBezTo>
                      <a:cubicBezTo>
                        <a:pt x="60" y="9"/>
                        <a:pt x="60" y="9"/>
                        <a:pt x="60" y="9"/>
                      </a:cubicBezTo>
                      <a:cubicBezTo>
                        <a:pt x="60" y="8"/>
                        <a:pt x="60" y="8"/>
                        <a:pt x="60" y="8"/>
                      </a:cubicBezTo>
                      <a:cubicBezTo>
                        <a:pt x="59" y="9"/>
                        <a:pt x="59" y="9"/>
                        <a:pt x="59" y="9"/>
                      </a:cubicBezTo>
                      <a:cubicBezTo>
                        <a:pt x="59" y="9"/>
                        <a:pt x="59" y="9"/>
                        <a:pt x="59" y="9"/>
                      </a:cubicBezTo>
                      <a:cubicBezTo>
                        <a:pt x="58" y="9"/>
                        <a:pt x="58" y="9"/>
                        <a:pt x="58" y="9"/>
                      </a:cubicBezTo>
                      <a:cubicBezTo>
                        <a:pt x="60" y="11"/>
                        <a:pt x="60" y="11"/>
                        <a:pt x="60" y="11"/>
                      </a:cubicBezTo>
                      <a:cubicBezTo>
                        <a:pt x="60" y="11"/>
                        <a:pt x="60" y="11"/>
                        <a:pt x="60" y="11"/>
                      </a:cubicBezTo>
                      <a:cubicBezTo>
                        <a:pt x="61" y="11"/>
                        <a:pt x="61" y="11"/>
                        <a:pt x="61" y="11"/>
                      </a:cubicBezTo>
                      <a:cubicBezTo>
                        <a:pt x="62" y="11"/>
                        <a:pt x="62" y="11"/>
                        <a:pt x="62" y="11"/>
                      </a:cubicBezTo>
                      <a:cubicBezTo>
                        <a:pt x="61" y="12"/>
                        <a:pt x="61" y="12"/>
                        <a:pt x="61" y="12"/>
                      </a:cubicBezTo>
                      <a:cubicBezTo>
                        <a:pt x="61" y="13"/>
                        <a:pt x="61" y="13"/>
                        <a:pt x="61" y="13"/>
                      </a:cubicBezTo>
                      <a:cubicBezTo>
                        <a:pt x="62" y="14"/>
                        <a:pt x="62" y="14"/>
                        <a:pt x="62" y="14"/>
                      </a:cubicBezTo>
                      <a:cubicBezTo>
                        <a:pt x="62" y="14"/>
                        <a:pt x="62" y="14"/>
                        <a:pt x="62" y="14"/>
                      </a:cubicBezTo>
                      <a:cubicBezTo>
                        <a:pt x="61" y="14"/>
                        <a:pt x="61" y="14"/>
                        <a:pt x="61" y="14"/>
                      </a:cubicBezTo>
                      <a:cubicBezTo>
                        <a:pt x="61" y="13"/>
                        <a:pt x="61" y="13"/>
                        <a:pt x="61" y="13"/>
                      </a:cubicBezTo>
                      <a:cubicBezTo>
                        <a:pt x="60" y="12"/>
                        <a:pt x="60" y="12"/>
                        <a:pt x="60" y="12"/>
                      </a:cubicBezTo>
                      <a:cubicBezTo>
                        <a:pt x="59" y="12"/>
                        <a:pt x="59" y="12"/>
                        <a:pt x="59" y="12"/>
                      </a:cubicBezTo>
                      <a:cubicBezTo>
                        <a:pt x="59" y="13"/>
                        <a:pt x="59" y="13"/>
                        <a:pt x="59" y="13"/>
                      </a:cubicBezTo>
                      <a:cubicBezTo>
                        <a:pt x="58" y="13"/>
                        <a:pt x="58" y="13"/>
                        <a:pt x="58" y="13"/>
                      </a:cubicBezTo>
                      <a:cubicBezTo>
                        <a:pt x="58" y="12"/>
                        <a:pt x="58" y="12"/>
                        <a:pt x="58" y="12"/>
                      </a:cubicBezTo>
                      <a:cubicBezTo>
                        <a:pt x="58" y="13"/>
                        <a:pt x="58" y="13"/>
                        <a:pt x="58" y="13"/>
                      </a:cubicBezTo>
                      <a:cubicBezTo>
                        <a:pt x="58" y="13"/>
                        <a:pt x="58" y="13"/>
                        <a:pt x="58" y="13"/>
                      </a:cubicBezTo>
                      <a:cubicBezTo>
                        <a:pt x="57" y="14"/>
                        <a:pt x="57" y="14"/>
                        <a:pt x="57" y="14"/>
                      </a:cubicBezTo>
                      <a:cubicBezTo>
                        <a:pt x="57" y="14"/>
                        <a:pt x="57" y="14"/>
                        <a:pt x="57" y="14"/>
                      </a:cubicBezTo>
                      <a:cubicBezTo>
                        <a:pt x="58" y="15"/>
                        <a:pt x="58" y="15"/>
                        <a:pt x="58" y="15"/>
                      </a:cubicBezTo>
                      <a:cubicBezTo>
                        <a:pt x="58" y="16"/>
                        <a:pt x="58" y="16"/>
                        <a:pt x="58" y="16"/>
                      </a:cubicBezTo>
                      <a:cubicBezTo>
                        <a:pt x="57" y="16"/>
                        <a:pt x="57" y="16"/>
                        <a:pt x="57" y="16"/>
                      </a:cubicBezTo>
                      <a:cubicBezTo>
                        <a:pt x="57" y="15"/>
                        <a:pt x="57" y="15"/>
                        <a:pt x="57" y="15"/>
                      </a:cubicBezTo>
                      <a:cubicBezTo>
                        <a:pt x="56" y="16"/>
                        <a:pt x="56" y="16"/>
                        <a:pt x="56" y="16"/>
                      </a:cubicBezTo>
                      <a:cubicBezTo>
                        <a:pt x="56" y="17"/>
                        <a:pt x="56" y="17"/>
                        <a:pt x="56" y="17"/>
                      </a:cubicBezTo>
                      <a:cubicBezTo>
                        <a:pt x="55" y="17"/>
                        <a:pt x="55" y="17"/>
                        <a:pt x="55" y="17"/>
                      </a:cubicBezTo>
                      <a:cubicBezTo>
                        <a:pt x="55" y="17"/>
                        <a:pt x="55" y="17"/>
                        <a:pt x="55" y="17"/>
                      </a:cubicBezTo>
                      <a:cubicBezTo>
                        <a:pt x="56" y="17"/>
                        <a:pt x="56" y="17"/>
                        <a:pt x="56" y="17"/>
                      </a:cubicBezTo>
                      <a:cubicBezTo>
                        <a:pt x="56" y="16"/>
                        <a:pt x="56" y="16"/>
                        <a:pt x="56" y="16"/>
                      </a:cubicBezTo>
                      <a:cubicBezTo>
                        <a:pt x="56" y="15"/>
                        <a:pt x="56" y="15"/>
                        <a:pt x="56" y="15"/>
                      </a:cubicBezTo>
                      <a:cubicBezTo>
                        <a:pt x="56" y="12"/>
                        <a:pt x="56" y="12"/>
                        <a:pt x="56" y="12"/>
                      </a:cubicBezTo>
                      <a:cubicBezTo>
                        <a:pt x="55" y="13"/>
                        <a:pt x="55" y="13"/>
                        <a:pt x="55" y="13"/>
                      </a:cubicBezTo>
                      <a:cubicBezTo>
                        <a:pt x="54" y="14"/>
                        <a:pt x="54" y="14"/>
                        <a:pt x="54" y="14"/>
                      </a:cubicBezTo>
                      <a:cubicBezTo>
                        <a:pt x="54" y="15"/>
                        <a:pt x="54" y="15"/>
                        <a:pt x="54" y="15"/>
                      </a:cubicBezTo>
                      <a:cubicBezTo>
                        <a:pt x="54" y="16"/>
                        <a:pt x="54" y="16"/>
                        <a:pt x="54" y="16"/>
                      </a:cubicBezTo>
                      <a:cubicBezTo>
                        <a:pt x="53" y="17"/>
                        <a:pt x="53" y="17"/>
                        <a:pt x="53" y="17"/>
                      </a:cubicBezTo>
                      <a:cubicBezTo>
                        <a:pt x="53" y="16"/>
                        <a:pt x="53" y="16"/>
                        <a:pt x="53" y="16"/>
                      </a:cubicBezTo>
                      <a:cubicBezTo>
                        <a:pt x="54" y="15"/>
                        <a:pt x="54" y="15"/>
                        <a:pt x="54" y="15"/>
                      </a:cubicBezTo>
                      <a:cubicBezTo>
                        <a:pt x="53" y="14"/>
                        <a:pt x="53" y="14"/>
                        <a:pt x="53" y="14"/>
                      </a:cubicBezTo>
                      <a:cubicBezTo>
                        <a:pt x="53" y="14"/>
                        <a:pt x="53" y="14"/>
                        <a:pt x="53" y="14"/>
                      </a:cubicBezTo>
                      <a:cubicBezTo>
                        <a:pt x="52" y="14"/>
                        <a:pt x="52" y="14"/>
                        <a:pt x="52" y="14"/>
                      </a:cubicBezTo>
                      <a:cubicBezTo>
                        <a:pt x="51" y="15"/>
                        <a:pt x="51" y="15"/>
                        <a:pt x="51" y="15"/>
                      </a:cubicBezTo>
                      <a:cubicBezTo>
                        <a:pt x="52" y="16"/>
                        <a:pt x="52" y="16"/>
                        <a:pt x="52" y="16"/>
                      </a:cubicBezTo>
                      <a:cubicBezTo>
                        <a:pt x="52" y="17"/>
                        <a:pt x="52" y="17"/>
                        <a:pt x="52" y="17"/>
                      </a:cubicBezTo>
                      <a:cubicBezTo>
                        <a:pt x="53" y="18"/>
                        <a:pt x="53" y="18"/>
                        <a:pt x="53" y="18"/>
                      </a:cubicBezTo>
                      <a:cubicBezTo>
                        <a:pt x="53" y="18"/>
                        <a:pt x="53" y="18"/>
                        <a:pt x="53" y="18"/>
                      </a:cubicBezTo>
                      <a:cubicBezTo>
                        <a:pt x="53" y="19"/>
                        <a:pt x="53" y="19"/>
                        <a:pt x="53" y="19"/>
                      </a:cubicBezTo>
                      <a:cubicBezTo>
                        <a:pt x="52" y="18"/>
                        <a:pt x="52" y="18"/>
                        <a:pt x="52" y="18"/>
                      </a:cubicBezTo>
                      <a:cubicBezTo>
                        <a:pt x="51" y="18"/>
                        <a:pt x="51" y="18"/>
                        <a:pt x="51" y="18"/>
                      </a:cubicBezTo>
                      <a:cubicBezTo>
                        <a:pt x="51" y="16"/>
                        <a:pt x="51" y="16"/>
                        <a:pt x="51" y="16"/>
                      </a:cubicBezTo>
                      <a:cubicBezTo>
                        <a:pt x="51" y="16"/>
                        <a:pt x="51" y="16"/>
                        <a:pt x="51" y="16"/>
                      </a:cubicBezTo>
                      <a:cubicBezTo>
                        <a:pt x="49" y="16"/>
                        <a:pt x="49" y="16"/>
                        <a:pt x="49" y="16"/>
                      </a:cubicBezTo>
                      <a:cubicBezTo>
                        <a:pt x="49" y="17"/>
                        <a:pt x="49" y="17"/>
                        <a:pt x="49" y="17"/>
                      </a:cubicBezTo>
                      <a:cubicBezTo>
                        <a:pt x="50" y="18"/>
                        <a:pt x="50" y="18"/>
                        <a:pt x="50" y="18"/>
                      </a:cubicBezTo>
                      <a:cubicBezTo>
                        <a:pt x="51" y="18"/>
                        <a:pt x="51" y="18"/>
                        <a:pt x="51" y="18"/>
                      </a:cubicBezTo>
                      <a:cubicBezTo>
                        <a:pt x="51" y="18"/>
                        <a:pt x="51" y="18"/>
                        <a:pt x="51" y="18"/>
                      </a:cubicBezTo>
                      <a:cubicBezTo>
                        <a:pt x="50" y="18"/>
                        <a:pt x="50" y="18"/>
                        <a:pt x="50" y="18"/>
                      </a:cubicBezTo>
                      <a:cubicBezTo>
                        <a:pt x="50" y="18"/>
                        <a:pt x="50" y="18"/>
                        <a:pt x="50" y="18"/>
                      </a:cubicBezTo>
                      <a:cubicBezTo>
                        <a:pt x="50" y="19"/>
                        <a:pt x="50" y="19"/>
                        <a:pt x="50" y="19"/>
                      </a:cubicBezTo>
                      <a:cubicBezTo>
                        <a:pt x="49" y="18"/>
                        <a:pt x="49" y="18"/>
                        <a:pt x="49" y="18"/>
                      </a:cubicBezTo>
                      <a:cubicBezTo>
                        <a:pt x="49" y="17"/>
                        <a:pt x="49" y="17"/>
                        <a:pt x="49" y="17"/>
                      </a:cubicBezTo>
                      <a:cubicBezTo>
                        <a:pt x="49" y="17"/>
                        <a:pt x="49" y="17"/>
                        <a:pt x="49" y="17"/>
                      </a:cubicBezTo>
                      <a:cubicBezTo>
                        <a:pt x="49" y="17"/>
                        <a:pt x="49" y="17"/>
                        <a:pt x="49" y="17"/>
                      </a:cubicBezTo>
                      <a:cubicBezTo>
                        <a:pt x="48" y="17"/>
                        <a:pt x="48" y="17"/>
                        <a:pt x="48" y="17"/>
                      </a:cubicBezTo>
                      <a:cubicBezTo>
                        <a:pt x="48" y="18"/>
                        <a:pt x="48" y="18"/>
                        <a:pt x="48" y="18"/>
                      </a:cubicBezTo>
                      <a:cubicBezTo>
                        <a:pt x="48" y="18"/>
                        <a:pt x="48" y="18"/>
                        <a:pt x="48" y="18"/>
                      </a:cubicBezTo>
                      <a:cubicBezTo>
                        <a:pt x="48" y="19"/>
                        <a:pt x="48" y="19"/>
                        <a:pt x="48" y="19"/>
                      </a:cubicBezTo>
                      <a:cubicBezTo>
                        <a:pt x="47" y="19"/>
                        <a:pt x="47" y="19"/>
                        <a:pt x="47" y="19"/>
                      </a:cubicBezTo>
                      <a:cubicBezTo>
                        <a:pt x="47" y="19"/>
                        <a:pt x="47" y="19"/>
                        <a:pt x="47" y="19"/>
                      </a:cubicBezTo>
                      <a:cubicBezTo>
                        <a:pt x="46" y="20"/>
                        <a:pt x="46" y="20"/>
                        <a:pt x="46" y="20"/>
                      </a:cubicBezTo>
                      <a:cubicBezTo>
                        <a:pt x="46" y="20"/>
                        <a:pt x="46" y="20"/>
                        <a:pt x="46" y="20"/>
                      </a:cubicBezTo>
                      <a:cubicBezTo>
                        <a:pt x="47" y="20"/>
                        <a:pt x="47" y="20"/>
                        <a:pt x="47" y="20"/>
                      </a:cubicBezTo>
                      <a:cubicBezTo>
                        <a:pt x="47" y="21"/>
                        <a:pt x="47" y="21"/>
                        <a:pt x="47" y="21"/>
                      </a:cubicBezTo>
                      <a:cubicBezTo>
                        <a:pt x="46" y="21"/>
                        <a:pt x="46" y="21"/>
                        <a:pt x="46" y="21"/>
                      </a:cubicBezTo>
                      <a:cubicBezTo>
                        <a:pt x="46" y="21"/>
                        <a:pt x="46" y="21"/>
                        <a:pt x="46" y="21"/>
                      </a:cubicBezTo>
                      <a:cubicBezTo>
                        <a:pt x="46" y="22"/>
                        <a:pt x="46" y="22"/>
                        <a:pt x="46" y="22"/>
                      </a:cubicBezTo>
                      <a:cubicBezTo>
                        <a:pt x="46" y="22"/>
                        <a:pt x="46" y="22"/>
                        <a:pt x="46" y="22"/>
                      </a:cubicBezTo>
                      <a:cubicBezTo>
                        <a:pt x="45" y="22"/>
                        <a:pt x="45" y="22"/>
                        <a:pt x="45" y="22"/>
                      </a:cubicBezTo>
                      <a:cubicBezTo>
                        <a:pt x="45" y="23"/>
                        <a:pt x="45" y="23"/>
                        <a:pt x="45" y="23"/>
                      </a:cubicBezTo>
                      <a:cubicBezTo>
                        <a:pt x="46" y="23"/>
                        <a:pt x="46" y="23"/>
                        <a:pt x="46" y="23"/>
                      </a:cubicBezTo>
                      <a:cubicBezTo>
                        <a:pt x="45" y="23"/>
                        <a:pt x="45" y="23"/>
                        <a:pt x="45" y="23"/>
                      </a:cubicBezTo>
                      <a:cubicBezTo>
                        <a:pt x="45" y="22"/>
                        <a:pt x="45" y="22"/>
                        <a:pt x="45" y="22"/>
                      </a:cubicBezTo>
                      <a:cubicBezTo>
                        <a:pt x="44" y="23"/>
                        <a:pt x="44" y="23"/>
                        <a:pt x="44" y="23"/>
                      </a:cubicBezTo>
                      <a:cubicBezTo>
                        <a:pt x="43" y="23"/>
                        <a:pt x="43" y="23"/>
                        <a:pt x="43" y="23"/>
                      </a:cubicBezTo>
                      <a:cubicBezTo>
                        <a:pt x="44" y="24"/>
                        <a:pt x="44" y="24"/>
                        <a:pt x="44" y="24"/>
                      </a:cubicBezTo>
                      <a:cubicBezTo>
                        <a:pt x="43" y="24"/>
                        <a:pt x="43" y="24"/>
                        <a:pt x="43" y="24"/>
                      </a:cubicBezTo>
                      <a:cubicBezTo>
                        <a:pt x="42" y="24"/>
                        <a:pt x="42" y="24"/>
                        <a:pt x="42" y="24"/>
                      </a:cubicBezTo>
                      <a:cubicBezTo>
                        <a:pt x="42" y="25"/>
                        <a:pt x="42" y="25"/>
                        <a:pt x="42" y="25"/>
                      </a:cubicBezTo>
                      <a:cubicBezTo>
                        <a:pt x="43" y="25"/>
                        <a:pt x="43" y="25"/>
                        <a:pt x="43" y="25"/>
                      </a:cubicBezTo>
                      <a:cubicBezTo>
                        <a:pt x="45" y="24"/>
                        <a:pt x="45" y="24"/>
                        <a:pt x="45" y="24"/>
                      </a:cubicBezTo>
                      <a:cubicBezTo>
                        <a:pt x="45" y="25"/>
                        <a:pt x="45" y="25"/>
                        <a:pt x="45" y="25"/>
                      </a:cubicBezTo>
                      <a:cubicBezTo>
                        <a:pt x="46" y="24"/>
                        <a:pt x="46" y="24"/>
                        <a:pt x="46" y="24"/>
                      </a:cubicBezTo>
                      <a:cubicBezTo>
                        <a:pt x="47" y="24"/>
                        <a:pt x="47" y="24"/>
                        <a:pt x="47" y="24"/>
                      </a:cubicBezTo>
                      <a:cubicBezTo>
                        <a:pt x="47" y="25"/>
                        <a:pt x="47" y="25"/>
                        <a:pt x="47" y="25"/>
                      </a:cubicBezTo>
                      <a:cubicBezTo>
                        <a:pt x="46" y="26"/>
                        <a:pt x="46" y="26"/>
                        <a:pt x="46" y="26"/>
                      </a:cubicBezTo>
                      <a:cubicBezTo>
                        <a:pt x="46" y="27"/>
                        <a:pt x="46" y="27"/>
                        <a:pt x="46" y="27"/>
                      </a:cubicBezTo>
                      <a:cubicBezTo>
                        <a:pt x="46" y="27"/>
                        <a:pt x="46" y="27"/>
                        <a:pt x="46" y="27"/>
                      </a:cubicBezTo>
                      <a:cubicBezTo>
                        <a:pt x="45" y="27"/>
                        <a:pt x="45" y="27"/>
                        <a:pt x="45" y="27"/>
                      </a:cubicBezTo>
                      <a:cubicBezTo>
                        <a:pt x="45" y="26"/>
                        <a:pt x="45" y="26"/>
                        <a:pt x="45" y="26"/>
                      </a:cubicBezTo>
                      <a:cubicBezTo>
                        <a:pt x="44" y="26"/>
                        <a:pt x="44" y="26"/>
                        <a:pt x="44" y="26"/>
                      </a:cubicBezTo>
                      <a:cubicBezTo>
                        <a:pt x="44" y="26"/>
                        <a:pt x="44" y="26"/>
                        <a:pt x="44" y="26"/>
                      </a:cubicBezTo>
                      <a:cubicBezTo>
                        <a:pt x="43" y="26"/>
                        <a:pt x="43" y="26"/>
                        <a:pt x="43" y="26"/>
                      </a:cubicBezTo>
                      <a:cubicBezTo>
                        <a:pt x="43" y="26"/>
                        <a:pt x="43" y="26"/>
                        <a:pt x="43" y="26"/>
                      </a:cubicBezTo>
                      <a:cubicBezTo>
                        <a:pt x="43" y="27"/>
                        <a:pt x="43" y="27"/>
                        <a:pt x="43" y="27"/>
                      </a:cubicBezTo>
                      <a:cubicBezTo>
                        <a:pt x="42" y="26"/>
                        <a:pt x="42" y="26"/>
                        <a:pt x="42" y="26"/>
                      </a:cubicBezTo>
                      <a:cubicBezTo>
                        <a:pt x="42" y="26"/>
                        <a:pt x="42" y="26"/>
                        <a:pt x="42" y="26"/>
                      </a:cubicBezTo>
                      <a:cubicBezTo>
                        <a:pt x="43" y="27"/>
                        <a:pt x="43" y="27"/>
                        <a:pt x="43" y="27"/>
                      </a:cubicBezTo>
                      <a:cubicBezTo>
                        <a:pt x="43" y="27"/>
                        <a:pt x="43" y="27"/>
                        <a:pt x="43" y="27"/>
                      </a:cubicBezTo>
                      <a:cubicBezTo>
                        <a:pt x="42" y="27"/>
                        <a:pt x="42" y="27"/>
                        <a:pt x="42" y="27"/>
                      </a:cubicBezTo>
                      <a:cubicBezTo>
                        <a:pt x="42" y="28"/>
                        <a:pt x="42" y="28"/>
                        <a:pt x="42" y="28"/>
                      </a:cubicBezTo>
                      <a:cubicBezTo>
                        <a:pt x="42" y="28"/>
                        <a:pt x="42" y="28"/>
                        <a:pt x="42" y="28"/>
                      </a:cubicBezTo>
                      <a:cubicBezTo>
                        <a:pt x="42" y="29"/>
                        <a:pt x="42" y="29"/>
                        <a:pt x="42" y="29"/>
                      </a:cubicBezTo>
                      <a:cubicBezTo>
                        <a:pt x="42" y="28"/>
                        <a:pt x="42" y="28"/>
                        <a:pt x="42" y="28"/>
                      </a:cubicBezTo>
                      <a:cubicBezTo>
                        <a:pt x="42" y="28"/>
                        <a:pt x="42" y="28"/>
                        <a:pt x="42" y="28"/>
                      </a:cubicBezTo>
                      <a:cubicBezTo>
                        <a:pt x="41" y="27"/>
                        <a:pt x="41" y="27"/>
                        <a:pt x="41" y="27"/>
                      </a:cubicBezTo>
                      <a:cubicBezTo>
                        <a:pt x="40" y="27"/>
                        <a:pt x="40" y="27"/>
                        <a:pt x="40" y="27"/>
                      </a:cubicBezTo>
                      <a:cubicBezTo>
                        <a:pt x="40" y="28"/>
                        <a:pt x="40" y="28"/>
                        <a:pt x="40" y="28"/>
                      </a:cubicBezTo>
                      <a:cubicBezTo>
                        <a:pt x="39" y="27"/>
                        <a:pt x="39" y="27"/>
                        <a:pt x="39" y="27"/>
                      </a:cubicBezTo>
                      <a:cubicBezTo>
                        <a:pt x="40" y="27"/>
                        <a:pt x="40" y="27"/>
                        <a:pt x="40" y="27"/>
                      </a:cubicBezTo>
                      <a:cubicBezTo>
                        <a:pt x="39" y="27"/>
                        <a:pt x="39" y="27"/>
                        <a:pt x="39" y="27"/>
                      </a:cubicBezTo>
                      <a:cubicBezTo>
                        <a:pt x="38" y="27"/>
                        <a:pt x="38" y="27"/>
                        <a:pt x="38" y="27"/>
                      </a:cubicBezTo>
                      <a:cubicBezTo>
                        <a:pt x="39" y="28"/>
                        <a:pt x="39" y="28"/>
                        <a:pt x="39" y="28"/>
                      </a:cubicBezTo>
                      <a:cubicBezTo>
                        <a:pt x="40" y="28"/>
                        <a:pt x="40" y="28"/>
                        <a:pt x="40" y="28"/>
                      </a:cubicBezTo>
                      <a:cubicBezTo>
                        <a:pt x="41" y="28"/>
                        <a:pt x="41" y="28"/>
                        <a:pt x="41" y="28"/>
                      </a:cubicBezTo>
                      <a:cubicBezTo>
                        <a:pt x="40" y="29"/>
                        <a:pt x="40" y="29"/>
                        <a:pt x="40" y="29"/>
                      </a:cubicBezTo>
                      <a:cubicBezTo>
                        <a:pt x="39" y="29"/>
                        <a:pt x="39" y="29"/>
                        <a:pt x="39" y="29"/>
                      </a:cubicBezTo>
                      <a:cubicBezTo>
                        <a:pt x="38" y="29"/>
                        <a:pt x="38" y="29"/>
                        <a:pt x="38" y="29"/>
                      </a:cubicBezTo>
                      <a:cubicBezTo>
                        <a:pt x="38" y="29"/>
                        <a:pt x="38" y="29"/>
                        <a:pt x="38" y="29"/>
                      </a:cubicBezTo>
                      <a:cubicBezTo>
                        <a:pt x="37" y="30"/>
                        <a:pt x="37" y="30"/>
                        <a:pt x="37" y="30"/>
                      </a:cubicBezTo>
                      <a:cubicBezTo>
                        <a:pt x="38" y="30"/>
                        <a:pt x="38" y="30"/>
                        <a:pt x="38" y="30"/>
                      </a:cubicBezTo>
                      <a:cubicBezTo>
                        <a:pt x="37" y="31"/>
                        <a:pt x="37" y="31"/>
                        <a:pt x="37" y="31"/>
                      </a:cubicBezTo>
                      <a:cubicBezTo>
                        <a:pt x="38" y="31"/>
                        <a:pt x="38" y="31"/>
                        <a:pt x="38" y="31"/>
                      </a:cubicBezTo>
                      <a:cubicBezTo>
                        <a:pt x="39" y="30"/>
                        <a:pt x="39" y="30"/>
                        <a:pt x="39" y="30"/>
                      </a:cubicBezTo>
                      <a:cubicBezTo>
                        <a:pt x="40" y="30"/>
                        <a:pt x="40" y="30"/>
                        <a:pt x="40" y="30"/>
                      </a:cubicBezTo>
                      <a:cubicBezTo>
                        <a:pt x="40" y="31"/>
                        <a:pt x="40" y="31"/>
                        <a:pt x="40" y="31"/>
                      </a:cubicBezTo>
                      <a:cubicBezTo>
                        <a:pt x="39" y="31"/>
                        <a:pt x="39" y="31"/>
                        <a:pt x="39" y="31"/>
                      </a:cubicBezTo>
                      <a:cubicBezTo>
                        <a:pt x="39" y="32"/>
                        <a:pt x="39" y="32"/>
                        <a:pt x="39" y="32"/>
                      </a:cubicBezTo>
                      <a:cubicBezTo>
                        <a:pt x="39" y="32"/>
                        <a:pt x="39" y="32"/>
                        <a:pt x="39" y="32"/>
                      </a:cubicBezTo>
                      <a:cubicBezTo>
                        <a:pt x="40" y="33"/>
                        <a:pt x="40" y="33"/>
                        <a:pt x="40" y="33"/>
                      </a:cubicBezTo>
                      <a:cubicBezTo>
                        <a:pt x="40" y="33"/>
                        <a:pt x="40" y="33"/>
                        <a:pt x="40" y="33"/>
                      </a:cubicBezTo>
                      <a:cubicBezTo>
                        <a:pt x="39" y="33"/>
                        <a:pt x="39" y="33"/>
                        <a:pt x="39" y="33"/>
                      </a:cubicBezTo>
                      <a:cubicBezTo>
                        <a:pt x="39" y="33"/>
                        <a:pt x="39" y="33"/>
                        <a:pt x="39" y="33"/>
                      </a:cubicBezTo>
                      <a:cubicBezTo>
                        <a:pt x="38" y="32"/>
                        <a:pt x="38" y="32"/>
                        <a:pt x="38" y="32"/>
                      </a:cubicBezTo>
                      <a:cubicBezTo>
                        <a:pt x="38" y="32"/>
                        <a:pt x="38" y="32"/>
                        <a:pt x="38" y="32"/>
                      </a:cubicBezTo>
                      <a:cubicBezTo>
                        <a:pt x="37" y="33"/>
                        <a:pt x="37" y="33"/>
                        <a:pt x="37" y="33"/>
                      </a:cubicBezTo>
                      <a:cubicBezTo>
                        <a:pt x="38" y="33"/>
                        <a:pt x="38" y="33"/>
                        <a:pt x="38" y="33"/>
                      </a:cubicBezTo>
                      <a:cubicBezTo>
                        <a:pt x="37" y="33"/>
                        <a:pt x="37" y="33"/>
                        <a:pt x="37" y="33"/>
                      </a:cubicBezTo>
                      <a:cubicBezTo>
                        <a:pt x="36" y="34"/>
                        <a:pt x="36" y="34"/>
                        <a:pt x="36" y="34"/>
                      </a:cubicBezTo>
                      <a:cubicBezTo>
                        <a:pt x="36" y="34"/>
                        <a:pt x="36" y="34"/>
                        <a:pt x="36" y="34"/>
                      </a:cubicBezTo>
                      <a:cubicBezTo>
                        <a:pt x="37" y="35"/>
                        <a:pt x="37" y="35"/>
                        <a:pt x="37" y="35"/>
                      </a:cubicBezTo>
                      <a:cubicBezTo>
                        <a:pt x="38" y="34"/>
                        <a:pt x="38" y="34"/>
                        <a:pt x="38" y="34"/>
                      </a:cubicBezTo>
                      <a:cubicBezTo>
                        <a:pt x="38" y="35"/>
                        <a:pt x="38" y="35"/>
                        <a:pt x="38" y="35"/>
                      </a:cubicBezTo>
                      <a:cubicBezTo>
                        <a:pt x="39" y="34"/>
                        <a:pt x="39" y="34"/>
                        <a:pt x="39" y="34"/>
                      </a:cubicBezTo>
                      <a:cubicBezTo>
                        <a:pt x="39" y="35"/>
                        <a:pt x="39" y="35"/>
                        <a:pt x="39" y="35"/>
                      </a:cubicBezTo>
                      <a:cubicBezTo>
                        <a:pt x="40" y="35"/>
                        <a:pt x="40" y="35"/>
                        <a:pt x="40" y="35"/>
                      </a:cubicBezTo>
                      <a:cubicBezTo>
                        <a:pt x="40" y="36"/>
                        <a:pt x="40" y="36"/>
                        <a:pt x="40" y="36"/>
                      </a:cubicBezTo>
                      <a:cubicBezTo>
                        <a:pt x="38" y="35"/>
                        <a:pt x="38" y="35"/>
                        <a:pt x="38" y="35"/>
                      </a:cubicBezTo>
                      <a:cubicBezTo>
                        <a:pt x="38" y="35"/>
                        <a:pt x="38" y="35"/>
                        <a:pt x="38" y="35"/>
                      </a:cubicBezTo>
                      <a:cubicBezTo>
                        <a:pt x="37" y="36"/>
                        <a:pt x="37" y="36"/>
                        <a:pt x="37" y="36"/>
                      </a:cubicBezTo>
                      <a:cubicBezTo>
                        <a:pt x="36" y="36"/>
                        <a:pt x="36" y="36"/>
                        <a:pt x="36" y="36"/>
                      </a:cubicBezTo>
                      <a:cubicBezTo>
                        <a:pt x="36" y="36"/>
                        <a:pt x="36" y="36"/>
                        <a:pt x="36" y="36"/>
                      </a:cubicBezTo>
                      <a:cubicBezTo>
                        <a:pt x="35" y="37"/>
                        <a:pt x="35" y="37"/>
                        <a:pt x="35" y="37"/>
                      </a:cubicBezTo>
                      <a:cubicBezTo>
                        <a:pt x="35" y="36"/>
                        <a:pt x="35" y="36"/>
                        <a:pt x="35" y="36"/>
                      </a:cubicBezTo>
                      <a:cubicBezTo>
                        <a:pt x="33" y="37"/>
                        <a:pt x="33" y="37"/>
                        <a:pt x="33" y="37"/>
                      </a:cubicBezTo>
                      <a:cubicBezTo>
                        <a:pt x="33" y="37"/>
                        <a:pt x="33" y="37"/>
                        <a:pt x="33" y="37"/>
                      </a:cubicBezTo>
                      <a:cubicBezTo>
                        <a:pt x="33" y="37"/>
                        <a:pt x="33" y="37"/>
                        <a:pt x="33" y="37"/>
                      </a:cubicBezTo>
                      <a:cubicBezTo>
                        <a:pt x="33" y="38"/>
                        <a:pt x="33" y="38"/>
                        <a:pt x="33" y="38"/>
                      </a:cubicBezTo>
                      <a:cubicBezTo>
                        <a:pt x="34" y="38"/>
                        <a:pt x="34" y="38"/>
                        <a:pt x="34" y="38"/>
                      </a:cubicBezTo>
                      <a:cubicBezTo>
                        <a:pt x="33" y="39"/>
                        <a:pt x="33" y="39"/>
                        <a:pt x="33" y="39"/>
                      </a:cubicBezTo>
                      <a:cubicBezTo>
                        <a:pt x="33" y="38"/>
                        <a:pt x="33" y="38"/>
                        <a:pt x="33" y="38"/>
                      </a:cubicBezTo>
                      <a:cubicBezTo>
                        <a:pt x="33" y="39"/>
                        <a:pt x="33" y="39"/>
                        <a:pt x="33" y="39"/>
                      </a:cubicBezTo>
                      <a:cubicBezTo>
                        <a:pt x="33" y="39"/>
                        <a:pt x="33" y="39"/>
                        <a:pt x="33" y="39"/>
                      </a:cubicBezTo>
                      <a:cubicBezTo>
                        <a:pt x="33" y="39"/>
                        <a:pt x="33" y="39"/>
                        <a:pt x="33" y="39"/>
                      </a:cubicBezTo>
                      <a:cubicBezTo>
                        <a:pt x="32" y="39"/>
                        <a:pt x="32" y="39"/>
                        <a:pt x="32" y="39"/>
                      </a:cubicBezTo>
                      <a:cubicBezTo>
                        <a:pt x="32" y="39"/>
                        <a:pt x="32" y="39"/>
                        <a:pt x="32" y="39"/>
                      </a:cubicBezTo>
                      <a:cubicBezTo>
                        <a:pt x="32" y="39"/>
                        <a:pt x="32" y="39"/>
                        <a:pt x="32" y="39"/>
                      </a:cubicBezTo>
                      <a:cubicBezTo>
                        <a:pt x="32" y="40"/>
                        <a:pt x="32" y="40"/>
                        <a:pt x="32" y="40"/>
                      </a:cubicBezTo>
                      <a:cubicBezTo>
                        <a:pt x="32" y="40"/>
                        <a:pt x="32" y="40"/>
                        <a:pt x="32" y="40"/>
                      </a:cubicBezTo>
                      <a:cubicBezTo>
                        <a:pt x="32" y="41"/>
                        <a:pt x="32" y="41"/>
                        <a:pt x="32" y="41"/>
                      </a:cubicBezTo>
                      <a:cubicBezTo>
                        <a:pt x="33" y="41"/>
                        <a:pt x="33" y="41"/>
                        <a:pt x="33" y="41"/>
                      </a:cubicBezTo>
                      <a:cubicBezTo>
                        <a:pt x="32" y="41"/>
                        <a:pt x="32" y="41"/>
                        <a:pt x="32" y="41"/>
                      </a:cubicBezTo>
                      <a:cubicBezTo>
                        <a:pt x="32" y="41"/>
                        <a:pt x="32" y="41"/>
                        <a:pt x="32" y="41"/>
                      </a:cubicBezTo>
                      <a:cubicBezTo>
                        <a:pt x="31" y="41"/>
                        <a:pt x="31" y="41"/>
                        <a:pt x="31" y="41"/>
                      </a:cubicBezTo>
                      <a:cubicBezTo>
                        <a:pt x="31" y="41"/>
                        <a:pt x="31" y="41"/>
                        <a:pt x="31" y="41"/>
                      </a:cubicBezTo>
                      <a:cubicBezTo>
                        <a:pt x="31" y="42"/>
                        <a:pt x="31" y="42"/>
                        <a:pt x="31" y="42"/>
                      </a:cubicBezTo>
                      <a:cubicBezTo>
                        <a:pt x="31" y="42"/>
                        <a:pt x="31" y="42"/>
                        <a:pt x="31" y="42"/>
                      </a:cubicBezTo>
                      <a:cubicBezTo>
                        <a:pt x="33" y="42"/>
                        <a:pt x="33" y="42"/>
                        <a:pt x="33" y="42"/>
                      </a:cubicBezTo>
                      <a:cubicBezTo>
                        <a:pt x="33" y="43"/>
                        <a:pt x="33" y="43"/>
                        <a:pt x="33" y="43"/>
                      </a:cubicBezTo>
                      <a:cubicBezTo>
                        <a:pt x="33" y="43"/>
                        <a:pt x="33" y="43"/>
                        <a:pt x="33" y="43"/>
                      </a:cubicBezTo>
                      <a:cubicBezTo>
                        <a:pt x="34" y="43"/>
                        <a:pt x="34" y="43"/>
                        <a:pt x="34" y="43"/>
                      </a:cubicBezTo>
                      <a:cubicBezTo>
                        <a:pt x="34" y="43"/>
                        <a:pt x="34" y="43"/>
                        <a:pt x="34" y="43"/>
                      </a:cubicBezTo>
                      <a:cubicBezTo>
                        <a:pt x="34" y="43"/>
                        <a:pt x="34" y="43"/>
                        <a:pt x="34" y="43"/>
                      </a:cubicBezTo>
                      <a:cubicBezTo>
                        <a:pt x="33" y="43"/>
                        <a:pt x="33" y="43"/>
                        <a:pt x="33" y="43"/>
                      </a:cubicBezTo>
                      <a:cubicBezTo>
                        <a:pt x="32" y="43"/>
                        <a:pt x="32" y="43"/>
                        <a:pt x="32" y="43"/>
                      </a:cubicBezTo>
                      <a:cubicBezTo>
                        <a:pt x="31" y="43"/>
                        <a:pt x="31" y="43"/>
                        <a:pt x="31" y="43"/>
                      </a:cubicBezTo>
                      <a:cubicBezTo>
                        <a:pt x="30" y="44"/>
                        <a:pt x="30" y="44"/>
                        <a:pt x="30" y="44"/>
                      </a:cubicBezTo>
                      <a:cubicBezTo>
                        <a:pt x="30" y="44"/>
                        <a:pt x="30" y="44"/>
                        <a:pt x="30" y="44"/>
                      </a:cubicBezTo>
                      <a:cubicBezTo>
                        <a:pt x="31" y="44"/>
                        <a:pt x="31" y="44"/>
                        <a:pt x="31" y="44"/>
                      </a:cubicBezTo>
                      <a:cubicBezTo>
                        <a:pt x="31" y="45"/>
                        <a:pt x="31" y="45"/>
                        <a:pt x="31" y="45"/>
                      </a:cubicBezTo>
                      <a:cubicBezTo>
                        <a:pt x="32" y="45"/>
                        <a:pt x="32" y="45"/>
                        <a:pt x="32" y="45"/>
                      </a:cubicBezTo>
                      <a:cubicBezTo>
                        <a:pt x="32" y="46"/>
                        <a:pt x="32" y="46"/>
                        <a:pt x="32" y="46"/>
                      </a:cubicBezTo>
                      <a:cubicBezTo>
                        <a:pt x="31" y="45"/>
                        <a:pt x="31" y="45"/>
                        <a:pt x="31" y="45"/>
                      </a:cubicBezTo>
                      <a:cubicBezTo>
                        <a:pt x="31" y="45"/>
                        <a:pt x="31" y="45"/>
                        <a:pt x="31" y="45"/>
                      </a:cubicBezTo>
                      <a:cubicBezTo>
                        <a:pt x="31" y="46"/>
                        <a:pt x="31" y="46"/>
                        <a:pt x="31" y="46"/>
                      </a:cubicBezTo>
                      <a:cubicBezTo>
                        <a:pt x="31" y="46"/>
                        <a:pt x="31" y="46"/>
                        <a:pt x="31" y="46"/>
                      </a:cubicBezTo>
                      <a:cubicBezTo>
                        <a:pt x="30" y="46"/>
                        <a:pt x="30" y="46"/>
                        <a:pt x="30" y="46"/>
                      </a:cubicBezTo>
                      <a:cubicBezTo>
                        <a:pt x="31" y="47"/>
                        <a:pt x="31" y="47"/>
                        <a:pt x="31" y="47"/>
                      </a:cubicBezTo>
                      <a:cubicBezTo>
                        <a:pt x="31" y="47"/>
                        <a:pt x="31" y="47"/>
                        <a:pt x="31" y="47"/>
                      </a:cubicBezTo>
                      <a:cubicBezTo>
                        <a:pt x="30" y="47"/>
                        <a:pt x="30" y="47"/>
                        <a:pt x="30" y="47"/>
                      </a:cubicBezTo>
                      <a:cubicBezTo>
                        <a:pt x="30" y="47"/>
                        <a:pt x="30" y="47"/>
                        <a:pt x="30" y="47"/>
                      </a:cubicBezTo>
                      <a:cubicBezTo>
                        <a:pt x="30" y="47"/>
                        <a:pt x="30" y="47"/>
                        <a:pt x="30" y="47"/>
                      </a:cubicBezTo>
                      <a:cubicBezTo>
                        <a:pt x="30" y="48"/>
                        <a:pt x="30" y="48"/>
                        <a:pt x="30" y="48"/>
                      </a:cubicBezTo>
                      <a:cubicBezTo>
                        <a:pt x="30" y="48"/>
                        <a:pt x="30" y="48"/>
                        <a:pt x="30" y="48"/>
                      </a:cubicBezTo>
                      <a:cubicBezTo>
                        <a:pt x="31" y="48"/>
                        <a:pt x="31" y="48"/>
                        <a:pt x="31" y="48"/>
                      </a:cubicBezTo>
                      <a:cubicBezTo>
                        <a:pt x="31" y="49"/>
                        <a:pt x="31" y="49"/>
                        <a:pt x="31" y="49"/>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30" y="51"/>
                        <a:pt x="30" y="51"/>
                        <a:pt x="30" y="51"/>
                      </a:cubicBezTo>
                      <a:cubicBezTo>
                        <a:pt x="30" y="51"/>
                        <a:pt x="30" y="51"/>
                        <a:pt x="30" y="51"/>
                      </a:cubicBezTo>
                      <a:cubicBezTo>
                        <a:pt x="31" y="50"/>
                        <a:pt x="31" y="50"/>
                        <a:pt x="31" y="50"/>
                      </a:cubicBezTo>
                      <a:cubicBezTo>
                        <a:pt x="31" y="50"/>
                        <a:pt x="31" y="50"/>
                        <a:pt x="31" y="50"/>
                      </a:cubicBezTo>
                      <a:cubicBezTo>
                        <a:pt x="31" y="51"/>
                        <a:pt x="31" y="51"/>
                        <a:pt x="31" y="51"/>
                      </a:cubicBezTo>
                      <a:cubicBezTo>
                        <a:pt x="30" y="51"/>
                        <a:pt x="30" y="51"/>
                        <a:pt x="30" y="51"/>
                      </a:cubicBezTo>
                      <a:cubicBezTo>
                        <a:pt x="29" y="52"/>
                        <a:pt x="29" y="52"/>
                        <a:pt x="29" y="52"/>
                      </a:cubicBezTo>
                      <a:cubicBezTo>
                        <a:pt x="29" y="52"/>
                        <a:pt x="29" y="52"/>
                        <a:pt x="29" y="52"/>
                      </a:cubicBezTo>
                      <a:cubicBezTo>
                        <a:pt x="28" y="52"/>
                        <a:pt x="28" y="52"/>
                        <a:pt x="28" y="52"/>
                      </a:cubicBezTo>
                      <a:cubicBezTo>
                        <a:pt x="28" y="53"/>
                        <a:pt x="28" y="53"/>
                        <a:pt x="28" y="53"/>
                      </a:cubicBezTo>
                      <a:cubicBezTo>
                        <a:pt x="27" y="53"/>
                        <a:pt x="27" y="53"/>
                        <a:pt x="27" y="53"/>
                      </a:cubicBezTo>
                      <a:cubicBezTo>
                        <a:pt x="27" y="53"/>
                        <a:pt x="27" y="53"/>
                        <a:pt x="27" y="53"/>
                      </a:cubicBezTo>
                      <a:cubicBezTo>
                        <a:pt x="27" y="54"/>
                        <a:pt x="27" y="54"/>
                        <a:pt x="27" y="54"/>
                      </a:cubicBezTo>
                      <a:cubicBezTo>
                        <a:pt x="27" y="54"/>
                        <a:pt x="27" y="54"/>
                        <a:pt x="27" y="54"/>
                      </a:cubicBezTo>
                      <a:cubicBezTo>
                        <a:pt x="26" y="54"/>
                        <a:pt x="26" y="54"/>
                        <a:pt x="26" y="54"/>
                      </a:cubicBezTo>
                      <a:cubicBezTo>
                        <a:pt x="25" y="55"/>
                        <a:pt x="25" y="55"/>
                        <a:pt x="25" y="55"/>
                      </a:cubicBezTo>
                      <a:cubicBezTo>
                        <a:pt x="25" y="55"/>
                        <a:pt x="25" y="55"/>
                        <a:pt x="25" y="55"/>
                      </a:cubicBezTo>
                      <a:cubicBezTo>
                        <a:pt x="26" y="55"/>
                        <a:pt x="26" y="55"/>
                        <a:pt x="26" y="55"/>
                      </a:cubicBezTo>
                      <a:cubicBezTo>
                        <a:pt x="26" y="56"/>
                        <a:pt x="26" y="56"/>
                        <a:pt x="26" y="56"/>
                      </a:cubicBezTo>
                      <a:cubicBezTo>
                        <a:pt x="25" y="56"/>
                        <a:pt x="25" y="56"/>
                        <a:pt x="25" y="56"/>
                      </a:cubicBezTo>
                      <a:cubicBezTo>
                        <a:pt x="24" y="56"/>
                        <a:pt x="24" y="56"/>
                        <a:pt x="24" y="56"/>
                      </a:cubicBezTo>
                      <a:cubicBezTo>
                        <a:pt x="24" y="56"/>
                        <a:pt x="24" y="56"/>
                        <a:pt x="24" y="56"/>
                      </a:cubicBezTo>
                      <a:cubicBezTo>
                        <a:pt x="24" y="56"/>
                        <a:pt x="24" y="56"/>
                        <a:pt x="24" y="56"/>
                      </a:cubicBezTo>
                      <a:cubicBezTo>
                        <a:pt x="24" y="56"/>
                        <a:pt x="24" y="56"/>
                        <a:pt x="24" y="56"/>
                      </a:cubicBezTo>
                      <a:cubicBezTo>
                        <a:pt x="23" y="56"/>
                        <a:pt x="23" y="56"/>
                        <a:pt x="23" y="56"/>
                      </a:cubicBezTo>
                      <a:cubicBezTo>
                        <a:pt x="23" y="56"/>
                        <a:pt x="23" y="56"/>
                        <a:pt x="23" y="56"/>
                      </a:cubicBezTo>
                      <a:cubicBezTo>
                        <a:pt x="23" y="57"/>
                        <a:pt x="23" y="57"/>
                        <a:pt x="23" y="57"/>
                      </a:cubicBezTo>
                      <a:cubicBezTo>
                        <a:pt x="23" y="57"/>
                        <a:pt x="23" y="57"/>
                        <a:pt x="23" y="57"/>
                      </a:cubicBezTo>
                      <a:cubicBezTo>
                        <a:pt x="23" y="58"/>
                        <a:pt x="23" y="58"/>
                        <a:pt x="23" y="58"/>
                      </a:cubicBezTo>
                      <a:cubicBezTo>
                        <a:pt x="22" y="58"/>
                        <a:pt x="22" y="58"/>
                        <a:pt x="22" y="58"/>
                      </a:cubicBezTo>
                      <a:cubicBezTo>
                        <a:pt x="21" y="58"/>
                        <a:pt x="21" y="58"/>
                        <a:pt x="21" y="58"/>
                      </a:cubicBezTo>
                      <a:cubicBezTo>
                        <a:pt x="21" y="59"/>
                        <a:pt x="21" y="59"/>
                        <a:pt x="21" y="59"/>
                      </a:cubicBezTo>
                      <a:cubicBezTo>
                        <a:pt x="21" y="59"/>
                        <a:pt x="21" y="59"/>
                        <a:pt x="21" y="59"/>
                      </a:cubicBezTo>
                      <a:cubicBezTo>
                        <a:pt x="21" y="60"/>
                        <a:pt x="21" y="60"/>
                        <a:pt x="21" y="60"/>
                      </a:cubicBezTo>
                      <a:cubicBezTo>
                        <a:pt x="21" y="60"/>
                        <a:pt x="21" y="60"/>
                        <a:pt x="21" y="60"/>
                      </a:cubicBezTo>
                      <a:cubicBezTo>
                        <a:pt x="20" y="61"/>
                        <a:pt x="20" y="61"/>
                        <a:pt x="20" y="61"/>
                      </a:cubicBezTo>
                      <a:cubicBezTo>
                        <a:pt x="19" y="62"/>
                        <a:pt x="19" y="62"/>
                        <a:pt x="19" y="62"/>
                      </a:cubicBezTo>
                      <a:cubicBezTo>
                        <a:pt x="19" y="62"/>
                        <a:pt x="19" y="62"/>
                        <a:pt x="19" y="62"/>
                      </a:cubicBezTo>
                      <a:cubicBezTo>
                        <a:pt x="20" y="61"/>
                        <a:pt x="20" y="61"/>
                        <a:pt x="20" y="61"/>
                      </a:cubicBezTo>
                      <a:cubicBezTo>
                        <a:pt x="21" y="61"/>
                        <a:pt x="21" y="61"/>
                        <a:pt x="21" y="61"/>
                      </a:cubicBezTo>
                      <a:cubicBezTo>
                        <a:pt x="21" y="62"/>
                        <a:pt x="21" y="62"/>
                        <a:pt x="21" y="62"/>
                      </a:cubicBezTo>
                      <a:cubicBezTo>
                        <a:pt x="20" y="62"/>
                        <a:pt x="20" y="62"/>
                        <a:pt x="20" y="62"/>
                      </a:cubicBezTo>
                      <a:cubicBezTo>
                        <a:pt x="20" y="63"/>
                        <a:pt x="20" y="63"/>
                        <a:pt x="20" y="63"/>
                      </a:cubicBezTo>
                      <a:cubicBezTo>
                        <a:pt x="21" y="64"/>
                        <a:pt x="21" y="64"/>
                        <a:pt x="21" y="64"/>
                      </a:cubicBezTo>
                      <a:cubicBezTo>
                        <a:pt x="22" y="63"/>
                        <a:pt x="22" y="63"/>
                        <a:pt x="22" y="63"/>
                      </a:cubicBezTo>
                      <a:cubicBezTo>
                        <a:pt x="23" y="63"/>
                        <a:pt x="23" y="63"/>
                        <a:pt x="23" y="63"/>
                      </a:cubicBezTo>
                      <a:cubicBezTo>
                        <a:pt x="24" y="62"/>
                        <a:pt x="24" y="62"/>
                        <a:pt x="24" y="62"/>
                      </a:cubicBezTo>
                      <a:cubicBezTo>
                        <a:pt x="24" y="61"/>
                        <a:pt x="24" y="61"/>
                        <a:pt x="24" y="61"/>
                      </a:cubicBezTo>
                      <a:cubicBezTo>
                        <a:pt x="23" y="61"/>
                        <a:pt x="23" y="61"/>
                        <a:pt x="23" y="61"/>
                      </a:cubicBezTo>
                      <a:cubicBezTo>
                        <a:pt x="24" y="61"/>
                        <a:pt x="24" y="61"/>
                        <a:pt x="24" y="61"/>
                      </a:cubicBezTo>
                      <a:cubicBezTo>
                        <a:pt x="24" y="60"/>
                        <a:pt x="24" y="60"/>
                        <a:pt x="24" y="60"/>
                      </a:cubicBezTo>
                      <a:cubicBezTo>
                        <a:pt x="24" y="60"/>
                        <a:pt x="24" y="60"/>
                        <a:pt x="24" y="60"/>
                      </a:cubicBezTo>
                      <a:cubicBezTo>
                        <a:pt x="25" y="59"/>
                        <a:pt x="25" y="59"/>
                        <a:pt x="25" y="59"/>
                      </a:cubicBezTo>
                      <a:cubicBezTo>
                        <a:pt x="26" y="59"/>
                        <a:pt x="26" y="59"/>
                        <a:pt x="26" y="59"/>
                      </a:cubicBezTo>
                      <a:cubicBezTo>
                        <a:pt x="26" y="59"/>
                        <a:pt x="26" y="59"/>
                        <a:pt x="26" y="59"/>
                      </a:cubicBezTo>
                      <a:cubicBezTo>
                        <a:pt x="25" y="60"/>
                        <a:pt x="25" y="60"/>
                        <a:pt x="25" y="60"/>
                      </a:cubicBezTo>
                      <a:cubicBezTo>
                        <a:pt x="25" y="61"/>
                        <a:pt x="25" y="61"/>
                        <a:pt x="25" y="61"/>
                      </a:cubicBezTo>
                      <a:cubicBezTo>
                        <a:pt x="26" y="61"/>
                        <a:pt x="26" y="61"/>
                        <a:pt x="26" y="61"/>
                      </a:cubicBezTo>
                      <a:cubicBezTo>
                        <a:pt x="26" y="62"/>
                        <a:pt x="26" y="62"/>
                        <a:pt x="26" y="62"/>
                      </a:cubicBezTo>
                      <a:cubicBezTo>
                        <a:pt x="25" y="62"/>
                        <a:pt x="25" y="62"/>
                        <a:pt x="25" y="62"/>
                      </a:cubicBezTo>
                      <a:cubicBezTo>
                        <a:pt x="24" y="63"/>
                        <a:pt x="24" y="63"/>
                        <a:pt x="24" y="63"/>
                      </a:cubicBezTo>
                      <a:cubicBezTo>
                        <a:pt x="25" y="63"/>
                        <a:pt x="25" y="63"/>
                        <a:pt x="25" y="63"/>
                      </a:cubicBezTo>
                      <a:cubicBezTo>
                        <a:pt x="24" y="64"/>
                        <a:pt x="24" y="64"/>
                        <a:pt x="24" y="64"/>
                      </a:cubicBezTo>
                      <a:cubicBezTo>
                        <a:pt x="24" y="65"/>
                        <a:pt x="24" y="65"/>
                        <a:pt x="24" y="65"/>
                      </a:cubicBezTo>
                      <a:cubicBezTo>
                        <a:pt x="23" y="65"/>
                        <a:pt x="23" y="65"/>
                        <a:pt x="23" y="65"/>
                      </a:cubicBezTo>
                      <a:cubicBezTo>
                        <a:pt x="23" y="64"/>
                        <a:pt x="23" y="64"/>
                        <a:pt x="23" y="64"/>
                      </a:cubicBezTo>
                      <a:cubicBezTo>
                        <a:pt x="22" y="64"/>
                        <a:pt x="22" y="64"/>
                        <a:pt x="22" y="64"/>
                      </a:cubicBezTo>
                      <a:cubicBezTo>
                        <a:pt x="21" y="64"/>
                        <a:pt x="21" y="64"/>
                        <a:pt x="21" y="64"/>
                      </a:cubicBezTo>
                      <a:cubicBezTo>
                        <a:pt x="21" y="65"/>
                        <a:pt x="21" y="65"/>
                        <a:pt x="21" y="65"/>
                      </a:cubicBezTo>
                      <a:cubicBezTo>
                        <a:pt x="20" y="65"/>
                        <a:pt x="20" y="65"/>
                        <a:pt x="20" y="65"/>
                      </a:cubicBezTo>
                      <a:cubicBezTo>
                        <a:pt x="20" y="66"/>
                        <a:pt x="20" y="66"/>
                        <a:pt x="20" y="66"/>
                      </a:cubicBezTo>
                      <a:cubicBezTo>
                        <a:pt x="20" y="65"/>
                        <a:pt x="20" y="65"/>
                        <a:pt x="20" y="65"/>
                      </a:cubicBezTo>
                      <a:cubicBezTo>
                        <a:pt x="20" y="65"/>
                        <a:pt x="20" y="65"/>
                        <a:pt x="20" y="65"/>
                      </a:cubicBezTo>
                      <a:cubicBezTo>
                        <a:pt x="20" y="64"/>
                        <a:pt x="20" y="64"/>
                        <a:pt x="20" y="64"/>
                      </a:cubicBezTo>
                      <a:cubicBezTo>
                        <a:pt x="20" y="64"/>
                        <a:pt x="20" y="64"/>
                        <a:pt x="20" y="64"/>
                      </a:cubicBezTo>
                      <a:cubicBezTo>
                        <a:pt x="19" y="63"/>
                        <a:pt x="19" y="63"/>
                        <a:pt x="19" y="63"/>
                      </a:cubicBezTo>
                      <a:cubicBezTo>
                        <a:pt x="19" y="63"/>
                        <a:pt x="19" y="63"/>
                        <a:pt x="19" y="63"/>
                      </a:cubicBezTo>
                      <a:cubicBezTo>
                        <a:pt x="18" y="63"/>
                        <a:pt x="18" y="63"/>
                        <a:pt x="18" y="63"/>
                      </a:cubicBezTo>
                      <a:cubicBezTo>
                        <a:pt x="17" y="63"/>
                        <a:pt x="17" y="63"/>
                        <a:pt x="17" y="63"/>
                      </a:cubicBezTo>
                      <a:cubicBezTo>
                        <a:pt x="17" y="64"/>
                        <a:pt x="17" y="64"/>
                        <a:pt x="17" y="64"/>
                      </a:cubicBezTo>
                      <a:cubicBezTo>
                        <a:pt x="18" y="64"/>
                        <a:pt x="18" y="64"/>
                        <a:pt x="18" y="64"/>
                      </a:cubicBezTo>
                      <a:cubicBezTo>
                        <a:pt x="17" y="65"/>
                        <a:pt x="17" y="65"/>
                        <a:pt x="17" y="65"/>
                      </a:cubicBezTo>
                      <a:cubicBezTo>
                        <a:pt x="16" y="64"/>
                        <a:pt x="16" y="64"/>
                        <a:pt x="16" y="64"/>
                      </a:cubicBezTo>
                      <a:cubicBezTo>
                        <a:pt x="16" y="65"/>
                        <a:pt x="16" y="65"/>
                        <a:pt x="16" y="65"/>
                      </a:cubicBezTo>
                      <a:cubicBezTo>
                        <a:pt x="15" y="65"/>
                        <a:pt x="15" y="65"/>
                        <a:pt x="15" y="65"/>
                      </a:cubicBezTo>
                      <a:cubicBezTo>
                        <a:pt x="15" y="65"/>
                        <a:pt x="15" y="65"/>
                        <a:pt x="15" y="65"/>
                      </a:cubicBezTo>
                      <a:cubicBezTo>
                        <a:pt x="16" y="65"/>
                        <a:pt x="16" y="65"/>
                        <a:pt x="16" y="65"/>
                      </a:cubicBezTo>
                      <a:cubicBezTo>
                        <a:pt x="16" y="65"/>
                        <a:pt x="16" y="65"/>
                        <a:pt x="16" y="65"/>
                      </a:cubicBezTo>
                      <a:cubicBezTo>
                        <a:pt x="15" y="66"/>
                        <a:pt x="15" y="66"/>
                        <a:pt x="15" y="66"/>
                      </a:cubicBezTo>
                      <a:cubicBezTo>
                        <a:pt x="15" y="66"/>
                        <a:pt x="15" y="66"/>
                        <a:pt x="15" y="66"/>
                      </a:cubicBezTo>
                      <a:cubicBezTo>
                        <a:pt x="14" y="66"/>
                        <a:pt x="14" y="66"/>
                        <a:pt x="14" y="66"/>
                      </a:cubicBezTo>
                      <a:cubicBezTo>
                        <a:pt x="14" y="66"/>
                        <a:pt x="14" y="66"/>
                        <a:pt x="14" y="66"/>
                      </a:cubicBezTo>
                      <a:cubicBezTo>
                        <a:pt x="14" y="66"/>
                        <a:pt x="14" y="66"/>
                        <a:pt x="14" y="66"/>
                      </a:cubicBezTo>
                      <a:cubicBezTo>
                        <a:pt x="15" y="67"/>
                        <a:pt x="15" y="67"/>
                        <a:pt x="15" y="67"/>
                      </a:cubicBezTo>
                      <a:cubicBezTo>
                        <a:pt x="16" y="67"/>
                        <a:pt x="16" y="67"/>
                        <a:pt x="16" y="67"/>
                      </a:cubicBezTo>
                      <a:cubicBezTo>
                        <a:pt x="16" y="68"/>
                        <a:pt x="16" y="68"/>
                        <a:pt x="16" y="68"/>
                      </a:cubicBezTo>
                      <a:cubicBezTo>
                        <a:pt x="16" y="68"/>
                        <a:pt x="16" y="68"/>
                        <a:pt x="16" y="68"/>
                      </a:cubicBezTo>
                      <a:cubicBezTo>
                        <a:pt x="16" y="68"/>
                        <a:pt x="16" y="68"/>
                        <a:pt x="16" y="68"/>
                      </a:cubicBezTo>
                      <a:cubicBezTo>
                        <a:pt x="15" y="68"/>
                        <a:pt x="15" y="68"/>
                        <a:pt x="15" y="68"/>
                      </a:cubicBezTo>
                      <a:cubicBezTo>
                        <a:pt x="15" y="67"/>
                        <a:pt x="15" y="67"/>
                        <a:pt x="15" y="67"/>
                      </a:cubicBezTo>
                      <a:cubicBezTo>
                        <a:pt x="14" y="67"/>
                        <a:pt x="14" y="67"/>
                        <a:pt x="14" y="67"/>
                      </a:cubicBezTo>
                      <a:cubicBezTo>
                        <a:pt x="13" y="67"/>
                        <a:pt x="13" y="67"/>
                        <a:pt x="13" y="67"/>
                      </a:cubicBezTo>
                      <a:cubicBezTo>
                        <a:pt x="13" y="66"/>
                        <a:pt x="13" y="66"/>
                        <a:pt x="13" y="66"/>
                      </a:cubicBezTo>
                      <a:cubicBezTo>
                        <a:pt x="13" y="66"/>
                        <a:pt x="13" y="66"/>
                        <a:pt x="13" y="66"/>
                      </a:cubicBezTo>
                      <a:cubicBezTo>
                        <a:pt x="12" y="67"/>
                        <a:pt x="12" y="67"/>
                        <a:pt x="12" y="67"/>
                      </a:cubicBezTo>
                      <a:cubicBezTo>
                        <a:pt x="13" y="68"/>
                        <a:pt x="13" y="68"/>
                        <a:pt x="13" y="68"/>
                      </a:cubicBezTo>
                      <a:cubicBezTo>
                        <a:pt x="14" y="69"/>
                        <a:pt x="14" y="69"/>
                        <a:pt x="14" y="69"/>
                      </a:cubicBezTo>
                      <a:cubicBezTo>
                        <a:pt x="15" y="69"/>
                        <a:pt x="15" y="69"/>
                        <a:pt x="15" y="69"/>
                      </a:cubicBezTo>
                      <a:cubicBezTo>
                        <a:pt x="15" y="69"/>
                        <a:pt x="15" y="69"/>
                        <a:pt x="15" y="69"/>
                      </a:cubicBezTo>
                      <a:cubicBezTo>
                        <a:pt x="15" y="69"/>
                        <a:pt x="15" y="69"/>
                        <a:pt x="15" y="69"/>
                      </a:cubicBezTo>
                      <a:cubicBezTo>
                        <a:pt x="13" y="69"/>
                        <a:pt x="13" y="69"/>
                        <a:pt x="13" y="69"/>
                      </a:cubicBezTo>
                      <a:cubicBezTo>
                        <a:pt x="12" y="67"/>
                        <a:pt x="12" y="67"/>
                        <a:pt x="12" y="67"/>
                      </a:cubicBezTo>
                      <a:cubicBezTo>
                        <a:pt x="11" y="68"/>
                        <a:pt x="11" y="68"/>
                        <a:pt x="11" y="68"/>
                      </a:cubicBezTo>
                      <a:cubicBezTo>
                        <a:pt x="11" y="67"/>
                        <a:pt x="11" y="67"/>
                        <a:pt x="11" y="67"/>
                      </a:cubicBezTo>
                      <a:cubicBezTo>
                        <a:pt x="10" y="67"/>
                        <a:pt x="10" y="67"/>
                        <a:pt x="10" y="67"/>
                      </a:cubicBezTo>
                      <a:cubicBezTo>
                        <a:pt x="9" y="67"/>
                        <a:pt x="9" y="67"/>
                        <a:pt x="9" y="67"/>
                      </a:cubicBezTo>
                      <a:cubicBezTo>
                        <a:pt x="9" y="67"/>
                        <a:pt x="9" y="67"/>
                        <a:pt x="9" y="67"/>
                      </a:cubicBezTo>
                      <a:cubicBezTo>
                        <a:pt x="9" y="68"/>
                        <a:pt x="9" y="68"/>
                        <a:pt x="9" y="68"/>
                      </a:cubicBezTo>
                      <a:cubicBezTo>
                        <a:pt x="9" y="68"/>
                        <a:pt x="9" y="68"/>
                        <a:pt x="9" y="68"/>
                      </a:cubicBezTo>
                      <a:cubicBezTo>
                        <a:pt x="9" y="69"/>
                        <a:pt x="9" y="69"/>
                        <a:pt x="9" y="69"/>
                      </a:cubicBezTo>
                      <a:cubicBezTo>
                        <a:pt x="11" y="69"/>
                        <a:pt x="11" y="69"/>
                        <a:pt x="11" y="69"/>
                      </a:cubicBezTo>
                      <a:cubicBezTo>
                        <a:pt x="11" y="69"/>
                        <a:pt x="11" y="69"/>
                        <a:pt x="11" y="69"/>
                      </a:cubicBezTo>
                      <a:cubicBezTo>
                        <a:pt x="10" y="69"/>
                        <a:pt x="10" y="69"/>
                        <a:pt x="10" y="69"/>
                      </a:cubicBezTo>
                      <a:cubicBezTo>
                        <a:pt x="11" y="69"/>
                        <a:pt x="11" y="69"/>
                        <a:pt x="11" y="69"/>
                      </a:cubicBezTo>
                      <a:cubicBezTo>
                        <a:pt x="12" y="69"/>
                        <a:pt x="12" y="69"/>
                        <a:pt x="12" y="69"/>
                      </a:cubicBezTo>
                      <a:cubicBezTo>
                        <a:pt x="12" y="69"/>
                        <a:pt x="12" y="69"/>
                        <a:pt x="12" y="69"/>
                      </a:cubicBezTo>
                      <a:cubicBezTo>
                        <a:pt x="12" y="69"/>
                        <a:pt x="12" y="69"/>
                        <a:pt x="12" y="69"/>
                      </a:cubicBezTo>
                      <a:cubicBezTo>
                        <a:pt x="11" y="70"/>
                        <a:pt x="11" y="70"/>
                        <a:pt x="11" y="70"/>
                      </a:cubicBezTo>
                      <a:cubicBezTo>
                        <a:pt x="10" y="71"/>
                        <a:pt x="10" y="71"/>
                        <a:pt x="10" y="71"/>
                      </a:cubicBezTo>
                      <a:cubicBezTo>
                        <a:pt x="9" y="70"/>
                        <a:pt x="9" y="70"/>
                        <a:pt x="9" y="70"/>
                      </a:cubicBezTo>
                      <a:cubicBezTo>
                        <a:pt x="9" y="69"/>
                        <a:pt x="9" y="69"/>
                        <a:pt x="9" y="69"/>
                      </a:cubicBezTo>
                      <a:cubicBezTo>
                        <a:pt x="8" y="69"/>
                        <a:pt x="8" y="69"/>
                        <a:pt x="8" y="69"/>
                      </a:cubicBezTo>
                      <a:cubicBezTo>
                        <a:pt x="8" y="70"/>
                        <a:pt x="8" y="70"/>
                        <a:pt x="8" y="70"/>
                      </a:cubicBezTo>
                      <a:cubicBezTo>
                        <a:pt x="7" y="69"/>
                        <a:pt x="7" y="69"/>
                        <a:pt x="7" y="69"/>
                      </a:cubicBezTo>
                      <a:cubicBezTo>
                        <a:pt x="6" y="70"/>
                        <a:pt x="6" y="70"/>
                        <a:pt x="6" y="70"/>
                      </a:cubicBezTo>
                      <a:cubicBezTo>
                        <a:pt x="6" y="69"/>
                        <a:pt x="6" y="69"/>
                        <a:pt x="6" y="69"/>
                      </a:cubicBezTo>
                      <a:cubicBezTo>
                        <a:pt x="5" y="70"/>
                        <a:pt x="5" y="70"/>
                        <a:pt x="5" y="70"/>
                      </a:cubicBezTo>
                      <a:cubicBezTo>
                        <a:pt x="6" y="70"/>
                        <a:pt x="6" y="70"/>
                        <a:pt x="6" y="70"/>
                      </a:cubicBezTo>
                      <a:cubicBezTo>
                        <a:pt x="7" y="70"/>
                        <a:pt x="7" y="70"/>
                        <a:pt x="7" y="70"/>
                      </a:cubicBezTo>
                      <a:cubicBezTo>
                        <a:pt x="8" y="71"/>
                        <a:pt x="8" y="71"/>
                        <a:pt x="8" y="71"/>
                      </a:cubicBezTo>
                      <a:cubicBezTo>
                        <a:pt x="9" y="71"/>
                        <a:pt x="9" y="71"/>
                        <a:pt x="9" y="71"/>
                      </a:cubicBezTo>
                      <a:cubicBezTo>
                        <a:pt x="9" y="72"/>
                        <a:pt x="9" y="72"/>
                        <a:pt x="9" y="72"/>
                      </a:cubicBezTo>
                      <a:cubicBezTo>
                        <a:pt x="9" y="73"/>
                        <a:pt x="9" y="73"/>
                        <a:pt x="9" y="73"/>
                      </a:cubicBezTo>
                      <a:cubicBezTo>
                        <a:pt x="8" y="73"/>
                        <a:pt x="8" y="73"/>
                        <a:pt x="8" y="73"/>
                      </a:cubicBezTo>
                      <a:cubicBezTo>
                        <a:pt x="8" y="73"/>
                        <a:pt x="8" y="73"/>
                        <a:pt x="8" y="73"/>
                      </a:cubicBezTo>
                      <a:cubicBezTo>
                        <a:pt x="8" y="72"/>
                        <a:pt x="8" y="72"/>
                        <a:pt x="8" y="72"/>
                      </a:cubicBezTo>
                      <a:cubicBezTo>
                        <a:pt x="7" y="71"/>
                        <a:pt x="7" y="71"/>
                        <a:pt x="7" y="71"/>
                      </a:cubicBezTo>
                      <a:cubicBezTo>
                        <a:pt x="6" y="71"/>
                        <a:pt x="6" y="71"/>
                        <a:pt x="6" y="71"/>
                      </a:cubicBezTo>
                      <a:cubicBezTo>
                        <a:pt x="7" y="72"/>
                        <a:pt x="7" y="72"/>
                        <a:pt x="7" y="72"/>
                      </a:cubicBezTo>
                      <a:cubicBezTo>
                        <a:pt x="7" y="72"/>
                        <a:pt x="7" y="72"/>
                        <a:pt x="7" y="72"/>
                      </a:cubicBezTo>
                      <a:cubicBezTo>
                        <a:pt x="6" y="72"/>
                        <a:pt x="6" y="72"/>
                        <a:pt x="6" y="72"/>
                      </a:cubicBezTo>
                      <a:cubicBezTo>
                        <a:pt x="5" y="73"/>
                        <a:pt x="5" y="73"/>
                        <a:pt x="5" y="73"/>
                      </a:cubicBezTo>
                      <a:cubicBezTo>
                        <a:pt x="6" y="73"/>
                        <a:pt x="6" y="73"/>
                        <a:pt x="6" y="73"/>
                      </a:cubicBezTo>
                      <a:cubicBezTo>
                        <a:pt x="5" y="73"/>
                        <a:pt x="5" y="73"/>
                        <a:pt x="5" y="73"/>
                      </a:cubicBezTo>
                      <a:cubicBezTo>
                        <a:pt x="4" y="73"/>
                        <a:pt x="4" y="73"/>
                        <a:pt x="4" y="73"/>
                      </a:cubicBezTo>
                      <a:cubicBezTo>
                        <a:pt x="4" y="73"/>
                        <a:pt x="4" y="73"/>
                        <a:pt x="4" y="73"/>
                      </a:cubicBezTo>
                      <a:cubicBezTo>
                        <a:pt x="3" y="73"/>
                        <a:pt x="3" y="73"/>
                        <a:pt x="3" y="73"/>
                      </a:cubicBezTo>
                      <a:cubicBezTo>
                        <a:pt x="3" y="73"/>
                        <a:pt x="3" y="73"/>
                        <a:pt x="3" y="73"/>
                      </a:cubicBezTo>
                      <a:cubicBezTo>
                        <a:pt x="3" y="74"/>
                        <a:pt x="3" y="74"/>
                        <a:pt x="3" y="74"/>
                      </a:cubicBezTo>
                      <a:cubicBezTo>
                        <a:pt x="2" y="73"/>
                        <a:pt x="2" y="73"/>
                        <a:pt x="2" y="73"/>
                      </a:cubicBezTo>
                      <a:cubicBezTo>
                        <a:pt x="2" y="72"/>
                        <a:pt x="2" y="72"/>
                        <a:pt x="2" y="72"/>
                      </a:cubicBezTo>
                      <a:cubicBezTo>
                        <a:pt x="1" y="72"/>
                        <a:pt x="1" y="72"/>
                        <a:pt x="1" y="72"/>
                      </a:cubicBezTo>
                      <a:cubicBezTo>
                        <a:pt x="1" y="73"/>
                        <a:pt x="1" y="73"/>
                        <a:pt x="1" y="73"/>
                      </a:cubicBezTo>
                      <a:cubicBezTo>
                        <a:pt x="2" y="74"/>
                        <a:pt x="2" y="74"/>
                        <a:pt x="2" y="74"/>
                      </a:cubicBezTo>
                      <a:cubicBezTo>
                        <a:pt x="2" y="74"/>
                        <a:pt x="2" y="74"/>
                        <a:pt x="2" y="74"/>
                      </a:cubicBezTo>
                      <a:cubicBezTo>
                        <a:pt x="2" y="75"/>
                        <a:pt x="2" y="75"/>
                        <a:pt x="2" y="75"/>
                      </a:cubicBezTo>
                      <a:cubicBezTo>
                        <a:pt x="3" y="74"/>
                        <a:pt x="3" y="74"/>
                        <a:pt x="3" y="74"/>
                      </a:cubicBezTo>
                      <a:cubicBezTo>
                        <a:pt x="5" y="75"/>
                        <a:pt x="5" y="75"/>
                        <a:pt x="5" y="75"/>
                      </a:cubicBezTo>
                      <a:cubicBezTo>
                        <a:pt x="6" y="75"/>
                        <a:pt x="6" y="75"/>
                        <a:pt x="6" y="75"/>
                      </a:cubicBezTo>
                      <a:cubicBezTo>
                        <a:pt x="7" y="75"/>
                        <a:pt x="7" y="75"/>
                        <a:pt x="7" y="75"/>
                      </a:cubicBezTo>
                      <a:cubicBezTo>
                        <a:pt x="7" y="75"/>
                        <a:pt x="7" y="75"/>
                        <a:pt x="7" y="75"/>
                      </a:cubicBezTo>
                      <a:cubicBezTo>
                        <a:pt x="8" y="75"/>
                        <a:pt x="8" y="75"/>
                        <a:pt x="8" y="75"/>
                      </a:cubicBezTo>
                      <a:cubicBezTo>
                        <a:pt x="7" y="76"/>
                        <a:pt x="7" y="76"/>
                        <a:pt x="7" y="76"/>
                      </a:cubicBezTo>
                      <a:cubicBezTo>
                        <a:pt x="6" y="75"/>
                        <a:pt x="6" y="75"/>
                        <a:pt x="6" y="75"/>
                      </a:cubicBezTo>
                      <a:cubicBezTo>
                        <a:pt x="5" y="76"/>
                        <a:pt x="5" y="76"/>
                        <a:pt x="5" y="76"/>
                      </a:cubicBezTo>
                      <a:cubicBezTo>
                        <a:pt x="4" y="75"/>
                        <a:pt x="4" y="75"/>
                        <a:pt x="4" y="75"/>
                      </a:cubicBezTo>
                      <a:cubicBezTo>
                        <a:pt x="3" y="75"/>
                        <a:pt x="3" y="75"/>
                        <a:pt x="3" y="75"/>
                      </a:cubicBezTo>
                      <a:cubicBezTo>
                        <a:pt x="3" y="75"/>
                        <a:pt x="3" y="75"/>
                        <a:pt x="3" y="75"/>
                      </a:cubicBezTo>
                      <a:cubicBezTo>
                        <a:pt x="2" y="76"/>
                        <a:pt x="2" y="76"/>
                        <a:pt x="2" y="76"/>
                      </a:cubicBezTo>
                      <a:cubicBezTo>
                        <a:pt x="1" y="76"/>
                        <a:pt x="1" y="76"/>
                        <a:pt x="1" y="76"/>
                      </a:cubicBezTo>
                      <a:cubicBezTo>
                        <a:pt x="1" y="76"/>
                        <a:pt x="1" y="76"/>
                        <a:pt x="1" y="76"/>
                      </a:cubicBezTo>
                      <a:cubicBezTo>
                        <a:pt x="2" y="77"/>
                        <a:pt x="2" y="77"/>
                        <a:pt x="2" y="77"/>
                      </a:cubicBezTo>
                      <a:cubicBezTo>
                        <a:pt x="2" y="77"/>
                        <a:pt x="2" y="77"/>
                        <a:pt x="2" y="77"/>
                      </a:cubicBezTo>
                      <a:cubicBezTo>
                        <a:pt x="2" y="77"/>
                        <a:pt x="2" y="77"/>
                        <a:pt x="2" y="77"/>
                      </a:cubicBezTo>
                      <a:cubicBezTo>
                        <a:pt x="3" y="77"/>
                        <a:pt x="3" y="77"/>
                        <a:pt x="3" y="77"/>
                      </a:cubicBezTo>
                      <a:cubicBezTo>
                        <a:pt x="4" y="77"/>
                        <a:pt x="4" y="77"/>
                        <a:pt x="4" y="77"/>
                      </a:cubicBezTo>
                      <a:cubicBezTo>
                        <a:pt x="3" y="78"/>
                        <a:pt x="3" y="78"/>
                        <a:pt x="3" y="78"/>
                      </a:cubicBezTo>
                      <a:cubicBezTo>
                        <a:pt x="2" y="78"/>
                        <a:pt x="2" y="78"/>
                        <a:pt x="2" y="78"/>
                      </a:cubicBezTo>
                      <a:cubicBezTo>
                        <a:pt x="2" y="78"/>
                        <a:pt x="2" y="78"/>
                        <a:pt x="2" y="78"/>
                      </a:cubicBezTo>
                      <a:cubicBezTo>
                        <a:pt x="1" y="78"/>
                        <a:pt x="1" y="78"/>
                        <a:pt x="1" y="78"/>
                      </a:cubicBezTo>
                      <a:cubicBezTo>
                        <a:pt x="1" y="78"/>
                        <a:pt x="1" y="78"/>
                        <a:pt x="1" y="78"/>
                      </a:cubicBezTo>
                      <a:cubicBezTo>
                        <a:pt x="2" y="78"/>
                        <a:pt x="2" y="78"/>
                        <a:pt x="2" y="78"/>
                      </a:cubicBezTo>
                      <a:cubicBezTo>
                        <a:pt x="2" y="78"/>
                        <a:pt x="2" y="78"/>
                        <a:pt x="2" y="78"/>
                      </a:cubicBezTo>
                      <a:cubicBezTo>
                        <a:pt x="2" y="79"/>
                        <a:pt x="2" y="79"/>
                        <a:pt x="2" y="79"/>
                      </a:cubicBezTo>
                      <a:cubicBezTo>
                        <a:pt x="1" y="79"/>
                        <a:pt x="1" y="79"/>
                        <a:pt x="1" y="79"/>
                      </a:cubicBezTo>
                      <a:cubicBezTo>
                        <a:pt x="1" y="79"/>
                        <a:pt x="1" y="79"/>
                        <a:pt x="1" y="79"/>
                      </a:cubicBezTo>
                      <a:cubicBezTo>
                        <a:pt x="2" y="79"/>
                        <a:pt x="2" y="79"/>
                        <a:pt x="2" y="79"/>
                      </a:cubicBezTo>
                      <a:cubicBezTo>
                        <a:pt x="2" y="80"/>
                        <a:pt x="2" y="80"/>
                        <a:pt x="2" y="80"/>
                      </a:cubicBezTo>
                      <a:cubicBezTo>
                        <a:pt x="3" y="80"/>
                        <a:pt x="3" y="80"/>
                        <a:pt x="3" y="80"/>
                      </a:cubicBezTo>
                      <a:cubicBezTo>
                        <a:pt x="4" y="80"/>
                        <a:pt x="4" y="80"/>
                        <a:pt x="4" y="80"/>
                      </a:cubicBezTo>
                      <a:cubicBezTo>
                        <a:pt x="5" y="79"/>
                        <a:pt x="5" y="79"/>
                        <a:pt x="5" y="79"/>
                      </a:cubicBezTo>
                      <a:cubicBezTo>
                        <a:pt x="6" y="80"/>
                        <a:pt x="6" y="80"/>
                        <a:pt x="6" y="80"/>
                      </a:cubicBezTo>
                      <a:cubicBezTo>
                        <a:pt x="6" y="80"/>
                        <a:pt x="6" y="80"/>
                        <a:pt x="6" y="80"/>
                      </a:cubicBezTo>
                      <a:cubicBezTo>
                        <a:pt x="7" y="79"/>
                        <a:pt x="7" y="79"/>
                        <a:pt x="7" y="79"/>
                      </a:cubicBezTo>
                      <a:cubicBezTo>
                        <a:pt x="7" y="79"/>
                        <a:pt x="7" y="79"/>
                        <a:pt x="7" y="79"/>
                      </a:cubicBezTo>
                      <a:cubicBezTo>
                        <a:pt x="8" y="79"/>
                        <a:pt x="8" y="79"/>
                        <a:pt x="8" y="79"/>
                      </a:cubicBezTo>
                      <a:cubicBezTo>
                        <a:pt x="8" y="79"/>
                        <a:pt x="8" y="79"/>
                        <a:pt x="8" y="79"/>
                      </a:cubicBezTo>
                      <a:cubicBezTo>
                        <a:pt x="9" y="79"/>
                        <a:pt x="9" y="79"/>
                        <a:pt x="9" y="79"/>
                      </a:cubicBezTo>
                      <a:cubicBezTo>
                        <a:pt x="10" y="78"/>
                        <a:pt x="10" y="78"/>
                        <a:pt x="10" y="78"/>
                      </a:cubicBezTo>
                      <a:cubicBezTo>
                        <a:pt x="10" y="79"/>
                        <a:pt x="10" y="79"/>
                        <a:pt x="10" y="79"/>
                      </a:cubicBezTo>
                      <a:cubicBezTo>
                        <a:pt x="10" y="79"/>
                        <a:pt x="10" y="79"/>
                        <a:pt x="10" y="79"/>
                      </a:cubicBezTo>
                      <a:cubicBezTo>
                        <a:pt x="10" y="79"/>
                        <a:pt x="10" y="79"/>
                        <a:pt x="10" y="79"/>
                      </a:cubicBezTo>
                      <a:cubicBezTo>
                        <a:pt x="10" y="80"/>
                        <a:pt x="10" y="80"/>
                        <a:pt x="10" y="80"/>
                      </a:cubicBezTo>
                      <a:cubicBezTo>
                        <a:pt x="11" y="79"/>
                        <a:pt x="11" y="79"/>
                        <a:pt x="11" y="79"/>
                      </a:cubicBezTo>
                      <a:cubicBezTo>
                        <a:pt x="11" y="79"/>
                        <a:pt x="11" y="79"/>
                        <a:pt x="11" y="79"/>
                      </a:cubicBezTo>
                      <a:cubicBezTo>
                        <a:pt x="11" y="78"/>
                        <a:pt x="11" y="78"/>
                        <a:pt x="11" y="78"/>
                      </a:cubicBezTo>
                      <a:cubicBezTo>
                        <a:pt x="11" y="78"/>
                        <a:pt x="11" y="78"/>
                        <a:pt x="11" y="78"/>
                      </a:cubicBezTo>
                      <a:cubicBezTo>
                        <a:pt x="12" y="79"/>
                        <a:pt x="12" y="79"/>
                        <a:pt x="12" y="79"/>
                      </a:cubicBezTo>
                      <a:cubicBezTo>
                        <a:pt x="11" y="80"/>
                        <a:pt x="11" y="80"/>
                        <a:pt x="11" y="80"/>
                      </a:cubicBezTo>
                      <a:cubicBezTo>
                        <a:pt x="10" y="80"/>
                        <a:pt x="10" y="80"/>
                        <a:pt x="10" y="80"/>
                      </a:cubicBezTo>
                      <a:cubicBezTo>
                        <a:pt x="10" y="81"/>
                        <a:pt x="10" y="81"/>
                        <a:pt x="10" y="81"/>
                      </a:cubicBezTo>
                      <a:cubicBezTo>
                        <a:pt x="10" y="81"/>
                        <a:pt x="10" y="81"/>
                        <a:pt x="10" y="81"/>
                      </a:cubicBezTo>
                      <a:cubicBezTo>
                        <a:pt x="9" y="81"/>
                        <a:pt x="9" y="81"/>
                        <a:pt x="9" y="81"/>
                      </a:cubicBezTo>
                      <a:cubicBezTo>
                        <a:pt x="8" y="82"/>
                        <a:pt x="8" y="82"/>
                        <a:pt x="8" y="82"/>
                      </a:cubicBezTo>
                      <a:cubicBezTo>
                        <a:pt x="8" y="81"/>
                        <a:pt x="8" y="81"/>
                        <a:pt x="8" y="81"/>
                      </a:cubicBezTo>
                      <a:cubicBezTo>
                        <a:pt x="9" y="81"/>
                        <a:pt x="9" y="81"/>
                        <a:pt x="9" y="81"/>
                      </a:cubicBezTo>
                      <a:cubicBezTo>
                        <a:pt x="9" y="80"/>
                        <a:pt x="9" y="80"/>
                        <a:pt x="9" y="80"/>
                      </a:cubicBezTo>
                      <a:cubicBezTo>
                        <a:pt x="8" y="80"/>
                        <a:pt x="8" y="80"/>
                        <a:pt x="8" y="80"/>
                      </a:cubicBezTo>
                      <a:cubicBezTo>
                        <a:pt x="7" y="81"/>
                        <a:pt x="7" y="81"/>
                        <a:pt x="7" y="81"/>
                      </a:cubicBezTo>
                      <a:cubicBezTo>
                        <a:pt x="7" y="81"/>
                        <a:pt x="7" y="81"/>
                        <a:pt x="7" y="81"/>
                      </a:cubicBezTo>
                      <a:cubicBezTo>
                        <a:pt x="6" y="80"/>
                        <a:pt x="6" y="80"/>
                        <a:pt x="6" y="80"/>
                      </a:cubicBezTo>
                      <a:cubicBezTo>
                        <a:pt x="5" y="80"/>
                        <a:pt x="5" y="80"/>
                        <a:pt x="5" y="80"/>
                      </a:cubicBezTo>
                      <a:cubicBezTo>
                        <a:pt x="4" y="80"/>
                        <a:pt x="4" y="80"/>
                        <a:pt x="4" y="80"/>
                      </a:cubicBezTo>
                      <a:cubicBezTo>
                        <a:pt x="4" y="80"/>
                        <a:pt x="4" y="80"/>
                        <a:pt x="4" y="80"/>
                      </a:cubicBezTo>
                      <a:cubicBezTo>
                        <a:pt x="2" y="81"/>
                        <a:pt x="2" y="81"/>
                        <a:pt x="2" y="81"/>
                      </a:cubicBezTo>
                      <a:cubicBezTo>
                        <a:pt x="2" y="81"/>
                        <a:pt x="2" y="81"/>
                        <a:pt x="2" y="81"/>
                      </a:cubicBezTo>
                      <a:cubicBezTo>
                        <a:pt x="1" y="80"/>
                        <a:pt x="1" y="80"/>
                        <a:pt x="1" y="80"/>
                      </a:cubicBezTo>
                      <a:cubicBezTo>
                        <a:pt x="1" y="80"/>
                        <a:pt x="1" y="80"/>
                        <a:pt x="1" y="80"/>
                      </a:cubicBezTo>
                      <a:cubicBezTo>
                        <a:pt x="1" y="81"/>
                        <a:pt x="1" y="81"/>
                        <a:pt x="1" y="81"/>
                      </a:cubicBezTo>
                      <a:cubicBezTo>
                        <a:pt x="1" y="82"/>
                        <a:pt x="1" y="82"/>
                        <a:pt x="1" y="82"/>
                      </a:cubicBezTo>
                      <a:cubicBezTo>
                        <a:pt x="2" y="82"/>
                        <a:pt x="2" y="82"/>
                        <a:pt x="2" y="82"/>
                      </a:cubicBezTo>
                      <a:cubicBezTo>
                        <a:pt x="2" y="82"/>
                        <a:pt x="2" y="82"/>
                        <a:pt x="2" y="82"/>
                      </a:cubicBezTo>
                      <a:cubicBezTo>
                        <a:pt x="3" y="81"/>
                        <a:pt x="3" y="81"/>
                        <a:pt x="3" y="81"/>
                      </a:cubicBezTo>
                      <a:cubicBezTo>
                        <a:pt x="3" y="81"/>
                        <a:pt x="3" y="81"/>
                        <a:pt x="3" y="81"/>
                      </a:cubicBezTo>
                      <a:cubicBezTo>
                        <a:pt x="2" y="82"/>
                        <a:pt x="2" y="82"/>
                        <a:pt x="2" y="82"/>
                      </a:cubicBezTo>
                      <a:cubicBezTo>
                        <a:pt x="3" y="83"/>
                        <a:pt x="3" y="83"/>
                        <a:pt x="3" y="83"/>
                      </a:cubicBezTo>
                      <a:cubicBezTo>
                        <a:pt x="2" y="83"/>
                        <a:pt x="2" y="83"/>
                        <a:pt x="2" y="83"/>
                      </a:cubicBezTo>
                      <a:cubicBezTo>
                        <a:pt x="2" y="83"/>
                        <a:pt x="2" y="83"/>
                        <a:pt x="2" y="83"/>
                      </a:cubicBezTo>
                      <a:cubicBezTo>
                        <a:pt x="2" y="84"/>
                        <a:pt x="2" y="84"/>
                        <a:pt x="2" y="84"/>
                      </a:cubicBezTo>
                      <a:cubicBezTo>
                        <a:pt x="2" y="84"/>
                        <a:pt x="2" y="84"/>
                        <a:pt x="2" y="84"/>
                      </a:cubicBezTo>
                      <a:cubicBezTo>
                        <a:pt x="4" y="83"/>
                        <a:pt x="4" y="83"/>
                        <a:pt x="4" y="83"/>
                      </a:cubicBezTo>
                      <a:cubicBezTo>
                        <a:pt x="5" y="83"/>
                        <a:pt x="5" y="83"/>
                        <a:pt x="5" y="83"/>
                      </a:cubicBezTo>
                      <a:cubicBezTo>
                        <a:pt x="4" y="83"/>
                        <a:pt x="4" y="83"/>
                        <a:pt x="4" y="83"/>
                      </a:cubicBezTo>
                      <a:cubicBezTo>
                        <a:pt x="4" y="84"/>
                        <a:pt x="4" y="84"/>
                        <a:pt x="4" y="84"/>
                      </a:cubicBezTo>
                      <a:cubicBezTo>
                        <a:pt x="3" y="85"/>
                        <a:pt x="3" y="85"/>
                        <a:pt x="3" y="85"/>
                      </a:cubicBezTo>
                      <a:cubicBezTo>
                        <a:pt x="3" y="85"/>
                        <a:pt x="3" y="85"/>
                        <a:pt x="3" y="85"/>
                      </a:cubicBezTo>
                      <a:cubicBezTo>
                        <a:pt x="4" y="85"/>
                        <a:pt x="4" y="85"/>
                        <a:pt x="4" y="85"/>
                      </a:cubicBezTo>
                      <a:cubicBezTo>
                        <a:pt x="4" y="86"/>
                        <a:pt x="4" y="86"/>
                        <a:pt x="4" y="86"/>
                      </a:cubicBezTo>
                      <a:cubicBezTo>
                        <a:pt x="4" y="86"/>
                        <a:pt x="4" y="86"/>
                        <a:pt x="4" y="86"/>
                      </a:cubicBezTo>
                      <a:cubicBezTo>
                        <a:pt x="4" y="87"/>
                        <a:pt x="4" y="87"/>
                        <a:pt x="4" y="87"/>
                      </a:cubicBezTo>
                      <a:cubicBezTo>
                        <a:pt x="4" y="87"/>
                        <a:pt x="4" y="87"/>
                        <a:pt x="4" y="87"/>
                      </a:cubicBezTo>
                      <a:cubicBezTo>
                        <a:pt x="5" y="86"/>
                        <a:pt x="5" y="86"/>
                        <a:pt x="5" y="86"/>
                      </a:cubicBezTo>
                      <a:cubicBezTo>
                        <a:pt x="6" y="86"/>
                        <a:pt x="6" y="86"/>
                        <a:pt x="6" y="86"/>
                      </a:cubicBezTo>
                      <a:cubicBezTo>
                        <a:pt x="6" y="85"/>
                        <a:pt x="6" y="85"/>
                        <a:pt x="6" y="85"/>
                      </a:cubicBezTo>
                      <a:cubicBezTo>
                        <a:pt x="7" y="84"/>
                        <a:pt x="7" y="84"/>
                        <a:pt x="7" y="84"/>
                      </a:cubicBezTo>
                      <a:cubicBezTo>
                        <a:pt x="8" y="84"/>
                        <a:pt x="8" y="84"/>
                        <a:pt x="8" y="84"/>
                      </a:cubicBezTo>
                      <a:cubicBezTo>
                        <a:pt x="9" y="84"/>
                        <a:pt x="9" y="84"/>
                        <a:pt x="9" y="84"/>
                      </a:cubicBezTo>
                      <a:cubicBezTo>
                        <a:pt x="9" y="84"/>
                        <a:pt x="9" y="84"/>
                        <a:pt x="9" y="84"/>
                      </a:cubicBezTo>
                      <a:cubicBezTo>
                        <a:pt x="8" y="85"/>
                        <a:pt x="8" y="85"/>
                        <a:pt x="8" y="85"/>
                      </a:cubicBezTo>
                      <a:cubicBezTo>
                        <a:pt x="8" y="86"/>
                        <a:pt x="8" y="86"/>
                        <a:pt x="8" y="86"/>
                      </a:cubicBezTo>
                      <a:cubicBezTo>
                        <a:pt x="8" y="87"/>
                        <a:pt x="8" y="87"/>
                        <a:pt x="8" y="87"/>
                      </a:cubicBezTo>
                      <a:cubicBezTo>
                        <a:pt x="7" y="86"/>
                        <a:pt x="7" y="86"/>
                        <a:pt x="7" y="86"/>
                      </a:cubicBezTo>
                      <a:cubicBezTo>
                        <a:pt x="7" y="85"/>
                        <a:pt x="7" y="85"/>
                        <a:pt x="7" y="85"/>
                      </a:cubicBezTo>
                      <a:cubicBezTo>
                        <a:pt x="7" y="85"/>
                        <a:pt x="7" y="85"/>
                        <a:pt x="7" y="85"/>
                      </a:cubicBezTo>
                      <a:cubicBezTo>
                        <a:pt x="6" y="86"/>
                        <a:pt x="6" y="86"/>
                        <a:pt x="6" y="86"/>
                      </a:cubicBezTo>
                      <a:cubicBezTo>
                        <a:pt x="5" y="86"/>
                        <a:pt x="5" y="86"/>
                        <a:pt x="5" y="86"/>
                      </a:cubicBezTo>
                      <a:cubicBezTo>
                        <a:pt x="6" y="87"/>
                        <a:pt x="6" y="87"/>
                        <a:pt x="6" y="87"/>
                      </a:cubicBezTo>
                      <a:cubicBezTo>
                        <a:pt x="6" y="88"/>
                        <a:pt x="6" y="88"/>
                        <a:pt x="6" y="88"/>
                      </a:cubicBezTo>
                      <a:cubicBezTo>
                        <a:pt x="5" y="88"/>
                        <a:pt x="5" y="88"/>
                        <a:pt x="5" y="88"/>
                      </a:cubicBezTo>
                      <a:cubicBezTo>
                        <a:pt x="5" y="88"/>
                        <a:pt x="5" y="88"/>
                        <a:pt x="5" y="88"/>
                      </a:cubicBezTo>
                      <a:cubicBezTo>
                        <a:pt x="5" y="88"/>
                        <a:pt x="5" y="88"/>
                        <a:pt x="5" y="88"/>
                      </a:cubicBezTo>
                      <a:cubicBezTo>
                        <a:pt x="6" y="88"/>
                        <a:pt x="6" y="88"/>
                        <a:pt x="6" y="88"/>
                      </a:cubicBezTo>
                      <a:cubicBezTo>
                        <a:pt x="7" y="89"/>
                        <a:pt x="7" y="89"/>
                        <a:pt x="7" y="89"/>
                      </a:cubicBezTo>
                      <a:cubicBezTo>
                        <a:pt x="6" y="89"/>
                        <a:pt x="6" y="89"/>
                        <a:pt x="6" y="89"/>
                      </a:cubicBezTo>
                      <a:cubicBezTo>
                        <a:pt x="6" y="89"/>
                        <a:pt x="6" y="89"/>
                        <a:pt x="6" y="89"/>
                      </a:cubicBezTo>
                      <a:cubicBezTo>
                        <a:pt x="5" y="90"/>
                        <a:pt x="5" y="90"/>
                        <a:pt x="5" y="90"/>
                      </a:cubicBezTo>
                      <a:cubicBezTo>
                        <a:pt x="4" y="89"/>
                        <a:pt x="4" y="89"/>
                        <a:pt x="4" y="89"/>
                      </a:cubicBezTo>
                      <a:cubicBezTo>
                        <a:pt x="4" y="90"/>
                        <a:pt x="4" y="90"/>
                        <a:pt x="4" y="90"/>
                      </a:cubicBezTo>
                      <a:cubicBezTo>
                        <a:pt x="4" y="90"/>
                        <a:pt x="4" y="90"/>
                        <a:pt x="4" y="90"/>
                      </a:cubicBezTo>
                      <a:cubicBezTo>
                        <a:pt x="4" y="89"/>
                        <a:pt x="4" y="89"/>
                        <a:pt x="4" y="89"/>
                      </a:cubicBezTo>
                      <a:cubicBezTo>
                        <a:pt x="3" y="90"/>
                        <a:pt x="3" y="90"/>
                        <a:pt x="3" y="90"/>
                      </a:cubicBezTo>
                      <a:cubicBezTo>
                        <a:pt x="2" y="91"/>
                        <a:pt x="2" y="91"/>
                        <a:pt x="2" y="91"/>
                      </a:cubicBezTo>
                      <a:cubicBezTo>
                        <a:pt x="2" y="92"/>
                        <a:pt x="2" y="92"/>
                        <a:pt x="2" y="92"/>
                      </a:cubicBezTo>
                      <a:cubicBezTo>
                        <a:pt x="4" y="93"/>
                        <a:pt x="4" y="93"/>
                        <a:pt x="4" y="93"/>
                      </a:cubicBezTo>
                      <a:cubicBezTo>
                        <a:pt x="4" y="92"/>
                        <a:pt x="4" y="92"/>
                        <a:pt x="4" y="92"/>
                      </a:cubicBezTo>
                      <a:cubicBezTo>
                        <a:pt x="4" y="92"/>
                        <a:pt x="4" y="92"/>
                        <a:pt x="4" y="92"/>
                      </a:cubicBezTo>
                      <a:cubicBezTo>
                        <a:pt x="5" y="92"/>
                        <a:pt x="5" y="92"/>
                        <a:pt x="5" y="92"/>
                      </a:cubicBezTo>
                      <a:cubicBezTo>
                        <a:pt x="5" y="92"/>
                        <a:pt x="5" y="92"/>
                        <a:pt x="5" y="92"/>
                      </a:cubicBezTo>
                      <a:cubicBezTo>
                        <a:pt x="5" y="91"/>
                        <a:pt x="5" y="91"/>
                        <a:pt x="5" y="91"/>
                      </a:cubicBezTo>
                      <a:cubicBezTo>
                        <a:pt x="6" y="92"/>
                        <a:pt x="6" y="92"/>
                        <a:pt x="6" y="92"/>
                      </a:cubicBezTo>
                      <a:cubicBezTo>
                        <a:pt x="6" y="92"/>
                        <a:pt x="6" y="92"/>
                        <a:pt x="6" y="92"/>
                      </a:cubicBezTo>
                      <a:cubicBezTo>
                        <a:pt x="6" y="92"/>
                        <a:pt x="6" y="92"/>
                        <a:pt x="6" y="92"/>
                      </a:cubicBezTo>
                      <a:cubicBezTo>
                        <a:pt x="6" y="93"/>
                        <a:pt x="6" y="93"/>
                        <a:pt x="6" y="93"/>
                      </a:cubicBezTo>
                      <a:cubicBezTo>
                        <a:pt x="5" y="94"/>
                        <a:pt x="5" y="94"/>
                        <a:pt x="5" y="94"/>
                      </a:cubicBezTo>
                      <a:cubicBezTo>
                        <a:pt x="6" y="95"/>
                        <a:pt x="6" y="95"/>
                        <a:pt x="6" y="95"/>
                      </a:cubicBezTo>
                      <a:cubicBezTo>
                        <a:pt x="6" y="94"/>
                        <a:pt x="6" y="94"/>
                        <a:pt x="6" y="94"/>
                      </a:cubicBezTo>
                      <a:cubicBezTo>
                        <a:pt x="8" y="94"/>
                        <a:pt x="8" y="94"/>
                        <a:pt x="8" y="94"/>
                      </a:cubicBezTo>
                      <a:cubicBezTo>
                        <a:pt x="8" y="95"/>
                        <a:pt x="8" y="95"/>
                        <a:pt x="8" y="95"/>
                      </a:cubicBezTo>
                      <a:cubicBezTo>
                        <a:pt x="7" y="95"/>
                        <a:pt x="7" y="95"/>
                        <a:pt x="7" y="95"/>
                      </a:cubicBezTo>
                      <a:cubicBezTo>
                        <a:pt x="7" y="95"/>
                        <a:pt x="7" y="95"/>
                        <a:pt x="7" y="95"/>
                      </a:cubicBezTo>
                      <a:cubicBezTo>
                        <a:pt x="7" y="96"/>
                        <a:pt x="7" y="96"/>
                        <a:pt x="7" y="96"/>
                      </a:cubicBezTo>
                      <a:cubicBezTo>
                        <a:pt x="7" y="96"/>
                        <a:pt x="7" y="96"/>
                        <a:pt x="7" y="96"/>
                      </a:cubicBezTo>
                      <a:cubicBezTo>
                        <a:pt x="5" y="95"/>
                        <a:pt x="5" y="95"/>
                        <a:pt x="5" y="95"/>
                      </a:cubicBezTo>
                      <a:cubicBezTo>
                        <a:pt x="5" y="95"/>
                        <a:pt x="5" y="95"/>
                        <a:pt x="5" y="95"/>
                      </a:cubicBezTo>
                      <a:cubicBezTo>
                        <a:pt x="4" y="95"/>
                        <a:pt x="4" y="95"/>
                        <a:pt x="4" y="95"/>
                      </a:cubicBezTo>
                      <a:cubicBezTo>
                        <a:pt x="3" y="95"/>
                        <a:pt x="3" y="95"/>
                        <a:pt x="3" y="95"/>
                      </a:cubicBezTo>
                      <a:cubicBezTo>
                        <a:pt x="3" y="95"/>
                        <a:pt x="3" y="95"/>
                        <a:pt x="3" y="95"/>
                      </a:cubicBezTo>
                      <a:cubicBezTo>
                        <a:pt x="3" y="96"/>
                        <a:pt x="3" y="96"/>
                        <a:pt x="3" y="96"/>
                      </a:cubicBezTo>
                      <a:cubicBezTo>
                        <a:pt x="4" y="98"/>
                        <a:pt x="4" y="98"/>
                        <a:pt x="4" y="98"/>
                      </a:cubicBezTo>
                      <a:cubicBezTo>
                        <a:pt x="5" y="98"/>
                        <a:pt x="5" y="98"/>
                        <a:pt x="5" y="98"/>
                      </a:cubicBezTo>
                      <a:cubicBezTo>
                        <a:pt x="6" y="99"/>
                        <a:pt x="6" y="99"/>
                        <a:pt x="6" y="99"/>
                      </a:cubicBezTo>
                      <a:cubicBezTo>
                        <a:pt x="8" y="100"/>
                        <a:pt x="8" y="100"/>
                        <a:pt x="8" y="100"/>
                      </a:cubicBezTo>
                      <a:cubicBezTo>
                        <a:pt x="8" y="100"/>
                        <a:pt x="8" y="100"/>
                        <a:pt x="8" y="100"/>
                      </a:cubicBezTo>
                      <a:cubicBezTo>
                        <a:pt x="8" y="100"/>
                        <a:pt x="8" y="100"/>
                        <a:pt x="8" y="100"/>
                      </a:cubicBezTo>
                      <a:cubicBezTo>
                        <a:pt x="9" y="101"/>
                        <a:pt x="9" y="101"/>
                        <a:pt x="9" y="101"/>
                      </a:cubicBezTo>
                      <a:cubicBezTo>
                        <a:pt x="9" y="101"/>
                        <a:pt x="9" y="101"/>
                        <a:pt x="9" y="101"/>
                      </a:cubicBezTo>
                      <a:cubicBezTo>
                        <a:pt x="9" y="100"/>
                        <a:pt x="9" y="100"/>
                        <a:pt x="9" y="100"/>
                      </a:cubicBezTo>
                      <a:cubicBezTo>
                        <a:pt x="10" y="100"/>
                        <a:pt x="10" y="100"/>
                        <a:pt x="10" y="100"/>
                      </a:cubicBezTo>
                      <a:cubicBezTo>
                        <a:pt x="10" y="100"/>
                        <a:pt x="10" y="100"/>
                        <a:pt x="10" y="100"/>
                      </a:cubicBezTo>
                      <a:cubicBezTo>
                        <a:pt x="10" y="100"/>
                        <a:pt x="10" y="100"/>
                        <a:pt x="10" y="100"/>
                      </a:cubicBezTo>
                      <a:cubicBezTo>
                        <a:pt x="11" y="101"/>
                        <a:pt x="11" y="101"/>
                        <a:pt x="11" y="101"/>
                      </a:cubicBezTo>
                      <a:cubicBezTo>
                        <a:pt x="12" y="101"/>
                        <a:pt x="12" y="101"/>
                        <a:pt x="12" y="101"/>
                      </a:cubicBezTo>
                      <a:cubicBezTo>
                        <a:pt x="12" y="101"/>
                        <a:pt x="12" y="101"/>
                        <a:pt x="12" y="101"/>
                      </a:cubicBezTo>
                      <a:cubicBezTo>
                        <a:pt x="13" y="101"/>
                        <a:pt x="13" y="101"/>
                        <a:pt x="13" y="101"/>
                      </a:cubicBezTo>
                      <a:cubicBezTo>
                        <a:pt x="14" y="100"/>
                        <a:pt x="14" y="100"/>
                        <a:pt x="14" y="100"/>
                      </a:cubicBezTo>
                      <a:cubicBezTo>
                        <a:pt x="14" y="100"/>
                        <a:pt x="14" y="100"/>
                        <a:pt x="14" y="100"/>
                      </a:cubicBezTo>
                      <a:cubicBezTo>
                        <a:pt x="15" y="99"/>
                        <a:pt x="15" y="99"/>
                        <a:pt x="15" y="99"/>
                      </a:cubicBezTo>
                      <a:cubicBezTo>
                        <a:pt x="15" y="99"/>
                        <a:pt x="15" y="99"/>
                        <a:pt x="15" y="99"/>
                      </a:cubicBezTo>
                      <a:cubicBezTo>
                        <a:pt x="15" y="100"/>
                        <a:pt x="15" y="100"/>
                        <a:pt x="15" y="100"/>
                      </a:cubicBezTo>
                      <a:cubicBezTo>
                        <a:pt x="16" y="100"/>
                        <a:pt x="16" y="100"/>
                        <a:pt x="16" y="100"/>
                      </a:cubicBezTo>
                      <a:cubicBezTo>
                        <a:pt x="17" y="99"/>
                        <a:pt x="17" y="99"/>
                        <a:pt x="17" y="99"/>
                      </a:cubicBezTo>
                      <a:cubicBezTo>
                        <a:pt x="17" y="98"/>
                        <a:pt x="17" y="98"/>
                        <a:pt x="17" y="98"/>
                      </a:cubicBezTo>
                      <a:cubicBezTo>
                        <a:pt x="16" y="97"/>
                        <a:pt x="16" y="97"/>
                        <a:pt x="16" y="97"/>
                      </a:cubicBezTo>
                      <a:cubicBezTo>
                        <a:pt x="18" y="98"/>
                        <a:pt x="18" y="98"/>
                        <a:pt x="18" y="98"/>
                      </a:cubicBezTo>
                      <a:cubicBezTo>
                        <a:pt x="19" y="97"/>
                        <a:pt x="19" y="97"/>
                        <a:pt x="19" y="97"/>
                      </a:cubicBezTo>
                      <a:cubicBezTo>
                        <a:pt x="18" y="97"/>
                        <a:pt x="18" y="97"/>
                        <a:pt x="18" y="97"/>
                      </a:cubicBezTo>
                      <a:cubicBezTo>
                        <a:pt x="19" y="96"/>
                        <a:pt x="19" y="96"/>
                        <a:pt x="19" y="96"/>
                      </a:cubicBezTo>
                      <a:cubicBezTo>
                        <a:pt x="19" y="96"/>
                        <a:pt x="19" y="96"/>
                        <a:pt x="19" y="96"/>
                      </a:cubicBezTo>
                      <a:cubicBezTo>
                        <a:pt x="20" y="95"/>
                        <a:pt x="20" y="95"/>
                        <a:pt x="20" y="95"/>
                      </a:cubicBezTo>
                      <a:cubicBezTo>
                        <a:pt x="20" y="95"/>
                        <a:pt x="20" y="95"/>
                        <a:pt x="20" y="95"/>
                      </a:cubicBezTo>
                      <a:cubicBezTo>
                        <a:pt x="21" y="95"/>
                        <a:pt x="21" y="95"/>
                        <a:pt x="21" y="95"/>
                      </a:cubicBezTo>
                      <a:cubicBezTo>
                        <a:pt x="20" y="94"/>
                        <a:pt x="20" y="94"/>
                        <a:pt x="20" y="94"/>
                      </a:cubicBezTo>
                      <a:cubicBezTo>
                        <a:pt x="20" y="93"/>
                        <a:pt x="20" y="93"/>
                        <a:pt x="20" y="93"/>
                      </a:cubicBezTo>
                      <a:cubicBezTo>
                        <a:pt x="19" y="93"/>
                        <a:pt x="19" y="93"/>
                        <a:pt x="19" y="93"/>
                      </a:cubicBezTo>
                      <a:cubicBezTo>
                        <a:pt x="19" y="92"/>
                        <a:pt x="19" y="92"/>
                        <a:pt x="19" y="92"/>
                      </a:cubicBezTo>
                      <a:cubicBezTo>
                        <a:pt x="19" y="91"/>
                        <a:pt x="19" y="91"/>
                        <a:pt x="19" y="91"/>
                      </a:cubicBezTo>
                      <a:cubicBezTo>
                        <a:pt x="19" y="92"/>
                        <a:pt x="19" y="92"/>
                        <a:pt x="19" y="92"/>
                      </a:cubicBezTo>
                      <a:cubicBezTo>
                        <a:pt x="20" y="92"/>
                        <a:pt x="20" y="92"/>
                        <a:pt x="20" y="92"/>
                      </a:cubicBezTo>
                      <a:cubicBezTo>
                        <a:pt x="20" y="94"/>
                        <a:pt x="20" y="94"/>
                        <a:pt x="20" y="94"/>
                      </a:cubicBezTo>
                      <a:cubicBezTo>
                        <a:pt x="21" y="94"/>
                        <a:pt x="21" y="94"/>
                        <a:pt x="21" y="94"/>
                      </a:cubicBezTo>
                      <a:cubicBezTo>
                        <a:pt x="21" y="94"/>
                        <a:pt x="21" y="94"/>
                        <a:pt x="21" y="94"/>
                      </a:cubicBezTo>
                      <a:cubicBezTo>
                        <a:pt x="21" y="95"/>
                        <a:pt x="21" y="95"/>
                        <a:pt x="21" y="95"/>
                      </a:cubicBezTo>
                      <a:cubicBezTo>
                        <a:pt x="22" y="95"/>
                        <a:pt x="22" y="95"/>
                        <a:pt x="22" y="95"/>
                      </a:cubicBezTo>
                      <a:cubicBezTo>
                        <a:pt x="23" y="95"/>
                        <a:pt x="23" y="95"/>
                        <a:pt x="23" y="95"/>
                      </a:cubicBezTo>
                      <a:cubicBezTo>
                        <a:pt x="22" y="94"/>
                        <a:pt x="22" y="94"/>
                        <a:pt x="22" y="94"/>
                      </a:cubicBezTo>
                      <a:cubicBezTo>
                        <a:pt x="22" y="94"/>
                        <a:pt x="22" y="94"/>
                        <a:pt x="22" y="94"/>
                      </a:cubicBezTo>
                      <a:cubicBezTo>
                        <a:pt x="22" y="93"/>
                        <a:pt x="22" y="93"/>
                        <a:pt x="22" y="93"/>
                      </a:cubicBezTo>
                      <a:cubicBezTo>
                        <a:pt x="23" y="94"/>
                        <a:pt x="23" y="94"/>
                        <a:pt x="23" y="94"/>
                      </a:cubicBezTo>
                      <a:cubicBezTo>
                        <a:pt x="23" y="94"/>
                        <a:pt x="23" y="94"/>
                        <a:pt x="23" y="94"/>
                      </a:cubicBezTo>
                      <a:cubicBezTo>
                        <a:pt x="24" y="93"/>
                        <a:pt x="24" y="93"/>
                        <a:pt x="24" y="93"/>
                      </a:cubicBezTo>
                      <a:cubicBezTo>
                        <a:pt x="25" y="92"/>
                        <a:pt x="25" y="92"/>
                        <a:pt x="25" y="92"/>
                      </a:cubicBezTo>
                      <a:cubicBezTo>
                        <a:pt x="24" y="92"/>
                        <a:pt x="24" y="92"/>
                        <a:pt x="24" y="92"/>
                      </a:cubicBezTo>
                      <a:cubicBezTo>
                        <a:pt x="24" y="91"/>
                        <a:pt x="24" y="91"/>
                        <a:pt x="24" y="91"/>
                      </a:cubicBezTo>
                      <a:cubicBezTo>
                        <a:pt x="23" y="91"/>
                        <a:pt x="23" y="91"/>
                        <a:pt x="23" y="91"/>
                      </a:cubicBezTo>
                      <a:cubicBezTo>
                        <a:pt x="24" y="91"/>
                        <a:pt x="24" y="91"/>
                        <a:pt x="24" y="91"/>
                      </a:cubicBezTo>
                      <a:cubicBezTo>
                        <a:pt x="24" y="90"/>
                        <a:pt x="24" y="90"/>
                        <a:pt x="24" y="90"/>
                      </a:cubicBezTo>
                      <a:cubicBezTo>
                        <a:pt x="24" y="90"/>
                        <a:pt x="24" y="90"/>
                        <a:pt x="24" y="90"/>
                      </a:cubicBezTo>
                      <a:cubicBezTo>
                        <a:pt x="25" y="90"/>
                        <a:pt x="25" y="90"/>
                        <a:pt x="25" y="90"/>
                      </a:cubicBezTo>
                      <a:cubicBezTo>
                        <a:pt x="24" y="89"/>
                        <a:pt x="24" y="89"/>
                        <a:pt x="24" y="89"/>
                      </a:cubicBezTo>
                      <a:cubicBezTo>
                        <a:pt x="24" y="88"/>
                        <a:pt x="24" y="88"/>
                        <a:pt x="24" y="88"/>
                      </a:cubicBezTo>
                      <a:cubicBezTo>
                        <a:pt x="25" y="88"/>
                        <a:pt x="25" y="88"/>
                        <a:pt x="25" y="88"/>
                      </a:cubicBezTo>
                      <a:cubicBezTo>
                        <a:pt x="26" y="89"/>
                        <a:pt x="26" y="89"/>
                        <a:pt x="26" y="89"/>
                      </a:cubicBezTo>
                      <a:cubicBezTo>
                        <a:pt x="25" y="89"/>
                        <a:pt x="25" y="89"/>
                        <a:pt x="25" y="89"/>
                      </a:cubicBezTo>
                      <a:cubicBezTo>
                        <a:pt x="25" y="90"/>
                        <a:pt x="25" y="90"/>
                        <a:pt x="25" y="90"/>
                      </a:cubicBezTo>
                      <a:cubicBezTo>
                        <a:pt x="25" y="91"/>
                        <a:pt x="25" y="91"/>
                        <a:pt x="25" y="91"/>
                      </a:cubicBezTo>
                      <a:cubicBezTo>
                        <a:pt x="26" y="92"/>
                        <a:pt x="26" y="92"/>
                        <a:pt x="26" y="92"/>
                      </a:cubicBezTo>
                      <a:cubicBezTo>
                        <a:pt x="26" y="92"/>
                        <a:pt x="26" y="92"/>
                        <a:pt x="26" y="92"/>
                      </a:cubicBezTo>
                      <a:cubicBezTo>
                        <a:pt x="27" y="93"/>
                        <a:pt x="27" y="93"/>
                        <a:pt x="27" y="93"/>
                      </a:cubicBezTo>
                      <a:cubicBezTo>
                        <a:pt x="28" y="93"/>
                        <a:pt x="28" y="93"/>
                        <a:pt x="28" y="93"/>
                      </a:cubicBezTo>
                      <a:cubicBezTo>
                        <a:pt x="28" y="94"/>
                        <a:pt x="28" y="94"/>
                        <a:pt x="28" y="94"/>
                      </a:cubicBezTo>
                      <a:cubicBezTo>
                        <a:pt x="28" y="94"/>
                        <a:pt x="28" y="94"/>
                        <a:pt x="28" y="94"/>
                      </a:cubicBezTo>
                      <a:cubicBezTo>
                        <a:pt x="29" y="94"/>
                        <a:pt x="29" y="94"/>
                        <a:pt x="29" y="94"/>
                      </a:cubicBezTo>
                      <a:cubicBezTo>
                        <a:pt x="29" y="95"/>
                        <a:pt x="29" y="95"/>
                        <a:pt x="29" y="95"/>
                      </a:cubicBezTo>
                      <a:cubicBezTo>
                        <a:pt x="30" y="94"/>
                        <a:pt x="30" y="94"/>
                        <a:pt x="30" y="94"/>
                      </a:cubicBezTo>
                      <a:cubicBezTo>
                        <a:pt x="29" y="92"/>
                        <a:pt x="29" y="92"/>
                        <a:pt x="29" y="92"/>
                      </a:cubicBezTo>
                      <a:cubicBezTo>
                        <a:pt x="29" y="90"/>
                        <a:pt x="29" y="90"/>
                        <a:pt x="29" y="90"/>
                      </a:cubicBezTo>
                      <a:cubicBezTo>
                        <a:pt x="29" y="90"/>
                        <a:pt x="29" y="90"/>
                        <a:pt x="29" y="90"/>
                      </a:cubicBezTo>
                      <a:cubicBezTo>
                        <a:pt x="30" y="89"/>
                        <a:pt x="30" y="89"/>
                        <a:pt x="30" y="89"/>
                      </a:cubicBezTo>
                      <a:cubicBezTo>
                        <a:pt x="29" y="89"/>
                        <a:pt x="29" y="89"/>
                        <a:pt x="29" y="89"/>
                      </a:cubicBezTo>
                      <a:cubicBezTo>
                        <a:pt x="30" y="88"/>
                        <a:pt x="30" y="88"/>
                        <a:pt x="30" y="88"/>
                      </a:cubicBezTo>
                      <a:cubicBezTo>
                        <a:pt x="31" y="88"/>
                        <a:pt x="31" y="88"/>
                        <a:pt x="31" y="88"/>
                      </a:cubicBezTo>
                      <a:cubicBezTo>
                        <a:pt x="31" y="87"/>
                        <a:pt x="31" y="87"/>
                        <a:pt x="31" y="87"/>
                      </a:cubicBezTo>
                      <a:cubicBezTo>
                        <a:pt x="31" y="86"/>
                        <a:pt x="31" y="86"/>
                        <a:pt x="31" y="86"/>
                      </a:cubicBezTo>
                      <a:cubicBezTo>
                        <a:pt x="32" y="85"/>
                        <a:pt x="32" y="85"/>
                        <a:pt x="32" y="85"/>
                      </a:cubicBezTo>
                      <a:cubicBezTo>
                        <a:pt x="31" y="84"/>
                        <a:pt x="31" y="84"/>
                        <a:pt x="31" y="84"/>
                      </a:cubicBezTo>
                      <a:cubicBezTo>
                        <a:pt x="31" y="82"/>
                        <a:pt x="31" y="82"/>
                        <a:pt x="31" y="82"/>
                      </a:cubicBezTo>
                      <a:cubicBezTo>
                        <a:pt x="30" y="81"/>
                        <a:pt x="30" y="81"/>
                        <a:pt x="30" y="81"/>
                      </a:cubicBezTo>
                      <a:cubicBezTo>
                        <a:pt x="30" y="80"/>
                        <a:pt x="30" y="80"/>
                        <a:pt x="30" y="80"/>
                      </a:cubicBezTo>
                      <a:cubicBezTo>
                        <a:pt x="32" y="79"/>
                        <a:pt x="32" y="79"/>
                        <a:pt x="32" y="79"/>
                      </a:cubicBezTo>
                      <a:cubicBezTo>
                        <a:pt x="32" y="78"/>
                        <a:pt x="32" y="78"/>
                        <a:pt x="32" y="78"/>
                      </a:cubicBezTo>
                      <a:cubicBezTo>
                        <a:pt x="33" y="77"/>
                        <a:pt x="33" y="77"/>
                        <a:pt x="33" y="77"/>
                      </a:cubicBezTo>
                      <a:cubicBezTo>
                        <a:pt x="31" y="75"/>
                        <a:pt x="31" y="75"/>
                        <a:pt x="31" y="75"/>
                      </a:cubicBezTo>
                      <a:cubicBezTo>
                        <a:pt x="30" y="75"/>
                        <a:pt x="30" y="75"/>
                        <a:pt x="30" y="75"/>
                      </a:cubicBezTo>
                      <a:cubicBezTo>
                        <a:pt x="30" y="73"/>
                        <a:pt x="30" y="73"/>
                        <a:pt x="30" y="73"/>
                      </a:cubicBezTo>
                      <a:cubicBezTo>
                        <a:pt x="30" y="71"/>
                        <a:pt x="30" y="71"/>
                        <a:pt x="30" y="71"/>
                      </a:cubicBezTo>
                      <a:cubicBezTo>
                        <a:pt x="30" y="70"/>
                        <a:pt x="30" y="70"/>
                        <a:pt x="30" y="70"/>
                      </a:cubicBezTo>
                      <a:cubicBezTo>
                        <a:pt x="29" y="68"/>
                        <a:pt x="29" y="68"/>
                        <a:pt x="29" y="68"/>
                      </a:cubicBezTo>
                      <a:cubicBezTo>
                        <a:pt x="30" y="67"/>
                        <a:pt x="30" y="67"/>
                        <a:pt x="30" y="67"/>
                      </a:cubicBezTo>
                      <a:cubicBezTo>
                        <a:pt x="29" y="65"/>
                        <a:pt x="29" y="65"/>
                        <a:pt x="29" y="65"/>
                      </a:cubicBezTo>
                      <a:cubicBezTo>
                        <a:pt x="29" y="63"/>
                        <a:pt x="29" y="63"/>
                        <a:pt x="29" y="63"/>
                      </a:cubicBezTo>
                      <a:cubicBezTo>
                        <a:pt x="29" y="61"/>
                        <a:pt x="29" y="61"/>
                        <a:pt x="29" y="61"/>
                      </a:cubicBezTo>
                      <a:cubicBezTo>
                        <a:pt x="30" y="59"/>
                        <a:pt x="30" y="59"/>
                        <a:pt x="30" y="59"/>
                      </a:cubicBezTo>
                      <a:cubicBezTo>
                        <a:pt x="31" y="58"/>
                        <a:pt x="31" y="58"/>
                        <a:pt x="31" y="58"/>
                      </a:cubicBezTo>
                      <a:cubicBezTo>
                        <a:pt x="33" y="59"/>
                        <a:pt x="33" y="59"/>
                        <a:pt x="33" y="59"/>
                      </a:cubicBezTo>
                      <a:cubicBezTo>
                        <a:pt x="34" y="59"/>
                        <a:pt x="34" y="59"/>
                        <a:pt x="34" y="59"/>
                      </a:cubicBezTo>
                      <a:cubicBezTo>
                        <a:pt x="35" y="58"/>
                        <a:pt x="35" y="58"/>
                        <a:pt x="35" y="58"/>
                      </a:cubicBezTo>
                      <a:cubicBezTo>
                        <a:pt x="35" y="56"/>
                        <a:pt x="35" y="56"/>
                        <a:pt x="35" y="56"/>
                      </a:cubicBezTo>
                      <a:cubicBezTo>
                        <a:pt x="35" y="55"/>
                        <a:pt x="35" y="55"/>
                        <a:pt x="35" y="55"/>
                      </a:cubicBezTo>
                      <a:cubicBezTo>
                        <a:pt x="35" y="54"/>
                        <a:pt x="35" y="54"/>
                        <a:pt x="35" y="54"/>
                      </a:cubicBezTo>
                      <a:cubicBezTo>
                        <a:pt x="36" y="51"/>
                        <a:pt x="36" y="51"/>
                        <a:pt x="36" y="51"/>
                      </a:cubicBezTo>
                      <a:cubicBezTo>
                        <a:pt x="36" y="49"/>
                        <a:pt x="36" y="49"/>
                        <a:pt x="36" y="49"/>
                      </a:cubicBezTo>
                      <a:cubicBezTo>
                        <a:pt x="37" y="47"/>
                        <a:pt x="37" y="47"/>
                        <a:pt x="37" y="47"/>
                      </a:cubicBezTo>
                      <a:cubicBezTo>
                        <a:pt x="37" y="46"/>
                        <a:pt x="37" y="46"/>
                        <a:pt x="37" y="46"/>
                      </a:cubicBezTo>
                      <a:cubicBezTo>
                        <a:pt x="37" y="44"/>
                        <a:pt x="37" y="44"/>
                        <a:pt x="37" y="44"/>
                      </a:cubicBezTo>
                      <a:cubicBezTo>
                        <a:pt x="37" y="44"/>
                        <a:pt x="37" y="44"/>
                        <a:pt x="37" y="44"/>
                      </a:cubicBezTo>
                      <a:cubicBezTo>
                        <a:pt x="37" y="43"/>
                        <a:pt x="37" y="43"/>
                        <a:pt x="37" y="43"/>
                      </a:cubicBezTo>
                      <a:cubicBezTo>
                        <a:pt x="38" y="42"/>
                        <a:pt x="38" y="42"/>
                        <a:pt x="38" y="42"/>
                      </a:cubicBezTo>
                      <a:cubicBezTo>
                        <a:pt x="40" y="42"/>
                        <a:pt x="40" y="42"/>
                        <a:pt x="40" y="42"/>
                      </a:cubicBezTo>
                      <a:cubicBezTo>
                        <a:pt x="41" y="41"/>
                        <a:pt x="41" y="41"/>
                        <a:pt x="41" y="41"/>
                      </a:cubicBezTo>
                      <a:cubicBezTo>
                        <a:pt x="41" y="40"/>
                        <a:pt x="41" y="40"/>
                        <a:pt x="41" y="40"/>
                      </a:cubicBezTo>
                      <a:cubicBezTo>
                        <a:pt x="42" y="38"/>
                        <a:pt x="42" y="38"/>
                        <a:pt x="42" y="38"/>
                      </a:cubicBezTo>
                      <a:cubicBezTo>
                        <a:pt x="43" y="37"/>
                        <a:pt x="43" y="37"/>
                        <a:pt x="43" y="37"/>
                      </a:cubicBezTo>
                      <a:cubicBezTo>
                        <a:pt x="44" y="36"/>
                        <a:pt x="44" y="36"/>
                        <a:pt x="44" y="36"/>
                      </a:cubicBezTo>
                      <a:cubicBezTo>
                        <a:pt x="43" y="34"/>
                        <a:pt x="43" y="34"/>
                        <a:pt x="43" y="34"/>
                      </a:cubicBezTo>
                      <a:cubicBezTo>
                        <a:pt x="43" y="34"/>
                        <a:pt x="43" y="34"/>
                        <a:pt x="43" y="34"/>
                      </a:cubicBezTo>
                      <a:cubicBezTo>
                        <a:pt x="43" y="32"/>
                        <a:pt x="43" y="32"/>
                        <a:pt x="43" y="32"/>
                      </a:cubicBezTo>
                      <a:cubicBezTo>
                        <a:pt x="43" y="32"/>
                        <a:pt x="43" y="32"/>
                        <a:pt x="43" y="32"/>
                      </a:cubicBezTo>
                      <a:cubicBezTo>
                        <a:pt x="44" y="31"/>
                        <a:pt x="44" y="31"/>
                        <a:pt x="44" y="31"/>
                      </a:cubicBezTo>
                      <a:cubicBezTo>
                        <a:pt x="44" y="30"/>
                        <a:pt x="44" y="30"/>
                        <a:pt x="44" y="30"/>
                      </a:cubicBezTo>
                      <a:cubicBezTo>
                        <a:pt x="45" y="29"/>
                        <a:pt x="45" y="29"/>
                        <a:pt x="45" y="29"/>
                      </a:cubicBezTo>
                      <a:cubicBezTo>
                        <a:pt x="45" y="28"/>
                        <a:pt x="45" y="28"/>
                        <a:pt x="45" y="28"/>
                      </a:cubicBezTo>
                      <a:cubicBezTo>
                        <a:pt x="46" y="27"/>
                        <a:pt x="46" y="27"/>
                        <a:pt x="46" y="27"/>
                      </a:cubicBezTo>
                      <a:cubicBezTo>
                        <a:pt x="48" y="28"/>
                        <a:pt x="48" y="28"/>
                        <a:pt x="48" y="28"/>
                      </a:cubicBezTo>
                      <a:cubicBezTo>
                        <a:pt x="48" y="28"/>
                        <a:pt x="48" y="28"/>
                        <a:pt x="48" y="28"/>
                      </a:cubicBezTo>
                      <a:cubicBezTo>
                        <a:pt x="49" y="28"/>
                        <a:pt x="49" y="28"/>
                        <a:pt x="49" y="28"/>
                      </a:cubicBezTo>
                      <a:cubicBezTo>
                        <a:pt x="49" y="28"/>
                        <a:pt x="49" y="28"/>
                        <a:pt x="49" y="28"/>
                      </a:cubicBezTo>
                      <a:cubicBezTo>
                        <a:pt x="49" y="27"/>
                        <a:pt x="49" y="27"/>
                        <a:pt x="49" y="27"/>
                      </a:cubicBezTo>
                      <a:cubicBezTo>
                        <a:pt x="49" y="26"/>
                        <a:pt x="49" y="26"/>
                        <a:pt x="49" y="26"/>
                      </a:cubicBezTo>
                      <a:cubicBezTo>
                        <a:pt x="49" y="26"/>
                        <a:pt x="49" y="26"/>
                        <a:pt x="49" y="26"/>
                      </a:cubicBezTo>
                      <a:cubicBezTo>
                        <a:pt x="50" y="25"/>
                        <a:pt x="50" y="25"/>
                        <a:pt x="50" y="25"/>
                      </a:cubicBezTo>
                      <a:cubicBezTo>
                        <a:pt x="49" y="24"/>
                        <a:pt x="49" y="24"/>
                        <a:pt x="49" y="24"/>
                      </a:cubicBezTo>
                      <a:cubicBezTo>
                        <a:pt x="49" y="24"/>
                        <a:pt x="49" y="24"/>
                        <a:pt x="49" y="24"/>
                      </a:cubicBezTo>
                      <a:cubicBezTo>
                        <a:pt x="51" y="24"/>
                        <a:pt x="51" y="24"/>
                        <a:pt x="51" y="24"/>
                      </a:cubicBezTo>
                      <a:cubicBezTo>
                        <a:pt x="52" y="23"/>
                        <a:pt x="52" y="23"/>
                        <a:pt x="52" y="23"/>
                      </a:cubicBezTo>
                      <a:cubicBezTo>
                        <a:pt x="53" y="24"/>
                        <a:pt x="53" y="24"/>
                        <a:pt x="53" y="24"/>
                      </a:cubicBezTo>
                      <a:cubicBezTo>
                        <a:pt x="54" y="24"/>
                        <a:pt x="54" y="24"/>
                        <a:pt x="54" y="24"/>
                      </a:cubicBezTo>
                      <a:cubicBezTo>
                        <a:pt x="55" y="24"/>
                        <a:pt x="55" y="24"/>
                        <a:pt x="55" y="24"/>
                      </a:cubicBezTo>
                      <a:cubicBezTo>
                        <a:pt x="56" y="25"/>
                        <a:pt x="56" y="25"/>
                        <a:pt x="56" y="25"/>
                      </a:cubicBezTo>
                      <a:cubicBezTo>
                        <a:pt x="56" y="25"/>
                        <a:pt x="56" y="25"/>
                        <a:pt x="56" y="25"/>
                      </a:cubicBezTo>
                      <a:cubicBezTo>
                        <a:pt x="57" y="25"/>
                        <a:pt x="57" y="25"/>
                        <a:pt x="57" y="25"/>
                      </a:cubicBezTo>
                      <a:cubicBezTo>
                        <a:pt x="57" y="24"/>
                        <a:pt x="57" y="24"/>
                        <a:pt x="57" y="24"/>
                      </a:cubicBezTo>
                      <a:cubicBezTo>
                        <a:pt x="56" y="23"/>
                        <a:pt x="56" y="23"/>
                        <a:pt x="56" y="23"/>
                      </a:cubicBezTo>
                      <a:cubicBezTo>
                        <a:pt x="56" y="22"/>
                        <a:pt x="56" y="22"/>
                        <a:pt x="56" y="22"/>
                      </a:cubicBezTo>
                      <a:cubicBezTo>
                        <a:pt x="57" y="22"/>
                        <a:pt x="57" y="22"/>
                        <a:pt x="57" y="22"/>
                      </a:cubicBezTo>
                      <a:cubicBezTo>
                        <a:pt x="57" y="21"/>
                        <a:pt x="57" y="21"/>
                        <a:pt x="57" y="21"/>
                      </a:cubicBezTo>
                      <a:cubicBezTo>
                        <a:pt x="56" y="20"/>
                        <a:pt x="56" y="20"/>
                        <a:pt x="56" y="20"/>
                      </a:cubicBezTo>
                      <a:cubicBezTo>
                        <a:pt x="56" y="19"/>
                        <a:pt x="56" y="19"/>
                        <a:pt x="56" y="19"/>
                      </a:cubicBezTo>
                      <a:cubicBezTo>
                        <a:pt x="57" y="20"/>
                        <a:pt x="57" y="20"/>
                        <a:pt x="57" y="20"/>
                      </a:cubicBezTo>
                      <a:cubicBezTo>
                        <a:pt x="58" y="20"/>
                        <a:pt x="58" y="20"/>
                        <a:pt x="58" y="20"/>
                      </a:cubicBezTo>
                      <a:cubicBezTo>
                        <a:pt x="59" y="19"/>
                        <a:pt x="59" y="19"/>
                        <a:pt x="59" y="19"/>
                      </a:cubicBezTo>
                      <a:cubicBezTo>
                        <a:pt x="59" y="19"/>
                        <a:pt x="59" y="19"/>
                        <a:pt x="59" y="19"/>
                      </a:cubicBezTo>
                      <a:cubicBezTo>
                        <a:pt x="59" y="19"/>
                        <a:pt x="59" y="19"/>
                        <a:pt x="59" y="19"/>
                      </a:cubicBezTo>
                      <a:cubicBezTo>
                        <a:pt x="59" y="19"/>
                        <a:pt x="59" y="19"/>
                        <a:pt x="59" y="19"/>
                      </a:cubicBezTo>
                      <a:cubicBezTo>
                        <a:pt x="60" y="19"/>
                        <a:pt x="60" y="19"/>
                        <a:pt x="60" y="19"/>
                      </a:cubicBezTo>
                      <a:cubicBezTo>
                        <a:pt x="59" y="18"/>
                        <a:pt x="59" y="18"/>
                        <a:pt x="59" y="18"/>
                      </a:cubicBezTo>
                      <a:cubicBezTo>
                        <a:pt x="59" y="18"/>
                        <a:pt x="59" y="18"/>
                        <a:pt x="59" y="18"/>
                      </a:cubicBezTo>
                      <a:cubicBezTo>
                        <a:pt x="60" y="17"/>
                        <a:pt x="60" y="17"/>
                        <a:pt x="60" y="17"/>
                      </a:cubicBezTo>
                      <a:cubicBezTo>
                        <a:pt x="61" y="17"/>
                        <a:pt x="61" y="17"/>
                        <a:pt x="61" y="17"/>
                      </a:cubicBezTo>
                      <a:cubicBezTo>
                        <a:pt x="62" y="18"/>
                        <a:pt x="62" y="18"/>
                        <a:pt x="62" y="18"/>
                      </a:cubicBezTo>
                      <a:cubicBezTo>
                        <a:pt x="64" y="20"/>
                        <a:pt x="64" y="20"/>
                        <a:pt x="64" y="20"/>
                      </a:cubicBezTo>
                      <a:cubicBezTo>
                        <a:pt x="64" y="21"/>
                        <a:pt x="64" y="21"/>
                        <a:pt x="64" y="21"/>
                      </a:cubicBezTo>
                      <a:cubicBezTo>
                        <a:pt x="65" y="22"/>
                        <a:pt x="65" y="22"/>
                        <a:pt x="65" y="22"/>
                      </a:cubicBezTo>
                      <a:cubicBezTo>
                        <a:pt x="66" y="22"/>
                        <a:pt x="66" y="22"/>
                        <a:pt x="66" y="22"/>
                      </a:cubicBezTo>
                      <a:cubicBezTo>
                        <a:pt x="69" y="22"/>
                        <a:pt x="69" y="22"/>
                        <a:pt x="69" y="22"/>
                      </a:cubicBezTo>
                      <a:cubicBezTo>
                        <a:pt x="70" y="21"/>
                        <a:pt x="70" y="21"/>
                        <a:pt x="70" y="21"/>
                      </a:cubicBezTo>
                      <a:cubicBezTo>
                        <a:pt x="70" y="21"/>
                        <a:pt x="70" y="21"/>
                        <a:pt x="70" y="21"/>
                      </a:cubicBezTo>
                      <a:cubicBezTo>
                        <a:pt x="71" y="21"/>
                        <a:pt x="71" y="21"/>
                        <a:pt x="71" y="21"/>
                      </a:cubicBezTo>
                      <a:cubicBezTo>
                        <a:pt x="73" y="22"/>
                        <a:pt x="73" y="22"/>
                        <a:pt x="73" y="22"/>
                      </a:cubicBezTo>
                      <a:cubicBezTo>
                        <a:pt x="74" y="22"/>
                        <a:pt x="74" y="22"/>
                        <a:pt x="74" y="22"/>
                      </a:cubicBezTo>
                      <a:cubicBezTo>
                        <a:pt x="75" y="21"/>
                        <a:pt x="75" y="21"/>
                        <a:pt x="75" y="21"/>
                      </a:cubicBezTo>
                      <a:cubicBezTo>
                        <a:pt x="75" y="20"/>
                        <a:pt x="75" y="20"/>
                        <a:pt x="75" y="20"/>
                      </a:cubicBezTo>
                      <a:cubicBezTo>
                        <a:pt x="76" y="20"/>
                        <a:pt x="76" y="20"/>
                        <a:pt x="76" y="20"/>
                      </a:cubicBezTo>
                      <a:cubicBezTo>
                        <a:pt x="77" y="20"/>
                        <a:pt x="77" y="20"/>
                        <a:pt x="77" y="20"/>
                      </a:cubicBezTo>
                      <a:cubicBezTo>
                        <a:pt x="78" y="19"/>
                        <a:pt x="78" y="19"/>
                        <a:pt x="78" y="19"/>
                      </a:cubicBezTo>
                      <a:cubicBezTo>
                        <a:pt x="78" y="19"/>
                        <a:pt x="78" y="19"/>
                        <a:pt x="78" y="19"/>
                      </a:cubicBezTo>
                      <a:cubicBezTo>
                        <a:pt x="78" y="18"/>
                        <a:pt x="78" y="18"/>
                        <a:pt x="78" y="18"/>
                      </a:cubicBezTo>
                      <a:cubicBezTo>
                        <a:pt x="77" y="17"/>
                        <a:pt x="77" y="17"/>
                        <a:pt x="77" y="17"/>
                      </a:cubicBezTo>
                      <a:cubicBezTo>
                        <a:pt x="77" y="15"/>
                        <a:pt x="77" y="15"/>
                        <a:pt x="77" y="15"/>
                      </a:cubicBezTo>
                      <a:cubicBezTo>
                        <a:pt x="78" y="14"/>
                        <a:pt x="78" y="14"/>
                        <a:pt x="78" y="14"/>
                      </a:cubicBezTo>
                      <a:cubicBezTo>
                        <a:pt x="77" y="13"/>
                        <a:pt x="77" y="13"/>
                        <a:pt x="77" y="13"/>
                      </a:cubicBezTo>
                      <a:cubicBezTo>
                        <a:pt x="78" y="13"/>
                        <a:pt x="78" y="13"/>
                        <a:pt x="78" y="13"/>
                      </a:cubicBezTo>
                      <a:cubicBezTo>
                        <a:pt x="79" y="12"/>
                        <a:pt x="79" y="12"/>
                        <a:pt x="79" y="12"/>
                      </a:cubicBezTo>
                      <a:cubicBezTo>
                        <a:pt x="78" y="11"/>
                        <a:pt x="78" y="11"/>
                        <a:pt x="78" y="11"/>
                      </a:cubicBezTo>
                      <a:cubicBezTo>
                        <a:pt x="79" y="11"/>
                        <a:pt x="79" y="11"/>
                        <a:pt x="79" y="11"/>
                      </a:cubicBezTo>
                      <a:cubicBezTo>
                        <a:pt x="81" y="11"/>
                        <a:pt x="81" y="11"/>
                        <a:pt x="81" y="11"/>
                      </a:cubicBezTo>
                      <a:cubicBezTo>
                        <a:pt x="81" y="11"/>
                        <a:pt x="81" y="11"/>
                        <a:pt x="81" y="11"/>
                      </a:cubicBezTo>
                      <a:cubicBezTo>
                        <a:pt x="81" y="11"/>
                        <a:pt x="81" y="11"/>
                        <a:pt x="81" y="11"/>
                      </a:cubicBezTo>
                      <a:cubicBezTo>
                        <a:pt x="82" y="10"/>
                        <a:pt x="82" y="10"/>
                        <a:pt x="82" y="10"/>
                      </a:cubicBezTo>
                      <a:cubicBezTo>
                        <a:pt x="84" y="10"/>
                        <a:pt x="84" y="10"/>
                        <a:pt x="84" y="10"/>
                      </a:cubicBezTo>
                      <a:cubicBezTo>
                        <a:pt x="85" y="11"/>
                        <a:pt x="85" y="11"/>
                        <a:pt x="85" y="11"/>
                      </a:cubicBezTo>
                      <a:cubicBezTo>
                        <a:pt x="86" y="12"/>
                        <a:pt x="86" y="12"/>
                        <a:pt x="86" y="12"/>
                      </a:cubicBezTo>
                      <a:cubicBezTo>
                        <a:pt x="87" y="12"/>
                        <a:pt x="87" y="12"/>
                        <a:pt x="87" y="12"/>
                      </a:cubicBezTo>
                      <a:cubicBezTo>
                        <a:pt x="88" y="13"/>
                        <a:pt x="88" y="13"/>
                        <a:pt x="88" y="13"/>
                      </a:cubicBezTo>
                      <a:cubicBezTo>
                        <a:pt x="90" y="13"/>
                        <a:pt x="90" y="13"/>
                        <a:pt x="90" y="13"/>
                      </a:cubicBezTo>
                      <a:cubicBezTo>
                        <a:pt x="90" y="14"/>
                        <a:pt x="90" y="14"/>
                        <a:pt x="90" y="14"/>
                      </a:cubicBezTo>
                      <a:cubicBezTo>
                        <a:pt x="91" y="15"/>
                        <a:pt x="91" y="15"/>
                        <a:pt x="91" y="15"/>
                      </a:cubicBezTo>
                      <a:cubicBezTo>
                        <a:pt x="91" y="15"/>
                        <a:pt x="91" y="15"/>
                        <a:pt x="91" y="15"/>
                      </a:cubicBezTo>
                      <a:cubicBezTo>
                        <a:pt x="90" y="17"/>
                        <a:pt x="90" y="17"/>
                        <a:pt x="90" y="17"/>
                      </a:cubicBezTo>
                      <a:cubicBezTo>
                        <a:pt x="90" y="18"/>
                        <a:pt x="90" y="18"/>
                        <a:pt x="90" y="18"/>
                      </a:cubicBezTo>
                      <a:close/>
                      <a:moveTo>
                        <a:pt x="4" y="93"/>
                      </a:moveTo>
                      <a:cubicBezTo>
                        <a:pt x="5" y="94"/>
                        <a:pt x="5" y="94"/>
                        <a:pt x="5" y="94"/>
                      </a:cubicBezTo>
                      <a:cubicBezTo>
                        <a:pt x="4" y="94"/>
                        <a:pt x="4" y="94"/>
                        <a:pt x="4" y="94"/>
                      </a:cubicBezTo>
                      <a:cubicBezTo>
                        <a:pt x="4" y="93"/>
                        <a:pt x="4" y="93"/>
                        <a:pt x="4" y="93"/>
                      </a:cubicBezTo>
                      <a:close/>
                      <a:moveTo>
                        <a:pt x="2" y="89"/>
                      </a:moveTo>
                      <a:cubicBezTo>
                        <a:pt x="2" y="89"/>
                        <a:pt x="2" y="88"/>
                        <a:pt x="2" y="88"/>
                      </a:cubicBezTo>
                      <a:cubicBezTo>
                        <a:pt x="3" y="89"/>
                        <a:pt x="3" y="89"/>
                        <a:pt x="3" y="89"/>
                      </a:cubicBezTo>
                      <a:cubicBezTo>
                        <a:pt x="3" y="90"/>
                        <a:pt x="3" y="90"/>
                        <a:pt x="3" y="90"/>
                      </a:cubicBezTo>
                      <a:cubicBezTo>
                        <a:pt x="2" y="89"/>
                        <a:pt x="2" y="89"/>
                        <a:pt x="2" y="89"/>
                      </a:cubicBezTo>
                      <a:close/>
                      <a:moveTo>
                        <a:pt x="3" y="87"/>
                      </a:moveTo>
                      <a:cubicBezTo>
                        <a:pt x="3" y="88"/>
                        <a:pt x="3" y="88"/>
                        <a:pt x="3" y="88"/>
                      </a:cubicBezTo>
                      <a:cubicBezTo>
                        <a:pt x="3" y="88"/>
                        <a:pt x="3" y="88"/>
                        <a:pt x="3" y="88"/>
                      </a:cubicBezTo>
                      <a:cubicBezTo>
                        <a:pt x="3" y="87"/>
                        <a:pt x="3" y="87"/>
                        <a:pt x="3" y="87"/>
                      </a:cubicBezTo>
                      <a:close/>
                      <a:moveTo>
                        <a:pt x="3" y="86"/>
                      </a:moveTo>
                      <a:cubicBezTo>
                        <a:pt x="3" y="87"/>
                        <a:pt x="3" y="87"/>
                        <a:pt x="3" y="87"/>
                      </a:cubicBezTo>
                      <a:cubicBezTo>
                        <a:pt x="2" y="87"/>
                        <a:pt x="2" y="87"/>
                        <a:pt x="2" y="87"/>
                      </a:cubicBezTo>
                      <a:cubicBezTo>
                        <a:pt x="3" y="86"/>
                        <a:pt x="3" y="86"/>
                        <a:pt x="3" y="86"/>
                      </a:cubicBezTo>
                      <a:close/>
                      <a:moveTo>
                        <a:pt x="1" y="83"/>
                      </a:moveTo>
                      <a:cubicBezTo>
                        <a:pt x="0" y="83"/>
                        <a:pt x="0" y="83"/>
                        <a:pt x="0" y="83"/>
                      </a:cubicBezTo>
                      <a:cubicBezTo>
                        <a:pt x="1" y="82"/>
                        <a:pt x="1" y="82"/>
                        <a:pt x="1" y="82"/>
                      </a:cubicBezTo>
                      <a:cubicBezTo>
                        <a:pt x="1" y="82"/>
                        <a:pt x="1" y="83"/>
                        <a:pt x="1" y="83"/>
                      </a:cubicBezTo>
                      <a:close/>
                      <a:moveTo>
                        <a:pt x="1" y="84"/>
                      </a:moveTo>
                      <a:cubicBezTo>
                        <a:pt x="1" y="84"/>
                        <a:pt x="1" y="84"/>
                        <a:pt x="1" y="84"/>
                      </a:cubicBezTo>
                      <a:cubicBezTo>
                        <a:pt x="1" y="84"/>
                        <a:pt x="1" y="84"/>
                        <a:pt x="1" y="84"/>
                      </a:cubicBezTo>
                      <a:cubicBezTo>
                        <a:pt x="1" y="84"/>
                        <a:pt x="1" y="84"/>
                        <a:pt x="1" y="84"/>
                      </a:cubicBezTo>
                      <a:close/>
                      <a:moveTo>
                        <a:pt x="2" y="85"/>
                      </a:moveTo>
                      <a:cubicBezTo>
                        <a:pt x="2" y="85"/>
                        <a:pt x="3" y="85"/>
                        <a:pt x="3" y="85"/>
                      </a:cubicBezTo>
                      <a:cubicBezTo>
                        <a:pt x="3" y="86"/>
                        <a:pt x="3" y="86"/>
                        <a:pt x="3" y="86"/>
                      </a:cubicBezTo>
                      <a:cubicBezTo>
                        <a:pt x="2" y="85"/>
                        <a:pt x="2" y="85"/>
                        <a:pt x="2" y="85"/>
                      </a:cubicBezTo>
                      <a:close/>
                      <a:moveTo>
                        <a:pt x="1" y="86"/>
                      </a:moveTo>
                      <a:cubicBezTo>
                        <a:pt x="0" y="85"/>
                        <a:pt x="0" y="85"/>
                        <a:pt x="0" y="85"/>
                      </a:cubicBezTo>
                      <a:cubicBezTo>
                        <a:pt x="1" y="85"/>
                        <a:pt x="1" y="85"/>
                        <a:pt x="1" y="85"/>
                      </a:cubicBezTo>
                      <a:cubicBezTo>
                        <a:pt x="1" y="86"/>
                        <a:pt x="1" y="86"/>
                        <a:pt x="1" y="86"/>
                      </a:cubicBezTo>
                      <a:close/>
                      <a:moveTo>
                        <a:pt x="0" y="81"/>
                      </a:moveTo>
                      <a:cubicBezTo>
                        <a:pt x="0" y="81"/>
                        <a:pt x="0" y="81"/>
                        <a:pt x="0" y="81"/>
                      </a:cubicBezTo>
                      <a:cubicBezTo>
                        <a:pt x="0" y="82"/>
                        <a:pt x="0" y="82"/>
                        <a:pt x="0" y="82"/>
                      </a:cubicBezTo>
                      <a:cubicBezTo>
                        <a:pt x="1" y="81"/>
                        <a:pt x="1" y="81"/>
                        <a:pt x="1" y="81"/>
                      </a:cubicBezTo>
                      <a:cubicBezTo>
                        <a:pt x="0" y="81"/>
                        <a:pt x="0" y="81"/>
                        <a:pt x="0" y="81"/>
                      </a:cubicBezTo>
                      <a:close/>
                      <a:moveTo>
                        <a:pt x="0" y="75"/>
                      </a:moveTo>
                      <a:cubicBezTo>
                        <a:pt x="1" y="75"/>
                        <a:pt x="1" y="75"/>
                        <a:pt x="1" y="75"/>
                      </a:cubicBezTo>
                      <a:cubicBezTo>
                        <a:pt x="0" y="75"/>
                        <a:pt x="0" y="75"/>
                        <a:pt x="0" y="75"/>
                      </a:cubicBezTo>
                      <a:cubicBezTo>
                        <a:pt x="0" y="75"/>
                        <a:pt x="0" y="75"/>
                        <a:pt x="0" y="75"/>
                      </a:cubicBezTo>
                      <a:close/>
                      <a:moveTo>
                        <a:pt x="0" y="73"/>
                      </a:moveTo>
                      <a:cubicBezTo>
                        <a:pt x="1" y="74"/>
                        <a:pt x="1" y="74"/>
                        <a:pt x="1" y="74"/>
                      </a:cubicBezTo>
                      <a:cubicBezTo>
                        <a:pt x="1" y="74"/>
                        <a:pt x="1" y="74"/>
                        <a:pt x="1" y="74"/>
                      </a:cubicBezTo>
                      <a:cubicBezTo>
                        <a:pt x="0" y="73"/>
                        <a:pt x="0" y="73"/>
                        <a:pt x="0" y="73"/>
                      </a:cubicBezTo>
                      <a:close/>
                      <a:moveTo>
                        <a:pt x="3" y="71"/>
                      </a:moveTo>
                      <a:cubicBezTo>
                        <a:pt x="3" y="72"/>
                        <a:pt x="3" y="72"/>
                        <a:pt x="3" y="72"/>
                      </a:cubicBezTo>
                      <a:cubicBezTo>
                        <a:pt x="3" y="72"/>
                        <a:pt x="3" y="72"/>
                        <a:pt x="3" y="72"/>
                      </a:cubicBezTo>
                      <a:cubicBezTo>
                        <a:pt x="3" y="71"/>
                        <a:pt x="3" y="71"/>
                        <a:pt x="3" y="71"/>
                      </a:cubicBezTo>
                      <a:close/>
                      <a:moveTo>
                        <a:pt x="4" y="71"/>
                      </a:moveTo>
                      <a:cubicBezTo>
                        <a:pt x="5" y="71"/>
                        <a:pt x="5" y="71"/>
                        <a:pt x="5" y="71"/>
                      </a:cubicBezTo>
                      <a:cubicBezTo>
                        <a:pt x="5" y="72"/>
                        <a:pt x="5" y="72"/>
                        <a:pt x="5" y="72"/>
                      </a:cubicBezTo>
                      <a:cubicBezTo>
                        <a:pt x="4" y="72"/>
                        <a:pt x="4" y="72"/>
                        <a:pt x="4" y="72"/>
                      </a:cubicBezTo>
                      <a:cubicBezTo>
                        <a:pt x="4" y="71"/>
                        <a:pt x="4" y="71"/>
                        <a:pt x="4" y="71"/>
                      </a:cubicBezTo>
                      <a:close/>
                      <a:moveTo>
                        <a:pt x="12" y="66"/>
                      </a:moveTo>
                      <a:cubicBezTo>
                        <a:pt x="12" y="66"/>
                        <a:pt x="13" y="65"/>
                        <a:pt x="13" y="65"/>
                      </a:cubicBezTo>
                      <a:cubicBezTo>
                        <a:pt x="14" y="66"/>
                        <a:pt x="14" y="66"/>
                        <a:pt x="14" y="66"/>
                      </a:cubicBezTo>
                      <a:cubicBezTo>
                        <a:pt x="13" y="66"/>
                        <a:pt x="13" y="66"/>
                        <a:pt x="13" y="66"/>
                      </a:cubicBezTo>
                      <a:cubicBezTo>
                        <a:pt x="12" y="66"/>
                        <a:pt x="12" y="66"/>
                        <a:pt x="12" y="66"/>
                      </a:cubicBezTo>
                      <a:close/>
                      <a:moveTo>
                        <a:pt x="13" y="64"/>
                      </a:moveTo>
                      <a:cubicBezTo>
                        <a:pt x="13" y="64"/>
                        <a:pt x="12" y="65"/>
                        <a:pt x="12" y="65"/>
                      </a:cubicBezTo>
                      <a:cubicBezTo>
                        <a:pt x="11" y="64"/>
                        <a:pt x="11" y="64"/>
                        <a:pt x="11" y="64"/>
                      </a:cubicBezTo>
                      <a:cubicBezTo>
                        <a:pt x="12" y="64"/>
                        <a:pt x="12" y="64"/>
                        <a:pt x="12" y="64"/>
                      </a:cubicBezTo>
                      <a:cubicBezTo>
                        <a:pt x="13" y="64"/>
                        <a:pt x="13" y="64"/>
                        <a:pt x="13" y="64"/>
                      </a:cubicBezTo>
                      <a:close/>
                      <a:moveTo>
                        <a:pt x="14" y="62"/>
                      </a:moveTo>
                      <a:cubicBezTo>
                        <a:pt x="15" y="61"/>
                        <a:pt x="15" y="61"/>
                        <a:pt x="15" y="61"/>
                      </a:cubicBezTo>
                      <a:cubicBezTo>
                        <a:pt x="16" y="62"/>
                        <a:pt x="16" y="62"/>
                        <a:pt x="16" y="62"/>
                      </a:cubicBezTo>
                      <a:cubicBezTo>
                        <a:pt x="15" y="62"/>
                        <a:pt x="15" y="62"/>
                        <a:pt x="15" y="62"/>
                      </a:cubicBezTo>
                      <a:cubicBezTo>
                        <a:pt x="14" y="62"/>
                        <a:pt x="14" y="62"/>
                        <a:pt x="14" y="62"/>
                      </a:cubicBezTo>
                      <a:close/>
                      <a:moveTo>
                        <a:pt x="14" y="64"/>
                      </a:moveTo>
                      <a:cubicBezTo>
                        <a:pt x="14" y="63"/>
                        <a:pt x="14" y="63"/>
                        <a:pt x="14" y="63"/>
                      </a:cubicBezTo>
                      <a:cubicBezTo>
                        <a:pt x="15" y="63"/>
                        <a:pt x="15" y="63"/>
                        <a:pt x="15" y="63"/>
                      </a:cubicBezTo>
                      <a:cubicBezTo>
                        <a:pt x="16" y="63"/>
                        <a:pt x="16" y="63"/>
                        <a:pt x="16" y="63"/>
                      </a:cubicBezTo>
                      <a:cubicBezTo>
                        <a:pt x="16" y="62"/>
                        <a:pt x="16" y="62"/>
                        <a:pt x="16" y="62"/>
                      </a:cubicBezTo>
                      <a:cubicBezTo>
                        <a:pt x="17" y="63"/>
                        <a:pt x="17" y="63"/>
                        <a:pt x="17" y="63"/>
                      </a:cubicBezTo>
                      <a:cubicBezTo>
                        <a:pt x="16" y="64"/>
                        <a:pt x="16" y="64"/>
                        <a:pt x="16" y="64"/>
                      </a:cubicBezTo>
                      <a:cubicBezTo>
                        <a:pt x="15" y="64"/>
                        <a:pt x="15" y="64"/>
                        <a:pt x="15" y="64"/>
                      </a:cubicBezTo>
                      <a:cubicBezTo>
                        <a:pt x="15" y="64"/>
                        <a:pt x="15" y="64"/>
                        <a:pt x="15" y="64"/>
                      </a:cubicBezTo>
                      <a:cubicBezTo>
                        <a:pt x="14" y="64"/>
                        <a:pt x="14" y="64"/>
                        <a:pt x="14" y="64"/>
                      </a:cubicBezTo>
                      <a:close/>
                      <a:moveTo>
                        <a:pt x="26" y="52"/>
                      </a:moveTo>
                      <a:cubicBezTo>
                        <a:pt x="27" y="51"/>
                        <a:pt x="27" y="51"/>
                        <a:pt x="27" y="51"/>
                      </a:cubicBezTo>
                      <a:cubicBezTo>
                        <a:pt x="28" y="51"/>
                        <a:pt x="28" y="51"/>
                        <a:pt x="28" y="51"/>
                      </a:cubicBezTo>
                      <a:cubicBezTo>
                        <a:pt x="27" y="52"/>
                        <a:pt x="27" y="52"/>
                        <a:pt x="27" y="52"/>
                      </a:cubicBezTo>
                      <a:cubicBezTo>
                        <a:pt x="26" y="52"/>
                        <a:pt x="26" y="52"/>
                        <a:pt x="26" y="52"/>
                      </a:cubicBezTo>
                      <a:close/>
                      <a:moveTo>
                        <a:pt x="25" y="54"/>
                      </a:moveTo>
                      <a:cubicBezTo>
                        <a:pt x="25" y="53"/>
                        <a:pt x="25" y="53"/>
                        <a:pt x="25" y="53"/>
                      </a:cubicBezTo>
                      <a:cubicBezTo>
                        <a:pt x="24" y="53"/>
                        <a:pt x="24" y="53"/>
                        <a:pt x="24" y="53"/>
                      </a:cubicBezTo>
                      <a:cubicBezTo>
                        <a:pt x="25" y="53"/>
                        <a:pt x="25" y="53"/>
                        <a:pt x="25" y="53"/>
                      </a:cubicBezTo>
                      <a:cubicBezTo>
                        <a:pt x="26" y="52"/>
                        <a:pt x="26" y="52"/>
                        <a:pt x="26" y="52"/>
                      </a:cubicBezTo>
                      <a:cubicBezTo>
                        <a:pt x="27" y="52"/>
                        <a:pt x="27" y="52"/>
                        <a:pt x="27" y="52"/>
                      </a:cubicBezTo>
                      <a:cubicBezTo>
                        <a:pt x="26" y="53"/>
                        <a:pt x="26" y="53"/>
                        <a:pt x="26" y="53"/>
                      </a:cubicBezTo>
                      <a:cubicBezTo>
                        <a:pt x="25" y="54"/>
                        <a:pt x="25" y="54"/>
                        <a:pt x="25" y="54"/>
                      </a:cubicBezTo>
                      <a:close/>
                      <a:moveTo>
                        <a:pt x="28" y="47"/>
                      </a:moveTo>
                      <a:cubicBezTo>
                        <a:pt x="28" y="47"/>
                        <a:pt x="28" y="47"/>
                        <a:pt x="28" y="47"/>
                      </a:cubicBezTo>
                      <a:cubicBezTo>
                        <a:pt x="28" y="47"/>
                        <a:pt x="28" y="47"/>
                        <a:pt x="28" y="47"/>
                      </a:cubicBezTo>
                      <a:cubicBezTo>
                        <a:pt x="28" y="48"/>
                        <a:pt x="28" y="48"/>
                        <a:pt x="28" y="48"/>
                      </a:cubicBezTo>
                      <a:cubicBezTo>
                        <a:pt x="27" y="47"/>
                        <a:pt x="27" y="47"/>
                        <a:pt x="27" y="47"/>
                      </a:cubicBezTo>
                      <a:cubicBezTo>
                        <a:pt x="28" y="47"/>
                        <a:pt x="28" y="47"/>
                        <a:pt x="28" y="47"/>
                      </a:cubicBezTo>
                      <a:close/>
                      <a:moveTo>
                        <a:pt x="29" y="45"/>
                      </a:moveTo>
                      <a:cubicBezTo>
                        <a:pt x="30" y="44"/>
                        <a:pt x="30" y="44"/>
                        <a:pt x="30" y="44"/>
                      </a:cubicBezTo>
                      <a:cubicBezTo>
                        <a:pt x="31" y="45"/>
                        <a:pt x="31" y="45"/>
                        <a:pt x="31" y="45"/>
                      </a:cubicBezTo>
                      <a:cubicBezTo>
                        <a:pt x="30" y="45"/>
                        <a:pt x="30" y="45"/>
                        <a:pt x="30" y="45"/>
                      </a:cubicBezTo>
                      <a:cubicBezTo>
                        <a:pt x="29" y="45"/>
                        <a:pt x="29" y="45"/>
                        <a:pt x="29" y="45"/>
                      </a:cubicBezTo>
                      <a:close/>
                      <a:moveTo>
                        <a:pt x="29" y="43"/>
                      </a:moveTo>
                      <a:cubicBezTo>
                        <a:pt x="30" y="43"/>
                        <a:pt x="30" y="43"/>
                        <a:pt x="30" y="43"/>
                      </a:cubicBezTo>
                      <a:cubicBezTo>
                        <a:pt x="30" y="43"/>
                        <a:pt x="30" y="43"/>
                        <a:pt x="30" y="43"/>
                      </a:cubicBezTo>
                      <a:cubicBezTo>
                        <a:pt x="29" y="44"/>
                        <a:pt x="29" y="44"/>
                        <a:pt x="29" y="44"/>
                      </a:cubicBezTo>
                      <a:cubicBezTo>
                        <a:pt x="29" y="43"/>
                        <a:pt x="29" y="43"/>
                        <a:pt x="29" y="43"/>
                      </a:cubicBezTo>
                      <a:close/>
                      <a:moveTo>
                        <a:pt x="35" y="36"/>
                      </a:moveTo>
                      <a:cubicBezTo>
                        <a:pt x="35" y="35"/>
                        <a:pt x="35" y="35"/>
                        <a:pt x="35" y="35"/>
                      </a:cubicBezTo>
                      <a:cubicBezTo>
                        <a:pt x="36" y="35"/>
                        <a:pt x="36" y="35"/>
                        <a:pt x="36" y="35"/>
                      </a:cubicBezTo>
                      <a:cubicBezTo>
                        <a:pt x="35" y="36"/>
                        <a:pt x="35" y="36"/>
                        <a:pt x="35" y="36"/>
                      </a:cubicBezTo>
                      <a:cubicBezTo>
                        <a:pt x="35" y="36"/>
                        <a:pt x="35" y="36"/>
                        <a:pt x="35" y="36"/>
                      </a:cubicBezTo>
                      <a:close/>
                      <a:moveTo>
                        <a:pt x="29" y="31"/>
                      </a:moveTo>
                      <a:cubicBezTo>
                        <a:pt x="29" y="32"/>
                        <a:pt x="29" y="32"/>
                        <a:pt x="29" y="32"/>
                      </a:cubicBezTo>
                      <a:cubicBezTo>
                        <a:pt x="29" y="32"/>
                        <a:pt x="29" y="32"/>
                        <a:pt x="29" y="32"/>
                      </a:cubicBezTo>
                      <a:cubicBezTo>
                        <a:pt x="29" y="32"/>
                        <a:pt x="29" y="32"/>
                        <a:pt x="29" y="32"/>
                      </a:cubicBezTo>
                      <a:cubicBezTo>
                        <a:pt x="29" y="31"/>
                        <a:pt x="29" y="31"/>
                        <a:pt x="29" y="31"/>
                      </a:cubicBezTo>
                      <a:close/>
                      <a:moveTo>
                        <a:pt x="31" y="29"/>
                      </a:moveTo>
                      <a:cubicBezTo>
                        <a:pt x="29" y="30"/>
                        <a:pt x="29" y="30"/>
                        <a:pt x="29" y="30"/>
                      </a:cubicBezTo>
                      <a:cubicBezTo>
                        <a:pt x="29" y="29"/>
                        <a:pt x="29" y="29"/>
                        <a:pt x="29" y="29"/>
                      </a:cubicBezTo>
                      <a:cubicBezTo>
                        <a:pt x="30" y="28"/>
                        <a:pt x="30" y="28"/>
                        <a:pt x="30" y="28"/>
                      </a:cubicBezTo>
                      <a:cubicBezTo>
                        <a:pt x="31" y="29"/>
                        <a:pt x="31" y="29"/>
                        <a:pt x="31" y="29"/>
                      </a:cubicBezTo>
                      <a:close/>
                      <a:moveTo>
                        <a:pt x="31" y="28"/>
                      </a:moveTo>
                      <a:cubicBezTo>
                        <a:pt x="31" y="28"/>
                        <a:pt x="31" y="28"/>
                        <a:pt x="31" y="28"/>
                      </a:cubicBezTo>
                      <a:cubicBezTo>
                        <a:pt x="31" y="27"/>
                        <a:pt x="31" y="27"/>
                        <a:pt x="31" y="27"/>
                      </a:cubicBezTo>
                      <a:cubicBezTo>
                        <a:pt x="32" y="28"/>
                        <a:pt x="32" y="28"/>
                        <a:pt x="32" y="28"/>
                      </a:cubicBezTo>
                      <a:cubicBezTo>
                        <a:pt x="31" y="28"/>
                        <a:pt x="31" y="28"/>
                        <a:pt x="31" y="28"/>
                      </a:cubicBezTo>
                      <a:close/>
                      <a:moveTo>
                        <a:pt x="34" y="26"/>
                      </a:moveTo>
                      <a:cubicBezTo>
                        <a:pt x="34" y="27"/>
                        <a:pt x="34" y="27"/>
                        <a:pt x="34" y="27"/>
                      </a:cubicBezTo>
                      <a:cubicBezTo>
                        <a:pt x="32" y="28"/>
                        <a:pt x="32" y="28"/>
                        <a:pt x="32" y="28"/>
                      </a:cubicBezTo>
                      <a:cubicBezTo>
                        <a:pt x="32" y="27"/>
                        <a:pt x="32" y="27"/>
                        <a:pt x="32" y="27"/>
                      </a:cubicBezTo>
                      <a:cubicBezTo>
                        <a:pt x="34" y="26"/>
                        <a:pt x="34" y="26"/>
                        <a:pt x="34" y="26"/>
                      </a:cubicBezTo>
                      <a:close/>
                      <a:moveTo>
                        <a:pt x="36" y="24"/>
                      </a:moveTo>
                      <a:cubicBezTo>
                        <a:pt x="36" y="24"/>
                        <a:pt x="36" y="24"/>
                        <a:pt x="36" y="24"/>
                      </a:cubicBezTo>
                      <a:cubicBezTo>
                        <a:pt x="37" y="24"/>
                        <a:pt x="37" y="24"/>
                        <a:pt x="37" y="24"/>
                      </a:cubicBezTo>
                      <a:cubicBezTo>
                        <a:pt x="36" y="24"/>
                        <a:pt x="36" y="24"/>
                        <a:pt x="36" y="24"/>
                      </a:cubicBezTo>
                      <a:close/>
                      <a:moveTo>
                        <a:pt x="37" y="25"/>
                      </a:moveTo>
                      <a:cubicBezTo>
                        <a:pt x="37" y="27"/>
                        <a:pt x="37" y="27"/>
                        <a:pt x="37" y="27"/>
                      </a:cubicBezTo>
                      <a:cubicBezTo>
                        <a:pt x="36" y="26"/>
                        <a:pt x="36" y="26"/>
                        <a:pt x="36" y="26"/>
                      </a:cubicBezTo>
                      <a:cubicBezTo>
                        <a:pt x="35" y="27"/>
                        <a:pt x="35" y="27"/>
                        <a:pt x="35" y="27"/>
                      </a:cubicBezTo>
                      <a:cubicBezTo>
                        <a:pt x="35" y="26"/>
                        <a:pt x="35" y="26"/>
                        <a:pt x="35" y="26"/>
                      </a:cubicBezTo>
                      <a:cubicBezTo>
                        <a:pt x="37" y="25"/>
                        <a:pt x="37" y="25"/>
                        <a:pt x="37" y="25"/>
                      </a:cubicBezTo>
                      <a:close/>
                      <a:moveTo>
                        <a:pt x="37" y="21"/>
                      </a:moveTo>
                      <a:cubicBezTo>
                        <a:pt x="38" y="22"/>
                        <a:pt x="38" y="22"/>
                        <a:pt x="38" y="22"/>
                      </a:cubicBezTo>
                      <a:cubicBezTo>
                        <a:pt x="38" y="23"/>
                        <a:pt x="38" y="23"/>
                        <a:pt x="38" y="23"/>
                      </a:cubicBezTo>
                      <a:cubicBezTo>
                        <a:pt x="37" y="24"/>
                        <a:pt x="37" y="24"/>
                        <a:pt x="37" y="24"/>
                      </a:cubicBezTo>
                      <a:cubicBezTo>
                        <a:pt x="36" y="23"/>
                        <a:pt x="36" y="23"/>
                        <a:pt x="36" y="23"/>
                      </a:cubicBezTo>
                      <a:cubicBezTo>
                        <a:pt x="37" y="22"/>
                        <a:pt x="37" y="22"/>
                        <a:pt x="37" y="22"/>
                      </a:cubicBezTo>
                      <a:cubicBezTo>
                        <a:pt x="37" y="22"/>
                        <a:pt x="37" y="22"/>
                        <a:pt x="37" y="22"/>
                      </a:cubicBezTo>
                      <a:cubicBezTo>
                        <a:pt x="35" y="23"/>
                        <a:pt x="35" y="23"/>
                        <a:pt x="35" y="23"/>
                      </a:cubicBezTo>
                      <a:cubicBezTo>
                        <a:pt x="35" y="23"/>
                        <a:pt x="35" y="23"/>
                        <a:pt x="35" y="23"/>
                      </a:cubicBezTo>
                      <a:cubicBezTo>
                        <a:pt x="35" y="22"/>
                        <a:pt x="35" y="22"/>
                        <a:pt x="35" y="22"/>
                      </a:cubicBezTo>
                      <a:cubicBezTo>
                        <a:pt x="36" y="22"/>
                        <a:pt x="36" y="22"/>
                        <a:pt x="36" y="22"/>
                      </a:cubicBezTo>
                      <a:cubicBezTo>
                        <a:pt x="37" y="21"/>
                        <a:pt x="37" y="21"/>
                        <a:pt x="37" y="21"/>
                      </a:cubicBezTo>
                      <a:cubicBezTo>
                        <a:pt x="37" y="21"/>
                        <a:pt x="37" y="21"/>
                        <a:pt x="37" y="21"/>
                      </a:cubicBezTo>
                      <a:cubicBezTo>
                        <a:pt x="37" y="21"/>
                        <a:pt x="37" y="21"/>
                        <a:pt x="37" y="21"/>
                      </a:cubicBezTo>
                      <a:close/>
                      <a:moveTo>
                        <a:pt x="38" y="21"/>
                      </a:moveTo>
                      <a:cubicBezTo>
                        <a:pt x="38" y="21"/>
                        <a:pt x="38" y="21"/>
                        <a:pt x="38" y="21"/>
                      </a:cubicBezTo>
                      <a:cubicBezTo>
                        <a:pt x="38" y="20"/>
                        <a:pt x="38" y="20"/>
                        <a:pt x="38" y="20"/>
                      </a:cubicBezTo>
                      <a:cubicBezTo>
                        <a:pt x="39" y="19"/>
                        <a:pt x="39" y="19"/>
                        <a:pt x="39" y="19"/>
                      </a:cubicBezTo>
                      <a:cubicBezTo>
                        <a:pt x="39" y="18"/>
                        <a:pt x="39" y="18"/>
                        <a:pt x="39" y="18"/>
                      </a:cubicBezTo>
                      <a:cubicBezTo>
                        <a:pt x="41" y="17"/>
                        <a:pt x="41" y="17"/>
                        <a:pt x="41" y="17"/>
                      </a:cubicBezTo>
                      <a:cubicBezTo>
                        <a:pt x="41" y="18"/>
                        <a:pt x="41" y="18"/>
                        <a:pt x="41" y="18"/>
                      </a:cubicBezTo>
                      <a:cubicBezTo>
                        <a:pt x="40" y="19"/>
                        <a:pt x="40" y="19"/>
                        <a:pt x="40" y="19"/>
                      </a:cubicBezTo>
                      <a:cubicBezTo>
                        <a:pt x="40" y="20"/>
                        <a:pt x="40" y="20"/>
                        <a:pt x="40" y="20"/>
                      </a:cubicBezTo>
                      <a:cubicBezTo>
                        <a:pt x="38" y="21"/>
                        <a:pt x="38" y="21"/>
                        <a:pt x="38" y="21"/>
                      </a:cubicBezTo>
                      <a:close/>
                      <a:moveTo>
                        <a:pt x="42" y="22"/>
                      </a:moveTo>
                      <a:cubicBezTo>
                        <a:pt x="43" y="23"/>
                        <a:pt x="43" y="23"/>
                        <a:pt x="43" y="23"/>
                      </a:cubicBezTo>
                      <a:cubicBezTo>
                        <a:pt x="41" y="24"/>
                        <a:pt x="41" y="24"/>
                        <a:pt x="41" y="24"/>
                      </a:cubicBezTo>
                      <a:cubicBezTo>
                        <a:pt x="40" y="25"/>
                        <a:pt x="40" y="25"/>
                        <a:pt x="40" y="25"/>
                      </a:cubicBezTo>
                      <a:cubicBezTo>
                        <a:pt x="40" y="26"/>
                        <a:pt x="40" y="26"/>
                        <a:pt x="40" y="26"/>
                      </a:cubicBezTo>
                      <a:cubicBezTo>
                        <a:pt x="39" y="25"/>
                        <a:pt x="39" y="25"/>
                        <a:pt x="39" y="25"/>
                      </a:cubicBezTo>
                      <a:cubicBezTo>
                        <a:pt x="39" y="24"/>
                        <a:pt x="39" y="24"/>
                        <a:pt x="39" y="24"/>
                      </a:cubicBezTo>
                      <a:cubicBezTo>
                        <a:pt x="38" y="26"/>
                        <a:pt x="38" y="26"/>
                        <a:pt x="38" y="26"/>
                      </a:cubicBezTo>
                      <a:cubicBezTo>
                        <a:pt x="37" y="26"/>
                        <a:pt x="37" y="26"/>
                        <a:pt x="37" y="26"/>
                      </a:cubicBezTo>
                      <a:cubicBezTo>
                        <a:pt x="38" y="25"/>
                        <a:pt x="38" y="25"/>
                        <a:pt x="38" y="25"/>
                      </a:cubicBezTo>
                      <a:cubicBezTo>
                        <a:pt x="38" y="24"/>
                        <a:pt x="38" y="24"/>
                        <a:pt x="38" y="24"/>
                      </a:cubicBezTo>
                      <a:cubicBezTo>
                        <a:pt x="38" y="24"/>
                        <a:pt x="38" y="24"/>
                        <a:pt x="38" y="24"/>
                      </a:cubicBezTo>
                      <a:cubicBezTo>
                        <a:pt x="39" y="23"/>
                        <a:pt x="39" y="23"/>
                        <a:pt x="39" y="23"/>
                      </a:cubicBezTo>
                      <a:cubicBezTo>
                        <a:pt x="39" y="22"/>
                        <a:pt x="39" y="22"/>
                        <a:pt x="39" y="22"/>
                      </a:cubicBezTo>
                      <a:cubicBezTo>
                        <a:pt x="40" y="21"/>
                        <a:pt x="40" y="21"/>
                        <a:pt x="40" y="21"/>
                      </a:cubicBezTo>
                      <a:cubicBezTo>
                        <a:pt x="39" y="23"/>
                        <a:pt x="39" y="23"/>
                        <a:pt x="39" y="23"/>
                      </a:cubicBezTo>
                      <a:cubicBezTo>
                        <a:pt x="39" y="24"/>
                        <a:pt x="39" y="24"/>
                        <a:pt x="39" y="24"/>
                      </a:cubicBezTo>
                      <a:cubicBezTo>
                        <a:pt x="40" y="23"/>
                        <a:pt x="40" y="23"/>
                        <a:pt x="40" y="23"/>
                      </a:cubicBezTo>
                      <a:cubicBezTo>
                        <a:pt x="42" y="23"/>
                        <a:pt x="42" y="23"/>
                        <a:pt x="42" y="23"/>
                      </a:cubicBezTo>
                      <a:cubicBezTo>
                        <a:pt x="41" y="22"/>
                        <a:pt x="41" y="22"/>
                        <a:pt x="41" y="22"/>
                      </a:cubicBezTo>
                      <a:cubicBezTo>
                        <a:pt x="41" y="21"/>
                        <a:pt x="41" y="21"/>
                        <a:pt x="41" y="21"/>
                      </a:cubicBezTo>
                      <a:cubicBezTo>
                        <a:pt x="42" y="22"/>
                        <a:pt x="42" y="22"/>
                        <a:pt x="42" y="22"/>
                      </a:cubicBezTo>
                      <a:close/>
                      <a:moveTo>
                        <a:pt x="41" y="21"/>
                      </a:moveTo>
                      <a:cubicBezTo>
                        <a:pt x="41" y="20"/>
                        <a:pt x="41" y="20"/>
                        <a:pt x="41" y="20"/>
                      </a:cubicBezTo>
                      <a:cubicBezTo>
                        <a:pt x="42" y="20"/>
                        <a:pt x="42" y="20"/>
                        <a:pt x="42" y="20"/>
                      </a:cubicBezTo>
                      <a:cubicBezTo>
                        <a:pt x="43" y="21"/>
                        <a:pt x="43" y="21"/>
                        <a:pt x="43" y="21"/>
                      </a:cubicBezTo>
                      <a:cubicBezTo>
                        <a:pt x="43" y="21"/>
                        <a:pt x="43" y="21"/>
                        <a:pt x="43" y="21"/>
                      </a:cubicBezTo>
                      <a:cubicBezTo>
                        <a:pt x="41" y="21"/>
                        <a:pt x="41" y="21"/>
                        <a:pt x="41" y="21"/>
                      </a:cubicBezTo>
                      <a:close/>
                      <a:moveTo>
                        <a:pt x="44" y="22"/>
                      </a:moveTo>
                      <a:cubicBezTo>
                        <a:pt x="44" y="21"/>
                        <a:pt x="44" y="21"/>
                        <a:pt x="44" y="21"/>
                      </a:cubicBezTo>
                      <a:cubicBezTo>
                        <a:pt x="45" y="22"/>
                        <a:pt x="45" y="22"/>
                        <a:pt x="45" y="22"/>
                      </a:cubicBezTo>
                      <a:cubicBezTo>
                        <a:pt x="44" y="22"/>
                        <a:pt x="44" y="22"/>
                        <a:pt x="44" y="22"/>
                      </a:cubicBezTo>
                      <a:close/>
                      <a:moveTo>
                        <a:pt x="47" y="17"/>
                      </a:moveTo>
                      <a:cubicBezTo>
                        <a:pt x="47" y="18"/>
                        <a:pt x="47" y="18"/>
                        <a:pt x="47" y="18"/>
                      </a:cubicBezTo>
                      <a:cubicBezTo>
                        <a:pt x="47" y="18"/>
                        <a:pt x="47" y="18"/>
                        <a:pt x="47" y="18"/>
                      </a:cubicBezTo>
                      <a:cubicBezTo>
                        <a:pt x="46" y="19"/>
                        <a:pt x="46" y="19"/>
                        <a:pt x="46" y="19"/>
                      </a:cubicBezTo>
                      <a:cubicBezTo>
                        <a:pt x="46" y="19"/>
                        <a:pt x="46" y="19"/>
                        <a:pt x="46" y="19"/>
                      </a:cubicBezTo>
                      <a:cubicBezTo>
                        <a:pt x="45" y="19"/>
                        <a:pt x="45" y="19"/>
                        <a:pt x="45" y="19"/>
                      </a:cubicBezTo>
                      <a:cubicBezTo>
                        <a:pt x="45" y="20"/>
                        <a:pt x="45" y="20"/>
                        <a:pt x="45" y="20"/>
                      </a:cubicBezTo>
                      <a:cubicBezTo>
                        <a:pt x="44" y="20"/>
                        <a:pt x="44" y="20"/>
                        <a:pt x="44" y="20"/>
                      </a:cubicBezTo>
                      <a:cubicBezTo>
                        <a:pt x="44" y="19"/>
                        <a:pt x="44" y="19"/>
                        <a:pt x="44" y="19"/>
                      </a:cubicBezTo>
                      <a:cubicBezTo>
                        <a:pt x="43" y="19"/>
                        <a:pt x="43" y="19"/>
                        <a:pt x="43" y="19"/>
                      </a:cubicBezTo>
                      <a:cubicBezTo>
                        <a:pt x="44" y="18"/>
                        <a:pt x="44" y="18"/>
                        <a:pt x="44" y="18"/>
                      </a:cubicBezTo>
                      <a:cubicBezTo>
                        <a:pt x="43" y="18"/>
                        <a:pt x="43" y="18"/>
                        <a:pt x="43" y="18"/>
                      </a:cubicBezTo>
                      <a:cubicBezTo>
                        <a:pt x="44" y="17"/>
                        <a:pt x="44" y="17"/>
                        <a:pt x="44" y="17"/>
                      </a:cubicBezTo>
                      <a:cubicBezTo>
                        <a:pt x="45" y="17"/>
                        <a:pt x="45" y="17"/>
                        <a:pt x="45" y="17"/>
                      </a:cubicBezTo>
                      <a:cubicBezTo>
                        <a:pt x="44" y="17"/>
                        <a:pt x="44" y="17"/>
                        <a:pt x="44" y="17"/>
                      </a:cubicBezTo>
                      <a:cubicBezTo>
                        <a:pt x="44" y="16"/>
                        <a:pt x="44" y="16"/>
                        <a:pt x="44" y="16"/>
                      </a:cubicBezTo>
                      <a:cubicBezTo>
                        <a:pt x="45" y="16"/>
                        <a:pt x="45" y="16"/>
                        <a:pt x="45" y="16"/>
                      </a:cubicBezTo>
                      <a:cubicBezTo>
                        <a:pt x="45" y="15"/>
                        <a:pt x="45" y="15"/>
                        <a:pt x="45" y="15"/>
                      </a:cubicBezTo>
                      <a:cubicBezTo>
                        <a:pt x="46" y="15"/>
                        <a:pt x="46" y="15"/>
                        <a:pt x="46" y="15"/>
                      </a:cubicBezTo>
                      <a:cubicBezTo>
                        <a:pt x="46" y="16"/>
                        <a:pt x="46" y="16"/>
                        <a:pt x="46" y="16"/>
                      </a:cubicBezTo>
                      <a:cubicBezTo>
                        <a:pt x="47" y="16"/>
                        <a:pt x="47" y="16"/>
                        <a:pt x="47" y="16"/>
                      </a:cubicBezTo>
                      <a:cubicBezTo>
                        <a:pt x="47" y="17"/>
                        <a:pt x="47" y="17"/>
                        <a:pt x="47" y="17"/>
                      </a:cubicBezTo>
                      <a:close/>
                      <a:moveTo>
                        <a:pt x="47" y="15"/>
                      </a:moveTo>
                      <a:cubicBezTo>
                        <a:pt x="49" y="15"/>
                        <a:pt x="49" y="15"/>
                        <a:pt x="49" y="15"/>
                      </a:cubicBezTo>
                      <a:cubicBezTo>
                        <a:pt x="49" y="14"/>
                        <a:pt x="49" y="14"/>
                        <a:pt x="49" y="14"/>
                      </a:cubicBezTo>
                      <a:cubicBezTo>
                        <a:pt x="50" y="14"/>
                        <a:pt x="50" y="14"/>
                        <a:pt x="50" y="14"/>
                      </a:cubicBezTo>
                      <a:cubicBezTo>
                        <a:pt x="50" y="13"/>
                        <a:pt x="50" y="13"/>
                        <a:pt x="50" y="13"/>
                      </a:cubicBezTo>
                      <a:cubicBezTo>
                        <a:pt x="51" y="14"/>
                        <a:pt x="51" y="14"/>
                        <a:pt x="51" y="14"/>
                      </a:cubicBezTo>
                      <a:cubicBezTo>
                        <a:pt x="50" y="15"/>
                        <a:pt x="50" y="15"/>
                        <a:pt x="50" y="15"/>
                      </a:cubicBezTo>
                      <a:cubicBezTo>
                        <a:pt x="50" y="16"/>
                        <a:pt x="50" y="16"/>
                        <a:pt x="50" y="16"/>
                      </a:cubicBezTo>
                      <a:cubicBezTo>
                        <a:pt x="49" y="16"/>
                        <a:pt x="49" y="16"/>
                        <a:pt x="49" y="16"/>
                      </a:cubicBezTo>
                      <a:cubicBezTo>
                        <a:pt x="48" y="16"/>
                        <a:pt x="48" y="16"/>
                        <a:pt x="48" y="16"/>
                      </a:cubicBezTo>
                      <a:cubicBezTo>
                        <a:pt x="47" y="15"/>
                        <a:pt x="47" y="15"/>
                        <a:pt x="47" y="15"/>
                      </a:cubicBezTo>
                      <a:close/>
                      <a:moveTo>
                        <a:pt x="51" y="10"/>
                      </a:moveTo>
                      <a:cubicBezTo>
                        <a:pt x="51" y="9"/>
                        <a:pt x="51" y="9"/>
                        <a:pt x="51" y="9"/>
                      </a:cubicBezTo>
                      <a:cubicBezTo>
                        <a:pt x="52" y="9"/>
                        <a:pt x="52" y="9"/>
                        <a:pt x="52" y="9"/>
                      </a:cubicBezTo>
                      <a:cubicBezTo>
                        <a:pt x="51" y="10"/>
                        <a:pt x="51" y="10"/>
                        <a:pt x="51" y="10"/>
                      </a:cubicBezTo>
                      <a:close/>
                      <a:moveTo>
                        <a:pt x="49" y="12"/>
                      </a:moveTo>
                      <a:cubicBezTo>
                        <a:pt x="50" y="11"/>
                        <a:pt x="50" y="11"/>
                        <a:pt x="50" y="11"/>
                      </a:cubicBezTo>
                      <a:cubicBezTo>
                        <a:pt x="51" y="10"/>
                        <a:pt x="51" y="10"/>
                        <a:pt x="51" y="10"/>
                      </a:cubicBezTo>
                      <a:cubicBezTo>
                        <a:pt x="51" y="11"/>
                        <a:pt x="51" y="11"/>
                        <a:pt x="51" y="11"/>
                      </a:cubicBezTo>
                      <a:cubicBezTo>
                        <a:pt x="51" y="11"/>
                        <a:pt x="50" y="12"/>
                        <a:pt x="49" y="12"/>
                      </a:cubicBezTo>
                      <a:close/>
                      <a:moveTo>
                        <a:pt x="53" y="13"/>
                      </a:moveTo>
                      <a:cubicBezTo>
                        <a:pt x="53" y="12"/>
                        <a:pt x="53" y="12"/>
                        <a:pt x="53" y="12"/>
                      </a:cubicBezTo>
                      <a:cubicBezTo>
                        <a:pt x="53" y="13"/>
                        <a:pt x="53" y="13"/>
                        <a:pt x="53" y="13"/>
                      </a:cubicBezTo>
                      <a:cubicBezTo>
                        <a:pt x="53" y="13"/>
                        <a:pt x="53" y="13"/>
                        <a:pt x="53" y="13"/>
                      </a:cubicBezTo>
                      <a:close/>
                      <a:moveTo>
                        <a:pt x="52" y="13"/>
                      </a:moveTo>
                      <a:cubicBezTo>
                        <a:pt x="52" y="13"/>
                        <a:pt x="52" y="13"/>
                        <a:pt x="52" y="13"/>
                      </a:cubicBezTo>
                      <a:cubicBezTo>
                        <a:pt x="51" y="13"/>
                        <a:pt x="51" y="13"/>
                        <a:pt x="51" y="13"/>
                      </a:cubicBezTo>
                      <a:cubicBezTo>
                        <a:pt x="50" y="12"/>
                        <a:pt x="50" y="12"/>
                        <a:pt x="50" y="12"/>
                      </a:cubicBezTo>
                      <a:cubicBezTo>
                        <a:pt x="52" y="11"/>
                        <a:pt x="52" y="11"/>
                        <a:pt x="52" y="11"/>
                      </a:cubicBezTo>
                      <a:cubicBezTo>
                        <a:pt x="52" y="12"/>
                        <a:pt x="52" y="12"/>
                        <a:pt x="52" y="12"/>
                      </a:cubicBezTo>
                      <a:cubicBezTo>
                        <a:pt x="53" y="11"/>
                        <a:pt x="53" y="11"/>
                        <a:pt x="53" y="11"/>
                      </a:cubicBezTo>
                      <a:cubicBezTo>
                        <a:pt x="53" y="12"/>
                        <a:pt x="53" y="12"/>
                        <a:pt x="53" y="12"/>
                      </a:cubicBezTo>
                      <a:cubicBezTo>
                        <a:pt x="52" y="12"/>
                        <a:pt x="52" y="12"/>
                        <a:pt x="52" y="12"/>
                      </a:cubicBezTo>
                      <a:cubicBezTo>
                        <a:pt x="52" y="13"/>
                        <a:pt x="52" y="13"/>
                        <a:pt x="52" y="13"/>
                      </a:cubicBezTo>
                      <a:close/>
                      <a:moveTo>
                        <a:pt x="55" y="11"/>
                      </a:moveTo>
                      <a:cubicBezTo>
                        <a:pt x="54" y="11"/>
                        <a:pt x="54" y="11"/>
                        <a:pt x="54" y="11"/>
                      </a:cubicBezTo>
                      <a:cubicBezTo>
                        <a:pt x="53" y="11"/>
                        <a:pt x="53" y="11"/>
                        <a:pt x="53" y="11"/>
                      </a:cubicBezTo>
                      <a:cubicBezTo>
                        <a:pt x="53" y="10"/>
                        <a:pt x="53" y="10"/>
                        <a:pt x="53" y="10"/>
                      </a:cubicBezTo>
                      <a:cubicBezTo>
                        <a:pt x="53" y="9"/>
                        <a:pt x="53" y="9"/>
                        <a:pt x="53" y="9"/>
                      </a:cubicBezTo>
                      <a:cubicBezTo>
                        <a:pt x="53" y="9"/>
                        <a:pt x="53" y="9"/>
                        <a:pt x="53" y="9"/>
                      </a:cubicBezTo>
                      <a:cubicBezTo>
                        <a:pt x="54" y="10"/>
                        <a:pt x="54" y="10"/>
                        <a:pt x="54" y="10"/>
                      </a:cubicBezTo>
                      <a:cubicBezTo>
                        <a:pt x="54" y="10"/>
                        <a:pt x="54" y="10"/>
                        <a:pt x="54" y="10"/>
                      </a:cubicBezTo>
                      <a:cubicBezTo>
                        <a:pt x="55" y="11"/>
                        <a:pt x="55" y="11"/>
                        <a:pt x="55" y="11"/>
                      </a:cubicBezTo>
                      <a:close/>
                      <a:moveTo>
                        <a:pt x="57" y="12"/>
                      </a:moveTo>
                      <a:cubicBezTo>
                        <a:pt x="57" y="11"/>
                        <a:pt x="57" y="11"/>
                        <a:pt x="57" y="11"/>
                      </a:cubicBezTo>
                      <a:cubicBezTo>
                        <a:pt x="56" y="11"/>
                        <a:pt x="56" y="11"/>
                        <a:pt x="56" y="11"/>
                      </a:cubicBezTo>
                      <a:cubicBezTo>
                        <a:pt x="56" y="10"/>
                        <a:pt x="56" y="10"/>
                        <a:pt x="56" y="10"/>
                      </a:cubicBezTo>
                      <a:cubicBezTo>
                        <a:pt x="57" y="9"/>
                        <a:pt x="57" y="9"/>
                        <a:pt x="57" y="9"/>
                      </a:cubicBezTo>
                      <a:cubicBezTo>
                        <a:pt x="58" y="10"/>
                        <a:pt x="58" y="10"/>
                        <a:pt x="58" y="10"/>
                      </a:cubicBezTo>
                      <a:cubicBezTo>
                        <a:pt x="57" y="11"/>
                        <a:pt x="57" y="11"/>
                        <a:pt x="57" y="11"/>
                      </a:cubicBezTo>
                      <a:cubicBezTo>
                        <a:pt x="58" y="11"/>
                        <a:pt x="58" y="11"/>
                        <a:pt x="58" y="11"/>
                      </a:cubicBezTo>
                      <a:cubicBezTo>
                        <a:pt x="57" y="12"/>
                        <a:pt x="57" y="12"/>
                        <a:pt x="57" y="12"/>
                      </a:cubicBezTo>
                      <a:close/>
                      <a:moveTo>
                        <a:pt x="65" y="9"/>
                      </a:moveTo>
                      <a:cubicBezTo>
                        <a:pt x="64" y="9"/>
                        <a:pt x="64" y="9"/>
                        <a:pt x="64" y="9"/>
                      </a:cubicBezTo>
                      <a:cubicBezTo>
                        <a:pt x="63" y="8"/>
                        <a:pt x="63" y="8"/>
                        <a:pt x="63" y="8"/>
                      </a:cubicBezTo>
                      <a:cubicBezTo>
                        <a:pt x="63" y="8"/>
                        <a:pt x="63" y="8"/>
                        <a:pt x="63" y="8"/>
                      </a:cubicBezTo>
                      <a:cubicBezTo>
                        <a:pt x="64" y="8"/>
                        <a:pt x="64" y="8"/>
                        <a:pt x="64" y="8"/>
                      </a:cubicBezTo>
                      <a:cubicBezTo>
                        <a:pt x="65" y="8"/>
                        <a:pt x="65" y="8"/>
                        <a:pt x="65" y="8"/>
                      </a:cubicBezTo>
                      <a:cubicBezTo>
                        <a:pt x="65" y="9"/>
                        <a:pt x="65" y="9"/>
                        <a:pt x="65" y="9"/>
                      </a:cubicBezTo>
                      <a:close/>
                      <a:moveTo>
                        <a:pt x="66" y="8"/>
                      </a:moveTo>
                      <a:cubicBezTo>
                        <a:pt x="65" y="7"/>
                        <a:pt x="65" y="7"/>
                        <a:pt x="65" y="7"/>
                      </a:cubicBezTo>
                      <a:cubicBezTo>
                        <a:pt x="66" y="6"/>
                        <a:pt x="66" y="6"/>
                        <a:pt x="66" y="6"/>
                      </a:cubicBezTo>
                      <a:cubicBezTo>
                        <a:pt x="67" y="7"/>
                        <a:pt x="67" y="7"/>
                        <a:pt x="67" y="7"/>
                      </a:cubicBezTo>
                      <a:cubicBezTo>
                        <a:pt x="66" y="7"/>
                        <a:pt x="66" y="7"/>
                        <a:pt x="66" y="7"/>
                      </a:cubicBezTo>
                      <a:cubicBezTo>
                        <a:pt x="66" y="8"/>
                        <a:pt x="66" y="8"/>
                        <a:pt x="66" y="8"/>
                      </a:cubicBezTo>
                      <a:close/>
                      <a:moveTo>
                        <a:pt x="64" y="7"/>
                      </a:moveTo>
                      <a:cubicBezTo>
                        <a:pt x="63" y="7"/>
                        <a:pt x="63" y="7"/>
                        <a:pt x="63" y="7"/>
                      </a:cubicBezTo>
                      <a:cubicBezTo>
                        <a:pt x="62" y="6"/>
                        <a:pt x="62" y="6"/>
                        <a:pt x="62" y="6"/>
                      </a:cubicBezTo>
                      <a:cubicBezTo>
                        <a:pt x="61" y="5"/>
                        <a:pt x="61" y="5"/>
                        <a:pt x="61" y="5"/>
                      </a:cubicBezTo>
                      <a:cubicBezTo>
                        <a:pt x="62" y="6"/>
                        <a:pt x="62" y="6"/>
                        <a:pt x="62" y="6"/>
                      </a:cubicBezTo>
                      <a:cubicBezTo>
                        <a:pt x="63" y="5"/>
                        <a:pt x="63" y="5"/>
                        <a:pt x="63" y="5"/>
                      </a:cubicBezTo>
                      <a:cubicBezTo>
                        <a:pt x="63" y="6"/>
                        <a:pt x="63" y="6"/>
                        <a:pt x="63" y="6"/>
                      </a:cubicBezTo>
                      <a:cubicBezTo>
                        <a:pt x="64" y="5"/>
                        <a:pt x="64" y="5"/>
                        <a:pt x="64" y="5"/>
                      </a:cubicBezTo>
                      <a:cubicBezTo>
                        <a:pt x="64" y="5"/>
                        <a:pt x="64" y="5"/>
                        <a:pt x="64" y="5"/>
                      </a:cubicBezTo>
                      <a:cubicBezTo>
                        <a:pt x="66" y="4"/>
                        <a:pt x="66" y="4"/>
                        <a:pt x="66" y="4"/>
                      </a:cubicBezTo>
                      <a:cubicBezTo>
                        <a:pt x="66" y="4"/>
                        <a:pt x="66" y="4"/>
                        <a:pt x="66" y="4"/>
                      </a:cubicBezTo>
                      <a:cubicBezTo>
                        <a:pt x="64" y="7"/>
                        <a:pt x="64" y="7"/>
                        <a:pt x="64" y="7"/>
                      </a:cubicBezTo>
                      <a:close/>
                      <a:moveTo>
                        <a:pt x="67" y="5"/>
                      </a:moveTo>
                      <a:cubicBezTo>
                        <a:pt x="67" y="5"/>
                        <a:pt x="68" y="4"/>
                        <a:pt x="68" y="4"/>
                      </a:cubicBezTo>
                      <a:cubicBezTo>
                        <a:pt x="69" y="5"/>
                        <a:pt x="69" y="5"/>
                        <a:pt x="69" y="5"/>
                      </a:cubicBezTo>
                      <a:cubicBezTo>
                        <a:pt x="69" y="6"/>
                        <a:pt x="69" y="6"/>
                        <a:pt x="69" y="6"/>
                      </a:cubicBezTo>
                      <a:cubicBezTo>
                        <a:pt x="67" y="6"/>
                        <a:pt x="67" y="6"/>
                        <a:pt x="67" y="6"/>
                      </a:cubicBezTo>
                      <a:cubicBezTo>
                        <a:pt x="67" y="5"/>
                        <a:pt x="67" y="5"/>
                        <a:pt x="67" y="5"/>
                      </a:cubicBezTo>
                      <a:cubicBezTo>
                        <a:pt x="67" y="5"/>
                        <a:pt x="67" y="5"/>
                        <a:pt x="67" y="5"/>
                      </a:cubicBezTo>
                      <a:close/>
                      <a:moveTo>
                        <a:pt x="69" y="3"/>
                      </a:moveTo>
                      <a:cubicBezTo>
                        <a:pt x="69" y="3"/>
                        <a:pt x="69" y="3"/>
                        <a:pt x="69" y="3"/>
                      </a:cubicBezTo>
                      <a:cubicBezTo>
                        <a:pt x="69" y="3"/>
                        <a:pt x="69" y="3"/>
                        <a:pt x="69" y="3"/>
                      </a:cubicBezTo>
                      <a:cubicBezTo>
                        <a:pt x="68" y="2"/>
                        <a:pt x="68" y="2"/>
                        <a:pt x="68" y="2"/>
                      </a:cubicBezTo>
                      <a:cubicBezTo>
                        <a:pt x="69" y="2"/>
                        <a:pt x="69" y="2"/>
                        <a:pt x="69" y="2"/>
                      </a:cubicBezTo>
                      <a:cubicBezTo>
                        <a:pt x="69" y="3"/>
                        <a:pt x="69" y="3"/>
                        <a:pt x="69" y="3"/>
                      </a:cubicBezTo>
                      <a:close/>
                      <a:moveTo>
                        <a:pt x="71" y="1"/>
                      </a:moveTo>
                      <a:cubicBezTo>
                        <a:pt x="71" y="1"/>
                        <a:pt x="71" y="1"/>
                        <a:pt x="71" y="1"/>
                      </a:cubicBezTo>
                      <a:cubicBezTo>
                        <a:pt x="71" y="1"/>
                        <a:pt x="71" y="1"/>
                        <a:pt x="71" y="1"/>
                      </a:cubicBezTo>
                      <a:cubicBezTo>
                        <a:pt x="72" y="1"/>
                        <a:pt x="72" y="1"/>
                        <a:pt x="72" y="1"/>
                      </a:cubicBezTo>
                      <a:cubicBezTo>
                        <a:pt x="71" y="1"/>
                        <a:pt x="71" y="1"/>
                        <a:pt x="71" y="1"/>
                      </a:cubicBezTo>
                      <a:close/>
                      <a:moveTo>
                        <a:pt x="73" y="2"/>
                      </a:moveTo>
                      <a:cubicBezTo>
                        <a:pt x="73" y="1"/>
                        <a:pt x="73" y="1"/>
                        <a:pt x="73" y="1"/>
                      </a:cubicBezTo>
                      <a:cubicBezTo>
                        <a:pt x="73" y="1"/>
                        <a:pt x="73" y="1"/>
                        <a:pt x="73" y="1"/>
                      </a:cubicBezTo>
                      <a:cubicBezTo>
                        <a:pt x="74" y="1"/>
                        <a:pt x="74" y="1"/>
                        <a:pt x="74" y="1"/>
                      </a:cubicBezTo>
                      <a:cubicBezTo>
                        <a:pt x="74" y="1"/>
                        <a:pt x="74" y="1"/>
                        <a:pt x="74" y="1"/>
                      </a:cubicBezTo>
                      <a:cubicBezTo>
                        <a:pt x="74" y="0"/>
                        <a:pt x="74" y="0"/>
                        <a:pt x="74" y="0"/>
                      </a:cubicBezTo>
                      <a:cubicBezTo>
                        <a:pt x="75" y="1"/>
                        <a:pt x="75" y="1"/>
                        <a:pt x="75" y="1"/>
                      </a:cubicBezTo>
                      <a:cubicBezTo>
                        <a:pt x="76" y="1"/>
                        <a:pt x="76" y="1"/>
                        <a:pt x="76" y="1"/>
                      </a:cubicBezTo>
                      <a:cubicBezTo>
                        <a:pt x="75" y="2"/>
                        <a:pt x="75" y="2"/>
                        <a:pt x="75" y="2"/>
                      </a:cubicBezTo>
                      <a:cubicBezTo>
                        <a:pt x="76" y="2"/>
                        <a:pt x="76" y="2"/>
                        <a:pt x="76" y="2"/>
                      </a:cubicBezTo>
                      <a:cubicBezTo>
                        <a:pt x="76" y="3"/>
                        <a:pt x="76" y="3"/>
                        <a:pt x="76" y="3"/>
                      </a:cubicBezTo>
                      <a:cubicBezTo>
                        <a:pt x="75" y="3"/>
                        <a:pt x="75" y="3"/>
                        <a:pt x="75" y="3"/>
                      </a:cubicBezTo>
                      <a:cubicBezTo>
                        <a:pt x="74" y="2"/>
                        <a:pt x="74" y="2"/>
                        <a:pt x="74" y="2"/>
                      </a:cubicBezTo>
                      <a:lnTo>
                        <a:pt x="73" y="2"/>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Freeform 44">
                  <a:extLst>
                    <a:ext uri="{FF2B5EF4-FFF2-40B4-BE49-F238E27FC236}">
                      <a16:creationId xmlns:a16="http://schemas.microsoft.com/office/drawing/2014/main" id="{2FF501DF-14B0-7008-BDC4-7AC0C06C5BE3}"/>
                    </a:ext>
                  </a:extLst>
                </p:cNvPr>
                <p:cNvSpPr>
                  <a:spLocks noEditPoints="1"/>
                </p:cNvSpPr>
                <p:nvPr/>
              </p:nvSpPr>
              <p:spPr bwMode="auto">
                <a:xfrm>
                  <a:off x="2758" y="1732"/>
                  <a:ext cx="114" cy="232"/>
                </a:xfrm>
                <a:custGeom>
                  <a:avLst/>
                  <a:gdLst>
                    <a:gd name="T0" fmla="*/ 5 w 114"/>
                    <a:gd name="T1" fmla="*/ 168 h 232"/>
                    <a:gd name="T2" fmla="*/ 12 w 114"/>
                    <a:gd name="T3" fmla="*/ 157 h 232"/>
                    <a:gd name="T4" fmla="*/ 14 w 114"/>
                    <a:gd name="T5" fmla="*/ 138 h 232"/>
                    <a:gd name="T6" fmla="*/ 7 w 114"/>
                    <a:gd name="T7" fmla="*/ 114 h 232"/>
                    <a:gd name="T8" fmla="*/ 17 w 114"/>
                    <a:gd name="T9" fmla="*/ 95 h 232"/>
                    <a:gd name="T10" fmla="*/ 24 w 114"/>
                    <a:gd name="T11" fmla="*/ 67 h 232"/>
                    <a:gd name="T12" fmla="*/ 33 w 114"/>
                    <a:gd name="T13" fmla="*/ 52 h 232"/>
                    <a:gd name="T14" fmla="*/ 38 w 114"/>
                    <a:gd name="T15" fmla="*/ 31 h 232"/>
                    <a:gd name="T16" fmla="*/ 50 w 114"/>
                    <a:gd name="T17" fmla="*/ 21 h 232"/>
                    <a:gd name="T18" fmla="*/ 55 w 114"/>
                    <a:gd name="T19" fmla="*/ 14 h 232"/>
                    <a:gd name="T20" fmla="*/ 66 w 114"/>
                    <a:gd name="T21" fmla="*/ 12 h 232"/>
                    <a:gd name="T22" fmla="*/ 71 w 114"/>
                    <a:gd name="T23" fmla="*/ 7 h 232"/>
                    <a:gd name="T24" fmla="*/ 76 w 114"/>
                    <a:gd name="T25" fmla="*/ 3 h 232"/>
                    <a:gd name="T26" fmla="*/ 97 w 114"/>
                    <a:gd name="T27" fmla="*/ 14 h 232"/>
                    <a:gd name="T28" fmla="*/ 102 w 114"/>
                    <a:gd name="T29" fmla="*/ 21 h 232"/>
                    <a:gd name="T30" fmla="*/ 107 w 114"/>
                    <a:gd name="T31" fmla="*/ 36 h 232"/>
                    <a:gd name="T32" fmla="*/ 109 w 114"/>
                    <a:gd name="T33" fmla="*/ 52 h 232"/>
                    <a:gd name="T34" fmla="*/ 109 w 114"/>
                    <a:gd name="T35" fmla="*/ 62 h 232"/>
                    <a:gd name="T36" fmla="*/ 100 w 114"/>
                    <a:gd name="T37" fmla="*/ 62 h 232"/>
                    <a:gd name="T38" fmla="*/ 90 w 114"/>
                    <a:gd name="T39" fmla="*/ 64 h 232"/>
                    <a:gd name="T40" fmla="*/ 90 w 114"/>
                    <a:gd name="T41" fmla="*/ 71 h 232"/>
                    <a:gd name="T42" fmla="*/ 90 w 114"/>
                    <a:gd name="T43" fmla="*/ 74 h 232"/>
                    <a:gd name="T44" fmla="*/ 90 w 114"/>
                    <a:gd name="T45" fmla="*/ 83 h 232"/>
                    <a:gd name="T46" fmla="*/ 88 w 114"/>
                    <a:gd name="T47" fmla="*/ 93 h 232"/>
                    <a:gd name="T48" fmla="*/ 78 w 114"/>
                    <a:gd name="T49" fmla="*/ 102 h 232"/>
                    <a:gd name="T50" fmla="*/ 71 w 114"/>
                    <a:gd name="T51" fmla="*/ 109 h 232"/>
                    <a:gd name="T52" fmla="*/ 64 w 114"/>
                    <a:gd name="T53" fmla="*/ 112 h 232"/>
                    <a:gd name="T54" fmla="*/ 59 w 114"/>
                    <a:gd name="T55" fmla="*/ 121 h 232"/>
                    <a:gd name="T56" fmla="*/ 57 w 114"/>
                    <a:gd name="T57" fmla="*/ 133 h 232"/>
                    <a:gd name="T58" fmla="*/ 57 w 114"/>
                    <a:gd name="T59" fmla="*/ 140 h 232"/>
                    <a:gd name="T60" fmla="*/ 59 w 114"/>
                    <a:gd name="T61" fmla="*/ 149 h 232"/>
                    <a:gd name="T62" fmla="*/ 69 w 114"/>
                    <a:gd name="T63" fmla="*/ 157 h 232"/>
                    <a:gd name="T64" fmla="*/ 69 w 114"/>
                    <a:gd name="T65" fmla="*/ 171 h 232"/>
                    <a:gd name="T66" fmla="*/ 59 w 114"/>
                    <a:gd name="T67" fmla="*/ 168 h 232"/>
                    <a:gd name="T68" fmla="*/ 50 w 114"/>
                    <a:gd name="T69" fmla="*/ 168 h 232"/>
                    <a:gd name="T70" fmla="*/ 57 w 114"/>
                    <a:gd name="T71" fmla="*/ 171 h 232"/>
                    <a:gd name="T72" fmla="*/ 69 w 114"/>
                    <a:gd name="T73" fmla="*/ 173 h 232"/>
                    <a:gd name="T74" fmla="*/ 64 w 114"/>
                    <a:gd name="T75" fmla="*/ 176 h 232"/>
                    <a:gd name="T76" fmla="*/ 57 w 114"/>
                    <a:gd name="T77" fmla="*/ 183 h 232"/>
                    <a:gd name="T78" fmla="*/ 52 w 114"/>
                    <a:gd name="T79" fmla="*/ 187 h 232"/>
                    <a:gd name="T80" fmla="*/ 55 w 114"/>
                    <a:gd name="T81" fmla="*/ 195 h 232"/>
                    <a:gd name="T82" fmla="*/ 55 w 114"/>
                    <a:gd name="T83" fmla="*/ 209 h 232"/>
                    <a:gd name="T84" fmla="*/ 45 w 114"/>
                    <a:gd name="T85" fmla="*/ 221 h 232"/>
                    <a:gd name="T86" fmla="*/ 33 w 114"/>
                    <a:gd name="T87" fmla="*/ 228 h 232"/>
                    <a:gd name="T88" fmla="*/ 21 w 114"/>
                    <a:gd name="T89" fmla="*/ 230 h 232"/>
                    <a:gd name="T90" fmla="*/ 21 w 114"/>
                    <a:gd name="T91" fmla="*/ 216 h 232"/>
                    <a:gd name="T92" fmla="*/ 10 w 114"/>
                    <a:gd name="T93" fmla="*/ 204 h 232"/>
                    <a:gd name="T94" fmla="*/ 5 w 114"/>
                    <a:gd name="T95" fmla="*/ 195 h 232"/>
                    <a:gd name="T96" fmla="*/ 5 w 114"/>
                    <a:gd name="T97" fmla="*/ 190 h 232"/>
                    <a:gd name="T98" fmla="*/ 0 w 114"/>
                    <a:gd name="T99" fmla="*/ 183 h 232"/>
                    <a:gd name="T100" fmla="*/ 71 w 114"/>
                    <a:gd name="T101" fmla="*/ 176 h 232"/>
                    <a:gd name="T102" fmla="*/ 3 w 114"/>
                    <a:gd name="T103" fmla="*/ 192 h 232"/>
                    <a:gd name="T104" fmla="*/ 81 w 114"/>
                    <a:gd name="T105" fmla="*/ 187 h 232"/>
                    <a:gd name="T106" fmla="*/ 81 w 114"/>
                    <a:gd name="T107" fmla="*/ 195 h 232"/>
                    <a:gd name="T108" fmla="*/ 73 w 114"/>
                    <a:gd name="T109" fmla="*/ 211 h 232"/>
                    <a:gd name="T110" fmla="*/ 78 w 114"/>
                    <a:gd name="T111" fmla="*/ 202 h 232"/>
                    <a:gd name="T112" fmla="*/ 73 w 114"/>
                    <a:gd name="T113" fmla="*/ 197 h 232"/>
                    <a:gd name="T114" fmla="*/ 73 w 114"/>
                    <a:gd name="T115" fmla="*/ 206 h 232"/>
                    <a:gd name="T116" fmla="*/ 55 w 114"/>
                    <a:gd name="T117" fmla="*/ 221 h 232"/>
                    <a:gd name="T118" fmla="*/ 59 w 114"/>
                    <a:gd name="T119" fmla="*/ 20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4" h="232">
                      <a:moveTo>
                        <a:pt x="3" y="178"/>
                      </a:moveTo>
                      <a:lnTo>
                        <a:pt x="5" y="178"/>
                      </a:lnTo>
                      <a:lnTo>
                        <a:pt x="5" y="180"/>
                      </a:lnTo>
                      <a:lnTo>
                        <a:pt x="7" y="178"/>
                      </a:lnTo>
                      <a:lnTo>
                        <a:pt x="5" y="173"/>
                      </a:lnTo>
                      <a:lnTo>
                        <a:pt x="5" y="168"/>
                      </a:lnTo>
                      <a:lnTo>
                        <a:pt x="5" y="168"/>
                      </a:lnTo>
                      <a:lnTo>
                        <a:pt x="7" y="166"/>
                      </a:lnTo>
                      <a:lnTo>
                        <a:pt x="5" y="166"/>
                      </a:lnTo>
                      <a:lnTo>
                        <a:pt x="7" y="164"/>
                      </a:lnTo>
                      <a:lnTo>
                        <a:pt x="10" y="164"/>
                      </a:lnTo>
                      <a:lnTo>
                        <a:pt x="10" y="161"/>
                      </a:lnTo>
                      <a:lnTo>
                        <a:pt x="10" y="159"/>
                      </a:lnTo>
                      <a:lnTo>
                        <a:pt x="12" y="157"/>
                      </a:lnTo>
                      <a:lnTo>
                        <a:pt x="10" y="154"/>
                      </a:lnTo>
                      <a:lnTo>
                        <a:pt x="10" y="149"/>
                      </a:lnTo>
                      <a:lnTo>
                        <a:pt x="7" y="147"/>
                      </a:lnTo>
                      <a:lnTo>
                        <a:pt x="7" y="145"/>
                      </a:lnTo>
                      <a:lnTo>
                        <a:pt x="12" y="142"/>
                      </a:lnTo>
                      <a:lnTo>
                        <a:pt x="12" y="140"/>
                      </a:lnTo>
                      <a:lnTo>
                        <a:pt x="14" y="138"/>
                      </a:lnTo>
                      <a:lnTo>
                        <a:pt x="10" y="133"/>
                      </a:lnTo>
                      <a:lnTo>
                        <a:pt x="7" y="133"/>
                      </a:lnTo>
                      <a:lnTo>
                        <a:pt x="7" y="128"/>
                      </a:lnTo>
                      <a:lnTo>
                        <a:pt x="7" y="123"/>
                      </a:lnTo>
                      <a:lnTo>
                        <a:pt x="7" y="121"/>
                      </a:lnTo>
                      <a:lnTo>
                        <a:pt x="5" y="116"/>
                      </a:lnTo>
                      <a:lnTo>
                        <a:pt x="7" y="114"/>
                      </a:lnTo>
                      <a:lnTo>
                        <a:pt x="5" y="109"/>
                      </a:lnTo>
                      <a:lnTo>
                        <a:pt x="5" y="104"/>
                      </a:lnTo>
                      <a:lnTo>
                        <a:pt x="5" y="100"/>
                      </a:lnTo>
                      <a:lnTo>
                        <a:pt x="7" y="95"/>
                      </a:lnTo>
                      <a:lnTo>
                        <a:pt x="10" y="93"/>
                      </a:lnTo>
                      <a:lnTo>
                        <a:pt x="14" y="95"/>
                      </a:lnTo>
                      <a:lnTo>
                        <a:pt x="17" y="95"/>
                      </a:lnTo>
                      <a:lnTo>
                        <a:pt x="19" y="93"/>
                      </a:lnTo>
                      <a:lnTo>
                        <a:pt x="19" y="88"/>
                      </a:lnTo>
                      <a:lnTo>
                        <a:pt x="19" y="85"/>
                      </a:lnTo>
                      <a:lnTo>
                        <a:pt x="19" y="83"/>
                      </a:lnTo>
                      <a:lnTo>
                        <a:pt x="21" y="76"/>
                      </a:lnTo>
                      <a:lnTo>
                        <a:pt x="21" y="71"/>
                      </a:lnTo>
                      <a:lnTo>
                        <a:pt x="24" y="67"/>
                      </a:lnTo>
                      <a:lnTo>
                        <a:pt x="24" y="64"/>
                      </a:lnTo>
                      <a:lnTo>
                        <a:pt x="24" y="59"/>
                      </a:lnTo>
                      <a:lnTo>
                        <a:pt x="24" y="59"/>
                      </a:lnTo>
                      <a:lnTo>
                        <a:pt x="24" y="57"/>
                      </a:lnTo>
                      <a:lnTo>
                        <a:pt x="26" y="55"/>
                      </a:lnTo>
                      <a:lnTo>
                        <a:pt x="31" y="55"/>
                      </a:lnTo>
                      <a:lnTo>
                        <a:pt x="33" y="52"/>
                      </a:lnTo>
                      <a:lnTo>
                        <a:pt x="33" y="50"/>
                      </a:lnTo>
                      <a:lnTo>
                        <a:pt x="36" y="45"/>
                      </a:lnTo>
                      <a:lnTo>
                        <a:pt x="38" y="43"/>
                      </a:lnTo>
                      <a:lnTo>
                        <a:pt x="40" y="40"/>
                      </a:lnTo>
                      <a:lnTo>
                        <a:pt x="38" y="36"/>
                      </a:lnTo>
                      <a:lnTo>
                        <a:pt x="38" y="36"/>
                      </a:lnTo>
                      <a:lnTo>
                        <a:pt x="38" y="31"/>
                      </a:lnTo>
                      <a:lnTo>
                        <a:pt x="38" y="31"/>
                      </a:lnTo>
                      <a:lnTo>
                        <a:pt x="40" y="29"/>
                      </a:lnTo>
                      <a:lnTo>
                        <a:pt x="40" y="26"/>
                      </a:lnTo>
                      <a:lnTo>
                        <a:pt x="43" y="24"/>
                      </a:lnTo>
                      <a:lnTo>
                        <a:pt x="43" y="21"/>
                      </a:lnTo>
                      <a:lnTo>
                        <a:pt x="45" y="19"/>
                      </a:lnTo>
                      <a:lnTo>
                        <a:pt x="50" y="21"/>
                      </a:lnTo>
                      <a:lnTo>
                        <a:pt x="50" y="21"/>
                      </a:lnTo>
                      <a:lnTo>
                        <a:pt x="52" y="21"/>
                      </a:lnTo>
                      <a:lnTo>
                        <a:pt x="52" y="21"/>
                      </a:lnTo>
                      <a:lnTo>
                        <a:pt x="52" y="19"/>
                      </a:lnTo>
                      <a:lnTo>
                        <a:pt x="52" y="17"/>
                      </a:lnTo>
                      <a:lnTo>
                        <a:pt x="52" y="17"/>
                      </a:lnTo>
                      <a:lnTo>
                        <a:pt x="55" y="14"/>
                      </a:lnTo>
                      <a:lnTo>
                        <a:pt x="52" y="12"/>
                      </a:lnTo>
                      <a:lnTo>
                        <a:pt x="52" y="12"/>
                      </a:lnTo>
                      <a:lnTo>
                        <a:pt x="57" y="12"/>
                      </a:lnTo>
                      <a:lnTo>
                        <a:pt x="59" y="10"/>
                      </a:lnTo>
                      <a:lnTo>
                        <a:pt x="62" y="12"/>
                      </a:lnTo>
                      <a:lnTo>
                        <a:pt x="64" y="12"/>
                      </a:lnTo>
                      <a:lnTo>
                        <a:pt x="66" y="12"/>
                      </a:lnTo>
                      <a:lnTo>
                        <a:pt x="69" y="14"/>
                      </a:lnTo>
                      <a:lnTo>
                        <a:pt x="69" y="14"/>
                      </a:lnTo>
                      <a:lnTo>
                        <a:pt x="71" y="14"/>
                      </a:lnTo>
                      <a:lnTo>
                        <a:pt x="71" y="12"/>
                      </a:lnTo>
                      <a:lnTo>
                        <a:pt x="69" y="10"/>
                      </a:lnTo>
                      <a:lnTo>
                        <a:pt x="69" y="7"/>
                      </a:lnTo>
                      <a:lnTo>
                        <a:pt x="71" y="7"/>
                      </a:lnTo>
                      <a:lnTo>
                        <a:pt x="71" y="5"/>
                      </a:lnTo>
                      <a:lnTo>
                        <a:pt x="69" y="3"/>
                      </a:lnTo>
                      <a:lnTo>
                        <a:pt x="69" y="0"/>
                      </a:lnTo>
                      <a:lnTo>
                        <a:pt x="71" y="3"/>
                      </a:lnTo>
                      <a:lnTo>
                        <a:pt x="73" y="3"/>
                      </a:lnTo>
                      <a:lnTo>
                        <a:pt x="76" y="0"/>
                      </a:lnTo>
                      <a:lnTo>
                        <a:pt x="76" y="3"/>
                      </a:lnTo>
                      <a:lnTo>
                        <a:pt x="81" y="5"/>
                      </a:lnTo>
                      <a:lnTo>
                        <a:pt x="83" y="10"/>
                      </a:lnTo>
                      <a:lnTo>
                        <a:pt x="88" y="10"/>
                      </a:lnTo>
                      <a:lnTo>
                        <a:pt x="90" y="12"/>
                      </a:lnTo>
                      <a:lnTo>
                        <a:pt x="92" y="12"/>
                      </a:lnTo>
                      <a:lnTo>
                        <a:pt x="95" y="12"/>
                      </a:lnTo>
                      <a:lnTo>
                        <a:pt x="97" y="14"/>
                      </a:lnTo>
                      <a:lnTo>
                        <a:pt x="97" y="17"/>
                      </a:lnTo>
                      <a:lnTo>
                        <a:pt x="100" y="17"/>
                      </a:lnTo>
                      <a:lnTo>
                        <a:pt x="100" y="17"/>
                      </a:lnTo>
                      <a:lnTo>
                        <a:pt x="102" y="19"/>
                      </a:lnTo>
                      <a:lnTo>
                        <a:pt x="102" y="19"/>
                      </a:lnTo>
                      <a:lnTo>
                        <a:pt x="104" y="21"/>
                      </a:lnTo>
                      <a:lnTo>
                        <a:pt x="102" y="21"/>
                      </a:lnTo>
                      <a:lnTo>
                        <a:pt x="104" y="26"/>
                      </a:lnTo>
                      <a:lnTo>
                        <a:pt x="102" y="29"/>
                      </a:lnTo>
                      <a:lnTo>
                        <a:pt x="102" y="29"/>
                      </a:lnTo>
                      <a:lnTo>
                        <a:pt x="107" y="31"/>
                      </a:lnTo>
                      <a:lnTo>
                        <a:pt x="107" y="33"/>
                      </a:lnTo>
                      <a:lnTo>
                        <a:pt x="107" y="33"/>
                      </a:lnTo>
                      <a:lnTo>
                        <a:pt x="107" y="36"/>
                      </a:lnTo>
                      <a:lnTo>
                        <a:pt x="107" y="38"/>
                      </a:lnTo>
                      <a:lnTo>
                        <a:pt x="109" y="43"/>
                      </a:lnTo>
                      <a:lnTo>
                        <a:pt x="107" y="43"/>
                      </a:lnTo>
                      <a:lnTo>
                        <a:pt x="107" y="45"/>
                      </a:lnTo>
                      <a:lnTo>
                        <a:pt x="107" y="50"/>
                      </a:lnTo>
                      <a:lnTo>
                        <a:pt x="107" y="50"/>
                      </a:lnTo>
                      <a:lnTo>
                        <a:pt x="109" y="52"/>
                      </a:lnTo>
                      <a:lnTo>
                        <a:pt x="111" y="55"/>
                      </a:lnTo>
                      <a:lnTo>
                        <a:pt x="111" y="57"/>
                      </a:lnTo>
                      <a:lnTo>
                        <a:pt x="114" y="59"/>
                      </a:lnTo>
                      <a:lnTo>
                        <a:pt x="114" y="62"/>
                      </a:lnTo>
                      <a:lnTo>
                        <a:pt x="114" y="62"/>
                      </a:lnTo>
                      <a:lnTo>
                        <a:pt x="111" y="62"/>
                      </a:lnTo>
                      <a:lnTo>
                        <a:pt x="109" y="62"/>
                      </a:lnTo>
                      <a:lnTo>
                        <a:pt x="109" y="62"/>
                      </a:lnTo>
                      <a:lnTo>
                        <a:pt x="107" y="62"/>
                      </a:lnTo>
                      <a:lnTo>
                        <a:pt x="104" y="62"/>
                      </a:lnTo>
                      <a:lnTo>
                        <a:pt x="102" y="64"/>
                      </a:lnTo>
                      <a:lnTo>
                        <a:pt x="102" y="62"/>
                      </a:lnTo>
                      <a:lnTo>
                        <a:pt x="100" y="59"/>
                      </a:lnTo>
                      <a:lnTo>
                        <a:pt x="100" y="62"/>
                      </a:lnTo>
                      <a:lnTo>
                        <a:pt x="97" y="59"/>
                      </a:lnTo>
                      <a:lnTo>
                        <a:pt x="95" y="62"/>
                      </a:lnTo>
                      <a:lnTo>
                        <a:pt x="95" y="64"/>
                      </a:lnTo>
                      <a:lnTo>
                        <a:pt x="95" y="64"/>
                      </a:lnTo>
                      <a:lnTo>
                        <a:pt x="92" y="64"/>
                      </a:lnTo>
                      <a:lnTo>
                        <a:pt x="92" y="64"/>
                      </a:lnTo>
                      <a:lnTo>
                        <a:pt x="90" y="64"/>
                      </a:lnTo>
                      <a:lnTo>
                        <a:pt x="92" y="67"/>
                      </a:lnTo>
                      <a:lnTo>
                        <a:pt x="95" y="67"/>
                      </a:lnTo>
                      <a:lnTo>
                        <a:pt x="92" y="69"/>
                      </a:lnTo>
                      <a:lnTo>
                        <a:pt x="90" y="69"/>
                      </a:lnTo>
                      <a:lnTo>
                        <a:pt x="88" y="69"/>
                      </a:lnTo>
                      <a:lnTo>
                        <a:pt x="90" y="69"/>
                      </a:lnTo>
                      <a:lnTo>
                        <a:pt x="90" y="71"/>
                      </a:lnTo>
                      <a:lnTo>
                        <a:pt x="90" y="71"/>
                      </a:lnTo>
                      <a:lnTo>
                        <a:pt x="88" y="71"/>
                      </a:lnTo>
                      <a:lnTo>
                        <a:pt x="88" y="71"/>
                      </a:lnTo>
                      <a:lnTo>
                        <a:pt x="88" y="71"/>
                      </a:lnTo>
                      <a:lnTo>
                        <a:pt x="88" y="71"/>
                      </a:lnTo>
                      <a:lnTo>
                        <a:pt x="90" y="71"/>
                      </a:lnTo>
                      <a:lnTo>
                        <a:pt x="90" y="74"/>
                      </a:lnTo>
                      <a:lnTo>
                        <a:pt x="90" y="76"/>
                      </a:lnTo>
                      <a:lnTo>
                        <a:pt x="88" y="78"/>
                      </a:lnTo>
                      <a:lnTo>
                        <a:pt x="88" y="81"/>
                      </a:lnTo>
                      <a:lnTo>
                        <a:pt x="85" y="81"/>
                      </a:lnTo>
                      <a:lnTo>
                        <a:pt x="88" y="81"/>
                      </a:lnTo>
                      <a:lnTo>
                        <a:pt x="90" y="83"/>
                      </a:lnTo>
                      <a:lnTo>
                        <a:pt x="90" y="83"/>
                      </a:lnTo>
                      <a:lnTo>
                        <a:pt x="90" y="83"/>
                      </a:lnTo>
                      <a:lnTo>
                        <a:pt x="90" y="85"/>
                      </a:lnTo>
                      <a:lnTo>
                        <a:pt x="92" y="85"/>
                      </a:lnTo>
                      <a:lnTo>
                        <a:pt x="90" y="88"/>
                      </a:lnTo>
                      <a:lnTo>
                        <a:pt x="88" y="88"/>
                      </a:lnTo>
                      <a:lnTo>
                        <a:pt x="88" y="90"/>
                      </a:lnTo>
                      <a:lnTo>
                        <a:pt x="88" y="93"/>
                      </a:lnTo>
                      <a:lnTo>
                        <a:pt x="85" y="97"/>
                      </a:lnTo>
                      <a:lnTo>
                        <a:pt x="83" y="97"/>
                      </a:lnTo>
                      <a:lnTo>
                        <a:pt x="81" y="100"/>
                      </a:lnTo>
                      <a:lnTo>
                        <a:pt x="81" y="97"/>
                      </a:lnTo>
                      <a:lnTo>
                        <a:pt x="81" y="100"/>
                      </a:lnTo>
                      <a:lnTo>
                        <a:pt x="81" y="102"/>
                      </a:lnTo>
                      <a:lnTo>
                        <a:pt x="78" y="102"/>
                      </a:lnTo>
                      <a:lnTo>
                        <a:pt x="76" y="104"/>
                      </a:lnTo>
                      <a:lnTo>
                        <a:pt x="76" y="104"/>
                      </a:lnTo>
                      <a:lnTo>
                        <a:pt x="76" y="102"/>
                      </a:lnTo>
                      <a:lnTo>
                        <a:pt x="73" y="102"/>
                      </a:lnTo>
                      <a:lnTo>
                        <a:pt x="71" y="104"/>
                      </a:lnTo>
                      <a:lnTo>
                        <a:pt x="71" y="107"/>
                      </a:lnTo>
                      <a:lnTo>
                        <a:pt x="71" y="109"/>
                      </a:lnTo>
                      <a:lnTo>
                        <a:pt x="69" y="107"/>
                      </a:lnTo>
                      <a:lnTo>
                        <a:pt x="69" y="107"/>
                      </a:lnTo>
                      <a:lnTo>
                        <a:pt x="69" y="109"/>
                      </a:lnTo>
                      <a:lnTo>
                        <a:pt x="66" y="109"/>
                      </a:lnTo>
                      <a:lnTo>
                        <a:pt x="66" y="109"/>
                      </a:lnTo>
                      <a:lnTo>
                        <a:pt x="64" y="109"/>
                      </a:lnTo>
                      <a:lnTo>
                        <a:pt x="64" y="112"/>
                      </a:lnTo>
                      <a:lnTo>
                        <a:pt x="66" y="112"/>
                      </a:lnTo>
                      <a:lnTo>
                        <a:pt x="66" y="114"/>
                      </a:lnTo>
                      <a:lnTo>
                        <a:pt x="62" y="116"/>
                      </a:lnTo>
                      <a:lnTo>
                        <a:pt x="59" y="114"/>
                      </a:lnTo>
                      <a:lnTo>
                        <a:pt x="59" y="116"/>
                      </a:lnTo>
                      <a:lnTo>
                        <a:pt x="62" y="119"/>
                      </a:lnTo>
                      <a:lnTo>
                        <a:pt x="59" y="121"/>
                      </a:lnTo>
                      <a:lnTo>
                        <a:pt x="55" y="121"/>
                      </a:lnTo>
                      <a:lnTo>
                        <a:pt x="55" y="121"/>
                      </a:lnTo>
                      <a:lnTo>
                        <a:pt x="57" y="123"/>
                      </a:lnTo>
                      <a:lnTo>
                        <a:pt x="57" y="126"/>
                      </a:lnTo>
                      <a:lnTo>
                        <a:pt x="57" y="126"/>
                      </a:lnTo>
                      <a:lnTo>
                        <a:pt x="57" y="128"/>
                      </a:lnTo>
                      <a:lnTo>
                        <a:pt x="57" y="133"/>
                      </a:lnTo>
                      <a:lnTo>
                        <a:pt x="57" y="133"/>
                      </a:lnTo>
                      <a:lnTo>
                        <a:pt x="57" y="135"/>
                      </a:lnTo>
                      <a:lnTo>
                        <a:pt x="57" y="135"/>
                      </a:lnTo>
                      <a:lnTo>
                        <a:pt x="55" y="135"/>
                      </a:lnTo>
                      <a:lnTo>
                        <a:pt x="57" y="138"/>
                      </a:lnTo>
                      <a:lnTo>
                        <a:pt x="55" y="140"/>
                      </a:lnTo>
                      <a:lnTo>
                        <a:pt x="57" y="140"/>
                      </a:lnTo>
                      <a:lnTo>
                        <a:pt x="57" y="142"/>
                      </a:lnTo>
                      <a:lnTo>
                        <a:pt x="55" y="142"/>
                      </a:lnTo>
                      <a:lnTo>
                        <a:pt x="57" y="145"/>
                      </a:lnTo>
                      <a:lnTo>
                        <a:pt x="55" y="147"/>
                      </a:lnTo>
                      <a:lnTo>
                        <a:pt x="57" y="147"/>
                      </a:lnTo>
                      <a:lnTo>
                        <a:pt x="57" y="149"/>
                      </a:lnTo>
                      <a:lnTo>
                        <a:pt x="59" y="149"/>
                      </a:lnTo>
                      <a:lnTo>
                        <a:pt x="59" y="152"/>
                      </a:lnTo>
                      <a:lnTo>
                        <a:pt x="59" y="152"/>
                      </a:lnTo>
                      <a:lnTo>
                        <a:pt x="62" y="152"/>
                      </a:lnTo>
                      <a:lnTo>
                        <a:pt x="64" y="149"/>
                      </a:lnTo>
                      <a:lnTo>
                        <a:pt x="64" y="152"/>
                      </a:lnTo>
                      <a:lnTo>
                        <a:pt x="64" y="154"/>
                      </a:lnTo>
                      <a:lnTo>
                        <a:pt x="69" y="157"/>
                      </a:lnTo>
                      <a:lnTo>
                        <a:pt x="69" y="157"/>
                      </a:lnTo>
                      <a:lnTo>
                        <a:pt x="71" y="159"/>
                      </a:lnTo>
                      <a:lnTo>
                        <a:pt x="71" y="161"/>
                      </a:lnTo>
                      <a:lnTo>
                        <a:pt x="73" y="164"/>
                      </a:lnTo>
                      <a:lnTo>
                        <a:pt x="73" y="166"/>
                      </a:lnTo>
                      <a:lnTo>
                        <a:pt x="69" y="168"/>
                      </a:lnTo>
                      <a:lnTo>
                        <a:pt x="69" y="171"/>
                      </a:lnTo>
                      <a:lnTo>
                        <a:pt x="66" y="171"/>
                      </a:lnTo>
                      <a:lnTo>
                        <a:pt x="64" y="171"/>
                      </a:lnTo>
                      <a:lnTo>
                        <a:pt x="64" y="168"/>
                      </a:lnTo>
                      <a:lnTo>
                        <a:pt x="62" y="168"/>
                      </a:lnTo>
                      <a:lnTo>
                        <a:pt x="62" y="166"/>
                      </a:lnTo>
                      <a:lnTo>
                        <a:pt x="59" y="168"/>
                      </a:lnTo>
                      <a:lnTo>
                        <a:pt x="59" y="168"/>
                      </a:lnTo>
                      <a:lnTo>
                        <a:pt x="59" y="168"/>
                      </a:lnTo>
                      <a:lnTo>
                        <a:pt x="57" y="166"/>
                      </a:lnTo>
                      <a:lnTo>
                        <a:pt x="55" y="168"/>
                      </a:lnTo>
                      <a:lnTo>
                        <a:pt x="55" y="168"/>
                      </a:lnTo>
                      <a:lnTo>
                        <a:pt x="52" y="168"/>
                      </a:lnTo>
                      <a:lnTo>
                        <a:pt x="52" y="171"/>
                      </a:lnTo>
                      <a:lnTo>
                        <a:pt x="50" y="168"/>
                      </a:lnTo>
                      <a:lnTo>
                        <a:pt x="47" y="171"/>
                      </a:lnTo>
                      <a:lnTo>
                        <a:pt x="47" y="171"/>
                      </a:lnTo>
                      <a:lnTo>
                        <a:pt x="52" y="171"/>
                      </a:lnTo>
                      <a:lnTo>
                        <a:pt x="52" y="171"/>
                      </a:lnTo>
                      <a:lnTo>
                        <a:pt x="52" y="171"/>
                      </a:lnTo>
                      <a:lnTo>
                        <a:pt x="55" y="171"/>
                      </a:lnTo>
                      <a:lnTo>
                        <a:pt x="57" y="171"/>
                      </a:lnTo>
                      <a:lnTo>
                        <a:pt x="59" y="171"/>
                      </a:lnTo>
                      <a:lnTo>
                        <a:pt x="62" y="173"/>
                      </a:lnTo>
                      <a:lnTo>
                        <a:pt x="62" y="173"/>
                      </a:lnTo>
                      <a:lnTo>
                        <a:pt x="64" y="173"/>
                      </a:lnTo>
                      <a:lnTo>
                        <a:pt x="66" y="173"/>
                      </a:lnTo>
                      <a:lnTo>
                        <a:pt x="69" y="173"/>
                      </a:lnTo>
                      <a:lnTo>
                        <a:pt x="69" y="173"/>
                      </a:lnTo>
                      <a:lnTo>
                        <a:pt x="69" y="176"/>
                      </a:lnTo>
                      <a:lnTo>
                        <a:pt x="69" y="178"/>
                      </a:lnTo>
                      <a:lnTo>
                        <a:pt x="66" y="178"/>
                      </a:lnTo>
                      <a:lnTo>
                        <a:pt x="64" y="180"/>
                      </a:lnTo>
                      <a:lnTo>
                        <a:pt x="64" y="180"/>
                      </a:lnTo>
                      <a:lnTo>
                        <a:pt x="64" y="178"/>
                      </a:lnTo>
                      <a:lnTo>
                        <a:pt x="64" y="176"/>
                      </a:lnTo>
                      <a:lnTo>
                        <a:pt x="62" y="178"/>
                      </a:lnTo>
                      <a:lnTo>
                        <a:pt x="62" y="180"/>
                      </a:lnTo>
                      <a:lnTo>
                        <a:pt x="62" y="180"/>
                      </a:lnTo>
                      <a:lnTo>
                        <a:pt x="59" y="180"/>
                      </a:lnTo>
                      <a:lnTo>
                        <a:pt x="59" y="183"/>
                      </a:lnTo>
                      <a:lnTo>
                        <a:pt x="57" y="183"/>
                      </a:lnTo>
                      <a:lnTo>
                        <a:pt x="57" y="183"/>
                      </a:lnTo>
                      <a:lnTo>
                        <a:pt x="57" y="185"/>
                      </a:lnTo>
                      <a:lnTo>
                        <a:pt x="57" y="183"/>
                      </a:lnTo>
                      <a:lnTo>
                        <a:pt x="55" y="183"/>
                      </a:lnTo>
                      <a:lnTo>
                        <a:pt x="52" y="185"/>
                      </a:lnTo>
                      <a:lnTo>
                        <a:pt x="55" y="185"/>
                      </a:lnTo>
                      <a:lnTo>
                        <a:pt x="57" y="187"/>
                      </a:lnTo>
                      <a:lnTo>
                        <a:pt x="52" y="187"/>
                      </a:lnTo>
                      <a:lnTo>
                        <a:pt x="57" y="187"/>
                      </a:lnTo>
                      <a:lnTo>
                        <a:pt x="57" y="190"/>
                      </a:lnTo>
                      <a:lnTo>
                        <a:pt x="55" y="192"/>
                      </a:lnTo>
                      <a:lnTo>
                        <a:pt x="57" y="195"/>
                      </a:lnTo>
                      <a:lnTo>
                        <a:pt x="55" y="195"/>
                      </a:lnTo>
                      <a:lnTo>
                        <a:pt x="52" y="195"/>
                      </a:lnTo>
                      <a:lnTo>
                        <a:pt x="55" y="195"/>
                      </a:lnTo>
                      <a:lnTo>
                        <a:pt x="52" y="197"/>
                      </a:lnTo>
                      <a:lnTo>
                        <a:pt x="55" y="199"/>
                      </a:lnTo>
                      <a:lnTo>
                        <a:pt x="55" y="199"/>
                      </a:lnTo>
                      <a:lnTo>
                        <a:pt x="55" y="202"/>
                      </a:lnTo>
                      <a:lnTo>
                        <a:pt x="55" y="204"/>
                      </a:lnTo>
                      <a:lnTo>
                        <a:pt x="52" y="206"/>
                      </a:lnTo>
                      <a:lnTo>
                        <a:pt x="55" y="209"/>
                      </a:lnTo>
                      <a:lnTo>
                        <a:pt x="55" y="209"/>
                      </a:lnTo>
                      <a:lnTo>
                        <a:pt x="55" y="216"/>
                      </a:lnTo>
                      <a:lnTo>
                        <a:pt x="52" y="216"/>
                      </a:lnTo>
                      <a:lnTo>
                        <a:pt x="52" y="221"/>
                      </a:lnTo>
                      <a:lnTo>
                        <a:pt x="50" y="223"/>
                      </a:lnTo>
                      <a:lnTo>
                        <a:pt x="47" y="223"/>
                      </a:lnTo>
                      <a:lnTo>
                        <a:pt x="45" y="221"/>
                      </a:lnTo>
                      <a:lnTo>
                        <a:pt x="43" y="223"/>
                      </a:lnTo>
                      <a:lnTo>
                        <a:pt x="38" y="221"/>
                      </a:lnTo>
                      <a:lnTo>
                        <a:pt x="38" y="221"/>
                      </a:lnTo>
                      <a:lnTo>
                        <a:pt x="38" y="223"/>
                      </a:lnTo>
                      <a:lnTo>
                        <a:pt x="33" y="223"/>
                      </a:lnTo>
                      <a:lnTo>
                        <a:pt x="33" y="228"/>
                      </a:lnTo>
                      <a:lnTo>
                        <a:pt x="33" y="228"/>
                      </a:lnTo>
                      <a:lnTo>
                        <a:pt x="33" y="230"/>
                      </a:lnTo>
                      <a:lnTo>
                        <a:pt x="31" y="232"/>
                      </a:lnTo>
                      <a:lnTo>
                        <a:pt x="29" y="230"/>
                      </a:lnTo>
                      <a:lnTo>
                        <a:pt x="24" y="232"/>
                      </a:lnTo>
                      <a:lnTo>
                        <a:pt x="21" y="232"/>
                      </a:lnTo>
                      <a:lnTo>
                        <a:pt x="19" y="230"/>
                      </a:lnTo>
                      <a:lnTo>
                        <a:pt x="21" y="230"/>
                      </a:lnTo>
                      <a:lnTo>
                        <a:pt x="19" y="225"/>
                      </a:lnTo>
                      <a:lnTo>
                        <a:pt x="17" y="223"/>
                      </a:lnTo>
                      <a:lnTo>
                        <a:pt x="17" y="223"/>
                      </a:lnTo>
                      <a:lnTo>
                        <a:pt x="17" y="221"/>
                      </a:lnTo>
                      <a:lnTo>
                        <a:pt x="17" y="221"/>
                      </a:lnTo>
                      <a:lnTo>
                        <a:pt x="19" y="221"/>
                      </a:lnTo>
                      <a:lnTo>
                        <a:pt x="21" y="216"/>
                      </a:lnTo>
                      <a:lnTo>
                        <a:pt x="19" y="213"/>
                      </a:lnTo>
                      <a:lnTo>
                        <a:pt x="17" y="216"/>
                      </a:lnTo>
                      <a:lnTo>
                        <a:pt x="14" y="213"/>
                      </a:lnTo>
                      <a:lnTo>
                        <a:pt x="14" y="211"/>
                      </a:lnTo>
                      <a:lnTo>
                        <a:pt x="12" y="211"/>
                      </a:lnTo>
                      <a:lnTo>
                        <a:pt x="12" y="209"/>
                      </a:lnTo>
                      <a:lnTo>
                        <a:pt x="10" y="204"/>
                      </a:lnTo>
                      <a:lnTo>
                        <a:pt x="10" y="204"/>
                      </a:lnTo>
                      <a:lnTo>
                        <a:pt x="7" y="202"/>
                      </a:lnTo>
                      <a:lnTo>
                        <a:pt x="7" y="199"/>
                      </a:lnTo>
                      <a:lnTo>
                        <a:pt x="5" y="199"/>
                      </a:lnTo>
                      <a:lnTo>
                        <a:pt x="5" y="197"/>
                      </a:lnTo>
                      <a:lnTo>
                        <a:pt x="7" y="195"/>
                      </a:lnTo>
                      <a:lnTo>
                        <a:pt x="5" y="195"/>
                      </a:lnTo>
                      <a:lnTo>
                        <a:pt x="5" y="192"/>
                      </a:lnTo>
                      <a:lnTo>
                        <a:pt x="7" y="190"/>
                      </a:lnTo>
                      <a:lnTo>
                        <a:pt x="7" y="190"/>
                      </a:lnTo>
                      <a:lnTo>
                        <a:pt x="5" y="187"/>
                      </a:lnTo>
                      <a:lnTo>
                        <a:pt x="7" y="187"/>
                      </a:lnTo>
                      <a:lnTo>
                        <a:pt x="5" y="187"/>
                      </a:lnTo>
                      <a:lnTo>
                        <a:pt x="5" y="190"/>
                      </a:lnTo>
                      <a:lnTo>
                        <a:pt x="7" y="190"/>
                      </a:lnTo>
                      <a:lnTo>
                        <a:pt x="5" y="192"/>
                      </a:lnTo>
                      <a:lnTo>
                        <a:pt x="5" y="190"/>
                      </a:lnTo>
                      <a:lnTo>
                        <a:pt x="5" y="187"/>
                      </a:lnTo>
                      <a:lnTo>
                        <a:pt x="3" y="187"/>
                      </a:lnTo>
                      <a:lnTo>
                        <a:pt x="3" y="185"/>
                      </a:lnTo>
                      <a:lnTo>
                        <a:pt x="0" y="183"/>
                      </a:lnTo>
                      <a:lnTo>
                        <a:pt x="0" y="178"/>
                      </a:lnTo>
                      <a:lnTo>
                        <a:pt x="3" y="178"/>
                      </a:lnTo>
                      <a:lnTo>
                        <a:pt x="3" y="178"/>
                      </a:lnTo>
                      <a:lnTo>
                        <a:pt x="3" y="178"/>
                      </a:lnTo>
                      <a:close/>
                      <a:moveTo>
                        <a:pt x="69" y="171"/>
                      </a:moveTo>
                      <a:lnTo>
                        <a:pt x="71" y="173"/>
                      </a:lnTo>
                      <a:lnTo>
                        <a:pt x="71" y="176"/>
                      </a:lnTo>
                      <a:lnTo>
                        <a:pt x="71" y="173"/>
                      </a:lnTo>
                      <a:lnTo>
                        <a:pt x="73" y="171"/>
                      </a:lnTo>
                      <a:lnTo>
                        <a:pt x="73" y="168"/>
                      </a:lnTo>
                      <a:lnTo>
                        <a:pt x="71" y="168"/>
                      </a:lnTo>
                      <a:lnTo>
                        <a:pt x="69" y="171"/>
                      </a:lnTo>
                      <a:lnTo>
                        <a:pt x="69" y="171"/>
                      </a:lnTo>
                      <a:close/>
                      <a:moveTo>
                        <a:pt x="3" y="192"/>
                      </a:moveTo>
                      <a:lnTo>
                        <a:pt x="3" y="195"/>
                      </a:lnTo>
                      <a:lnTo>
                        <a:pt x="5" y="195"/>
                      </a:lnTo>
                      <a:lnTo>
                        <a:pt x="5" y="192"/>
                      </a:lnTo>
                      <a:lnTo>
                        <a:pt x="3" y="192"/>
                      </a:lnTo>
                      <a:lnTo>
                        <a:pt x="3" y="192"/>
                      </a:lnTo>
                      <a:close/>
                      <a:moveTo>
                        <a:pt x="78" y="185"/>
                      </a:moveTo>
                      <a:lnTo>
                        <a:pt x="81" y="187"/>
                      </a:lnTo>
                      <a:lnTo>
                        <a:pt x="81" y="185"/>
                      </a:lnTo>
                      <a:lnTo>
                        <a:pt x="81" y="185"/>
                      </a:lnTo>
                      <a:lnTo>
                        <a:pt x="78" y="185"/>
                      </a:lnTo>
                      <a:lnTo>
                        <a:pt x="78" y="185"/>
                      </a:lnTo>
                      <a:close/>
                      <a:moveTo>
                        <a:pt x="81" y="195"/>
                      </a:moveTo>
                      <a:lnTo>
                        <a:pt x="81" y="197"/>
                      </a:lnTo>
                      <a:lnTo>
                        <a:pt x="81" y="195"/>
                      </a:lnTo>
                      <a:lnTo>
                        <a:pt x="83" y="195"/>
                      </a:lnTo>
                      <a:lnTo>
                        <a:pt x="83" y="195"/>
                      </a:lnTo>
                      <a:lnTo>
                        <a:pt x="81" y="195"/>
                      </a:lnTo>
                      <a:lnTo>
                        <a:pt x="81" y="195"/>
                      </a:lnTo>
                      <a:lnTo>
                        <a:pt x="81" y="195"/>
                      </a:lnTo>
                      <a:close/>
                      <a:moveTo>
                        <a:pt x="71" y="211"/>
                      </a:moveTo>
                      <a:lnTo>
                        <a:pt x="73" y="211"/>
                      </a:lnTo>
                      <a:lnTo>
                        <a:pt x="76" y="209"/>
                      </a:lnTo>
                      <a:lnTo>
                        <a:pt x="73" y="209"/>
                      </a:lnTo>
                      <a:lnTo>
                        <a:pt x="73" y="206"/>
                      </a:lnTo>
                      <a:lnTo>
                        <a:pt x="78" y="206"/>
                      </a:lnTo>
                      <a:lnTo>
                        <a:pt x="78" y="204"/>
                      </a:lnTo>
                      <a:lnTo>
                        <a:pt x="78" y="202"/>
                      </a:lnTo>
                      <a:lnTo>
                        <a:pt x="78" y="202"/>
                      </a:lnTo>
                      <a:lnTo>
                        <a:pt x="78" y="199"/>
                      </a:lnTo>
                      <a:lnTo>
                        <a:pt x="78" y="199"/>
                      </a:lnTo>
                      <a:lnTo>
                        <a:pt x="78" y="197"/>
                      </a:lnTo>
                      <a:lnTo>
                        <a:pt x="78" y="197"/>
                      </a:lnTo>
                      <a:lnTo>
                        <a:pt x="78" y="197"/>
                      </a:lnTo>
                      <a:lnTo>
                        <a:pt x="76" y="197"/>
                      </a:lnTo>
                      <a:lnTo>
                        <a:pt x="73" y="197"/>
                      </a:lnTo>
                      <a:lnTo>
                        <a:pt x="73" y="199"/>
                      </a:lnTo>
                      <a:lnTo>
                        <a:pt x="71" y="199"/>
                      </a:lnTo>
                      <a:lnTo>
                        <a:pt x="71" y="202"/>
                      </a:lnTo>
                      <a:lnTo>
                        <a:pt x="71" y="204"/>
                      </a:lnTo>
                      <a:lnTo>
                        <a:pt x="71" y="204"/>
                      </a:lnTo>
                      <a:lnTo>
                        <a:pt x="73" y="206"/>
                      </a:lnTo>
                      <a:lnTo>
                        <a:pt x="73" y="206"/>
                      </a:lnTo>
                      <a:lnTo>
                        <a:pt x="73" y="209"/>
                      </a:lnTo>
                      <a:lnTo>
                        <a:pt x="71" y="211"/>
                      </a:lnTo>
                      <a:lnTo>
                        <a:pt x="71" y="211"/>
                      </a:lnTo>
                      <a:lnTo>
                        <a:pt x="71" y="211"/>
                      </a:lnTo>
                      <a:close/>
                      <a:moveTo>
                        <a:pt x="55" y="218"/>
                      </a:moveTo>
                      <a:lnTo>
                        <a:pt x="55" y="218"/>
                      </a:lnTo>
                      <a:lnTo>
                        <a:pt x="55" y="221"/>
                      </a:lnTo>
                      <a:lnTo>
                        <a:pt x="57" y="221"/>
                      </a:lnTo>
                      <a:lnTo>
                        <a:pt x="57" y="221"/>
                      </a:lnTo>
                      <a:lnTo>
                        <a:pt x="57" y="216"/>
                      </a:lnTo>
                      <a:lnTo>
                        <a:pt x="59" y="213"/>
                      </a:lnTo>
                      <a:lnTo>
                        <a:pt x="59" y="209"/>
                      </a:lnTo>
                      <a:lnTo>
                        <a:pt x="59" y="206"/>
                      </a:lnTo>
                      <a:lnTo>
                        <a:pt x="59" y="204"/>
                      </a:lnTo>
                      <a:lnTo>
                        <a:pt x="57" y="206"/>
                      </a:lnTo>
                      <a:lnTo>
                        <a:pt x="57" y="209"/>
                      </a:lnTo>
                      <a:lnTo>
                        <a:pt x="57" y="211"/>
                      </a:lnTo>
                      <a:lnTo>
                        <a:pt x="55" y="211"/>
                      </a:lnTo>
                      <a:lnTo>
                        <a:pt x="55" y="218"/>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1" name="Freeform 45">
                  <a:extLst>
                    <a:ext uri="{FF2B5EF4-FFF2-40B4-BE49-F238E27FC236}">
                      <a16:creationId xmlns:a16="http://schemas.microsoft.com/office/drawing/2014/main" id="{EE5559A6-A54C-814D-90EE-0B912A69E11A}"/>
                    </a:ext>
                  </a:extLst>
                </p:cNvPr>
                <p:cNvSpPr>
                  <a:spLocks noEditPoints="1"/>
                </p:cNvSpPr>
                <p:nvPr/>
              </p:nvSpPr>
              <p:spPr bwMode="auto">
                <a:xfrm>
                  <a:off x="2834" y="1711"/>
                  <a:ext cx="113" cy="185"/>
                </a:xfrm>
                <a:custGeom>
                  <a:avLst/>
                  <a:gdLst>
                    <a:gd name="T0" fmla="*/ 43 w 48"/>
                    <a:gd name="T1" fmla="*/ 64 h 78"/>
                    <a:gd name="T2" fmla="*/ 44 w 48"/>
                    <a:gd name="T3" fmla="*/ 52 h 78"/>
                    <a:gd name="T4" fmla="*/ 41 w 48"/>
                    <a:gd name="T5" fmla="*/ 44 h 78"/>
                    <a:gd name="T6" fmla="*/ 39 w 48"/>
                    <a:gd name="T7" fmla="*/ 39 h 78"/>
                    <a:gd name="T8" fmla="*/ 38 w 48"/>
                    <a:gd name="T9" fmla="*/ 30 h 78"/>
                    <a:gd name="T10" fmla="*/ 36 w 48"/>
                    <a:gd name="T11" fmla="*/ 19 h 78"/>
                    <a:gd name="T12" fmla="*/ 31 w 48"/>
                    <a:gd name="T13" fmla="*/ 15 h 78"/>
                    <a:gd name="T14" fmla="*/ 30 w 48"/>
                    <a:gd name="T15" fmla="*/ 9 h 78"/>
                    <a:gd name="T16" fmla="*/ 31 w 48"/>
                    <a:gd name="T17" fmla="*/ 3 h 78"/>
                    <a:gd name="T18" fmla="*/ 23 w 48"/>
                    <a:gd name="T19" fmla="*/ 0 h 78"/>
                    <a:gd name="T20" fmla="*/ 20 w 48"/>
                    <a:gd name="T21" fmla="*/ 2 h 78"/>
                    <a:gd name="T22" fmla="*/ 19 w 48"/>
                    <a:gd name="T23" fmla="*/ 8 h 78"/>
                    <a:gd name="T24" fmla="*/ 16 w 48"/>
                    <a:gd name="T25" fmla="*/ 11 h 78"/>
                    <a:gd name="T26" fmla="*/ 10 w 48"/>
                    <a:gd name="T27" fmla="*/ 12 h 78"/>
                    <a:gd name="T28" fmla="*/ 2 w 48"/>
                    <a:gd name="T29" fmla="*/ 7 h 78"/>
                    <a:gd name="T30" fmla="*/ 0 w 48"/>
                    <a:gd name="T31" fmla="*/ 9 h 78"/>
                    <a:gd name="T32" fmla="*/ 6 w 48"/>
                    <a:gd name="T33" fmla="*/ 14 h 78"/>
                    <a:gd name="T34" fmla="*/ 10 w 48"/>
                    <a:gd name="T35" fmla="*/ 16 h 78"/>
                    <a:gd name="T36" fmla="*/ 11 w 48"/>
                    <a:gd name="T37" fmla="*/ 21 h 78"/>
                    <a:gd name="T38" fmla="*/ 13 w 48"/>
                    <a:gd name="T39" fmla="*/ 25 h 78"/>
                    <a:gd name="T40" fmla="*/ 14 w 48"/>
                    <a:gd name="T41" fmla="*/ 31 h 78"/>
                    <a:gd name="T42" fmla="*/ 17 w 48"/>
                    <a:gd name="T43" fmla="*/ 35 h 78"/>
                    <a:gd name="T44" fmla="*/ 21 w 48"/>
                    <a:gd name="T45" fmla="*/ 39 h 78"/>
                    <a:gd name="T46" fmla="*/ 22 w 48"/>
                    <a:gd name="T47" fmla="*/ 42 h 78"/>
                    <a:gd name="T48" fmla="*/ 17 w 48"/>
                    <a:gd name="T49" fmla="*/ 44 h 78"/>
                    <a:gd name="T50" fmla="*/ 14 w 48"/>
                    <a:gd name="T51" fmla="*/ 47 h 78"/>
                    <a:gd name="T52" fmla="*/ 13 w 48"/>
                    <a:gd name="T53" fmla="*/ 51 h 78"/>
                    <a:gd name="T54" fmla="*/ 10 w 48"/>
                    <a:gd name="T55" fmla="*/ 52 h 78"/>
                    <a:gd name="T56" fmla="*/ 9 w 48"/>
                    <a:gd name="T57" fmla="*/ 54 h 78"/>
                    <a:gd name="T58" fmla="*/ 7 w 48"/>
                    <a:gd name="T59" fmla="*/ 55 h 78"/>
                    <a:gd name="T60" fmla="*/ 7 w 48"/>
                    <a:gd name="T61" fmla="*/ 58 h 78"/>
                    <a:gd name="T62" fmla="*/ 7 w 48"/>
                    <a:gd name="T63" fmla="*/ 61 h 78"/>
                    <a:gd name="T64" fmla="*/ 9 w 48"/>
                    <a:gd name="T65" fmla="*/ 66 h 78"/>
                    <a:gd name="T66" fmla="*/ 8 w 48"/>
                    <a:gd name="T67" fmla="*/ 71 h 78"/>
                    <a:gd name="T68" fmla="*/ 12 w 48"/>
                    <a:gd name="T69" fmla="*/ 73 h 78"/>
                    <a:gd name="T70" fmla="*/ 15 w 48"/>
                    <a:gd name="T71" fmla="*/ 74 h 78"/>
                    <a:gd name="T72" fmla="*/ 17 w 48"/>
                    <a:gd name="T73" fmla="*/ 77 h 78"/>
                    <a:gd name="T74" fmla="*/ 20 w 48"/>
                    <a:gd name="T75" fmla="*/ 76 h 78"/>
                    <a:gd name="T76" fmla="*/ 26 w 48"/>
                    <a:gd name="T77" fmla="*/ 74 h 78"/>
                    <a:gd name="T78" fmla="*/ 28 w 48"/>
                    <a:gd name="T79" fmla="*/ 73 h 78"/>
                    <a:gd name="T80" fmla="*/ 30 w 48"/>
                    <a:gd name="T81" fmla="*/ 73 h 78"/>
                    <a:gd name="T82" fmla="*/ 33 w 48"/>
                    <a:gd name="T83" fmla="*/ 72 h 78"/>
                    <a:gd name="T84" fmla="*/ 36 w 48"/>
                    <a:gd name="T85" fmla="*/ 72 h 78"/>
                    <a:gd name="T86" fmla="*/ 18 w 48"/>
                    <a:gd name="T87" fmla="*/ 41 h 78"/>
                    <a:gd name="T88" fmla="*/ 20 w 48"/>
                    <a:gd name="T89" fmla="*/ 40 h 78"/>
                    <a:gd name="T90" fmla="*/ 6 w 48"/>
                    <a:gd name="T91" fmla="*/ 53 h 78"/>
                    <a:gd name="T92" fmla="*/ 6 w 48"/>
                    <a:gd name="T93" fmla="*/ 53 h 78"/>
                    <a:gd name="T94" fmla="*/ 16 w 48"/>
                    <a:gd name="T95" fmla="*/ 76 h 78"/>
                    <a:gd name="T96" fmla="*/ 14 w 48"/>
                    <a:gd name="T97" fmla="*/ 74 h 78"/>
                    <a:gd name="T98" fmla="*/ 12 w 48"/>
                    <a:gd name="T99" fmla="*/ 73 h 78"/>
                    <a:gd name="T100" fmla="*/ 9 w 48"/>
                    <a:gd name="T101" fmla="*/ 73 h 78"/>
                    <a:gd name="T102" fmla="*/ 3 w 48"/>
                    <a:gd name="T103" fmla="*/ 73 h 78"/>
                    <a:gd name="T104" fmla="*/ 4 w 48"/>
                    <a:gd name="T105" fmla="*/ 76 h 78"/>
                    <a:gd name="T106" fmla="*/ 2 w 48"/>
                    <a:gd name="T107" fmla="*/ 75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8" h="78">
                      <a:moveTo>
                        <a:pt x="38" y="72"/>
                      </a:moveTo>
                      <a:cubicBezTo>
                        <a:pt x="37" y="71"/>
                        <a:pt x="37" y="71"/>
                        <a:pt x="37" y="71"/>
                      </a:cubicBezTo>
                      <a:cubicBezTo>
                        <a:pt x="40" y="69"/>
                        <a:pt x="40" y="69"/>
                        <a:pt x="40" y="69"/>
                      </a:cubicBezTo>
                      <a:cubicBezTo>
                        <a:pt x="41" y="68"/>
                        <a:pt x="41" y="68"/>
                        <a:pt x="41" y="68"/>
                      </a:cubicBezTo>
                      <a:cubicBezTo>
                        <a:pt x="42" y="66"/>
                        <a:pt x="42" y="66"/>
                        <a:pt x="42" y="66"/>
                      </a:cubicBezTo>
                      <a:cubicBezTo>
                        <a:pt x="43" y="64"/>
                        <a:pt x="43" y="64"/>
                        <a:pt x="43" y="64"/>
                      </a:cubicBezTo>
                      <a:cubicBezTo>
                        <a:pt x="44" y="62"/>
                        <a:pt x="44" y="62"/>
                        <a:pt x="44" y="62"/>
                      </a:cubicBezTo>
                      <a:cubicBezTo>
                        <a:pt x="46" y="59"/>
                        <a:pt x="46" y="59"/>
                        <a:pt x="46" y="59"/>
                      </a:cubicBezTo>
                      <a:cubicBezTo>
                        <a:pt x="48" y="56"/>
                        <a:pt x="48" y="56"/>
                        <a:pt x="48" y="56"/>
                      </a:cubicBezTo>
                      <a:cubicBezTo>
                        <a:pt x="47" y="55"/>
                        <a:pt x="47" y="55"/>
                        <a:pt x="47" y="55"/>
                      </a:cubicBezTo>
                      <a:cubicBezTo>
                        <a:pt x="45" y="53"/>
                        <a:pt x="45" y="53"/>
                        <a:pt x="45" y="53"/>
                      </a:cubicBezTo>
                      <a:cubicBezTo>
                        <a:pt x="44" y="52"/>
                        <a:pt x="44" y="52"/>
                        <a:pt x="44" y="52"/>
                      </a:cubicBezTo>
                      <a:cubicBezTo>
                        <a:pt x="42" y="49"/>
                        <a:pt x="42" y="49"/>
                        <a:pt x="42" y="49"/>
                      </a:cubicBezTo>
                      <a:cubicBezTo>
                        <a:pt x="42" y="48"/>
                        <a:pt x="42" y="48"/>
                        <a:pt x="42" y="48"/>
                      </a:cubicBezTo>
                      <a:cubicBezTo>
                        <a:pt x="43" y="47"/>
                        <a:pt x="43" y="47"/>
                        <a:pt x="43" y="47"/>
                      </a:cubicBezTo>
                      <a:cubicBezTo>
                        <a:pt x="43" y="46"/>
                        <a:pt x="43" y="46"/>
                        <a:pt x="43" y="46"/>
                      </a:cubicBezTo>
                      <a:cubicBezTo>
                        <a:pt x="41" y="45"/>
                        <a:pt x="41" y="45"/>
                        <a:pt x="41" y="45"/>
                      </a:cubicBezTo>
                      <a:cubicBezTo>
                        <a:pt x="41" y="44"/>
                        <a:pt x="41" y="44"/>
                        <a:pt x="41" y="44"/>
                      </a:cubicBezTo>
                      <a:cubicBezTo>
                        <a:pt x="41" y="42"/>
                        <a:pt x="41" y="42"/>
                        <a:pt x="41" y="42"/>
                      </a:cubicBezTo>
                      <a:cubicBezTo>
                        <a:pt x="41" y="42"/>
                        <a:pt x="41" y="42"/>
                        <a:pt x="41" y="42"/>
                      </a:cubicBezTo>
                      <a:cubicBezTo>
                        <a:pt x="41" y="41"/>
                        <a:pt x="41" y="41"/>
                        <a:pt x="41" y="41"/>
                      </a:cubicBezTo>
                      <a:cubicBezTo>
                        <a:pt x="40" y="41"/>
                        <a:pt x="40" y="41"/>
                        <a:pt x="40" y="41"/>
                      </a:cubicBezTo>
                      <a:cubicBezTo>
                        <a:pt x="39" y="40"/>
                        <a:pt x="39" y="40"/>
                        <a:pt x="39" y="40"/>
                      </a:cubicBezTo>
                      <a:cubicBezTo>
                        <a:pt x="39" y="39"/>
                        <a:pt x="39" y="39"/>
                        <a:pt x="39" y="39"/>
                      </a:cubicBezTo>
                      <a:cubicBezTo>
                        <a:pt x="40" y="38"/>
                        <a:pt x="40" y="38"/>
                        <a:pt x="40" y="38"/>
                      </a:cubicBezTo>
                      <a:cubicBezTo>
                        <a:pt x="39" y="38"/>
                        <a:pt x="39" y="38"/>
                        <a:pt x="39" y="38"/>
                      </a:cubicBezTo>
                      <a:cubicBezTo>
                        <a:pt x="39" y="37"/>
                        <a:pt x="39" y="37"/>
                        <a:pt x="39" y="37"/>
                      </a:cubicBezTo>
                      <a:cubicBezTo>
                        <a:pt x="39" y="34"/>
                        <a:pt x="39" y="34"/>
                        <a:pt x="39" y="34"/>
                      </a:cubicBezTo>
                      <a:cubicBezTo>
                        <a:pt x="40" y="34"/>
                        <a:pt x="40" y="34"/>
                        <a:pt x="40" y="34"/>
                      </a:cubicBezTo>
                      <a:cubicBezTo>
                        <a:pt x="38" y="30"/>
                        <a:pt x="38" y="30"/>
                        <a:pt x="38" y="30"/>
                      </a:cubicBezTo>
                      <a:cubicBezTo>
                        <a:pt x="36" y="26"/>
                        <a:pt x="36" y="26"/>
                        <a:pt x="36" y="26"/>
                      </a:cubicBezTo>
                      <a:cubicBezTo>
                        <a:pt x="35" y="25"/>
                        <a:pt x="35" y="25"/>
                        <a:pt x="35" y="25"/>
                      </a:cubicBezTo>
                      <a:cubicBezTo>
                        <a:pt x="34" y="24"/>
                        <a:pt x="34" y="24"/>
                        <a:pt x="34" y="24"/>
                      </a:cubicBezTo>
                      <a:cubicBezTo>
                        <a:pt x="35" y="22"/>
                        <a:pt x="35" y="22"/>
                        <a:pt x="35" y="22"/>
                      </a:cubicBezTo>
                      <a:cubicBezTo>
                        <a:pt x="36" y="21"/>
                        <a:pt x="36" y="21"/>
                        <a:pt x="36" y="21"/>
                      </a:cubicBezTo>
                      <a:cubicBezTo>
                        <a:pt x="36" y="19"/>
                        <a:pt x="36" y="19"/>
                        <a:pt x="36" y="19"/>
                      </a:cubicBezTo>
                      <a:cubicBezTo>
                        <a:pt x="36" y="19"/>
                        <a:pt x="36" y="19"/>
                        <a:pt x="36" y="19"/>
                      </a:cubicBezTo>
                      <a:cubicBezTo>
                        <a:pt x="34" y="17"/>
                        <a:pt x="34" y="17"/>
                        <a:pt x="34" y="17"/>
                      </a:cubicBezTo>
                      <a:cubicBezTo>
                        <a:pt x="33" y="17"/>
                        <a:pt x="33" y="17"/>
                        <a:pt x="33" y="17"/>
                      </a:cubicBezTo>
                      <a:cubicBezTo>
                        <a:pt x="33" y="16"/>
                        <a:pt x="33" y="16"/>
                        <a:pt x="33" y="16"/>
                      </a:cubicBezTo>
                      <a:cubicBezTo>
                        <a:pt x="31" y="15"/>
                        <a:pt x="31" y="15"/>
                        <a:pt x="31" y="15"/>
                      </a:cubicBezTo>
                      <a:cubicBezTo>
                        <a:pt x="31" y="15"/>
                        <a:pt x="31" y="15"/>
                        <a:pt x="31" y="15"/>
                      </a:cubicBezTo>
                      <a:cubicBezTo>
                        <a:pt x="30" y="13"/>
                        <a:pt x="30" y="13"/>
                        <a:pt x="30" y="13"/>
                      </a:cubicBezTo>
                      <a:cubicBezTo>
                        <a:pt x="29" y="12"/>
                        <a:pt x="29" y="12"/>
                        <a:pt x="29" y="12"/>
                      </a:cubicBezTo>
                      <a:cubicBezTo>
                        <a:pt x="29" y="11"/>
                        <a:pt x="29" y="11"/>
                        <a:pt x="29" y="11"/>
                      </a:cubicBezTo>
                      <a:cubicBezTo>
                        <a:pt x="30" y="10"/>
                        <a:pt x="30" y="10"/>
                        <a:pt x="30" y="10"/>
                      </a:cubicBezTo>
                      <a:cubicBezTo>
                        <a:pt x="29" y="9"/>
                        <a:pt x="29" y="9"/>
                        <a:pt x="29" y="9"/>
                      </a:cubicBezTo>
                      <a:cubicBezTo>
                        <a:pt x="30" y="9"/>
                        <a:pt x="30" y="9"/>
                        <a:pt x="30" y="9"/>
                      </a:cubicBezTo>
                      <a:cubicBezTo>
                        <a:pt x="31" y="8"/>
                        <a:pt x="31" y="8"/>
                        <a:pt x="31" y="8"/>
                      </a:cubicBezTo>
                      <a:cubicBezTo>
                        <a:pt x="31" y="7"/>
                        <a:pt x="31" y="7"/>
                        <a:pt x="31" y="7"/>
                      </a:cubicBezTo>
                      <a:cubicBezTo>
                        <a:pt x="32" y="5"/>
                        <a:pt x="32" y="5"/>
                        <a:pt x="32" y="5"/>
                      </a:cubicBezTo>
                      <a:cubicBezTo>
                        <a:pt x="32" y="5"/>
                        <a:pt x="32" y="5"/>
                        <a:pt x="32" y="5"/>
                      </a:cubicBezTo>
                      <a:cubicBezTo>
                        <a:pt x="31" y="4"/>
                        <a:pt x="31" y="4"/>
                        <a:pt x="31" y="4"/>
                      </a:cubicBezTo>
                      <a:cubicBezTo>
                        <a:pt x="31" y="3"/>
                        <a:pt x="31" y="3"/>
                        <a:pt x="31" y="3"/>
                      </a:cubicBezTo>
                      <a:cubicBezTo>
                        <a:pt x="29" y="3"/>
                        <a:pt x="29" y="3"/>
                        <a:pt x="29" y="3"/>
                      </a:cubicBezTo>
                      <a:cubicBezTo>
                        <a:pt x="28" y="2"/>
                        <a:pt x="28" y="2"/>
                        <a:pt x="28" y="2"/>
                      </a:cubicBezTo>
                      <a:cubicBezTo>
                        <a:pt x="27" y="2"/>
                        <a:pt x="27" y="2"/>
                        <a:pt x="27" y="2"/>
                      </a:cubicBezTo>
                      <a:cubicBezTo>
                        <a:pt x="26" y="1"/>
                        <a:pt x="26" y="1"/>
                        <a:pt x="26" y="1"/>
                      </a:cubicBezTo>
                      <a:cubicBezTo>
                        <a:pt x="25" y="0"/>
                        <a:pt x="25" y="0"/>
                        <a:pt x="25" y="0"/>
                      </a:cubicBezTo>
                      <a:cubicBezTo>
                        <a:pt x="23" y="0"/>
                        <a:pt x="23" y="0"/>
                        <a:pt x="23" y="0"/>
                      </a:cubicBezTo>
                      <a:cubicBezTo>
                        <a:pt x="22" y="1"/>
                        <a:pt x="22" y="1"/>
                        <a:pt x="22" y="1"/>
                      </a:cubicBezTo>
                      <a:cubicBezTo>
                        <a:pt x="22" y="1"/>
                        <a:pt x="22" y="1"/>
                        <a:pt x="22" y="1"/>
                      </a:cubicBezTo>
                      <a:cubicBezTo>
                        <a:pt x="22" y="1"/>
                        <a:pt x="22" y="1"/>
                        <a:pt x="22" y="1"/>
                      </a:cubicBezTo>
                      <a:cubicBezTo>
                        <a:pt x="20" y="1"/>
                        <a:pt x="20" y="1"/>
                        <a:pt x="20" y="1"/>
                      </a:cubicBezTo>
                      <a:cubicBezTo>
                        <a:pt x="19" y="1"/>
                        <a:pt x="19" y="1"/>
                        <a:pt x="19" y="1"/>
                      </a:cubicBezTo>
                      <a:cubicBezTo>
                        <a:pt x="20" y="2"/>
                        <a:pt x="20" y="2"/>
                        <a:pt x="20" y="2"/>
                      </a:cubicBezTo>
                      <a:cubicBezTo>
                        <a:pt x="19" y="3"/>
                        <a:pt x="19" y="3"/>
                        <a:pt x="19" y="3"/>
                      </a:cubicBezTo>
                      <a:cubicBezTo>
                        <a:pt x="18" y="3"/>
                        <a:pt x="18" y="3"/>
                        <a:pt x="18" y="3"/>
                      </a:cubicBezTo>
                      <a:cubicBezTo>
                        <a:pt x="19" y="4"/>
                        <a:pt x="19" y="4"/>
                        <a:pt x="19" y="4"/>
                      </a:cubicBezTo>
                      <a:cubicBezTo>
                        <a:pt x="18" y="5"/>
                        <a:pt x="18" y="5"/>
                        <a:pt x="18" y="5"/>
                      </a:cubicBezTo>
                      <a:cubicBezTo>
                        <a:pt x="18" y="7"/>
                        <a:pt x="18" y="7"/>
                        <a:pt x="18" y="7"/>
                      </a:cubicBezTo>
                      <a:cubicBezTo>
                        <a:pt x="19" y="8"/>
                        <a:pt x="19" y="8"/>
                        <a:pt x="19" y="8"/>
                      </a:cubicBezTo>
                      <a:cubicBezTo>
                        <a:pt x="19" y="9"/>
                        <a:pt x="19" y="9"/>
                        <a:pt x="19" y="9"/>
                      </a:cubicBezTo>
                      <a:cubicBezTo>
                        <a:pt x="19" y="9"/>
                        <a:pt x="19" y="9"/>
                        <a:pt x="19" y="9"/>
                      </a:cubicBezTo>
                      <a:cubicBezTo>
                        <a:pt x="18" y="10"/>
                        <a:pt x="18" y="10"/>
                        <a:pt x="18" y="10"/>
                      </a:cubicBezTo>
                      <a:cubicBezTo>
                        <a:pt x="17" y="10"/>
                        <a:pt x="17" y="10"/>
                        <a:pt x="17" y="10"/>
                      </a:cubicBezTo>
                      <a:cubicBezTo>
                        <a:pt x="16" y="10"/>
                        <a:pt x="16" y="10"/>
                        <a:pt x="16" y="10"/>
                      </a:cubicBezTo>
                      <a:cubicBezTo>
                        <a:pt x="16" y="11"/>
                        <a:pt x="16" y="11"/>
                        <a:pt x="16" y="11"/>
                      </a:cubicBezTo>
                      <a:cubicBezTo>
                        <a:pt x="15" y="12"/>
                        <a:pt x="15" y="12"/>
                        <a:pt x="15" y="12"/>
                      </a:cubicBezTo>
                      <a:cubicBezTo>
                        <a:pt x="14" y="12"/>
                        <a:pt x="14" y="12"/>
                        <a:pt x="14" y="12"/>
                      </a:cubicBezTo>
                      <a:cubicBezTo>
                        <a:pt x="12" y="11"/>
                        <a:pt x="12" y="11"/>
                        <a:pt x="12" y="11"/>
                      </a:cubicBezTo>
                      <a:cubicBezTo>
                        <a:pt x="11" y="11"/>
                        <a:pt x="11" y="11"/>
                        <a:pt x="11" y="11"/>
                      </a:cubicBezTo>
                      <a:cubicBezTo>
                        <a:pt x="11" y="11"/>
                        <a:pt x="11" y="11"/>
                        <a:pt x="11" y="11"/>
                      </a:cubicBezTo>
                      <a:cubicBezTo>
                        <a:pt x="10" y="12"/>
                        <a:pt x="10" y="12"/>
                        <a:pt x="10" y="12"/>
                      </a:cubicBezTo>
                      <a:cubicBezTo>
                        <a:pt x="7" y="12"/>
                        <a:pt x="7" y="12"/>
                        <a:pt x="7" y="12"/>
                      </a:cubicBezTo>
                      <a:cubicBezTo>
                        <a:pt x="6" y="12"/>
                        <a:pt x="6" y="12"/>
                        <a:pt x="6" y="12"/>
                      </a:cubicBezTo>
                      <a:cubicBezTo>
                        <a:pt x="5" y="11"/>
                        <a:pt x="5" y="11"/>
                        <a:pt x="5" y="11"/>
                      </a:cubicBezTo>
                      <a:cubicBezTo>
                        <a:pt x="5" y="10"/>
                        <a:pt x="5" y="10"/>
                        <a:pt x="5" y="10"/>
                      </a:cubicBezTo>
                      <a:cubicBezTo>
                        <a:pt x="3" y="8"/>
                        <a:pt x="3" y="8"/>
                        <a:pt x="3" y="8"/>
                      </a:cubicBezTo>
                      <a:cubicBezTo>
                        <a:pt x="2" y="7"/>
                        <a:pt x="2" y="7"/>
                        <a:pt x="2" y="7"/>
                      </a:cubicBezTo>
                      <a:cubicBezTo>
                        <a:pt x="1" y="7"/>
                        <a:pt x="1" y="7"/>
                        <a:pt x="1" y="7"/>
                      </a:cubicBezTo>
                      <a:cubicBezTo>
                        <a:pt x="0" y="8"/>
                        <a:pt x="0" y="8"/>
                        <a:pt x="0" y="8"/>
                      </a:cubicBezTo>
                      <a:cubicBezTo>
                        <a:pt x="0" y="8"/>
                        <a:pt x="0" y="8"/>
                        <a:pt x="0" y="8"/>
                      </a:cubicBezTo>
                      <a:cubicBezTo>
                        <a:pt x="1" y="9"/>
                        <a:pt x="1" y="9"/>
                        <a:pt x="1" y="9"/>
                      </a:cubicBezTo>
                      <a:cubicBezTo>
                        <a:pt x="0" y="9"/>
                        <a:pt x="0" y="9"/>
                        <a:pt x="0" y="9"/>
                      </a:cubicBezTo>
                      <a:cubicBezTo>
                        <a:pt x="0" y="9"/>
                        <a:pt x="0" y="9"/>
                        <a:pt x="0" y="9"/>
                      </a:cubicBezTo>
                      <a:cubicBezTo>
                        <a:pt x="0" y="9"/>
                        <a:pt x="0" y="9"/>
                        <a:pt x="0" y="9"/>
                      </a:cubicBezTo>
                      <a:cubicBezTo>
                        <a:pt x="0" y="10"/>
                        <a:pt x="0" y="10"/>
                        <a:pt x="0" y="10"/>
                      </a:cubicBezTo>
                      <a:cubicBezTo>
                        <a:pt x="2" y="11"/>
                        <a:pt x="2" y="11"/>
                        <a:pt x="2" y="11"/>
                      </a:cubicBezTo>
                      <a:cubicBezTo>
                        <a:pt x="3" y="13"/>
                        <a:pt x="3" y="13"/>
                        <a:pt x="3" y="13"/>
                      </a:cubicBezTo>
                      <a:cubicBezTo>
                        <a:pt x="5" y="13"/>
                        <a:pt x="5" y="13"/>
                        <a:pt x="5" y="13"/>
                      </a:cubicBezTo>
                      <a:cubicBezTo>
                        <a:pt x="6" y="14"/>
                        <a:pt x="6" y="14"/>
                        <a:pt x="6" y="14"/>
                      </a:cubicBezTo>
                      <a:cubicBezTo>
                        <a:pt x="7" y="14"/>
                        <a:pt x="7" y="14"/>
                        <a:pt x="7" y="14"/>
                      </a:cubicBezTo>
                      <a:cubicBezTo>
                        <a:pt x="8" y="14"/>
                        <a:pt x="8" y="14"/>
                        <a:pt x="8" y="14"/>
                      </a:cubicBezTo>
                      <a:cubicBezTo>
                        <a:pt x="9" y="15"/>
                        <a:pt x="9" y="15"/>
                        <a:pt x="9" y="15"/>
                      </a:cubicBezTo>
                      <a:cubicBezTo>
                        <a:pt x="9" y="16"/>
                        <a:pt x="9" y="16"/>
                        <a:pt x="9" y="16"/>
                      </a:cubicBezTo>
                      <a:cubicBezTo>
                        <a:pt x="10" y="16"/>
                        <a:pt x="10" y="16"/>
                        <a:pt x="10" y="16"/>
                      </a:cubicBezTo>
                      <a:cubicBezTo>
                        <a:pt x="10" y="16"/>
                        <a:pt x="10" y="16"/>
                        <a:pt x="10" y="16"/>
                      </a:cubicBezTo>
                      <a:cubicBezTo>
                        <a:pt x="11" y="17"/>
                        <a:pt x="11" y="17"/>
                        <a:pt x="11" y="17"/>
                      </a:cubicBezTo>
                      <a:cubicBezTo>
                        <a:pt x="11" y="17"/>
                        <a:pt x="11" y="17"/>
                        <a:pt x="11" y="17"/>
                      </a:cubicBezTo>
                      <a:cubicBezTo>
                        <a:pt x="12" y="18"/>
                        <a:pt x="12" y="18"/>
                        <a:pt x="12" y="18"/>
                      </a:cubicBezTo>
                      <a:cubicBezTo>
                        <a:pt x="11" y="18"/>
                        <a:pt x="11" y="18"/>
                        <a:pt x="11" y="18"/>
                      </a:cubicBezTo>
                      <a:cubicBezTo>
                        <a:pt x="12" y="20"/>
                        <a:pt x="12" y="20"/>
                        <a:pt x="12" y="20"/>
                      </a:cubicBezTo>
                      <a:cubicBezTo>
                        <a:pt x="11" y="21"/>
                        <a:pt x="11" y="21"/>
                        <a:pt x="11" y="21"/>
                      </a:cubicBezTo>
                      <a:cubicBezTo>
                        <a:pt x="11" y="21"/>
                        <a:pt x="11" y="21"/>
                        <a:pt x="11" y="21"/>
                      </a:cubicBezTo>
                      <a:cubicBezTo>
                        <a:pt x="13" y="22"/>
                        <a:pt x="13" y="22"/>
                        <a:pt x="13" y="22"/>
                      </a:cubicBezTo>
                      <a:cubicBezTo>
                        <a:pt x="13" y="23"/>
                        <a:pt x="13" y="23"/>
                        <a:pt x="13" y="23"/>
                      </a:cubicBezTo>
                      <a:cubicBezTo>
                        <a:pt x="13" y="23"/>
                        <a:pt x="13" y="23"/>
                        <a:pt x="13" y="23"/>
                      </a:cubicBezTo>
                      <a:cubicBezTo>
                        <a:pt x="13" y="24"/>
                        <a:pt x="13" y="24"/>
                        <a:pt x="13" y="24"/>
                      </a:cubicBezTo>
                      <a:cubicBezTo>
                        <a:pt x="13" y="25"/>
                        <a:pt x="13" y="25"/>
                        <a:pt x="13" y="25"/>
                      </a:cubicBezTo>
                      <a:cubicBezTo>
                        <a:pt x="14" y="27"/>
                        <a:pt x="14" y="27"/>
                        <a:pt x="14" y="27"/>
                      </a:cubicBezTo>
                      <a:cubicBezTo>
                        <a:pt x="13" y="27"/>
                        <a:pt x="13" y="27"/>
                        <a:pt x="13" y="27"/>
                      </a:cubicBezTo>
                      <a:cubicBezTo>
                        <a:pt x="13" y="28"/>
                        <a:pt x="13" y="28"/>
                        <a:pt x="13" y="28"/>
                      </a:cubicBezTo>
                      <a:cubicBezTo>
                        <a:pt x="13" y="30"/>
                        <a:pt x="13" y="30"/>
                        <a:pt x="13" y="30"/>
                      </a:cubicBezTo>
                      <a:cubicBezTo>
                        <a:pt x="13" y="30"/>
                        <a:pt x="13" y="30"/>
                        <a:pt x="13" y="30"/>
                      </a:cubicBezTo>
                      <a:cubicBezTo>
                        <a:pt x="14" y="31"/>
                        <a:pt x="14" y="31"/>
                        <a:pt x="14" y="31"/>
                      </a:cubicBezTo>
                      <a:cubicBezTo>
                        <a:pt x="15" y="32"/>
                        <a:pt x="15" y="32"/>
                        <a:pt x="15" y="32"/>
                      </a:cubicBezTo>
                      <a:cubicBezTo>
                        <a:pt x="15" y="33"/>
                        <a:pt x="15" y="33"/>
                        <a:pt x="15" y="33"/>
                      </a:cubicBezTo>
                      <a:cubicBezTo>
                        <a:pt x="16" y="34"/>
                        <a:pt x="16" y="34"/>
                        <a:pt x="16" y="34"/>
                      </a:cubicBezTo>
                      <a:cubicBezTo>
                        <a:pt x="16" y="35"/>
                        <a:pt x="16" y="35"/>
                        <a:pt x="16" y="35"/>
                      </a:cubicBezTo>
                      <a:cubicBezTo>
                        <a:pt x="16" y="35"/>
                        <a:pt x="16" y="35"/>
                        <a:pt x="16" y="35"/>
                      </a:cubicBezTo>
                      <a:cubicBezTo>
                        <a:pt x="17" y="35"/>
                        <a:pt x="17" y="35"/>
                        <a:pt x="17" y="35"/>
                      </a:cubicBezTo>
                      <a:cubicBezTo>
                        <a:pt x="18" y="36"/>
                        <a:pt x="18" y="36"/>
                        <a:pt x="18" y="36"/>
                      </a:cubicBezTo>
                      <a:cubicBezTo>
                        <a:pt x="20" y="36"/>
                        <a:pt x="20" y="36"/>
                        <a:pt x="20" y="36"/>
                      </a:cubicBezTo>
                      <a:cubicBezTo>
                        <a:pt x="21" y="37"/>
                        <a:pt x="21" y="37"/>
                        <a:pt x="21" y="37"/>
                      </a:cubicBezTo>
                      <a:cubicBezTo>
                        <a:pt x="20" y="37"/>
                        <a:pt x="20" y="37"/>
                        <a:pt x="20" y="37"/>
                      </a:cubicBezTo>
                      <a:cubicBezTo>
                        <a:pt x="21" y="38"/>
                        <a:pt x="21" y="38"/>
                        <a:pt x="21" y="38"/>
                      </a:cubicBezTo>
                      <a:cubicBezTo>
                        <a:pt x="21" y="39"/>
                        <a:pt x="21" y="39"/>
                        <a:pt x="21" y="39"/>
                      </a:cubicBezTo>
                      <a:cubicBezTo>
                        <a:pt x="21" y="40"/>
                        <a:pt x="21" y="40"/>
                        <a:pt x="21" y="40"/>
                      </a:cubicBezTo>
                      <a:cubicBezTo>
                        <a:pt x="22" y="41"/>
                        <a:pt x="22" y="41"/>
                        <a:pt x="22" y="41"/>
                      </a:cubicBezTo>
                      <a:cubicBezTo>
                        <a:pt x="21" y="41"/>
                        <a:pt x="21" y="41"/>
                        <a:pt x="21" y="41"/>
                      </a:cubicBezTo>
                      <a:cubicBezTo>
                        <a:pt x="21" y="41"/>
                        <a:pt x="21" y="41"/>
                        <a:pt x="21" y="41"/>
                      </a:cubicBezTo>
                      <a:cubicBezTo>
                        <a:pt x="22" y="42"/>
                        <a:pt x="22" y="42"/>
                        <a:pt x="22" y="42"/>
                      </a:cubicBezTo>
                      <a:cubicBezTo>
                        <a:pt x="22" y="42"/>
                        <a:pt x="22" y="42"/>
                        <a:pt x="22" y="42"/>
                      </a:cubicBezTo>
                      <a:cubicBezTo>
                        <a:pt x="20" y="41"/>
                        <a:pt x="20" y="41"/>
                        <a:pt x="20" y="41"/>
                      </a:cubicBezTo>
                      <a:cubicBezTo>
                        <a:pt x="19" y="41"/>
                        <a:pt x="19" y="41"/>
                        <a:pt x="19" y="41"/>
                      </a:cubicBezTo>
                      <a:cubicBezTo>
                        <a:pt x="18" y="42"/>
                        <a:pt x="18" y="42"/>
                        <a:pt x="18" y="42"/>
                      </a:cubicBezTo>
                      <a:cubicBezTo>
                        <a:pt x="18" y="43"/>
                        <a:pt x="18" y="43"/>
                        <a:pt x="18" y="43"/>
                      </a:cubicBezTo>
                      <a:cubicBezTo>
                        <a:pt x="17" y="44"/>
                        <a:pt x="17" y="44"/>
                        <a:pt x="17" y="44"/>
                      </a:cubicBezTo>
                      <a:cubicBezTo>
                        <a:pt x="17" y="44"/>
                        <a:pt x="17" y="44"/>
                        <a:pt x="17" y="44"/>
                      </a:cubicBezTo>
                      <a:cubicBezTo>
                        <a:pt x="17" y="45"/>
                        <a:pt x="17" y="45"/>
                        <a:pt x="17" y="45"/>
                      </a:cubicBezTo>
                      <a:cubicBezTo>
                        <a:pt x="15" y="46"/>
                        <a:pt x="15" y="46"/>
                        <a:pt x="15" y="46"/>
                      </a:cubicBezTo>
                      <a:cubicBezTo>
                        <a:pt x="15" y="47"/>
                        <a:pt x="15" y="47"/>
                        <a:pt x="15" y="47"/>
                      </a:cubicBezTo>
                      <a:cubicBezTo>
                        <a:pt x="15" y="47"/>
                        <a:pt x="15" y="47"/>
                        <a:pt x="15" y="47"/>
                      </a:cubicBezTo>
                      <a:cubicBezTo>
                        <a:pt x="14" y="47"/>
                        <a:pt x="14" y="47"/>
                        <a:pt x="14" y="47"/>
                      </a:cubicBezTo>
                      <a:cubicBezTo>
                        <a:pt x="14" y="47"/>
                        <a:pt x="14" y="47"/>
                        <a:pt x="14" y="47"/>
                      </a:cubicBezTo>
                      <a:cubicBezTo>
                        <a:pt x="14" y="48"/>
                        <a:pt x="14" y="48"/>
                        <a:pt x="14" y="48"/>
                      </a:cubicBezTo>
                      <a:cubicBezTo>
                        <a:pt x="14" y="49"/>
                        <a:pt x="14" y="49"/>
                        <a:pt x="14" y="49"/>
                      </a:cubicBezTo>
                      <a:cubicBezTo>
                        <a:pt x="13" y="49"/>
                        <a:pt x="13" y="49"/>
                        <a:pt x="13" y="49"/>
                      </a:cubicBezTo>
                      <a:cubicBezTo>
                        <a:pt x="12" y="49"/>
                        <a:pt x="12" y="49"/>
                        <a:pt x="12" y="49"/>
                      </a:cubicBezTo>
                      <a:cubicBezTo>
                        <a:pt x="13" y="51"/>
                        <a:pt x="13" y="51"/>
                        <a:pt x="13" y="51"/>
                      </a:cubicBezTo>
                      <a:cubicBezTo>
                        <a:pt x="13" y="51"/>
                        <a:pt x="13" y="51"/>
                        <a:pt x="13" y="51"/>
                      </a:cubicBezTo>
                      <a:cubicBezTo>
                        <a:pt x="12" y="51"/>
                        <a:pt x="12" y="51"/>
                        <a:pt x="12" y="51"/>
                      </a:cubicBezTo>
                      <a:cubicBezTo>
                        <a:pt x="12" y="50"/>
                        <a:pt x="12" y="50"/>
                        <a:pt x="12" y="50"/>
                      </a:cubicBezTo>
                      <a:cubicBezTo>
                        <a:pt x="11" y="50"/>
                        <a:pt x="11" y="50"/>
                        <a:pt x="11" y="50"/>
                      </a:cubicBezTo>
                      <a:cubicBezTo>
                        <a:pt x="11" y="51"/>
                        <a:pt x="11" y="51"/>
                        <a:pt x="11" y="51"/>
                      </a:cubicBezTo>
                      <a:cubicBezTo>
                        <a:pt x="11" y="52"/>
                        <a:pt x="11" y="52"/>
                        <a:pt x="11" y="52"/>
                      </a:cubicBezTo>
                      <a:cubicBezTo>
                        <a:pt x="10" y="52"/>
                        <a:pt x="10" y="52"/>
                        <a:pt x="10" y="52"/>
                      </a:cubicBezTo>
                      <a:cubicBezTo>
                        <a:pt x="10" y="52"/>
                        <a:pt x="10" y="52"/>
                        <a:pt x="10" y="52"/>
                      </a:cubicBezTo>
                      <a:cubicBezTo>
                        <a:pt x="11" y="52"/>
                        <a:pt x="11" y="52"/>
                        <a:pt x="11" y="52"/>
                      </a:cubicBezTo>
                      <a:cubicBezTo>
                        <a:pt x="11" y="53"/>
                        <a:pt x="11" y="53"/>
                        <a:pt x="11" y="53"/>
                      </a:cubicBezTo>
                      <a:cubicBezTo>
                        <a:pt x="10" y="53"/>
                        <a:pt x="10" y="53"/>
                        <a:pt x="10" y="53"/>
                      </a:cubicBezTo>
                      <a:cubicBezTo>
                        <a:pt x="10" y="54"/>
                        <a:pt x="10" y="54"/>
                        <a:pt x="10" y="54"/>
                      </a:cubicBezTo>
                      <a:cubicBezTo>
                        <a:pt x="9" y="54"/>
                        <a:pt x="9" y="54"/>
                        <a:pt x="9" y="54"/>
                      </a:cubicBezTo>
                      <a:cubicBezTo>
                        <a:pt x="9" y="54"/>
                        <a:pt x="9" y="54"/>
                        <a:pt x="9" y="54"/>
                      </a:cubicBezTo>
                      <a:cubicBezTo>
                        <a:pt x="9" y="54"/>
                        <a:pt x="9" y="54"/>
                        <a:pt x="9" y="54"/>
                      </a:cubicBezTo>
                      <a:cubicBezTo>
                        <a:pt x="8" y="54"/>
                        <a:pt x="8" y="54"/>
                        <a:pt x="8" y="54"/>
                      </a:cubicBezTo>
                      <a:cubicBezTo>
                        <a:pt x="7" y="54"/>
                        <a:pt x="7" y="54"/>
                        <a:pt x="7" y="54"/>
                      </a:cubicBezTo>
                      <a:cubicBezTo>
                        <a:pt x="7" y="55"/>
                        <a:pt x="7" y="55"/>
                        <a:pt x="7" y="55"/>
                      </a:cubicBezTo>
                      <a:cubicBezTo>
                        <a:pt x="7" y="55"/>
                        <a:pt x="7" y="55"/>
                        <a:pt x="7" y="55"/>
                      </a:cubicBezTo>
                      <a:cubicBezTo>
                        <a:pt x="7" y="56"/>
                        <a:pt x="7" y="56"/>
                        <a:pt x="7" y="56"/>
                      </a:cubicBezTo>
                      <a:cubicBezTo>
                        <a:pt x="7" y="57"/>
                        <a:pt x="7" y="57"/>
                        <a:pt x="7" y="57"/>
                      </a:cubicBezTo>
                      <a:cubicBezTo>
                        <a:pt x="6" y="57"/>
                        <a:pt x="6" y="57"/>
                        <a:pt x="6" y="57"/>
                      </a:cubicBezTo>
                      <a:cubicBezTo>
                        <a:pt x="6" y="57"/>
                        <a:pt x="6" y="57"/>
                        <a:pt x="6" y="57"/>
                      </a:cubicBezTo>
                      <a:cubicBezTo>
                        <a:pt x="6" y="58"/>
                        <a:pt x="6" y="58"/>
                        <a:pt x="6" y="58"/>
                      </a:cubicBezTo>
                      <a:cubicBezTo>
                        <a:pt x="7" y="58"/>
                        <a:pt x="7" y="58"/>
                        <a:pt x="7" y="58"/>
                      </a:cubicBezTo>
                      <a:cubicBezTo>
                        <a:pt x="6" y="59"/>
                        <a:pt x="6" y="59"/>
                        <a:pt x="6" y="59"/>
                      </a:cubicBezTo>
                      <a:cubicBezTo>
                        <a:pt x="7" y="60"/>
                        <a:pt x="7" y="60"/>
                        <a:pt x="7" y="60"/>
                      </a:cubicBezTo>
                      <a:cubicBezTo>
                        <a:pt x="7" y="60"/>
                        <a:pt x="7" y="60"/>
                        <a:pt x="7" y="60"/>
                      </a:cubicBezTo>
                      <a:cubicBezTo>
                        <a:pt x="8" y="60"/>
                        <a:pt x="8" y="60"/>
                        <a:pt x="8" y="60"/>
                      </a:cubicBezTo>
                      <a:cubicBezTo>
                        <a:pt x="7" y="61"/>
                        <a:pt x="7" y="61"/>
                        <a:pt x="7" y="61"/>
                      </a:cubicBezTo>
                      <a:cubicBezTo>
                        <a:pt x="7" y="61"/>
                        <a:pt x="7" y="61"/>
                        <a:pt x="7" y="61"/>
                      </a:cubicBezTo>
                      <a:cubicBezTo>
                        <a:pt x="8" y="62"/>
                        <a:pt x="8" y="62"/>
                        <a:pt x="8" y="62"/>
                      </a:cubicBezTo>
                      <a:cubicBezTo>
                        <a:pt x="7" y="63"/>
                        <a:pt x="7" y="63"/>
                        <a:pt x="7" y="63"/>
                      </a:cubicBezTo>
                      <a:cubicBezTo>
                        <a:pt x="8" y="64"/>
                        <a:pt x="8" y="64"/>
                        <a:pt x="8" y="64"/>
                      </a:cubicBezTo>
                      <a:cubicBezTo>
                        <a:pt x="9" y="64"/>
                        <a:pt x="9" y="64"/>
                        <a:pt x="9" y="64"/>
                      </a:cubicBezTo>
                      <a:cubicBezTo>
                        <a:pt x="8" y="65"/>
                        <a:pt x="8" y="65"/>
                        <a:pt x="8" y="65"/>
                      </a:cubicBezTo>
                      <a:cubicBezTo>
                        <a:pt x="9" y="66"/>
                        <a:pt x="9" y="66"/>
                        <a:pt x="9" y="66"/>
                      </a:cubicBezTo>
                      <a:cubicBezTo>
                        <a:pt x="8" y="66"/>
                        <a:pt x="8" y="66"/>
                        <a:pt x="8" y="66"/>
                      </a:cubicBezTo>
                      <a:cubicBezTo>
                        <a:pt x="9" y="68"/>
                        <a:pt x="9" y="68"/>
                        <a:pt x="9" y="68"/>
                      </a:cubicBezTo>
                      <a:cubicBezTo>
                        <a:pt x="8" y="68"/>
                        <a:pt x="8" y="68"/>
                        <a:pt x="8" y="68"/>
                      </a:cubicBezTo>
                      <a:cubicBezTo>
                        <a:pt x="8" y="70"/>
                        <a:pt x="8" y="70"/>
                        <a:pt x="8" y="70"/>
                      </a:cubicBezTo>
                      <a:cubicBezTo>
                        <a:pt x="9" y="70"/>
                        <a:pt x="9" y="70"/>
                        <a:pt x="9" y="70"/>
                      </a:cubicBezTo>
                      <a:cubicBezTo>
                        <a:pt x="8" y="71"/>
                        <a:pt x="8" y="71"/>
                        <a:pt x="8" y="71"/>
                      </a:cubicBezTo>
                      <a:cubicBezTo>
                        <a:pt x="8" y="72"/>
                        <a:pt x="8" y="72"/>
                        <a:pt x="8" y="72"/>
                      </a:cubicBezTo>
                      <a:cubicBezTo>
                        <a:pt x="9" y="73"/>
                        <a:pt x="9" y="73"/>
                        <a:pt x="9" y="73"/>
                      </a:cubicBezTo>
                      <a:cubicBezTo>
                        <a:pt x="10" y="72"/>
                        <a:pt x="10" y="72"/>
                        <a:pt x="10" y="72"/>
                      </a:cubicBezTo>
                      <a:cubicBezTo>
                        <a:pt x="10" y="72"/>
                        <a:pt x="10" y="72"/>
                        <a:pt x="10" y="72"/>
                      </a:cubicBezTo>
                      <a:cubicBezTo>
                        <a:pt x="11" y="72"/>
                        <a:pt x="11" y="72"/>
                        <a:pt x="11" y="72"/>
                      </a:cubicBezTo>
                      <a:cubicBezTo>
                        <a:pt x="12" y="73"/>
                        <a:pt x="12" y="73"/>
                        <a:pt x="12" y="73"/>
                      </a:cubicBezTo>
                      <a:cubicBezTo>
                        <a:pt x="12" y="73"/>
                        <a:pt x="12" y="73"/>
                        <a:pt x="12" y="73"/>
                      </a:cubicBezTo>
                      <a:cubicBezTo>
                        <a:pt x="13" y="73"/>
                        <a:pt x="13" y="73"/>
                        <a:pt x="13" y="73"/>
                      </a:cubicBezTo>
                      <a:cubicBezTo>
                        <a:pt x="14" y="73"/>
                        <a:pt x="14" y="73"/>
                        <a:pt x="14" y="73"/>
                      </a:cubicBezTo>
                      <a:cubicBezTo>
                        <a:pt x="15" y="73"/>
                        <a:pt x="15" y="73"/>
                        <a:pt x="15" y="73"/>
                      </a:cubicBezTo>
                      <a:cubicBezTo>
                        <a:pt x="14" y="74"/>
                        <a:pt x="14" y="74"/>
                        <a:pt x="14" y="74"/>
                      </a:cubicBezTo>
                      <a:cubicBezTo>
                        <a:pt x="15" y="74"/>
                        <a:pt x="15" y="74"/>
                        <a:pt x="15" y="74"/>
                      </a:cubicBezTo>
                      <a:cubicBezTo>
                        <a:pt x="16" y="73"/>
                        <a:pt x="16" y="73"/>
                        <a:pt x="16" y="73"/>
                      </a:cubicBezTo>
                      <a:cubicBezTo>
                        <a:pt x="16" y="74"/>
                        <a:pt x="16" y="74"/>
                        <a:pt x="16" y="74"/>
                      </a:cubicBezTo>
                      <a:cubicBezTo>
                        <a:pt x="15" y="75"/>
                        <a:pt x="15" y="75"/>
                        <a:pt x="15" y="75"/>
                      </a:cubicBezTo>
                      <a:cubicBezTo>
                        <a:pt x="17" y="76"/>
                        <a:pt x="17" y="76"/>
                        <a:pt x="17" y="76"/>
                      </a:cubicBezTo>
                      <a:cubicBezTo>
                        <a:pt x="17" y="77"/>
                        <a:pt x="17" y="77"/>
                        <a:pt x="17" y="77"/>
                      </a:cubicBezTo>
                      <a:cubicBezTo>
                        <a:pt x="17" y="77"/>
                        <a:pt x="17" y="77"/>
                        <a:pt x="17" y="77"/>
                      </a:cubicBezTo>
                      <a:cubicBezTo>
                        <a:pt x="17" y="78"/>
                        <a:pt x="17" y="78"/>
                        <a:pt x="17" y="78"/>
                      </a:cubicBezTo>
                      <a:cubicBezTo>
                        <a:pt x="17" y="76"/>
                        <a:pt x="17" y="76"/>
                        <a:pt x="17" y="76"/>
                      </a:cubicBezTo>
                      <a:cubicBezTo>
                        <a:pt x="18" y="76"/>
                        <a:pt x="18" y="76"/>
                        <a:pt x="18" y="76"/>
                      </a:cubicBezTo>
                      <a:cubicBezTo>
                        <a:pt x="18" y="77"/>
                        <a:pt x="18" y="77"/>
                        <a:pt x="18" y="77"/>
                      </a:cubicBezTo>
                      <a:cubicBezTo>
                        <a:pt x="19" y="76"/>
                        <a:pt x="19" y="76"/>
                        <a:pt x="19" y="76"/>
                      </a:cubicBezTo>
                      <a:cubicBezTo>
                        <a:pt x="20" y="76"/>
                        <a:pt x="20" y="76"/>
                        <a:pt x="20" y="76"/>
                      </a:cubicBezTo>
                      <a:cubicBezTo>
                        <a:pt x="21" y="75"/>
                        <a:pt x="21" y="75"/>
                        <a:pt x="21" y="75"/>
                      </a:cubicBezTo>
                      <a:cubicBezTo>
                        <a:pt x="22" y="75"/>
                        <a:pt x="22" y="75"/>
                        <a:pt x="22" y="75"/>
                      </a:cubicBezTo>
                      <a:cubicBezTo>
                        <a:pt x="24" y="74"/>
                        <a:pt x="24" y="74"/>
                        <a:pt x="24" y="74"/>
                      </a:cubicBezTo>
                      <a:cubicBezTo>
                        <a:pt x="24" y="74"/>
                        <a:pt x="24" y="74"/>
                        <a:pt x="24" y="74"/>
                      </a:cubicBezTo>
                      <a:cubicBezTo>
                        <a:pt x="25" y="74"/>
                        <a:pt x="25" y="74"/>
                        <a:pt x="25" y="74"/>
                      </a:cubicBezTo>
                      <a:cubicBezTo>
                        <a:pt x="26" y="74"/>
                        <a:pt x="26" y="74"/>
                        <a:pt x="26" y="74"/>
                      </a:cubicBezTo>
                      <a:cubicBezTo>
                        <a:pt x="27" y="73"/>
                        <a:pt x="27" y="73"/>
                        <a:pt x="27" y="73"/>
                      </a:cubicBezTo>
                      <a:cubicBezTo>
                        <a:pt x="27" y="73"/>
                        <a:pt x="27" y="73"/>
                        <a:pt x="27" y="73"/>
                      </a:cubicBezTo>
                      <a:cubicBezTo>
                        <a:pt x="27" y="74"/>
                        <a:pt x="27" y="74"/>
                        <a:pt x="27" y="74"/>
                      </a:cubicBezTo>
                      <a:cubicBezTo>
                        <a:pt x="27" y="74"/>
                        <a:pt x="27" y="74"/>
                        <a:pt x="27" y="74"/>
                      </a:cubicBezTo>
                      <a:cubicBezTo>
                        <a:pt x="28" y="73"/>
                        <a:pt x="28" y="73"/>
                        <a:pt x="28" y="73"/>
                      </a:cubicBezTo>
                      <a:cubicBezTo>
                        <a:pt x="28" y="73"/>
                        <a:pt x="28" y="73"/>
                        <a:pt x="28" y="73"/>
                      </a:cubicBezTo>
                      <a:cubicBezTo>
                        <a:pt x="28" y="72"/>
                        <a:pt x="28" y="72"/>
                        <a:pt x="28" y="72"/>
                      </a:cubicBezTo>
                      <a:cubicBezTo>
                        <a:pt x="28" y="72"/>
                        <a:pt x="28" y="72"/>
                        <a:pt x="28" y="72"/>
                      </a:cubicBezTo>
                      <a:cubicBezTo>
                        <a:pt x="29" y="73"/>
                        <a:pt x="29" y="73"/>
                        <a:pt x="29" y="73"/>
                      </a:cubicBezTo>
                      <a:cubicBezTo>
                        <a:pt x="29" y="73"/>
                        <a:pt x="29" y="73"/>
                        <a:pt x="29" y="73"/>
                      </a:cubicBezTo>
                      <a:cubicBezTo>
                        <a:pt x="29" y="72"/>
                        <a:pt x="29" y="72"/>
                        <a:pt x="29" y="72"/>
                      </a:cubicBezTo>
                      <a:cubicBezTo>
                        <a:pt x="30" y="73"/>
                        <a:pt x="30" y="73"/>
                        <a:pt x="30" y="73"/>
                      </a:cubicBezTo>
                      <a:cubicBezTo>
                        <a:pt x="30" y="73"/>
                        <a:pt x="30" y="73"/>
                        <a:pt x="30" y="73"/>
                      </a:cubicBezTo>
                      <a:cubicBezTo>
                        <a:pt x="30" y="72"/>
                        <a:pt x="30" y="72"/>
                        <a:pt x="30" y="72"/>
                      </a:cubicBezTo>
                      <a:cubicBezTo>
                        <a:pt x="31" y="73"/>
                        <a:pt x="31" y="73"/>
                        <a:pt x="31" y="73"/>
                      </a:cubicBezTo>
                      <a:cubicBezTo>
                        <a:pt x="31" y="73"/>
                        <a:pt x="31" y="73"/>
                        <a:pt x="31" y="73"/>
                      </a:cubicBezTo>
                      <a:cubicBezTo>
                        <a:pt x="32" y="72"/>
                        <a:pt x="32" y="72"/>
                        <a:pt x="32" y="72"/>
                      </a:cubicBezTo>
                      <a:cubicBezTo>
                        <a:pt x="33" y="72"/>
                        <a:pt x="33" y="72"/>
                        <a:pt x="33" y="72"/>
                      </a:cubicBezTo>
                      <a:cubicBezTo>
                        <a:pt x="34" y="73"/>
                        <a:pt x="34" y="73"/>
                        <a:pt x="34" y="73"/>
                      </a:cubicBezTo>
                      <a:cubicBezTo>
                        <a:pt x="35" y="73"/>
                        <a:pt x="35" y="73"/>
                        <a:pt x="35" y="73"/>
                      </a:cubicBezTo>
                      <a:cubicBezTo>
                        <a:pt x="35" y="72"/>
                        <a:pt x="35" y="72"/>
                        <a:pt x="35" y="72"/>
                      </a:cubicBezTo>
                      <a:cubicBezTo>
                        <a:pt x="35" y="72"/>
                        <a:pt x="35" y="72"/>
                        <a:pt x="35" y="72"/>
                      </a:cubicBezTo>
                      <a:cubicBezTo>
                        <a:pt x="35" y="72"/>
                        <a:pt x="35" y="72"/>
                        <a:pt x="35" y="72"/>
                      </a:cubicBezTo>
                      <a:cubicBezTo>
                        <a:pt x="36" y="72"/>
                        <a:pt x="36" y="72"/>
                        <a:pt x="36" y="72"/>
                      </a:cubicBezTo>
                      <a:cubicBezTo>
                        <a:pt x="36" y="72"/>
                        <a:pt x="36" y="72"/>
                        <a:pt x="36" y="72"/>
                      </a:cubicBezTo>
                      <a:cubicBezTo>
                        <a:pt x="37" y="73"/>
                        <a:pt x="37" y="73"/>
                        <a:pt x="37" y="73"/>
                      </a:cubicBezTo>
                      <a:cubicBezTo>
                        <a:pt x="37" y="73"/>
                        <a:pt x="37" y="72"/>
                        <a:pt x="38" y="72"/>
                      </a:cubicBezTo>
                      <a:close/>
                      <a:moveTo>
                        <a:pt x="20" y="40"/>
                      </a:moveTo>
                      <a:cubicBezTo>
                        <a:pt x="19" y="41"/>
                        <a:pt x="19" y="41"/>
                        <a:pt x="19" y="41"/>
                      </a:cubicBezTo>
                      <a:cubicBezTo>
                        <a:pt x="18" y="41"/>
                        <a:pt x="18" y="41"/>
                        <a:pt x="18" y="41"/>
                      </a:cubicBezTo>
                      <a:cubicBezTo>
                        <a:pt x="18" y="40"/>
                        <a:pt x="18" y="40"/>
                        <a:pt x="18" y="40"/>
                      </a:cubicBezTo>
                      <a:cubicBezTo>
                        <a:pt x="19" y="39"/>
                        <a:pt x="19" y="39"/>
                        <a:pt x="19" y="39"/>
                      </a:cubicBezTo>
                      <a:cubicBezTo>
                        <a:pt x="20" y="39"/>
                        <a:pt x="20" y="39"/>
                        <a:pt x="20" y="39"/>
                      </a:cubicBezTo>
                      <a:cubicBezTo>
                        <a:pt x="20" y="40"/>
                        <a:pt x="20" y="40"/>
                        <a:pt x="20" y="40"/>
                      </a:cubicBezTo>
                      <a:cubicBezTo>
                        <a:pt x="19" y="40"/>
                        <a:pt x="19" y="40"/>
                        <a:pt x="19" y="40"/>
                      </a:cubicBezTo>
                      <a:cubicBezTo>
                        <a:pt x="20" y="40"/>
                        <a:pt x="20" y="40"/>
                        <a:pt x="20" y="40"/>
                      </a:cubicBezTo>
                      <a:close/>
                      <a:moveTo>
                        <a:pt x="6" y="53"/>
                      </a:moveTo>
                      <a:cubicBezTo>
                        <a:pt x="6" y="52"/>
                        <a:pt x="6" y="52"/>
                        <a:pt x="6" y="52"/>
                      </a:cubicBezTo>
                      <a:cubicBezTo>
                        <a:pt x="7" y="53"/>
                        <a:pt x="7" y="53"/>
                        <a:pt x="7" y="53"/>
                      </a:cubicBezTo>
                      <a:cubicBezTo>
                        <a:pt x="7" y="53"/>
                        <a:pt x="7" y="53"/>
                        <a:pt x="7" y="53"/>
                      </a:cubicBezTo>
                      <a:cubicBezTo>
                        <a:pt x="6" y="53"/>
                        <a:pt x="6" y="53"/>
                        <a:pt x="6" y="53"/>
                      </a:cubicBezTo>
                      <a:close/>
                      <a:moveTo>
                        <a:pt x="6" y="53"/>
                      </a:moveTo>
                      <a:cubicBezTo>
                        <a:pt x="6" y="54"/>
                        <a:pt x="6" y="54"/>
                        <a:pt x="6" y="54"/>
                      </a:cubicBezTo>
                      <a:cubicBezTo>
                        <a:pt x="7" y="53"/>
                        <a:pt x="7" y="53"/>
                        <a:pt x="7" y="53"/>
                      </a:cubicBezTo>
                      <a:cubicBezTo>
                        <a:pt x="7" y="54"/>
                        <a:pt x="7" y="54"/>
                        <a:pt x="7" y="54"/>
                      </a:cubicBezTo>
                      <a:cubicBezTo>
                        <a:pt x="6" y="54"/>
                        <a:pt x="6" y="54"/>
                        <a:pt x="6" y="54"/>
                      </a:cubicBezTo>
                      <a:cubicBezTo>
                        <a:pt x="6" y="54"/>
                        <a:pt x="6" y="54"/>
                        <a:pt x="6" y="54"/>
                      </a:cubicBezTo>
                      <a:cubicBezTo>
                        <a:pt x="6" y="53"/>
                        <a:pt x="6" y="53"/>
                        <a:pt x="6" y="53"/>
                      </a:cubicBezTo>
                      <a:close/>
                      <a:moveTo>
                        <a:pt x="16" y="76"/>
                      </a:moveTo>
                      <a:cubicBezTo>
                        <a:pt x="16" y="77"/>
                        <a:pt x="16" y="77"/>
                        <a:pt x="16" y="77"/>
                      </a:cubicBezTo>
                      <a:cubicBezTo>
                        <a:pt x="15" y="77"/>
                        <a:pt x="15" y="77"/>
                        <a:pt x="15" y="77"/>
                      </a:cubicBezTo>
                      <a:cubicBezTo>
                        <a:pt x="15" y="77"/>
                        <a:pt x="15" y="77"/>
                        <a:pt x="15" y="77"/>
                      </a:cubicBezTo>
                      <a:cubicBezTo>
                        <a:pt x="15" y="76"/>
                        <a:pt x="15" y="76"/>
                        <a:pt x="15" y="76"/>
                      </a:cubicBezTo>
                      <a:cubicBezTo>
                        <a:pt x="16" y="76"/>
                        <a:pt x="16" y="76"/>
                        <a:pt x="16" y="76"/>
                      </a:cubicBezTo>
                      <a:close/>
                      <a:moveTo>
                        <a:pt x="14" y="75"/>
                      </a:moveTo>
                      <a:cubicBezTo>
                        <a:pt x="14" y="75"/>
                        <a:pt x="15" y="76"/>
                        <a:pt x="15" y="76"/>
                      </a:cubicBezTo>
                      <a:cubicBezTo>
                        <a:pt x="14" y="76"/>
                        <a:pt x="14" y="76"/>
                        <a:pt x="14" y="76"/>
                      </a:cubicBezTo>
                      <a:cubicBezTo>
                        <a:pt x="14" y="75"/>
                        <a:pt x="14" y="75"/>
                        <a:pt x="14" y="75"/>
                      </a:cubicBezTo>
                      <a:close/>
                      <a:moveTo>
                        <a:pt x="12" y="74"/>
                      </a:moveTo>
                      <a:cubicBezTo>
                        <a:pt x="14" y="74"/>
                        <a:pt x="14" y="74"/>
                        <a:pt x="14" y="74"/>
                      </a:cubicBezTo>
                      <a:cubicBezTo>
                        <a:pt x="14" y="74"/>
                        <a:pt x="14" y="74"/>
                        <a:pt x="14" y="74"/>
                      </a:cubicBezTo>
                      <a:cubicBezTo>
                        <a:pt x="13" y="75"/>
                        <a:pt x="13" y="75"/>
                        <a:pt x="13" y="75"/>
                      </a:cubicBezTo>
                      <a:cubicBezTo>
                        <a:pt x="12" y="75"/>
                        <a:pt x="12" y="75"/>
                        <a:pt x="12" y="75"/>
                      </a:cubicBezTo>
                      <a:cubicBezTo>
                        <a:pt x="12" y="74"/>
                        <a:pt x="12" y="74"/>
                        <a:pt x="12" y="74"/>
                      </a:cubicBezTo>
                      <a:close/>
                      <a:moveTo>
                        <a:pt x="11" y="73"/>
                      </a:moveTo>
                      <a:cubicBezTo>
                        <a:pt x="12" y="73"/>
                        <a:pt x="12" y="73"/>
                        <a:pt x="12" y="73"/>
                      </a:cubicBezTo>
                      <a:cubicBezTo>
                        <a:pt x="11" y="74"/>
                        <a:pt x="11" y="74"/>
                        <a:pt x="11" y="74"/>
                      </a:cubicBezTo>
                      <a:cubicBezTo>
                        <a:pt x="11" y="73"/>
                        <a:pt x="11" y="73"/>
                        <a:pt x="11" y="73"/>
                      </a:cubicBezTo>
                      <a:cubicBezTo>
                        <a:pt x="11" y="73"/>
                        <a:pt x="11" y="73"/>
                        <a:pt x="11" y="73"/>
                      </a:cubicBezTo>
                      <a:close/>
                      <a:moveTo>
                        <a:pt x="8" y="73"/>
                      </a:moveTo>
                      <a:cubicBezTo>
                        <a:pt x="9" y="73"/>
                        <a:pt x="9" y="73"/>
                        <a:pt x="9" y="73"/>
                      </a:cubicBezTo>
                      <a:cubicBezTo>
                        <a:pt x="9" y="73"/>
                        <a:pt x="9" y="73"/>
                        <a:pt x="9" y="73"/>
                      </a:cubicBezTo>
                      <a:cubicBezTo>
                        <a:pt x="9" y="73"/>
                        <a:pt x="8" y="73"/>
                        <a:pt x="8" y="73"/>
                      </a:cubicBezTo>
                      <a:close/>
                      <a:moveTo>
                        <a:pt x="2" y="74"/>
                      </a:moveTo>
                      <a:cubicBezTo>
                        <a:pt x="3" y="75"/>
                        <a:pt x="3" y="75"/>
                        <a:pt x="3" y="75"/>
                      </a:cubicBezTo>
                      <a:cubicBezTo>
                        <a:pt x="3" y="74"/>
                        <a:pt x="3" y="74"/>
                        <a:pt x="3" y="74"/>
                      </a:cubicBezTo>
                      <a:cubicBezTo>
                        <a:pt x="3" y="74"/>
                        <a:pt x="3" y="74"/>
                        <a:pt x="3" y="74"/>
                      </a:cubicBezTo>
                      <a:cubicBezTo>
                        <a:pt x="3" y="73"/>
                        <a:pt x="3" y="73"/>
                        <a:pt x="3" y="73"/>
                      </a:cubicBezTo>
                      <a:cubicBezTo>
                        <a:pt x="3" y="73"/>
                        <a:pt x="3" y="73"/>
                        <a:pt x="3" y="73"/>
                      </a:cubicBezTo>
                      <a:cubicBezTo>
                        <a:pt x="5" y="74"/>
                        <a:pt x="5" y="74"/>
                        <a:pt x="5" y="74"/>
                      </a:cubicBezTo>
                      <a:cubicBezTo>
                        <a:pt x="5" y="75"/>
                        <a:pt x="5" y="75"/>
                        <a:pt x="5" y="75"/>
                      </a:cubicBezTo>
                      <a:cubicBezTo>
                        <a:pt x="4" y="74"/>
                        <a:pt x="4" y="74"/>
                        <a:pt x="4" y="74"/>
                      </a:cubicBezTo>
                      <a:cubicBezTo>
                        <a:pt x="4" y="75"/>
                        <a:pt x="4" y="75"/>
                        <a:pt x="4" y="75"/>
                      </a:cubicBezTo>
                      <a:cubicBezTo>
                        <a:pt x="4" y="76"/>
                        <a:pt x="4" y="76"/>
                        <a:pt x="4" y="76"/>
                      </a:cubicBezTo>
                      <a:cubicBezTo>
                        <a:pt x="5" y="75"/>
                        <a:pt x="5" y="75"/>
                        <a:pt x="5" y="75"/>
                      </a:cubicBezTo>
                      <a:cubicBezTo>
                        <a:pt x="5" y="76"/>
                        <a:pt x="5" y="76"/>
                        <a:pt x="5" y="76"/>
                      </a:cubicBezTo>
                      <a:cubicBezTo>
                        <a:pt x="5" y="77"/>
                        <a:pt x="5" y="77"/>
                        <a:pt x="5" y="77"/>
                      </a:cubicBezTo>
                      <a:cubicBezTo>
                        <a:pt x="4" y="76"/>
                        <a:pt x="4" y="76"/>
                        <a:pt x="4" y="76"/>
                      </a:cubicBezTo>
                      <a:cubicBezTo>
                        <a:pt x="3" y="76"/>
                        <a:pt x="3" y="76"/>
                        <a:pt x="3" y="76"/>
                      </a:cubicBezTo>
                      <a:cubicBezTo>
                        <a:pt x="2" y="75"/>
                        <a:pt x="2" y="75"/>
                        <a:pt x="2" y="75"/>
                      </a:cubicBezTo>
                      <a:cubicBezTo>
                        <a:pt x="2" y="75"/>
                        <a:pt x="2" y="75"/>
                        <a:pt x="2" y="75"/>
                      </a:cubicBezTo>
                      <a:lnTo>
                        <a:pt x="2" y="74"/>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2" name="Freeform 46">
                  <a:extLst>
                    <a:ext uri="{FF2B5EF4-FFF2-40B4-BE49-F238E27FC236}">
                      <a16:creationId xmlns:a16="http://schemas.microsoft.com/office/drawing/2014/main" id="{E16E7F3C-8C7A-21FF-76E3-0871B5DC5ACD}"/>
                    </a:ext>
                  </a:extLst>
                </p:cNvPr>
                <p:cNvSpPr>
                  <a:spLocks noEditPoints="1"/>
                </p:cNvSpPr>
                <p:nvPr/>
              </p:nvSpPr>
              <p:spPr bwMode="auto">
                <a:xfrm>
                  <a:off x="2865" y="1896"/>
                  <a:ext cx="59" cy="38"/>
                </a:xfrm>
                <a:custGeom>
                  <a:avLst/>
                  <a:gdLst>
                    <a:gd name="T0" fmla="*/ 59 w 59"/>
                    <a:gd name="T1" fmla="*/ 33 h 38"/>
                    <a:gd name="T2" fmla="*/ 59 w 59"/>
                    <a:gd name="T3" fmla="*/ 31 h 38"/>
                    <a:gd name="T4" fmla="*/ 54 w 59"/>
                    <a:gd name="T5" fmla="*/ 19 h 38"/>
                    <a:gd name="T6" fmla="*/ 56 w 59"/>
                    <a:gd name="T7" fmla="*/ 12 h 38"/>
                    <a:gd name="T8" fmla="*/ 59 w 59"/>
                    <a:gd name="T9" fmla="*/ 7 h 38"/>
                    <a:gd name="T10" fmla="*/ 59 w 59"/>
                    <a:gd name="T11" fmla="*/ 4 h 38"/>
                    <a:gd name="T12" fmla="*/ 56 w 59"/>
                    <a:gd name="T13" fmla="*/ 4 h 38"/>
                    <a:gd name="T14" fmla="*/ 45 w 59"/>
                    <a:gd name="T15" fmla="*/ 2 h 38"/>
                    <a:gd name="T16" fmla="*/ 37 w 59"/>
                    <a:gd name="T17" fmla="*/ 2 h 38"/>
                    <a:gd name="T18" fmla="*/ 33 w 59"/>
                    <a:gd name="T19" fmla="*/ 0 h 38"/>
                    <a:gd name="T20" fmla="*/ 33 w 59"/>
                    <a:gd name="T21" fmla="*/ 2 h 38"/>
                    <a:gd name="T22" fmla="*/ 33 w 59"/>
                    <a:gd name="T23" fmla="*/ 2 h 38"/>
                    <a:gd name="T24" fmla="*/ 30 w 59"/>
                    <a:gd name="T25" fmla="*/ 4 h 38"/>
                    <a:gd name="T26" fmla="*/ 26 w 59"/>
                    <a:gd name="T27" fmla="*/ 2 h 38"/>
                    <a:gd name="T28" fmla="*/ 23 w 59"/>
                    <a:gd name="T29" fmla="*/ 4 h 38"/>
                    <a:gd name="T30" fmla="*/ 21 w 59"/>
                    <a:gd name="T31" fmla="*/ 7 h 38"/>
                    <a:gd name="T32" fmla="*/ 16 w 59"/>
                    <a:gd name="T33" fmla="*/ 7 h 38"/>
                    <a:gd name="T34" fmla="*/ 14 w 59"/>
                    <a:gd name="T35" fmla="*/ 16 h 38"/>
                    <a:gd name="T36" fmla="*/ 16 w 59"/>
                    <a:gd name="T37" fmla="*/ 16 h 38"/>
                    <a:gd name="T38" fmla="*/ 16 w 59"/>
                    <a:gd name="T39" fmla="*/ 16 h 38"/>
                    <a:gd name="T40" fmla="*/ 16 w 59"/>
                    <a:gd name="T41" fmla="*/ 21 h 38"/>
                    <a:gd name="T42" fmla="*/ 21 w 59"/>
                    <a:gd name="T43" fmla="*/ 26 h 38"/>
                    <a:gd name="T44" fmla="*/ 23 w 59"/>
                    <a:gd name="T45" fmla="*/ 23 h 38"/>
                    <a:gd name="T46" fmla="*/ 26 w 59"/>
                    <a:gd name="T47" fmla="*/ 23 h 38"/>
                    <a:gd name="T48" fmla="*/ 23 w 59"/>
                    <a:gd name="T49" fmla="*/ 31 h 38"/>
                    <a:gd name="T50" fmla="*/ 28 w 59"/>
                    <a:gd name="T51" fmla="*/ 28 h 38"/>
                    <a:gd name="T52" fmla="*/ 35 w 59"/>
                    <a:gd name="T53" fmla="*/ 28 h 38"/>
                    <a:gd name="T54" fmla="*/ 35 w 59"/>
                    <a:gd name="T55" fmla="*/ 26 h 38"/>
                    <a:gd name="T56" fmla="*/ 40 w 59"/>
                    <a:gd name="T57" fmla="*/ 31 h 38"/>
                    <a:gd name="T58" fmla="*/ 45 w 59"/>
                    <a:gd name="T59" fmla="*/ 31 h 38"/>
                    <a:gd name="T60" fmla="*/ 47 w 59"/>
                    <a:gd name="T61" fmla="*/ 35 h 38"/>
                    <a:gd name="T62" fmla="*/ 52 w 59"/>
                    <a:gd name="T63" fmla="*/ 35 h 38"/>
                    <a:gd name="T64" fmla="*/ 56 w 59"/>
                    <a:gd name="T65" fmla="*/ 35 h 38"/>
                    <a:gd name="T66" fmla="*/ 11 w 59"/>
                    <a:gd name="T67" fmla="*/ 12 h 38"/>
                    <a:gd name="T68" fmla="*/ 11 w 59"/>
                    <a:gd name="T69" fmla="*/ 14 h 38"/>
                    <a:gd name="T70" fmla="*/ 9 w 59"/>
                    <a:gd name="T71" fmla="*/ 12 h 38"/>
                    <a:gd name="T72" fmla="*/ 4 w 59"/>
                    <a:gd name="T73" fmla="*/ 14 h 38"/>
                    <a:gd name="T74" fmla="*/ 2 w 59"/>
                    <a:gd name="T75" fmla="*/ 16 h 38"/>
                    <a:gd name="T76" fmla="*/ 4 w 59"/>
                    <a:gd name="T77" fmla="*/ 14 h 38"/>
                    <a:gd name="T78" fmla="*/ 4 w 59"/>
                    <a:gd name="T79" fmla="*/ 12 h 38"/>
                    <a:gd name="T80" fmla="*/ 7 w 59"/>
                    <a:gd name="T81" fmla="*/ 14 h 38"/>
                    <a:gd name="T82" fmla="*/ 9 w 59"/>
                    <a:gd name="T83" fmla="*/ 14 h 38"/>
                    <a:gd name="T84" fmla="*/ 7 w 59"/>
                    <a:gd name="T85" fmla="*/ 16 h 38"/>
                    <a:gd name="T86" fmla="*/ 7 w 59"/>
                    <a:gd name="T87" fmla="*/ 16 h 38"/>
                    <a:gd name="T88" fmla="*/ 9 w 59"/>
                    <a:gd name="T89" fmla="*/ 16 h 38"/>
                    <a:gd name="T90" fmla="*/ 14 w 59"/>
                    <a:gd name="T91" fmla="*/ 19 h 38"/>
                    <a:gd name="T92" fmla="*/ 11 w 59"/>
                    <a:gd name="T93" fmla="*/ 19 h 38"/>
                    <a:gd name="T94" fmla="*/ 0 w 59"/>
                    <a:gd name="T95" fmla="*/ 31 h 38"/>
                    <a:gd name="T96" fmla="*/ 2 w 59"/>
                    <a:gd name="T97" fmla="*/ 28 h 38"/>
                    <a:gd name="T98" fmla="*/ 4 w 59"/>
                    <a:gd name="T99" fmla="*/ 26 h 38"/>
                    <a:gd name="T100" fmla="*/ 9 w 59"/>
                    <a:gd name="T101" fmla="*/ 23 h 38"/>
                    <a:gd name="T102" fmla="*/ 11 w 59"/>
                    <a:gd name="T103" fmla="*/ 21 h 38"/>
                    <a:gd name="T104" fmla="*/ 11 w 59"/>
                    <a:gd name="T105" fmla="*/ 21 h 38"/>
                    <a:gd name="T106" fmla="*/ 9 w 59"/>
                    <a:gd name="T107" fmla="*/ 19 h 38"/>
                    <a:gd name="T108" fmla="*/ 4 w 59"/>
                    <a:gd name="T109" fmla="*/ 19 h 38"/>
                    <a:gd name="T110" fmla="*/ 2 w 59"/>
                    <a:gd name="T111" fmla="*/ 19 h 38"/>
                    <a:gd name="T112" fmla="*/ 2 w 59"/>
                    <a:gd name="T113" fmla="*/ 21 h 38"/>
                    <a:gd name="T114" fmla="*/ 0 w 59"/>
                    <a:gd name="T115" fmla="*/ 21 h 38"/>
                    <a:gd name="T116" fmla="*/ 0 w 59"/>
                    <a:gd name="T117" fmla="*/ 21 h 38"/>
                    <a:gd name="T118" fmla="*/ 0 w 59"/>
                    <a:gd name="T119" fmla="*/ 23 h 38"/>
                    <a:gd name="T120" fmla="*/ 2 w 59"/>
                    <a:gd name="T121" fmla="*/ 26 h 38"/>
                    <a:gd name="T122" fmla="*/ 2 w 59"/>
                    <a:gd name="T123" fmla="*/ 28 h 38"/>
                    <a:gd name="T124" fmla="*/ 0 w 59"/>
                    <a:gd name="T125" fmla="*/ 3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9" h="38">
                      <a:moveTo>
                        <a:pt x="56" y="35"/>
                      </a:moveTo>
                      <a:lnTo>
                        <a:pt x="59" y="33"/>
                      </a:lnTo>
                      <a:lnTo>
                        <a:pt x="56" y="33"/>
                      </a:lnTo>
                      <a:lnTo>
                        <a:pt x="59" y="31"/>
                      </a:lnTo>
                      <a:lnTo>
                        <a:pt x="59" y="28"/>
                      </a:lnTo>
                      <a:lnTo>
                        <a:pt x="54" y="19"/>
                      </a:lnTo>
                      <a:lnTo>
                        <a:pt x="54" y="12"/>
                      </a:lnTo>
                      <a:lnTo>
                        <a:pt x="56" y="12"/>
                      </a:lnTo>
                      <a:lnTo>
                        <a:pt x="56" y="9"/>
                      </a:lnTo>
                      <a:lnTo>
                        <a:pt x="59" y="7"/>
                      </a:lnTo>
                      <a:lnTo>
                        <a:pt x="59" y="7"/>
                      </a:lnTo>
                      <a:lnTo>
                        <a:pt x="59" y="4"/>
                      </a:lnTo>
                      <a:lnTo>
                        <a:pt x="59" y="4"/>
                      </a:lnTo>
                      <a:lnTo>
                        <a:pt x="56" y="4"/>
                      </a:lnTo>
                      <a:lnTo>
                        <a:pt x="49" y="4"/>
                      </a:lnTo>
                      <a:lnTo>
                        <a:pt x="45" y="2"/>
                      </a:lnTo>
                      <a:lnTo>
                        <a:pt x="40" y="2"/>
                      </a:lnTo>
                      <a:lnTo>
                        <a:pt x="37" y="2"/>
                      </a:lnTo>
                      <a:lnTo>
                        <a:pt x="35" y="2"/>
                      </a:lnTo>
                      <a:lnTo>
                        <a:pt x="33" y="0"/>
                      </a:lnTo>
                      <a:lnTo>
                        <a:pt x="33" y="2"/>
                      </a:lnTo>
                      <a:lnTo>
                        <a:pt x="33" y="2"/>
                      </a:lnTo>
                      <a:lnTo>
                        <a:pt x="33" y="2"/>
                      </a:lnTo>
                      <a:lnTo>
                        <a:pt x="33" y="2"/>
                      </a:lnTo>
                      <a:lnTo>
                        <a:pt x="30" y="4"/>
                      </a:lnTo>
                      <a:lnTo>
                        <a:pt x="30" y="4"/>
                      </a:lnTo>
                      <a:lnTo>
                        <a:pt x="26" y="4"/>
                      </a:lnTo>
                      <a:lnTo>
                        <a:pt x="26" y="2"/>
                      </a:lnTo>
                      <a:lnTo>
                        <a:pt x="26" y="4"/>
                      </a:lnTo>
                      <a:lnTo>
                        <a:pt x="23" y="4"/>
                      </a:lnTo>
                      <a:lnTo>
                        <a:pt x="21" y="4"/>
                      </a:lnTo>
                      <a:lnTo>
                        <a:pt x="21" y="7"/>
                      </a:lnTo>
                      <a:lnTo>
                        <a:pt x="19" y="7"/>
                      </a:lnTo>
                      <a:lnTo>
                        <a:pt x="16" y="7"/>
                      </a:lnTo>
                      <a:lnTo>
                        <a:pt x="14" y="9"/>
                      </a:lnTo>
                      <a:lnTo>
                        <a:pt x="14" y="16"/>
                      </a:lnTo>
                      <a:lnTo>
                        <a:pt x="16" y="16"/>
                      </a:lnTo>
                      <a:lnTo>
                        <a:pt x="16" y="16"/>
                      </a:lnTo>
                      <a:lnTo>
                        <a:pt x="19" y="16"/>
                      </a:lnTo>
                      <a:lnTo>
                        <a:pt x="16" y="16"/>
                      </a:lnTo>
                      <a:lnTo>
                        <a:pt x="16" y="16"/>
                      </a:lnTo>
                      <a:lnTo>
                        <a:pt x="16" y="21"/>
                      </a:lnTo>
                      <a:lnTo>
                        <a:pt x="19" y="23"/>
                      </a:lnTo>
                      <a:lnTo>
                        <a:pt x="21" y="26"/>
                      </a:lnTo>
                      <a:lnTo>
                        <a:pt x="21" y="26"/>
                      </a:lnTo>
                      <a:lnTo>
                        <a:pt x="23" y="23"/>
                      </a:lnTo>
                      <a:lnTo>
                        <a:pt x="23" y="21"/>
                      </a:lnTo>
                      <a:lnTo>
                        <a:pt x="26" y="23"/>
                      </a:lnTo>
                      <a:lnTo>
                        <a:pt x="23" y="28"/>
                      </a:lnTo>
                      <a:lnTo>
                        <a:pt x="23" y="31"/>
                      </a:lnTo>
                      <a:lnTo>
                        <a:pt x="26" y="31"/>
                      </a:lnTo>
                      <a:lnTo>
                        <a:pt x="28" y="28"/>
                      </a:lnTo>
                      <a:lnTo>
                        <a:pt x="30" y="26"/>
                      </a:lnTo>
                      <a:lnTo>
                        <a:pt x="35" y="28"/>
                      </a:lnTo>
                      <a:lnTo>
                        <a:pt x="35" y="28"/>
                      </a:lnTo>
                      <a:lnTo>
                        <a:pt x="35" y="26"/>
                      </a:lnTo>
                      <a:lnTo>
                        <a:pt x="37" y="28"/>
                      </a:lnTo>
                      <a:lnTo>
                        <a:pt x="40" y="31"/>
                      </a:lnTo>
                      <a:lnTo>
                        <a:pt x="40" y="31"/>
                      </a:lnTo>
                      <a:lnTo>
                        <a:pt x="45" y="31"/>
                      </a:lnTo>
                      <a:lnTo>
                        <a:pt x="45" y="33"/>
                      </a:lnTo>
                      <a:lnTo>
                        <a:pt x="47" y="35"/>
                      </a:lnTo>
                      <a:lnTo>
                        <a:pt x="49" y="38"/>
                      </a:lnTo>
                      <a:lnTo>
                        <a:pt x="52" y="35"/>
                      </a:lnTo>
                      <a:lnTo>
                        <a:pt x="56" y="35"/>
                      </a:lnTo>
                      <a:lnTo>
                        <a:pt x="56" y="35"/>
                      </a:lnTo>
                      <a:close/>
                      <a:moveTo>
                        <a:pt x="9" y="12"/>
                      </a:moveTo>
                      <a:lnTo>
                        <a:pt x="11" y="12"/>
                      </a:lnTo>
                      <a:lnTo>
                        <a:pt x="14" y="14"/>
                      </a:lnTo>
                      <a:lnTo>
                        <a:pt x="11" y="14"/>
                      </a:lnTo>
                      <a:lnTo>
                        <a:pt x="9" y="12"/>
                      </a:lnTo>
                      <a:lnTo>
                        <a:pt x="9" y="12"/>
                      </a:lnTo>
                      <a:close/>
                      <a:moveTo>
                        <a:pt x="7" y="16"/>
                      </a:moveTo>
                      <a:lnTo>
                        <a:pt x="4" y="14"/>
                      </a:lnTo>
                      <a:lnTo>
                        <a:pt x="2" y="14"/>
                      </a:lnTo>
                      <a:lnTo>
                        <a:pt x="2" y="16"/>
                      </a:lnTo>
                      <a:lnTo>
                        <a:pt x="0" y="16"/>
                      </a:lnTo>
                      <a:lnTo>
                        <a:pt x="4" y="14"/>
                      </a:lnTo>
                      <a:lnTo>
                        <a:pt x="4" y="12"/>
                      </a:lnTo>
                      <a:lnTo>
                        <a:pt x="4" y="12"/>
                      </a:lnTo>
                      <a:lnTo>
                        <a:pt x="7" y="12"/>
                      </a:lnTo>
                      <a:lnTo>
                        <a:pt x="7" y="14"/>
                      </a:lnTo>
                      <a:lnTo>
                        <a:pt x="9" y="14"/>
                      </a:lnTo>
                      <a:lnTo>
                        <a:pt x="9" y="14"/>
                      </a:lnTo>
                      <a:lnTo>
                        <a:pt x="9" y="14"/>
                      </a:lnTo>
                      <a:lnTo>
                        <a:pt x="7" y="16"/>
                      </a:lnTo>
                      <a:lnTo>
                        <a:pt x="7" y="16"/>
                      </a:lnTo>
                      <a:lnTo>
                        <a:pt x="7" y="16"/>
                      </a:lnTo>
                      <a:close/>
                      <a:moveTo>
                        <a:pt x="11" y="19"/>
                      </a:moveTo>
                      <a:lnTo>
                        <a:pt x="9" y="16"/>
                      </a:lnTo>
                      <a:lnTo>
                        <a:pt x="14" y="16"/>
                      </a:lnTo>
                      <a:lnTo>
                        <a:pt x="14" y="19"/>
                      </a:lnTo>
                      <a:lnTo>
                        <a:pt x="14" y="21"/>
                      </a:lnTo>
                      <a:lnTo>
                        <a:pt x="11" y="19"/>
                      </a:lnTo>
                      <a:lnTo>
                        <a:pt x="11" y="19"/>
                      </a:lnTo>
                      <a:close/>
                      <a:moveTo>
                        <a:pt x="0" y="31"/>
                      </a:moveTo>
                      <a:lnTo>
                        <a:pt x="2" y="31"/>
                      </a:lnTo>
                      <a:lnTo>
                        <a:pt x="2" y="28"/>
                      </a:lnTo>
                      <a:lnTo>
                        <a:pt x="2" y="28"/>
                      </a:lnTo>
                      <a:lnTo>
                        <a:pt x="4" y="26"/>
                      </a:lnTo>
                      <a:lnTo>
                        <a:pt x="7" y="26"/>
                      </a:lnTo>
                      <a:lnTo>
                        <a:pt x="9" y="23"/>
                      </a:lnTo>
                      <a:lnTo>
                        <a:pt x="11" y="21"/>
                      </a:lnTo>
                      <a:lnTo>
                        <a:pt x="11" y="21"/>
                      </a:lnTo>
                      <a:lnTo>
                        <a:pt x="11" y="21"/>
                      </a:lnTo>
                      <a:lnTo>
                        <a:pt x="11" y="21"/>
                      </a:lnTo>
                      <a:lnTo>
                        <a:pt x="11" y="21"/>
                      </a:lnTo>
                      <a:lnTo>
                        <a:pt x="9" y="19"/>
                      </a:lnTo>
                      <a:lnTo>
                        <a:pt x="7" y="19"/>
                      </a:lnTo>
                      <a:lnTo>
                        <a:pt x="4" y="19"/>
                      </a:lnTo>
                      <a:lnTo>
                        <a:pt x="4" y="19"/>
                      </a:lnTo>
                      <a:lnTo>
                        <a:pt x="2" y="19"/>
                      </a:lnTo>
                      <a:lnTo>
                        <a:pt x="2" y="21"/>
                      </a:lnTo>
                      <a:lnTo>
                        <a:pt x="2" y="21"/>
                      </a:lnTo>
                      <a:lnTo>
                        <a:pt x="0" y="19"/>
                      </a:lnTo>
                      <a:lnTo>
                        <a:pt x="0" y="21"/>
                      </a:lnTo>
                      <a:lnTo>
                        <a:pt x="0" y="21"/>
                      </a:lnTo>
                      <a:lnTo>
                        <a:pt x="0" y="21"/>
                      </a:lnTo>
                      <a:lnTo>
                        <a:pt x="0" y="23"/>
                      </a:lnTo>
                      <a:lnTo>
                        <a:pt x="0" y="23"/>
                      </a:lnTo>
                      <a:lnTo>
                        <a:pt x="0" y="23"/>
                      </a:lnTo>
                      <a:lnTo>
                        <a:pt x="2" y="26"/>
                      </a:lnTo>
                      <a:lnTo>
                        <a:pt x="2" y="26"/>
                      </a:lnTo>
                      <a:lnTo>
                        <a:pt x="2" y="28"/>
                      </a:lnTo>
                      <a:lnTo>
                        <a:pt x="2" y="28"/>
                      </a:lnTo>
                      <a:lnTo>
                        <a:pt x="0" y="31"/>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3" name="Freeform 47">
                  <a:extLst>
                    <a:ext uri="{FF2B5EF4-FFF2-40B4-BE49-F238E27FC236}">
                      <a16:creationId xmlns:a16="http://schemas.microsoft.com/office/drawing/2014/main" id="{18D768C7-2581-60FC-0283-4B92471958AC}"/>
                    </a:ext>
                  </a:extLst>
                </p:cNvPr>
                <p:cNvSpPr>
                  <a:spLocks/>
                </p:cNvSpPr>
                <p:nvPr/>
              </p:nvSpPr>
              <p:spPr bwMode="auto">
                <a:xfrm>
                  <a:off x="2858" y="1922"/>
                  <a:ext cx="73" cy="35"/>
                </a:xfrm>
                <a:custGeom>
                  <a:avLst/>
                  <a:gdLst>
                    <a:gd name="T0" fmla="*/ 70 w 73"/>
                    <a:gd name="T1" fmla="*/ 26 h 35"/>
                    <a:gd name="T2" fmla="*/ 68 w 73"/>
                    <a:gd name="T3" fmla="*/ 21 h 35"/>
                    <a:gd name="T4" fmla="*/ 66 w 73"/>
                    <a:gd name="T5" fmla="*/ 16 h 35"/>
                    <a:gd name="T6" fmla="*/ 66 w 73"/>
                    <a:gd name="T7" fmla="*/ 14 h 35"/>
                    <a:gd name="T8" fmla="*/ 66 w 73"/>
                    <a:gd name="T9" fmla="*/ 12 h 35"/>
                    <a:gd name="T10" fmla="*/ 59 w 73"/>
                    <a:gd name="T11" fmla="*/ 9 h 35"/>
                    <a:gd name="T12" fmla="*/ 54 w 73"/>
                    <a:gd name="T13" fmla="*/ 9 h 35"/>
                    <a:gd name="T14" fmla="*/ 52 w 73"/>
                    <a:gd name="T15" fmla="*/ 5 h 35"/>
                    <a:gd name="T16" fmla="*/ 47 w 73"/>
                    <a:gd name="T17" fmla="*/ 5 h 35"/>
                    <a:gd name="T18" fmla="*/ 42 w 73"/>
                    <a:gd name="T19" fmla="*/ 0 h 35"/>
                    <a:gd name="T20" fmla="*/ 42 w 73"/>
                    <a:gd name="T21" fmla="*/ 2 h 35"/>
                    <a:gd name="T22" fmla="*/ 35 w 73"/>
                    <a:gd name="T23" fmla="*/ 2 h 35"/>
                    <a:gd name="T24" fmla="*/ 30 w 73"/>
                    <a:gd name="T25" fmla="*/ 5 h 35"/>
                    <a:gd name="T26" fmla="*/ 33 w 73"/>
                    <a:gd name="T27" fmla="*/ 12 h 35"/>
                    <a:gd name="T28" fmla="*/ 28 w 73"/>
                    <a:gd name="T29" fmla="*/ 19 h 35"/>
                    <a:gd name="T30" fmla="*/ 21 w 73"/>
                    <a:gd name="T31" fmla="*/ 16 h 35"/>
                    <a:gd name="T32" fmla="*/ 16 w 73"/>
                    <a:gd name="T33" fmla="*/ 9 h 35"/>
                    <a:gd name="T34" fmla="*/ 16 w 73"/>
                    <a:gd name="T35" fmla="*/ 7 h 35"/>
                    <a:gd name="T36" fmla="*/ 9 w 73"/>
                    <a:gd name="T37" fmla="*/ 9 h 35"/>
                    <a:gd name="T38" fmla="*/ 7 w 73"/>
                    <a:gd name="T39" fmla="*/ 9 h 35"/>
                    <a:gd name="T40" fmla="*/ 4 w 73"/>
                    <a:gd name="T41" fmla="*/ 14 h 35"/>
                    <a:gd name="T42" fmla="*/ 4 w 73"/>
                    <a:gd name="T43" fmla="*/ 16 h 35"/>
                    <a:gd name="T44" fmla="*/ 2 w 73"/>
                    <a:gd name="T45" fmla="*/ 21 h 35"/>
                    <a:gd name="T46" fmla="*/ 0 w 73"/>
                    <a:gd name="T47" fmla="*/ 26 h 35"/>
                    <a:gd name="T48" fmla="*/ 2 w 73"/>
                    <a:gd name="T49" fmla="*/ 31 h 35"/>
                    <a:gd name="T50" fmla="*/ 4 w 73"/>
                    <a:gd name="T51" fmla="*/ 31 h 35"/>
                    <a:gd name="T52" fmla="*/ 9 w 73"/>
                    <a:gd name="T53" fmla="*/ 26 h 35"/>
                    <a:gd name="T54" fmla="*/ 16 w 73"/>
                    <a:gd name="T55" fmla="*/ 26 h 35"/>
                    <a:gd name="T56" fmla="*/ 21 w 73"/>
                    <a:gd name="T57" fmla="*/ 26 h 35"/>
                    <a:gd name="T58" fmla="*/ 26 w 73"/>
                    <a:gd name="T59" fmla="*/ 26 h 35"/>
                    <a:gd name="T60" fmla="*/ 28 w 73"/>
                    <a:gd name="T61" fmla="*/ 26 h 35"/>
                    <a:gd name="T62" fmla="*/ 33 w 73"/>
                    <a:gd name="T63" fmla="*/ 28 h 35"/>
                    <a:gd name="T64" fmla="*/ 37 w 73"/>
                    <a:gd name="T65" fmla="*/ 26 h 35"/>
                    <a:gd name="T66" fmla="*/ 47 w 73"/>
                    <a:gd name="T67" fmla="*/ 28 h 35"/>
                    <a:gd name="T68" fmla="*/ 52 w 73"/>
                    <a:gd name="T69" fmla="*/ 33 h 35"/>
                    <a:gd name="T70" fmla="*/ 56 w 73"/>
                    <a:gd name="T71" fmla="*/ 35 h 35"/>
                    <a:gd name="T72" fmla="*/ 59 w 73"/>
                    <a:gd name="T73" fmla="*/ 35 h 35"/>
                    <a:gd name="T74" fmla="*/ 66 w 73"/>
                    <a:gd name="T75" fmla="*/ 35 h 35"/>
                    <a:gd name="T76" fmla="*/ 68 w 73"/>
                    <a:gd name="T77" fmla="*/ 31 h 35"/>
                    <a:gd name="T78" fmla="*/ 73 w 73"/>
                    <a:gd name="T79" fmla="*/ 28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3" h="35">
                      <a:moveTo>
                        <a:pt x="73" y="28"/>
                      </a:moveTo>
                      <a:lnTo>
                        <a:pt x="70" y="26"/>
                      </a:lnTo>
                      <a:lnTo>
                        <a:pt x="70" y="23"/>
                      </a:lnTo>
                      <a:lnTo>
                        <a:pt x="68" y="21"/>
                      </a:lnTo>
                      <a:lnTo>
                        <a:pt x="68" y="19"/>
                      </a:lnTo>
                      <a:lnTo>
                        <a:pt x="66" y="16"/>
                      </a:lnTo>
                      <a:lnTo>
                        <a:pt x="66" y="16"/>
                      </a:lnTo>
                      <a:lnTo>
                        <a:pt x="66" y="14"/>
                      </a:lnTo>
                      <a:lnTo>
                        <a:pt x="66" y="14"/>
                      </a:lnTo>
                      <a:lnTo>
                        <a:pt x="66" y="12"/>
                      </a:lnTo>
                      <a:lnTo>
                        <a:pt x="66" y="9"/>
                      </a:lnTo>
                      <a:lnTo>
                        <a:pt x="59" y="9"/>
                      </a:lnTo>
                      <a:lnTo>
                        <a:pt x="56" y="12"/>
                      </a:lnTo>
                      <a:lnTo>
                        <a:pt x="54" y="9"/>
                      </a:lnTo>
                      <a:lnTo>
                        <a:pt x="52" y="7"/>
                      </a:lnTo>
                      <a:lnTo>
                        <a:pt x="52" y="5"/>
                      </a:lnTo>
                      <a:lnTo>
                        <a:pt x="47" y="5"/>
                      </a:lnTo>
                      <a:lnTo>
                        <a:pt x="47" y="5"/>
                      </a:lnTo>
                      <a:lnTo>
                        <a:pt x="44" y="2"/>
                      </a:lnTo>
                      <a:lnTo>
                        <a:pt x="42" y="0"/>
                      </a:lnTo>
                      <a:lnTo>
                        <a:pt x="42" y="2"/>
                      </a:lnTo>
                      <a:lnTo>
                        <a:pt x="42" y="2"/>
                      </a:lnTo>
                      <a:lnTo>
                        <a:pt x="37" y="0"/>
                      </a:lnTo>
                      <a:lnTo>
                        <a:pt x="35" y="2"/>
                      </a:lnTo>
                      <a:lnTo>
                        <a:pt x="33" y="5"/>
                      </a:lnTo>
                      <a:lnTo>
                        <a:pt x="30" y="5"/>
                      </a:lnTo>
                      <a:lnTo>
                        <a:pt x="30" y="7"/>
                      </a:lnTo>
                      <a:lnTo>
                        <a:pt x="33" y="12"/>
                      </a:lnTo>
                      <a:lnTo>
                        <a:pt x="30" y="14"/>
                      </a:lnTo>
                      <a:lnTo>
                        <a:pt x="28" y="19"/>
                      </a:lnTo>
                      <a:lnTo>
                        <a:pt x="26" y="19"/>
                      </a:lnTo>
                      <a:lnTo>
                        <a:pt x="21" y="16"/>
                      </a:lnTo>
                      <a:lnTo>
                        <a:pt x="21" y="14"/>
                      </a:lnTo>
                      <a:lnTo>
                        <a:pt x="16" y="9"/>
                      </a:lnTo>
                      <a:lnTo>
                        <a:pt x="16" y="5"/>
                      </a:lnTo>
                      <a:lnTo>
                        <a:pt x="16" y="7"/>
                      </a:lnTo>
                      <a:lnTo>
                        <a:pt x="14" y="7"/>
                      </a:lnTo>
                      <a:lnTo>
                        <a:pt x="9" y="9"/>
                      </a:lnTo>
                      <a:lnTo>
                        <a:pt x="9" y="9"/>
                      </a:lnTo>
                      <a:lnTo>
                        <a:pt x="7" y="9"/>
                      </a:lnTo>
                      <a:lnTo>
                        <a:pt x="4" y="12"/>
                      </a:lnTo>
                      <a:lnTo>
                        <a:pt x="4" y="14"/>
                      </a:lnTo>
                      <a:lnTo>
                        <a:pt x="4" y="14"/>
                      </a:lnTo>
                      <a:lnTo>
                        <a:pt x="4" y="16"/>
                      </a:lnTo>
                      <a:lnTo>
                        <a:pt x="2" y="21"/>
                      </a:lnTo>
                      <a:lnTo>
                        <a:pt x="2" y="21"/>
                      </a:lnTo>
                      <a:lnTo>
                        <a:pt x="2" y="23"/>
                      </a:lnTo>
                      <a:lnTo>
                        <a:pt x="0" y="26"/>
                      </a:lnTo>
                      <a:lnTo>
                        <a:pt x="2" y="31"/>
                      </a:lnTo>
                      <a:lnTo>
                        <a:pt x="2" y="31"/>
                      </a:lnTo>
                      <a:lnTo>
                        <a:pt x="2" y="33"/>
                      </a:lnTo>
                      <a:lnTo>
                        <a:pt x="4" y="31"/>
                      </a:lnTo>
                      <a:lnTo>
                        <a:pt x="4" y="28"/>
                      </a:lnTo>
                      <a:lnTo>
                        <a:pt x="9" y="26"/>
                      </a:lnTo>
                      <a:lnTo>
                        <a:pt x="14" y="26"/>
                      </a:lnTo>
                      <a:lnTo>
                        <a:pt x="16" y="26"/>
                      </a:lnTo>
                      <a:lnTo>
                        <a:pt x="21" y="26"/>
                      </a:lnTo>
                      <a:lnTo>
                        <a:pt x="21" y="26"/>
                      </a:lnTo>
                      <a:lnTo>
                        <a:pt x="23" y="26"/>
                      </a:lnTo>
                      <a:lnTo>
                        <a:pt x="26" y="26"/>
                      </a:lnTo>
                      <a:lnTo>
                        <a:pt x="26" y="26"/>
                      </a:lnTo>
                      <a:lnTo>
                        <a:pt x="28" y="26"/>
                      </a:lnTo>
                      <a:lnTo>
                        <a:pt x="30" y="28"/>
                      </a:lnTo>
                      <a:lnTo>
                        <a:pt x="33" y="28"/>
                      </a:lnTo>
                      <a:lnTo>
                        <a:pt x="35" y="28"/>
                      </a:lnTo>
                      <a:lnTo>
                        <a:pt x="37" y="26"/>
                      </a:lnTo>
                      <a:lnTo>
                        <a:pt x="42" y="28"/>
                      </a:lnTo>
                      <a:lnTo>
                        <a:pt x="47" y="28"/>
                      </a:lnTo>
                      <a:lnTo>
                        <a:pt x="49" y="31"/>
                      </a:lnTo>
                      <a:lnTo>
                        <a:pt x="52" y="33"/>
                      </a:lnTo>
                      <a:lnTo>
                        <a:pt x="54" y="35"/>
                      </a:lnTo>
                      <a:lnTo>
                        <a:pt x="56" y="35"/>
                      </a:lnTo>
                      <a:lnTo>
                        <a:pt x="59" y="35"/>
                      </a:lnTo>
                      <a:lnTo>
                        <a:pt x="59" y="35"/>
                      </a:lnTo>
                      <a:lnTo>
                        <a:pt x="61" y="35"/>
                      </a:lnTo>
                      <a:lnTo>
                        <a:pt x="66" y="35"/>
                      </a:lnTo>
                      <a:lnTo>
                        <a:pt x="68" y="31"/>
                      </a:lnTo>
                      <a:lnTo>
                        <a:pt x="68" y="31"/>
                      </a:lnTo>
                      <a:lnTo>
                        <a:pt x="70" y="28"/>
                      </a:lnTo>
                      <a:lnTo>
                        <a:pt x="73" y="28"/>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4" name="Freeform 48">
                  <a:extLst>
                    <a:ext uri="{FF2B5EF4-FFF2-40B4-BE49-F238E27FC236}">
                      <a16:creationId xmlns:a16="http://schemas.microsoft.com/office/drawing/2014/main" id="{340F09AF-0A52-5855-6591-5F2FD8AD78A3}"/>
                    </a:ext>
                  </a:extLst>
                </p:cNvPr>
                <p:cNvSpPr>
                  <a:spLocks/>
                </p:cNvSpPr>
                <p:nvPr/>
              </p:nvSpPr>
              <p:spPr bwMode="auto">
                <a:xfrm>
                  <a:off x="2860" y="1948"/>
                  <a:ext cx="57" cy="35"/>
                </a:xfrm>
                <a:custGeom>
                  <a:avLst/>
                  <a:gdLst>
                    <a:gd name="T0" fmla="*/ 19 w 57"/>
                    <a:gd name="T1" fmla="*/ 26 h 35"/>
                    <a:gd name="T2" fmla="*/ 19 w 57"/>
                    <a:gd name="T3" fmla="*/ 24 h 35"/>
                    <a:gd name="T4" fmla="*/ 19 w 57"/>
                    <a:gd name="T5" fmla="*/ 21 h 35"/>
                    <a:gd name="T6" fmla="*/ 19 w 57"/>
                    <a:gd name="T7" fmla="*/ 19 h 35"/>
                    <a:gd name="T8" fmla="*/ 16 w 57"/>
                    <a:gd name="T9" fmla="*/ 19 h 35"/>
                    <a:gd name="T10" fmla="*/ 16 w 57"/>
                    <a:gd name="T11" fmla="*/ 16 h 35"/>
                    <a:gd name="T12" fmla="*/ 14 w 57"/>
                    <a:gd name="T13" fmla="*/ 16 h 35"/>
                    <a:gd name="T14" fmla="*/ 12 w 57"/>
                    <a:gd name="T15" fmla="*/ 16 h 35"/>
                    <a:gd name="T16" fmla="*/ 7 w 57"/>
                    <a:gd name="T17" fmla="*/ 16 h 35"/>
                    <a:gd name="T18" fmla="*/ 5 w 57"/>
                    <a:gd name="T19" fmla="*/ 12 h 35"/>
                    <a:gd name="T20" fmla="*/ 0 w 57"/>
                    <a:gd name="T21" fmla="*/ 14 h 35"/>
                    <a:gd name="T22" fmla="*/ 0 w 57"/>
                    <a:gd name="T23" fmla="*/ 14 h 35"/>
                    <a:gd name="T24" fmla="*/ 2 w 57"/>
                    <a:gd name="T25" fmla="*/ 12 h 35"/>
                    <a:gd name="T26" fmla="*/ 0 w 57"/>
                    <a:gd name="T27" fmla="*/ 9 h 35"/>
                    <a:gd name="T28" fmla="*/ 0 w 57"/>
                    <a:gd name="T29" fmla="*/ 7 h 35"/>
                    <a:gd name="T30" fmla="*/ 2 w 57"/>
                    <a:gd name="T31" fmla="*/ 5 h 35"/>
                    <a:gd name="T32" fmla="*/ 2 w 57"/>
                    <a:gd name="T33" fmla="*/ 2 h 35"/>
                    <a:gd name="T34" fmla="*/ 7 w 57"/>
                    <a:gd name="T35" fmla="*/ 0 h 35"/>
                    <a:gd name="T36" fmla="*/ 12 w 57"/>
                    <a:gd name="T37" fmla="*/ 0 h 35"/>
                    <a:gd name="T38" fmla="*/ 14 w 57"/>
                    <a:gd name="T39" fmla="*/ 0 h 35"/>
                    <a:gd name="T40" fmla="*/ 19 w 57"/>
                    <a:gd name="T41" fmla="*/ 0 h 35"/>
                    <a:gd name="T42" fmla="*/ 19 w 57"/>
                    <a:gd name="T43" fmla="*/ 0 h 35"/>
                    <a:gd name="T44" fmla="*/ 21 w 57"/>
                    <a:gd name="T45" fmla="*/ 0 h 35"/>
                    <a:gd name="T46" fmla="*/ 24 w 57"/>
                    <a:gd name="T47" fmla="*/ 0 h 35"/>
                    <a:gd name="T48" fmla="*/ 24 w 57"/>
                    <a:gd name="T49" fmla="*/ 0 h 35"/>
                    <a:gd name="T50" fmla="*/ 26 w 57"/>
                    <a:gd name="T51" fmla="*/ 0 h 35"/>
                    <a:gd name="T52" fmla="*/ 28 w 57"/>
                    <a:gd name="T53" fmla="*/ 2 h 35"/>
                    <a:gd name="T54" fmla="*/ 31 w 57"/>
                    <a:gd name="T55" fmla="*/ 2 h 35"/>
                    <a:gd name="T56" fmla="*/ 33 w 57"/>
                    <a:gd name="T57" fmla="*/ 2 h 35"/>
                    <a:gd name="T58" fmla="*/ 35 w 57"/>
                    <a:gd name="T59" fmla="*/ 0 h 35"/>
                    <a:gd name="T60" fmla="*/ 40 w 57"/>
                    <a:gd name="T61" fmla="*/ 2 h 35"/>
                    <a:gd name="T62" fmla="*/ 45 w 57"/>
                    <a:gd name="T63" fmla="*/ 2 h 35"/>
                    <a:gd name="T64" fmla="*/ 47 w 57"/>
                    <a:gd name="T65" fmla="*/ 5 h 35"/>
                    <a:gd name="T66" fmla="*/ 50 w 57"/>
                    <a:gd name="T67" fmla="*/ 7 h 35"/>
                    <a:gd name="T68" fmla="*/ 52 w 57"/>
                    <a:gd name="T69" fmla="*/ 9 h 35"/>
                    <a:gd name="T70" fmla="*/ 54 w 57"/>
                    <a:gd name="T71" fmla="*/ 9 h 35"/>
                    <a:gd name="T72" fmla="*/ 57 w 57"/>
                    <a:gd name="T73" fmla="*/ 9 h 35"/>
                    <a:gd name="T74" fmla="*/ 54 w 57"/>
                    <a:gd name="T75" fmla="*/ 14 h 35"/>
                    <a:gd name="T76" fmla="*/ 54 w 57"/>
                    <a:gd name="T77" fmla="*/ 14 h 35"/>
                    <a:gd name="T78" fmla="*/ 54 w 57"/>
                    <a:gd name="T79" fmla="*/ 16 h 35"/>
                    <a:gd name="T80" fmla="*/ 52 w 57"/>
                    <a:gd name="T81" fmla="*/ 19 h 35"/>
                    <a:gd name="T82" fmla="*/ 50 w 57"/>
                    <a:gd name="T83" fmla="*/ 21 h 35"/>
                    <a:gd name="T84" fmla="*/ 47 w 57"/>
                    <a:gd name="T85" fmla="*/ 21 h 35"/>
                    <a:gd name="T86" fmla="*/ 47 w 57"/>
                    <a:gd name="T87" fmla="*/ 24 h 35"/>
                    <a:gd name="T88" fmla="*/ 50 w 57"/>
                    <a:gd name="T89" fmla="*/ 26 h 35"/>
                    <a:gd name="T90" fmla="*/ 50 w 57"/>
                    <a:gd name="T91" fmla="*/ 28 h 35"/>
                    <a:gd name="T92" fmla="*/ 47 w 57"/>
                    <a:gd name="T93" fmla="*/ 28 h 35"/>
                    <a:gd name="T94" fmla="*/ 47 w 57"/>
                    <a:gd name="T95" fmla="*/ 26 h 35"/>
                    <a:gd name="T96" fmla="*/ 45 w 57"/>
                    <a:gd name="T97" fmla="*/ 28 h 35"/>
                    <a:gd name="T98" fmla="*/ 45 w 57"/>
                    <a:gd name="T99" fmla="*/ 31 h 35"/>
                    <a:gd name="T100" fmla="*/ 40 w 57"/>
                    <a:gd name="T101" fmla="*/ 31 h 35"/>
                    <a:gd name="T102" fmla="*/ 42 w 57"/>
                    <a:gd name="T103" fmla="*/ 33 h 35"/>
                    <a:gd name="T104" fmla="*/ 40 w 57"/>
                    <a:gd name="T105" fmla="*/ 33 h 35"/>
                    <a:gd name="T106" fmla="*/ 38 w 57"/>
                    <a:gd name="T107" fmla="*/ 35 h 35"/>
                    <a:gd name="T108" fmla="*/ 33 w 57"/>
                    <a:gd name="T109" fmla="*/ 33 h 35"/>
                    <a:gd name="T110" fmla="*/ 31 w 57"/>
                    <a:gd name="T111" fmla="*/ 35 h 35"/>
                    <a:gd name="T112" fmla="*/ 28 w 57"/>
                    <a:gd name="T113" fmla="*/ 35 h 35"/>
                    <a:gd name="T114" fmla="*/ 26 w 57"/>
                    <a:gd name="T115" fmla="*/ 33 h 35"/>
                    <a:gd name="T116" fmla="*/ 26 w 57"/>
                    <a:gd name="T117" fmla="*/ 31 h 35"/>
                    <a:gd name="T118" fmla="*/ 24 w 57"/>
                    <a:gd name="T119" fmla="*/ 28 h 35"/>
                    <a:gd name="T120" fmla="*/ 24 w 57"/>
                    <a:gd name="T121" fmla="*/ 28 h 35"/>
                    <a:gd name="T122" fmla="*/ 21 w 57"/>
                    <a:gd name="T123" fmla="*/ 26 h 35"/>
                    <a:gd name="T124" fmla="*/ 19 w 57"/>
                    <a:gd name="T125" fmla="*/ 2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7" h="35">
                      <a:moveTo>
                        <a:pt x="19" y="26"/>
                      </a:moveTo>
                      <a:lnTo>
                        <a:pt x="19" y="24"/>
                      </a:lnTo>
                      <a:lnTo>
                        <a:pt x="19" y="21"/>
                      </a:lnTo>
                      <a:lnTo>
                        <a:pt x="19" y="19"/>
                      </a:lnTo>
                      <a:lnTo>
                        <a:pt x="16" y="19"/>
                      </a:lnTo>
                      <a:lnTo>
                        <a:pt x="16" y="16"/>
                      </a:lnTo>
                      <a:lnTo>
                        <a:pt x="14" y="16"/>
                      </a:lnTo>
                      <a:lnTo>
                        <a:pt x="12" y="16"/>
                      </a:lnTo>
                      <a:lnTo>
                        <a:pt x="7" y="16"/>
                      </a:lnTo>
                      <a:lnTo>
                        <a:pt x="5" y="12"/>
                      </a:lnTo>
                      <a:lnTo>
                        <a:pt x="0" y="14"/>
                      </a:lnTo>
                      <a:lnTo>
                        <a:pt x="0" y="14"/>
                      </a:lnTo>
                      <a:lnTo>
                        <a:pt x="2" y="12"/>
                      </a:lnTo>
                      <a:lnTo>
                        <a:pt x="0" y="9"/>
                      </a:lnTo>
                      <a:lnTo>
                        <a:pt x="0" y="7"/>
                      </a:lnTo>
                      <a:lnTo>
                        <a:pt x="2" y="5"/>
                      </a:lnTo>
                      <a:lnTo>
                        <a:pt x="2" y="2"/>
                      </a:lnTo>
                      <a:lnTo>
                        <a:pt x="7" y="0"/>
                      </a:lnTo>
                      <a:lnTo>
                        <a:pt x="12" y="0"/>
                      </a:lnTo>
                      <a:lnTo>
                        <a:pt x="14" y="0"/>
                      </a:lnTo>
                      <a:lnTo>
                        <a:pt x="19" y="0"/>
                      </a:lnTo>
                      <a:lnTo>
                        <a:pt x="19" y="0"/>
                      </a:lnTo>
                      <a:lnTo>
                        <a:pt x="21" y="0"/>
                      </a:lnTo>
                      <a:lnTo>
                        <a:pt x="24" y="0"/>
                      </a:lnTo>
                      <a:lnTo>
                        <a:pt x="24" y="0"/>
                      </a:lnTo>
                      <a:lnTo>
                        <a:pt x="26" y="0"/>
                      </a:lnTo>
                      <a:lnTo>
                        <a:pt x="28" y="2"/>
                      </a:lnTo>
                      <a:lnTo>
                        <a:pt x="31" y="2"/>
                      </a:lnTo>
                      <a:lnTo>
                        <a:pt x="33" y="2"/>
                      </a:lnTo>
                      <a:lnTo>
                        <a:pt x="35" y="0"/>
                      </a:lnTo>
                      <a:lnTo>
                        <a:pt x="40" y="2"/>
                      </a:lnTo>
                      <a:lnTo>
                        <a:pt x="45" y="2"/>
                      </a:lnTo>
                      <a:lnTo>
                        <a:pt x="47" y="5"/>
                      </a:lnTo>
                      <a:lnTo>
                        <a:pt x="50" y="7"/>
                      </a:lnTo>
                      <a:lnTo>
                        <a:pt x="52" y="9"/>
                      </a:lnTo>
                      <a:lnTo>
                        <a:pt x="54" y="9"/>
                      </a:lnTo>
                      <a:lnTo>
                        <a:pt x="57" y="9"/>
                      </a:lnTo>
                      <a:lnTo>
                        <a:pt x="54" y="14"/>
                      </a:lnTo>
                      <a:lnTo>
                        <a:pt x="54" y="14"/>
                      </a:lnTo>
                      <a:lnTo>
                        <a:pt x="54" y="16"/>
                      </a:lnTo>
                      <a:lnTo>
                        <a:pt x="52" y="19"/>
                      </a:lnTo>
                      <a:lnTo>
                        <a:pt x="50" y="21"/>
                      </a:lnTo>
                      <a:lnTo>
                        <a:pt x="47" y="21"/>
                      </a:lnTo>
                      <a:lnTo>
                        <a:pt x="47" y="24"/>
                      </a:lnTo>
                      <a:lnTo>
                        <a:pt x="50" y="26"/>
                      </a:lnTo>
                      <a:lnTo>
                        <a:pt x="50" y="28"/>
                      </a:lnTo>
                      <a:lnTo>
                        <a:pt x="47" y="28"/>
                      </a:lnTo>
                      <a:lnTo>
                        <a:pt x="47" y="26"/>
                      </a:lnTo>
                      <a:lnTo>
                        <a:pt x="45" y="28"/>
                      </a:lnTo>
                      <a:lnTo>
                        <a:pt x="45" y="31"/>
                      </a:lnTo>
                      <a:lnTo>
                        <a:pt x="40" y="31"/>
                      </a:lnTo>
                      <a:lnTo>
                        <a:pt x="42" y="33"/>
                      </a:lnTo>
                      <a:lnTo>
                        <a:pt x="40" y="33"/>
                      </a:lnTo>
                      <a:lnTo>
                        <a:pt x="38" y="35"/>
                      </a:lnTo>
                      <a:lnTo>
                        <a:pt x="33" y="33"/>
                      </a:lnTo>
                      <a:lnTo>
                        <a:pt x="31" y="35"/>
                      </a:lnTo>
                      <a:lnTo>
                        <a:pt x="28" y="35"/>
                      </a:lnTo>
                      <a:lnTo>
                        <a:pt x="26" y="33"/>
                      </a:lnTo>
                      <a:lnTo>
                        <a:pt x="26" y="31"/>
                      </a:lnTo>
                      <a:lnTo>
                        <a:pt x="24" y="28"/>
                      </a:lnTo>
                      <a:lnTo>
                        <a:pt x="24" y="28"/>
                      </a:lnTo>
                      <a:lnTo>
                        <a:pt x="21" y="26"/>
                      </a:lnTo>
                      <a:lnTo>
                        <a:pt x="19" y="26"/>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5" name="Freeform 49">
                  <a:extLst>
                    <a:ext uri="{FF2B5EF4-FFF2-40B4-BE49-F238E27FC236}">
                      <a16:creationId xmlns:a16="http://schemas.microsoft.com/office/drawing/2014/main" id="{642A296A-0A6F-865A-C156-F30935F6E7D3}"/>
                    </a:ext>
                  </a:extLst>
                </p:cNvPr>
                <p:cNvSpPr>
                  <a:spLocks/>
                </p:cNvSpPr>
                <p:nvPr/>
              </p:nvSpPr>
              <p:spPr bwMode="auto">
                <a:xfrm>
                  <a:off x="2888" y="1950"/>
                  <a:ext cx="95" cy="67"/>
                </a:xfrm>
                <a:custGeom>
                  <a:avLst/>
                  <a:gdLst>
                    <a:gd name="T0" fmla="*/ 3 w 95"/>
                    <a:gd name="T1" fmla="*/ 33 h 67"/>
                    <a:gd name="T2" fmla="*/ 10 w 95"/>
                    <a:gd name="T3" fmla="*/ 33 h 67"/>
                    <a:gd name="T4" fmla="*/ 14 w 95"/>
                    <a:gd name="T5" fmla="*/ 31 h 67"/>
                    <a:gd name="T6" fmla="*/ 17 w 95"/>
                    <a:gd name="T7" fmla="*/ 29 h 67"/>
                    <a:gd name="T8" fmla="*/ 19 w 95"/>
                    <a:gd name="T9" fmla="*/ 24 h 67"/>
                    <a:gd name="T10" fmla="*/ 22 w 95"/>
                    <a:gd name="T11" fmla="*/ 26 h 67"/>
                    <a:gd name="T12" fmla="*/ 19 w 95"/>
                    <a:gd name="T13" fmla="*/ 22 h 67"/>
                    <a:gd name="T14" fmla="*/ 22 w 95"/>
                    <a:gd name="T15" fmla="*/ 19 h 67"/>
                    <a:gd name="T16" fmla="*/ 26 w 95"/>
                    <a:gd name="T17" fmla="*/ 14 h 67"/>
                    <a:gd name="T18" fmla="*/ 26 w 95"/>
                    <a:gd name="T19" fmla="*/ 12 h 67"/>
                    <a:gd name="T20" fmla="*/ 31 w 95"/>
                    <a:gd name="T21" fmla="*/ 7 h 67"/>
                    <a:gd name="T22" fmla="*/ 38 w 95"/>
                    <a:gd name="T23" fmla="*/ 3 h 67"/>
                    <a:gd name="T24" fmla="*/ 40 w 95"/>
                    <a:gd name="T25" fmla="*/ 0 h 67"/>
                    <a:gd name="T26" fmla="*/ 45 w 95"/>
                    <a:gd name="T27" fmla="*/ 0 h 67"/>
                    <a:gd name="T28" fmla="*/ 50 w 95"/>
                    <a:gd name="T29" fmla="*/ 3 h 67"/>
                    <a:gd name="T30" fmla="*/ 55 w 95"/>
                    <a:gd name="T31" fmla="*/ 3 h 67"/>
                    <a:gd name="T32" fmla="*/ 59 w 95"/>
                    <a:gd name="T33" fmla="*/ 3 h 67"/>
                    <a:gd name="T34" fmla="*/ 64 w 95"/>
                    <a:gd name="T35" fmla="*/ 5 h 67"/>
                    <a:gd name="T36" fmla="*/ 71 w 95"/>
                    <a:gd name="T37" fmla="*/ 5 h 67"/>
                    <a:gd name="T38" fmla="*/ 71 w 95"/>
                    <a:gd name="T39" fmla="*/ 10 h 67"/>
                    <a:gd name="T40" fmla="*/ 74 w 95"/>
                    <a:gd name="T41" fmla="*/ 17 h 67"/>
                    <a:gd name="T42" fmla="*/ 76 w 95"/>
                    <a:gd name="T43" fmla="*/ 22 h 67"/>
                    <a:gd name="T44" fmla="*/ 81 w 95"/>
                    <a:gd name="T45" fmla="*/ 26 h 67"/>
                    <a:gd name="T46" fmla="*/ 85 w 95"/>
                    <a:gd name="T47" fmla="*/ 31 h 67"/>
                    <a:gd name="T48" fmla="*/ 90 w 95"/>
                    <a:gd name="T49" fmla="*/ 36 h 67"/>
                    <a:gd name="T50" fmla="*/ 93 w 95"/>
                    <a:gd name="T51" fmla="*/ 38 h 67"/>
                    <a:gd name="T52" fmla="*/ 85 w 95"/>
                    <a:gd name="T53" fmla="*/ 43 h 67"/>
                    <a:gd name="T54" fmla="*/ 81 w 95"/>
                    <a:gd name="T55" fmla="*/ 43 h 67"/>
                    <a:gd name="T56" fmla="*/ 83 w 95"/>
                    <a:gd name="T57" fmla="*/ 48 h 67"/>
                    <a:gd name="T58" fmla="*/ 85 w 95"/>
                    <a:gd name="T59" fmla="*/ 55 h 67"/>
                    <a:gd name="T60" fmla="*/ 85 w 95"/>
                    <a:gd name="T61" fmla="*/ 57 h 67"/>
                    <a:gd name="T62" fmla="*/ 78 w 95"/>
                    <a:gd name="T63" fmla="*/ 57 h 67"/>
                    <a:gd name="T64" fmla="*/ 76 w 95"/>
                    <a:gd name="T65" fmla="*/ 64 h 67"/>
                    <a:gd name="T66" fmla="*/ 71 w 95"/>
                    <a:gd name="T67" fmla="*/ 64 h 67"/>
                    <a:gd name="T68" fmla="*/ 67 w 95"/>
                    <a:gd name="T69" fmla="*/ 64 h 67"/>
                    <a:gd name="T70" fmla="*/ 62 w 95"/>
                    <a:gd name="T71" fmla="*/ 67 h 67"/>
                    <a:gd name="T72" fmla="*/ 59 w 95"/>
                    <a:gd name="T73" fmla="*/ 64 h 67"/>
                    <a:gd name="T74" fmla="*/ 52 w 95"/>
                    <a:gd name="T75" fmla="*/ 64 h 67"/>
                    <a:gd name="T76" fmla="*/ 48 w 95"/>
                    <a:gd name="T77" fmla="*/ 64 h 67"/>
                    <a:gd name="T78" fmla="*/ 45 w 95"/>
                    <a:gd name="T79" fmla="*/ 64 h 67"/>
                    <a:gd name="T80" fmla="*/ 38 w 95"/>
                    <a:gd name="T81" fmla="*/ 64 h 67"/>
                    <a:gd name="T82" fmla="*/ 36 w 95"/>
                    <a:gd name="T83" fmla="*/ 62 h 67"/>
                    <a:gd name="T84" fmla="*/ 26 w 95"/>
                    <a:gd name="T85" fmla="*/ 59 h 67"/>
                    <a:gd name="T86" fmla="*/ 24 w 95"/>
                    <a:gd name="T87" fmla="*/ 62 h 67"/>
                    <a:gd name="T88" fmla="*/ 12 w 95"/>
                    <a:gd name="T89" fmla="*/ 62 h 67"/>
                    <a:gd name="T90" fmla="*/ 5 w 95"/>
                    <a:gd name="T91" fmla="*/ 62 h 67"/>
                    <a:gd name="T92" fmla="*/ 5 w 95"/>
                    <a:gd name="T93" fmla="*/ 62 h 67"/>
                    <a:gd name="T94" fmla="*/ 0 w 95"/>
                    <a:gd name="T95" fmla="*/ 55 h 67"/>
                    <a:gd name="T96" fmla="*/ 5 w 95"/>
                    <a:gd name="T97" fmla="*/ 52 h 67"/>
                    <a:gd name="T98" fmla="*/ 3 w 95"/>
                    <a:gd name="T99" fmla="*/ 45 h 67"/>
                    <a:gd name="T100" fmla="*/ 0 w 95"/>
                    <a:gd name="T101" fmla="*/ 41 h 67"/>
                    <a:gd name="T102" fmla="*/ 0 w 95"/>
                    <a:gd name="T103" fmla="*/ 3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5" h="67">
                      <a:moveTo>
                        <a:pt x="0" y="33"/>
                      </a:moveTo>
                      <a:lnTo>
                        <a:pt x="3" y="33"/>
                      </a:lnTo>
                      <a:lnTo>
                        <a:pt x="5" y="31"/>
                      </a:lnTo>
                      <a:lnTo>
                        <a:pt x="10" y="33"/>
                      </a:lnTo>
                      <a:lnTo>
                        <a:pt x="12" y="31"/>
                      </a:lnTo>
                      <a:lnTo>
                        <a:pt x="14" y="31"/>
                      </a:lnTo>
                      <a:lnTo>
                        <a:pt x="12" y="29"/>
                      </a:lnTo>
                      <a:lnTo>
                        <a:pt x="17" y="29"/>
                      </a:lnTo>
                      <a:lnTo>
                        <a:pt x="17" y="26"/>
                      </a:lnTo>
                      <a:lnTo>
                        <a:pt x="19" y="24"/>
                      </a:lnTo>
                      <a:lnTo>
                        <a:pt x="19" y="26"/>
                      </a:lnTo>
                      <a:lnTo>
                        <a:pt x="22" y="26"/>
                      </a:lnTo>
                      <a:lnTo>
                        <a:pt x="22" y="24"/>
                      </a:lnTo>
                      <a:lnTo>
                        <a:pt x="19" y="22"/>
                      </a:lnTo>
                      <a:lnTo>
                        <a:pt x="19" y="19"/>
                      </a:lnTo>
                      <a:lnTo>
                        <a:pt x="22" y="19"/>
                      </a:lnTo>
                      <a:lnTo>
                        <a:pt x="24" y="17"/>
                      </a:lnTo>
                      <a:lnTo>
                        <a:pt x="26" y="14"/>
                      </a:lnTo>
                      <a:lnTo>
                        <a:pt x="26" y="12"/>
                      </a:lnTo>
                      <a:lnTo>
                        <a:pt x="26" y="12"/>
                      </a:lnTo>
                      <a:lnTo>
                        <a:pt x="29" y="7"/>
                      </a:lnTo>
                      <a:lnTo>
                        <a:pt x="31" y="7"/>
                      </a:lnTo>
                      <a:lnTo>
                        <a:pt x="36" y="7"/>
                      </a:lnTo>
                      <a:lnTo>
                        <a:pt x="38" y="3"/>
                      </a:lnTo>
                      <a:lnTo>
                        <a:pt x="38" y="3"/>
                      </a:lnTo>
                      <a:lnTo>
                        <a:pt x="40" y="0"/>
                      </a:lnTo>
                      <a:lnTo>
                        <a:pt x="43" y="0"/>
                      </a:lnTo>
                      <a:lnTo>
                        <a:pt x="45" y="0"/>
                      </a:lnTo>
                      <a:lnTo>
                        <a:pt x="48" y="0"/>
                      </a:lnTo>
                      <a:lnTo>
                        <a:pt x="50" y="3"/>
                      </a:lnTo>
                      <a:lnTo>
                        <a:pt x="52" y="3"/>
                      </a:lnTo>
                      <a:lnTo>
                        <a:pt x="55" y="3"/>
                      </a:lnTo>
                      <a:lnTo>
                        <a:pt x="57" y="5"/>
                      </a:lnTo>
                      <a:lnTo>
                        <a:pt x="59" y="3"/>
                      </a:lnTo>
                      <a:lnTo>
                        <a:pt x="62" y="3"/>
                      </a:lnTo>
                      <a:lnTo>
                        <a:pt x="64" y="5"/>
                      </a:lnTo>
                      <a:lnTo>
                        <a:pt x="67" y="5"/>
                      </a:lnTo>
                      <a:lnTo>
                        <a:pt x="71" y="5"/>
                      </a:lnTo>
                      <a:lnTo>
                        <a:pt x="71" y="7"/>
                      </a:lnTo>
                      <a:lnTo>
                        <a:pt x="71" y="10"/>
                      </a:lnTo>
                      <a:lnTo>
                        <a:pt x="74" y="12"/>
                      </a:lnTo>
                      <a:lnTo>
                        <a:pt x="74" y="17"/>
                      </a:lnTo>
                      <a:lnTo>
                        <a:pt x="76" y="19"/>
                      </a:lnTo>
                      <a:lnTo>
                        <a:pt x="76" y="22"/>
                      </a:lnTo>
                      <a:lnTo>
                        <a:pt x="78" y="24"/>
                      </a:lnTo>
                      <a:lnTo>
                        <a:pt x="81" y="26"/>
                      </a:lnTo>
                      <a:lnTo>
                        <a:pt x="83" y="29"/>
                      </a:lnTo>
                      <a:lnTo>
                        <a:pt x="85" y="31"/>
                      </a:lnTo>
                      <a:lnTo>
                        <a:pt x="90" y="33"/>
                      </a:lnTo>
                      <a:lnTo>
                        <a:pt x="90" y="36"/>
                      </a:lnTo>
                      <a:lnTo>
                        <a:pt x="95" y="38"/>
                      </a:lnTo>
                      <a:lnTo>
                        <a:pt x="93" y="38"/>
                      </a:lnTo>
                      <a:lnTo>
                        <a:pt x="90" y="43"/>
                      </a:lnTo>
                      <a:lnTo>
                        <a:pt x="85" y="43"/>
                      </a:lnTo>
                      <a:lnTo>
                        <a:pt x="83" y="41"/>
                      </a:lnTo>
                      <a:lnTo>
                        <a:pt x="81" y="43"/>
                      </a:lnTo>
                      <a:lnTo>
                        <a:pt x="81" y="45"/>
                      </a:lnTo>
                      <a:lnTo>
                        <a:pt x="83" y="48"/>
                      </a:lnTo>
                      <a:lnTo>
                        <a:pt x="83" y="50"/>
                      </a:lnTo>
                      <a:lnTo>
                        <a:pt x="85" y="55"/>
                      </a:lnTo>
                      <a:lnTo>
                        <a:pt x="85" y="57"/>
                      </a:lnTo>
                      <a:lnTo>
                        <a:pt x="85" y="57"/>
                      </a:lnTo>
                      <a:lnTo>
                        <a:pt x="81" y="57"/>
                      </a:lnTo>
                      <a:lnTo>
                        <a:pt x="78" y="57"/>
                      </a:lnTo>
                      <a:lnTo>
                        <a:pt x="76" y="62"/>
                      </a:lnTo>
                      <a:lnTo>
                        <a:pt x="76" y="64"/>
                      </a:lnTo>
                      <a:lnTo>
                        <a:pt x="74" y="64"/>
                      </a:lnTo>
                      <a:lnTo>
                        <a:pt x="71" y="64"/>
                      </a:lnTo>
                      <a:lnTo>
                        <a:pt x="69" y="64"/>
                      </a:lnTo>
                      <a:lnTo>
                        <a:pt x="67" y="64"/>
                      </a:lnTo>
                      <a:lnTo>
                        <a:pt x="64" y="64"/>
                      </a:lnTo>
                      <a:lnTo>
                        <a:pt x="62" y="67"/>
                      </a:lnTo>
                      <a:lnTo>
                        <a:pt x="59" y="67"/>
                      </a:lnTo>
                      <a:lnTo>
                        <a:pt x="59" y="64"/>
                      </a:lnTo>
                      <a:lnTo>
                        <a:pt x="57" y="64"/>
                      </a:lnTo>
                      <a:lnTo>
                        <a:pt x="52" y="64"/>
                      </a:lnTo>
                      <a:lnTo>
                        <a:pt x="50" y="64"/>
                      </a:lnTo>
                      <a:lnTo>
                        <a:pt x="48" y="64"/>
                      </a:lnTo>
                      <a:lnTo>
                        <a:pt x="48" y="64"/>
                      </a:lnTo>
                      <a:lnTo>
                        <a:pt x="45" y="64"/>
                      </a:lnTo>
                      <a:lnTo>
                        <a:pt x="43" y="64"/>
                      </a:lnTo>
                      <a:lnTo>
                        <a:pt x="38" y="64"/>
                      </a:lnTo>
                      <a:lnTo>
                        <a:pt x="38" y="64"/>
                      </a:lnTo>
                      <a:lnTo>
                        <a:pt x="36" y="62"/>
                      </a:lnTo>
                      <a:lnTo>
                        <a:pt x="29" y="62"/>
                      </a:lnTo>
                      <a:lnTo>
                        <a:pt x="26" y="59"/>
                      </a:lnTo>
                      <a:lnTo>
                        <a:pt x="26" y="59"/>
                      </a:lnTo>
                      <a:lnTo>
                        <a:pt x="24" y="62"/>
                      </a:lnTo>
                      <a:lnTo>
                        <a:pt x="19" y="62"/>
                      </a:lnTo>
                      <a:lnTo>
                        <a:pt x="12" y="62"/>
                      </a:lnTo>
                      <a:lnTo>
                        <a:pt x="10" y="64"/>
                      </a:lnTo>
                      <a:lnTo>
                        <a:pt x="5" y="62"/>
                      </a:lnTo>
                      <a:lnTo>
                        <a:pt x="5" y="62"/>
                      </a:lnTo>
                      <a:lnTo>
                        <a:pt x="5" y="62"/>
                      </a:lnTo>
                      <a:lnTo>
                        <a:pt x="3" y="57"/>
                      </a:lnTo>
                      <a:lnTo>
                        <a:pt x="0" y="55"/>
                      </a:lnTo>
                      <a:lnTo>
                        <a:pt x="3" y="52"/>
                      </a:lnTo>
                      <a:lnTo>
                        <a:pt x="5" y="52"/>
                      </a:lnTo>
                      <a:lnTo>
                        <a:pt x="5" y="45"/>
                      </a:lnTo>
                      <a:lnTo>
                        <a:pt x="3" y="45"/>
                      </a:lnTo>
                      <a:lnTo>
                        <a:pt x="3" y="43"/>
                      </a:lnTo>
                      <a:lnTo>
                        <a:pt x="0" y="41"/>
                      </a:lnTo>
                      <a:lnTo>
                        <a:pt x="0" y="36"/>
                      </a:lnTo>
                      <a:lnTo>
                        <a:pt x="0" y="33"/>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6" name="Freeform 50">
                  <a:extLst>
                    <a:ext uri="{FF2B5EF4-FFF2-40B4-BE49-F238E27FC236}">
                      <a16:creationId xmlns:a16="http://schemas.microsoft.com/office/drawing/2014/main" id="{2F5F9ACA-C233-B3A5-DF0A-5178F9930032}"/>
                    </a:ext>
                  </a:extLst>
                </p:cNvPr>
                <p:cNvSpPr>
                  <a:spLocks/>
                </p:cNvSpPr>
                <p:nvPr/>
              </p:nvSpPr>
              <p:spPr bwMode="auto">
                <a:xfrm>
                  <a:off x="2881" y="2002"/>
                  <a:ext cx="185" cy="105"/>
                </a:xfrm>
                <a:custGeom>
                  <a:avLst/>
                  <a:gdLst>
                    <a:gd name="T0" fmla="*/ 26 w 185"/>
                    <a:gd name="T1" fmla="*/ 10 h 105"/>
                    <a:gd name="T2" fmla="*/ 43 w 185"/>
                    <a:gd name="T3" fmla="*/ 10 h 105"/>
                    <a:gd name="T4" fmla="*/ 55 w 185"/>
                    <a:gd name="T5" fmla="*/ 12 h 105"/>
                    <a:gd name="T6" fmla="*/ 66 w 185"/>
                    <a:gd name="T7" fmla="*/ 12 h 105"/>
                    <a:gd name="T8" fmla="*/ 76 w 185"/>
                    <a:gd name="T9" fmla="*/ 12 h 105"/>
                    <a:gd name="T10" fmla="*/ 85 w 185"/>
                    <a:gd name="T11" fmla="*/ 5 h 105"/>
                    <a:gd name="T12" fmla="*/ 97 w 185"/>
                    <a:gd name="T13" fmla="*/ 3 h 105"/>
                    <a:gd name="T14" fmla="*/ 116 w 185"/>
                    <a:gd name="T15" fmla="*/ 0 h 105"/>
                    <a:gd name="T16" fmla="*/ 128 w 185"/>
                    <a:gd name="T17" fmla="*/ 12 h 105"/>
                    <a:gd name="T18" fmla="*/ 133 w 185"/>
                    <a:gd name="T19" fmla="*/ 24 h 105"/>
                    <a:gd name="T20" fmla="*/ 149 w 185"/>
                    <a:gd name="T21" fmla="*/ 26 h 105"/>
                    <a:gd name="T22" fmla="*/ 161 w 185"/>
                    <a:gd name="T23" fmla="*/ 34 h 105"/>
                    <a:gd name="T24" fmla="*/ 175 w 185"/>
                    <a:gd name="T25" fmla="*/ 34 h 105"/>
                    <a:gd name="T26" fmla="*/ 185 w 185"/>
                    <a:gd name="T27" fmla="*/ 36 h 105"/>
                    <a:gd name="T28" fmla="*/ 185 w 185"/>
                    <a:gd name="T29" fmla="*/ 50 h 105"/>
                    <a:gd name="T30" fmla="*/ 175 w 185"/>
                    <a:gd name="T31" fmla="*/ 60 h 105"/>
                    <a:gd name="T32" fmla="*/ 168 w 185"/>
                    <a:gd name="T33" fmla="*/ 69 h 105"/>
                    <a:gd name="T34" fmla="*/ 159 w 185"/>
                    <a:gd name="T35" fmla="*/ 71 h 105"/>
                    <a:gd name="T36" fmla="*/ 149 w 185"/>
                    <a:gd name="T37" fmla="*/ 76 h 105"/>
                    <a:gd name="T38" fmla="*/ 140 w 185"/>
                    <a:gd name="T39" fmla="*/ 76 h 105"/>
                    <a:gd name="T40" fmla="*/ 137 w 185"/>
                    <a:gd name="T41" fmla="*/ 83 h 105"/>
                    <a:gd name="T42" fmla="*/ 140 w 185"/>
                    <a:gd name="T43" fmla="*/ 79 h 105"/>
                    <a:gd name="T44" fmla="*/ 133 w 185"/>
                    <a:gd name="T45" fmla="*/ 83 h 105"/>
                    <a:gd name="T46" fmla="*/ 123 w 185"/>
                    <a:gd name="T47" fmla="*/ 86 h 105"/>
                    <a:gd name="T48" fmla="*/ 133 w 185"/>
                    <a:gd name="T49" fmla="*/ 88 h 105"/>
                    <a:gd name="T50" fmla="*/ 135 w 185"/>
                    <a:gd name="T51" fmla="*/ 90 h 105"/>
                    <a:gd name="T52" fmla="*/ 137 w 185"/>
                    <a:gd name="T53" fmla="*/ 95 h 105"/>
                    <a:gd name="T54" fmla="*/ 133 w 185"/>
                    <a:gd name="T55" fmla="*/ 83 h 105"/>
                    <a:gd name="T56" fmla="*/ 144 w 185"/>
                    <a:gd name="T57" fmla="*/ 95 h 105"/>
                    <a:gd name="T58" fmla="*/ 154 w 185"/>
                    <a:gd name="T59" fmla="*/ 90 h 105"/>
                    <a:gd name="T60" fmla="*/ 154 w 185"/>
                    <a:gd name="T61" fmla="*/ 98 h 105"/>
                    <a:gd name="T62" fmla="*/ 137 w 185"/>
                    <a:gd name="T63" fmla="*/ 100 h 105"/>
                    <a:gd name="T64" fmla="*/ 123 w 185"/>
                    <a:gd name="T65" fmla="*/ 102 h 105"/>
                    <a:gd name="T66" fmla="*/ 116 w 185"/>
                    <a:gd name="T67" fmla="*/ 95 h 105"/>
                    <a:gd name="T68" fmla="*/ 123 w 185"/>
                    <a:gd name="T69" fmla="*/ 88 h 105"/>
                    <a:gd name="T70" fmla="*/ 121 w 185"/>
                    <a:gd name="T71" fmla="*/ 86 h 105"/>
                    <a:gd name="T72" fmla="*/ 109 w 185"/>
                    <a:gd name="T73" fmla="*/ 83 h 105"/>
                    <a:gd name="T74" fmla="*/ 104 w 185"/>
                    <a:gd name="T75" fmla="*/ 81 h 105"/>
                    <a:gd name="T76" fmla="*/ 107 w 185"/>
                    <a:gd name="T77" fmla="*/ 79 h 105"/>
                    <a:gd name="T78" fmla="*/ 104 w 185"/>
                    <a:gd name="T79" fmla="*/ 76 h 105"/>
                    <a:gd name="T80" fmla="*/ 100 w 185"/>
                    <a:gd name="T81" fmla="*/ 76 h 105"/>
                    <a:gd name="T82" fmla="*/ 92 w 185"/>
                    <a:gd name="T83" fmla="*/ 83 h 105"/>
                    <a:gd name="T84" fmla="*/ 83 w 185"/>
                    <a:gd name="T85" fmla="*/ 90 h 105"/>
                    <a:gd name="T86" fmla="*/ 83 w 185"/>
                    <a:gd name="T87" fmla="*/ 95 h 105"/>
                    <a:gd name="T88" fmla="*/ 71 w 185"/>
                    <a:gd name="T89" fmla="*/ 95 h 105"/>
                    <a:gd name="T90" fmla="*/ 71 w 185"/>
                    <a:gd name="T91" fmla="*/ 90 h 105"/>
                    <a:gd name="T92" fmla="*/ 76 w 185"/>
                    <a:gd name="T93" fmla="*/ 81 h 105"/>
                    <a:gd name="T94" fmla="*/ 83 w 185"/>
                    <a:gd name="T95" fmla="*/ 79 h 105"/>
                    <a:gd name="T96" fmla="*/ 76 w 185"/>
                    <a:gd name="T97" fmla="*/ 69 h 105"/>
                    <a:gd name="T98" fmla="*/ 66 w 185"/>
                    <a:gd name="T99" fmla="*/ 57 h 105"/>
                    <a:gd name="T100" fmla="*/ 55 w 185"/>
                    <a:gd name="T101" fmla="*/ 55 h 105"/>
                    <a:gd name="T102" fmla="*/ 47 w 185"/>
                    <a:gd name="T103" fmla="*/ 53 h 105"/>
                    <a:gd name="T104" fmla="*/ 45 w 185"/>
                    <a:gd name="T105" fmla="*/ 60 h 105"/>
                    <a:gd name="T106" fmla="*/ 29 w 185"/>
                    <a:gd name="T107" fmla="*/ 64 h 105"/>
                    <a:gd name="T108" fmla="*/ 17 w 185"/>
                    <a:gd name="T109" fmla="*/ 62 h 105"/>
                    <a:gd name="T110" fmla="*/ 5 w 185"/>
                    <a:gd name="T111" fmla="*/ 60 h 105"/>
                    <a:gd name="T112" fmla="*/ 3 w 185"/>
                    <a:gd name="T113" fmla="*/ 48 h 105"/>
                    <a:gd name="T114" fmla="*/ 12 w 185"/>
                    <a:gd name="T115" fmla="*/ 31 h 105"/>
                    <a:gd name="T116" fmla="*/ 14 w 185"/>
                    <a:gd name="T117" fmla="*/ 24 h 105"/>
                    <a:gd name="T118" fmla="*/ 10 w 185"/>
                    <a:gd name="T119" fmla="*/ 12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5" h="105">
                      <a:moveTo>
                        <a:pt x="12" y="10"/>
                      </a:moveTo>
                      <a:lnTo>
                        <a:pt x="12" y="10"/>
                      </a:lnTo>
                      <a:lnTo>
                        <a:pt x="17" y="12"/>
                      </a:lnTo>
                      <a:lnTo>
                        <a:pt x="19" y="10"/>
                      </a:lnTo>
                      <a:lnTo>
                        <a:pt x="26" y="10"/>
                      </a:lnTo>
                      <a:lnTo>
                        <a:pt x="31" y="10"/>
                      </a:lnTo>
                      <a:lnTo>
                        <a:pt x="33" y="7"/>
                      </a:lnTo>
                      <a:lnTo>
                        <a:pt x="33" y="7"/>
                      </a:lnTo>
                      <a:lnTo>
                        <a:pt x="36" y="10"/>
                      </a:lnTo>
                      <a:lnTo>
                        <a:pt x="43" y="10"/>
                      </a:lnTo>
                      <a:lnTo>
                        <a:pt x="45" y="12"/>
                      </a:lnTo>
                      <a:lnTo>
                        <a:pt x="45" y="12"/>
                      </a:lnTo>
                      <a:lnTo>
                        <a:pt x="50" y="12"/>
                      </a:lnTo>
                      <a:lnTo>
                        <a:pt x="52" y="12"/>
                      </a:lnTo>
                      <a:lnTo>
                        <a:pt x="55" y="12"/>
                      </a:lnTo>
                      <a:lnTo>
                        <a:pt x="55" y="12"/>
                      </a:lnTo>
                      <a:lnTo>
                        <a:pt x="57" y="12"/>
                      </a:lnTo>
                      <a:lnTo>
                        <a:pt x="59" y="12"/>
                      </a:lnTo>
                      <a:lnTo>
                        <a:pt x="64" y="12"/>
                      </a:lnTo>
                      <a:lnTo>
                        <a:pt x="66" y="12"/>
                      </a:lnTo>
                      <a:lnTo>
                        <a:pt x="66" y="15"/>
                      </a:lnTo>
                      <a:lnTo>
                        <a:pt x="69" y="15"/>
                      </a:lnTo>
                      <a:lnTo>
                        <a:pt x="71" y="12"/>
                      </a:lnTo>
                      <a:lnTo>
                        <a:pt x="74" y="12"/>
                      </a:lnTo>
                      <a:lnTo>
                        <a:pt x="76" y="12"/>
                      </a:lnTo>
                      <a:lnTo>
                        <a:pt x="78" y="12"/>
                      </a:lnTo>
                      <a:lnTo>
                        <a:pt x="81" y="12"/>
                      </a:lnTo>
                      <a:lnTo>
                        <a:pt x="83" y="12"/>
                      </a:lnTo>
                      <a:lnTo>
                        <a:pt x="83" y="10"/>
                      </a:lnTo>
                      <a:lnTo>
                        <a:pt x="85" y="5"/>
                      </a:lnTo>
                      <a:lnTo>
                        <a:pt x="88" y="5"/>
                      </a:lnTo>
                      <a:lnTo>
                        <a:pt x="92" y="5"/>
                      </a:lnTo>
                      <a:lnTo>
                        <a:pt x="95" y="5"/>
                      </a:lnTo>
                      <a:lnTo>
                        <a:pt x="97" y="5"/>
                      </a:lnTo>
                      <a:lnTo>
                        <a:pt x="97" y="3"/>
                      </a:lnTo>
                      <a:lnTo>
                        <a:pt x="100" y="0"/>
                      </a:lnTo>
                      <a:lnTo>
                        <a:pt x="104" y="3"/>
                      </a:lnTo>
                      <a:lnTo>
                        <a:pt x="109" y="3"/>
                      </a:lnTo>
                      <a:lnTo>
                        <a:pt x="114" y="0"/>
                      </a:lnTo>
                      <a:lnTo>
                        <a:pt x="116" y="0"/>
                      </a:lnTo>
                      <a:lnTo>
                        <a:pt x="116" y="5"/>
                      </a:lnTo>
                      <a:lnTo>
                        <a:pt x="118" y="7"/>
                      </a:lnTo>
                      <a:lnTo>
                        <a:pt x="118" y="10"/>
                      </a:lnTo>
                      <a:lnTo>
                        <a:pt x="121" y="15"/>
                      </a:lnTo>
                      <a:lnTo>
                        <a:pt x="128" y="12"/>
                      </a:lnTo>
                      <a:lnTo>
                        <a:pt x="130" y="15"/>
                      </a:lnTo>
                      <a:lnTo>
                        <a:pt x="130" y="17"/>
                      </a:lnTo>
                      <a:lnTo>
                        <a:pt x="133" y="17"/>
                      </a:lnTo>
                      <a:lnTo>
                        <a:pt x="133" y="19"/>
                      </a:lnTo>
                      <a:lnTo>
                        <a:pt x="133" y="24"/>
                      </a:lnTo>
                      <a:lnTo>
                        <a:pt x="140" y="26"/>
                      </a:lnTo>
                      <a:lnTo>
                        <a:pt x="140" y="26"/>
                      </a:lnTo>
                      <a:lnTo>
                        <a:pt x="144" y="26"/>
                      </a:lnTo>
                      <a:lnTo>
                        <a:pt x="147" y="26"/>
                      </a:lnTo>
                      <a:lnTo>
                        <a:pt x="149" y="26"/>
                      </a:lnTo>
                      <a:lnTo>
                        <a:pt x="152" y="24"/>
                      </a:lnTo>
                      <a:lnTo>
                        <a:pt x="154" y="24"/>
                      </a:lnTo>
                      <a:lnTo>
                        <a:pt x="156" y="29"/>
                      </a:lnTo>
                      <a:lnTo>
                        <a:pt x="161" y="31"/>
                      </a:lnTo>
                      <a:lnTo>
                        <a:pt x="161" y="34"/>
                      </a:lnTo>
                      <a:lnTo>
                        <a:pt x="163" y="31"/>
                      </a:lnTo>
                      <a:lnTo>
                        <a:pt x="168" y="34"/>
                      </a:lnTo>
                      <a:lnTo>
                        <a:pt x="171" y="34"/>
                      </a:lnTo>
                      <a:lnTo>
                        <a:pt x="173" y="34"/>
                      </a:lnTo>
                      <a:lnTo>
                        <a:pt x="175" y="34"/>
                      </a:lnTo>
                      <a:lnTo>
                        <a:pt x="178" y="36"/>
                      </a:lnTo>
                      <a:lnTo>
                        <a:pt x="182" y="36"/>
                      </a:lnTo>
                      <a:lnTo>
                        <a:pt x="182" y="34"/>
                      </a:lnTo>
                      <a:lnTo>
                        <a:pt x="185" y="36"/>
                      </a:lnTo>
                      <a:lnTo>
                        <a:pt x="185" y="36"/>
                      </a:lnTo>
                      <a:lnTo>
                        <a:pt x="185" y="41"/>
                      </a:lnTo>
                      <a:lnTo>
                        <a:pt x="185" y="43"/>
                      </a:lnTo>
                      <a:lnTo>
                        <a:pt x="182" y="43"/>
                      </a:lnTo>
                      <a:lnTo>
                        <a:pt x="180" y="48"/>
                      </a:lnTo>
                      <a:lnTo>
                        <a:pt x="185" y="50"/>
                      </a:lnTo>
                      <a:lnTo>
                        <a:pt x="185" y="53"/>
                      </a:lnTo>
                      <a:lnTo>
                        <a:pt x="182" y="55"/>
                      </a:lnTo>
                      <a:lnTo>
                        <a:pt x="182" y="57"/>
                      </a:lnTo>
                      <a:lnTo>
                        <a:pt x="182" y="60"/>
                      </a:lnTo>
                      <a:lnTo>
                        <a:pt x="175" y="60"/>
                      </a:lnTo>
                      <a:lnTo>
                        <a:pt x="173" y="64"/>
                      </a:lnTo>
                      <a:lnTo>
                        <a:pt x="173" y="64"/>
                      </a:lnTo>
                      <a:lnTo>
                        <a:pt x="171" y="69"/>
                      </a:lnTo>
                      <a:lnTo>
                        <a:pt x="168" y="69"/>
                      </a:lnTo>
                      <a:lnTo>
                        <a:pt x="168" y="69"/>
                      </a:lnTo>
                      <a:lnTo>
                        <a:pt x="168" y="69"/>
                      </a:lnTo>
                      <a:lnTo>
                        <a:pt x="166" y="69"/>
                      </a:lnTo>
                      <a:lnTo>
                        <a:pt x="161" y="69"/>
                      </a:lnTo>
                      <a:lnTo>
                        <a:pt x="161" y="69"/>
                      </a:lnTo>
                      <a:lnTo>
                        <a:pt x="159" y="71"/>
                      </a:lnTo>
                      <a:lnTo>
                        <a:pt x="156" y="71"/>
                      </a:lnTo>
                      <a:lnTo>
                        <a:pt x="156" y="74"/>
                      </a:lnTo>
                      <a:lnTo>
                        <a:pt x="154" y="76"/>
                      </a:lnTo>
                      <a:lnTo>
                        <a:pt x="152" y="76"/>
                      </a:lnTo>
                      <a:lnTo>
                        <a:pt x="149" y="76"/>
                      </a:lnTo>
                      <a:lnTo>
                        <a:pt x="149" y="76"/>
                      </a:lnTo>
                      <a:lnTo>
                        <a:pt x="144" y="76"/>
                      </a:lnTo>
                      <a:lnTo>
                        <a:pt x="142" y="79"/>
                      </a:lnTo>
                      <a:lnTo>
                        <a:pt x="142" y="79"/>
                      </a:lnTo>
                      <a:lnTo>
                        <a:pt x="140" y="76"/>
                      </a:lnTo>
                      <a:lnTo>
                        <a:pt x="140" y="76"/>
                      </a:lnTo>
                      <a:lnTo>
                        <a:pt x="140" y="76"/>
                      </a:lnTo>
                      <a:lnTo>
                        <a:pt x="142" y="79"/>
                      </a:lnTo>
                      <a:lnTo>
                        <a:pt x="140" y="79"/>
                      </a:lnTo>
                      <a:lnTo>
                        <a:pt x="137" y="83"/>
                      </a:lnTo>
                      <a:lnTo>
                        <a:pt x="137" y="83"/>
                      </a:lnTo>
                      <a:lnTo>
                        <a:pt x="137" y="83"/>
                      </a:lnTo>
                      <a:lnTo>
                        <a:pt x="137" y="81"/>
                      </a:lnTo>
                      <a:lnTo>
                        <a:pt x="140" y="79"/>
                      </a:lnTo>
                      <a:lnTo>
                        <a:pt x="140" y="79"/>
                      </a:lnTo>
                      <a:lnTo>
                        <a:pt x="137" y="79"/>
                      </a:lnTo>
                      <a:lnTo>
                        <a:pt x="137" y="79"/>
                      </a:lnTo>
                      <a:lnTo>
                        <a:pt x="135" y="83"/>
                      </a:lnTo>
                      <a:lnTo>
                        <a:pt x="133" y="83"/>
                      </a:lnTo>
                      <a:lnTo>
                        <a:pt x="133" y="83"/>
                      </a:lnTo>
                      <a:lnTo>
                        <a:pt x="130" y="83"/>
                      </a:lnTo>
                      <a:lnTo>
                        <a:pt x="128" y="83"/>
                      </a:lnTo>
                      <a:lnTo>
                        <a:pt x="126" y="83"/>
                      </a:lnTo>
                      <a:lnTo>
                        <a:pt x="123" y="83"/>
                      </a:lnTo>
                      <a:lnTo>
                        <a:pt x="123" y="86"/>
                      </a:lnTo>
                      <a:lnTo>
                        <a:pt x="126" y="86"/>
                      </a:lnTo>
                      <a:lnTo>
                        <a:pt x="128" y="86"/>
                      </a:lnTo>
                      <a:lnTo>
                        <a:pt x="130" y="86"/>
                      </a:lnTo>
                      <a:lnTo>
                        <a:pt x="130" y="88"/>
                      </a:lnTo>
                      <a:lnTo>
                        <a:pt x="133" y="88"/>
                      </a:lnTo>
                      <a:lnTo>
                        <a:pt x="133" y="88"/>
                      </a:lnTo>
                      <a:lnTo>
                        <a:pt x="133" y="90"/>
                      </a:lnTo>
                      <a:lnTo>
                        <a:pt x="133" y="90"/>
                      </a:lnTo>
                      <a:lnTo>
                        <a:pt x="133" y="90"/>
                      </a:lnTo>
                      <a:lnTo>
                        <a:pt x="135" y="90"/>
                      </a:lnTo>
                      <a:lnTo>
                        <a:pt x="135" y="90"/>
                      </a:lnTo>
                      <a:lnTo>
                        <a:pt x="135" y="90"/>
                      </a:lnTo>
                      <a:lnTo>
                        <a:pt x="137" y="90"/>
                      </a:lnTo>
                      <a:lnTo>
                        <a:pt x="137" y="93"/>
                      </a:lnTo>
                      <a:lnTo>
                        <a:pt x="137" y="95"/>
                      </a:lnTo>
                      <a:lnTo>
                        <a:pt x="142" y="95"/>
                      </a:lnTo>
                      <a:lnTo>
                        <a:pt x="142" y="95"/>
                      </a:lnTo>
                      <a:lnTo>
                        <a:pt x="137" y="90"/>
                      </a:lnTo>
                      <a:lnTo>
                        <a:pt x="135" y="88"/>
                      </a:lnTo>
                      <a:lnTo>
                        <a:pt x="133" y="83"/>
                      </a:lnTo>
                      <a:lnTo>
                        <a:pt x="135" y="83"/>
                      </a:lnTo>
                      <a:lnTo>
                        <a:pt x="135" y="86"/>
                      </a:lnTo>
                      <a:lnTo>
                        <a:pt x="137" y="88"/>
                      </a:lnTo>
                      <a:lnTo>
                        <a:pt x="142" y="95"/>
                      </a:lnTo>
                      <a:lnTo>
                        <a:pt x="144" y="95"/>
                      </a:lnTo>
                      <a:lnTo>
                        <a:pt x="144" y="93"/>
                      </a:lnTo>
                      <a:lnTo>
                        <a:pt x="147" y="93"/>
                      </a:lnTo>
                      <a:lnTo>
                        <a:pt x="149" y="93"/>
                      </a:lnTo>
                      <a:lnTo>
                        <a:pt x="149" y="93"/>
                      </a:lnTo>
                      <a:lnTo>
                        <a:pt x="154" y="90"/>
                      </a:lnTo>
                      <a:lnTo>
                        <a:pt x="156" y="90"/>
                      </a:lnTo>
                      <a:lnTo>
                        <a:pt x="156" y="93"/>
                      </a:lnTo>
                      <a:lnTo>
                        <a:pt x="154" y="93"/>
                      </a:lnTo>
                      <a:lnTo>
                        <a:pt x="156" y="95"/>
                      </a:lnTo>
                      <a:lnTo>
                        <a:pt x="154" y="98"/>
                      </a:lnTo>
                      <a:lnTo>
                        <a:pt x="149" y="98"/>
                      </a:lnTo>
                      <a:lnTo>
                        <a:pt x="147" y="98"/>
                      </a:lnTo>
                      <a:lnTo>
                        <a:pt x="142" y="98"/>
                      </a:lnTo>
                      <a:lnTo>
                        <a:pt x="142" y="100"/>
                      </a:lnTo>
                      <a:lnTo>
                        <a:pt x="137" y="100"/>
                      </a:lnTo>
                      <a:lnTo>
                        <a:pt x="133" y="105"/>
                      </a:lnTo>
                      <a:lnTo>
                        <a:pt x="128" y="105"/>
                      </a:lnTo>
                      <a:lnTo>
                        <a:pt x="123" y="105"/>
                      </a:lnTo>
                      <a:lnTo>
                        <a:pt x="123" y="105"/>
                      </a:lnTo>
                      <a:lnTo>
                        <a:pt x="123" y="102"/>
                      </a:lnTo>
                      <a:lnTo>
                        <a:pt x="123" y="100"/>
                      </a:lnTo>
                      <a:lnTo>
                        <a:pt x="123" y="98"/>
                      </a:lnTo>
                      <a:lnTo>
                        <a:pt x="121" y="95"/>
                      </a:lnTo>
                      <a:lnTo>
                        <a:pt x="118" y="95"/>
                      </a:lnTo>
                      <a:lnTo>
                        <a:pt x="116" y="95"/>
                      </a:lnTo>
                      <a:lnTo>
                        <a:pt x="116" y="95"/>
                      </a:lnTo>
                      <a:lnTo>
                        <a:pt x="114" y="95"/>
                      </a:lnTo>
                      <a:lnTo>
                        <a:pt x="116" y="93"/>
                      </a:lnTo>
                      <a:lnTo>
                        <a:pt x="118" y="90"/>
                      </a:lnTo>
                      <a:lnTo>
                        <a:pt x="123" y="88"/>
                      </a:lnTo>
                      <a:lnTo>
                        <a:pt x="123" y="88"/>
                      </a:lnTo>
                      <a:lnTo>
                        <a:pt x="123" y="88"/>
                      </a:lnTo>
                      <a:lnTo>
                        <a:pt x="121" y="86"/>
                      </a:lnTo>
                      <a:lnTo>
                        <a:pt x="121" y="83"/>
                      </a:lnTo>
                      <a:lnTo>
                        <a:pt x="121" y="86"/>
                      </a:lnTo>
                      <a:lnTo>
                        <a:pt x="118" y="86"/>
                      </a:lnTo>
                      <a:lnTo>
                        <a:pt x="116" y="83"/>
                      </a:lnTo>
                      <a:lnTo>
                        <a:pt x="114" y="83"/>
                      </a:lnTo>
                      <a:lnTo>
                        <a:pt x="111" y="86"/>
                      </a:lnTo>
                      <a:lnTo>
                        <a:pt x="109" y="83"/>
                      </a:lnTo>
                      <a:lnTo>
                        <a:pt x="107" y="83"/>
                      </a:lnTo>
                      <a:lnTo>
                        <a:pt x="104" y="83"/>
                      </a:lnTo>
                      <a:lnTo>
                        <a:pt x="107" y="81"/>
                      </a:lnTo>
                      <a:lnTo>
                        <a:pt x="107" y="81"/>
                      </a:lnTo>
                      <a:lnTo>
                        <a:pt x="104" y="81"/>
                      </a:lnTo>
                      <a:lnTo>
                        <a:pt x="100" y="81"/>
                      </a:lnTo>
                      <a:lnTo>
                        <a:pt x="100" y="79"/>
                      </a:lnTo>
                      <a:lnTo>
                        <a:pt x="102" y="79"/>
                      </a:lnTo>
                      <a:lnTo>
                        <a:pt x="104" y="79"/>
                      </a:lnTo>
                      <a:lnTo>
                        <a:pt x="107" y="79"/>
                      </a:lnTo>
                      <a:lnTo>
                        <a:pt x="109" y="79"/>
                      </a:lnTo>
                      <a:lnTo>
                        <a:pt x="111" y="76"/>
                      </a:lnTo>
                      <a:lnTo>
                        <a:pt x="107" y="79"/>
                      </a:lnTo>
                      <a:lnTo>
                        <a:pt x="107" y="76"/>
                      </a:lnTo>
                      <a:lnTo>
                        <a:pt x="104" y="76"/>
                      </a:lnTo>
                      <a:lnTo>
                        <a:pt x="104" y="76"/>
                      </a:lnTo>
                      <a:lnTo>
                        <a:pt x="102" y="76"/>
                      </a:lnTo>
                      <a:lnTo>
                        <a:pt x="102" y="79"/>
                      </a:lnTo>
                      <a:lnTo>
                        <a:pt x="100" y="79"/>
                      </a:lnTo>
                      <a:lnTo>
                        <a:pt x="100" y="76"/>
                      </a:lnTo>
                      <a:lnTo>
                        <a:pt x="100" y="76"/>
                      </a:lnTo>
                      <a:lnTo>
                        <a:pt x="97" y="79"/>
                      </a:lnTo>
                      <a:lnTo>
                        <a:pt x="95" y="79"/>
                      </a:lnTo>
                      <a:lnTo>
                        <a:pt x="92" y="81"/>
                      </a:lnTo>
                      <a:lnTo>
                        <a:pt x="92" y="83"/>
                      </a:lnTo>
                      <a:lnTo>
                        <a:pt x="90" y="86"/>
                      </a:lnTo>
                      <a:lnTo>
                        <a:pt x="88" y="86"/>
                      </a:lnTo>
                      <a:lnTo>
                        <a:pt x="90" y="86"/>
                      </a:lnTo>
                      <a:lnTo>
                        <a:pt x="85" y="90"/>
                      </a:lnTo>
                      <a:lnTo>
                        <a:pt x="83" y="90"/>
                      </a:lnTo>
                      <a:lnTo>
                        <a:pt x="83" y="90"/>
                      </a:lnTo>
                      <a:lnTo>
                        <a:pt x="83" y="90"/>
                      </a:lnTo>
                      <a:lnTo>
                        <a:pt x="83" y="93"/>
                      </a:lnTo>
                      <a:lnTo>
                        <a:pt x="83" y="93"/>
                      </a:lnTo>
                      <a:lnTo>
                        <a:pt x="83" y="95"/>
                      </a:lnTo>
                      <a:lnTo>
                        <a:pt x="83" y="95"/>
                      </a:lnTo>
                      <a:lnTo>
                        <a:pt x="81" y="95"/>
                      </a:lnTo>
                      <a:lnTo>
                        <a:pt x="78" y="95"/>
                      </a:lnTo>
                      <a:lnTo>
                        <a:pt x="76" y="95"/>
                      </a:lnTo>
                      <a:lnTo>
                        <a:pt x="71" y="95"/>
                      </a:lnTo>
                      <a:lnTo>
                        <a:pt x="69" y="95"/>
                      </a:lnTo>
                      <a:lnTo>
                        <a:pt x="66" y="93"/>
                      </a:lnTo>
                      <a:lnTo>
                        <a:pt x="69" y="90"/>
                      </a:lnTo>
                      <a:lnTo>
                        <a:pt x="71" y="93"/>
                      </a:lnTo>
                      <a:lnTo>
                        <a:pt x="71" y="90"/>
                      </a:lnTo>
                      <a:lnTo>
                        <a:pt x="71" y="86"/>
                      </a:lnTo>
                      <a:lnTo>
                        <a:pt x="74" y="86"/>
                      </a:lnTo>
                      <a:lnTo>
                        <a:pt x="74" y="83"/>
                      </a:lnTo>
                      <a:lnTo>
                        <a:pt x="74" y="81"/>
                      </a:lnTo>
                      <a:lnTo>
                        <a:pt x="76" y="81"/>
                      </a:lnTo>
                      <a:lnTo>
                        <a:pt x="78" y="79"/>
                      </a:lnTo>
                      <a:lnTo>
                        <a:pt x="81" y="81"/>
                      </a:lnTo>
                      <a:lnTo>
                        <a:pt x="83" y="81"/>
                      </a:lnTo>
                      <a:lnTo>
                        <a:pt x="85" y="79"/>
                      </a:lnTo>
                      <a:lnTo>
                        <a:pt x="83" y="79"/>
                      </a:lnTo>
                      <a:lnTo>
                        <a:pt x="83" y="76"/>
                      </a:lnTo>
                      <a:lnTo>
                        <a:pt x="83" y="74"/>
                      </a:lnTo>
                      <a:lnTo>
                        <a:pt x="81" y="71"/>
                      </a:lnTo>
                      <a:lnTo>
                        <a:pt x="76" y="69"/>
                      </a:lnTo>
                      <a:lnTo>
                        <a:pt x="76" y="69"/>
                      </a:lnTo>
                      <a:lnTo>
                        <a:pt x="74" y="67"/>
                      </a:lnTo>
                      <a:lnTo>
                        <a:pt x="74" y="64"/>
                      </a:lnTo>
                      <a:lnTo>
                        <a:pt x="74" y="62"/>
                      </a:lnTo>
                      <a:lnTo>
                        <a:pt x="71" y="60"/>
                      </a:lnTo>
                      <a:lnTo>
                        <a:pt x="66" y="57"/>
                      </a:lnTo>
                      <a:lnTo>
                        <a:pt x="66" y="57"/>
                      </a:lnTo>
                      <a:lnTo>
                        <a:pt x="66" y="57"/>
                      </a:lnTo>
                      <a:lnTo>
                        <a:pt x="62" y="57"/>
                      </a:lnTo>
                      <a:lnTo>
                        <a:pt x="59" y="55"/>
                      </a:lnTo>
                      <a:lnTo>
                        <a:pt x="55" y="55"/>
                      </a:lnTo>
                      <a:lnTo>
                        <a:pt x="55" y="53"/>
                      </a:lnTo>
                      <a:lnTo>
                        <a:pt x="52" y="53"/>
                      </a:lnTo>
                      <a:lnTo>
                        <a:pt x="50" y="53"/>
                      </a:lnTo>
                      <a:lnTo>
                        <a:pt x="50" y="55"/>
                      </a:lnTo>
                      <a:lnTo>
                        <a:pt x="47" y="53"/>
                      </a:lnTo>
                      <a:lnTo>
                        <a:pt x="47" y="55"/>
                      </a:lnTo>
                      <a:lnTo>
                        <a:pt x="45" y="53"/>
                      </a:lnTo>
                      <a:lnTo>
                        <a:pt x="45" y="57"/>
                      </a:lnTo>
                      <a:lnTo>
                        <a:pt x="45" y="57"/>
                      </a:lnTo>
                      <a:lnTo>
                        <a:pt x="45" y="60"/>
                      </a:lnTo>
                      <a:lnTo>
                        <a:pt x="43" y="60"/>
                      </a:lnTo>
                      <a:lnTo>
                        <a:pt x="40" y="62"/>
                      </a:lnTo>
                      <a:lnTo>
                        <a:pt x="33" y="62"/>
                      </a:lnTo>
                      <a:lnTo>
                        <a:pt x="31" y="64"/>
                      </a:lnTo>
                      <a:lnTo>
                        <a:pt x="29" y="64"/>
                      </a:lnTo>
                      <a:lnTo>
                        <a:pt x="26" y="67"/>
                      </a:lnTo>
                      <a:lnTo>
                        <a:pt x="24" y="64"/>
                      </a:lnTo>
                      <a:lnTo>
                        <a:pt x="21" y="64"/>
                      </a:lnTo>
                      <a:lnTo>
                        <a:pt x="19" y="62"/>
                      </a:lnTo>
                      <a:lnTo>
                        <a:pt x="17" y="62"/>
                      </a:lnTo>
                      <a:lnTo>
                        <a:pt x="12" y="60"/>
                      </a:lnTo>
                      <a:lnTo>
                        <a:pt x="10" y="60"/>
                      </a:lnTo>
                      <a:lnTo>
                        <a:pt x="7" y="62"/>
                      </a:lnTo>
                      <a:lnTo>
                        <a:pt x="5" y="62"/>
                      </a:lnTo>
                      <a:lnTo>
                        <a:pt x="5" y="60"/>
                      </a:lnTo>
                      <a:lnTo>
                        <a:pt x="3" y="57"/>
                      </a:lnTo>
                      <a:lnTo>
                        <a:pt x="0" y="55"/>
                      </a:lnTo>
                      <a:lnTo>
                        <a:pt x="0" y="55"/>
                      </a:lnTo>
                      <a:lnTo>
                        <a:pt x="0" y="53"/>
                      </a:lnTo>
                      <a:lnTo>
                        <a:pt x="3" y="48"/>
                      </a:lnTo>
                      <a:lnTo>
                        <a:pt x="5" y="48"/>
                      </a:lnTo>
                      <a:lnTo>
                        <a:pt x="5" y="45"/>
                      </a:lnTo>
                      <a:lnTo>
                        <a:pt x="5" y="41"/>
                      </a:lnTo>
                      <a:lnTo>
                        <a:pt x="12" y="34"/>
                      </a:lnTo>
                      <a:lnTo>
                        <a:pt x="12" y="31"/>
                      </a:lnTo>
                      <a:lnTo>
                        <a:pt x="14" y="29"/>
                      </a:lnTo>
                      <a:lnTo>
                        <a:pt x="17" y="29"/>
                      </a:lnTo>
                      <a:lnTo>
                        <a:pt x="17" y="26"/>
                      </a:lnTo>
                      <a:lnTo>
                        <a:pt x="17" y="26"/>
                      </a:lnTo>
                      <a:lnTo>
                        <a:pt x="14" y="24"/>
                      </a:lnTo>
                      <a:lnTo>
                        <a:pt x="17" y="22"/>
                      </a:lnTo>
                      <a:lnTo>
                        <a:pt x="14" y="22"/>
                      </a:lnTo>
                      <a:lnTo>
                        <a:pt x="12" y="17"/>
                      </a:lnTo>
                      <a:lnTo>
                        <a:pt x="12" y="17"/>
                      </a:lnTo>
                      <a:lnTo>
                        <a:pt x="10" y="12"/>
                      </a:lnTo>
                      <a:lnTo>
                        <a:pt x="12" y="10"/>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7" name="Freeform 51">
                  <a:extLst>
                    <a:ext uri="{FF2B5EF4-FFF2-40B4-BE49-F238E27FC236}">
                      <a16:creationId xmlns:a16="http://schemas.microsoft.com/office/drawing/2014/main" id="{11DCB7ED-2668-A2D8-BA2D-0548FCC4654E}"/>
                    </a:ext>
                  </a:extLst>
                </p:cNvPr>
                <p:cNvSpPr>
                  <a:spLocks/>
                </p:cNvSpPr>
                <p:nvPr/>
              </p:nvSpPr>
              <p:spPr bwMode="auto">
                <a:xfrm>
                  <a:off x="2926" y="2055"/>
                  <a:ext cx="40" cy="40"/>
                </a:xfrm>
                <a:custGeom>
                  <a:avLst/>
                  <a:gdLst>
                    <a:gd name="T0" fmla="*/ 0 w 40"/>
                    <a:gd name="T1" fmla="*/ 7 h 40"/>
                    <a:gd name="T2" fmla="*/ 0 w 40"/>
                    <a:gd name="T3" fmla="*/ 4 h 40"/>
                    <a:gd name="T4" fmla="*/ 0 w 40"/>
                    <a:gd name="T5" fmla="*/ 4 h 40"/>
                    <a:gd name="T6" fmla="*/ 0 w 40"/>
                    <a:gd name="T7" fmla="*/ 0 h 40"/>
                    <a:gd name="T8" fmla="*/ 2 w 40"/>
                    <a:gd name="T9" fmla="*/ 2 h 40"/>
                    <a:gd name="T10" fmla="*/ 2 w 40"/>
                    <a:gd name="T11" fmla="*/ 0 h 40"/>
                    <a:gd name="T12" fmla="*/ 5 w 40"/>
                    <a:gd name="T13" fmla="*/ 2 h 40"/>
                    <a:gd name="T14" fmla="*/ 5 w 40"/>
                    <a:gd name="T15" fmla="*/ 0 h 40"/>
                    <a:gd name="T16" fmla="*/ 7 w 40"/>
                    <a:gd name="T17" fmla="*/ 0 h 40"/>
                    <a:gd name="T18" fmla="*/ 10 w 40"/>
                    <a:gd name="T19" fmla="*/ 0 h 40"/>
                    <a:gd name="T20" fmla="*/ 10 w 40"/>
                    <a:gd name="T21" fmla="*/ 2 h 40"/>
                    <a:gd name="T22" fmla="*/ 14 w 40"/>
                    <a:gd name="T23" fmla="*/ 2 h 40"/>
                    <a:gd name="T24" fmla="*/ 17 w 40"/>
                    <a:gd name="T25" fmla="*/ 4 h 40"/>
                    <a:gd name="T26" fmla="*/ 21 w 40"/>
                    <a:gd name="T27" fmla="*/ 4 h 40"/>
                    <a:gd name="T28" fmla="*/ 21 w 40"/>
                    <a:gd name="T29" fmla="*/ 4 h 40"/>
                    <a:gd name="T30" fmla="*/ 21 w 40"/>
                    <a:gd name="T31" fmla="*/ 4 h 40"/>
                    <a:gd name="T32" fmla="*/ 26 w 40"/>
                    <a:gd name="T33" fmla="*/ 7 h 40"/>
                    <a:gd name="T34" fmla="*/ 29 w 40"/>
                    <a:gd name="T35" fmla="*/ 9 h 40"/>
                    <a:gd name="T36" fmla="*/ 29 w 40"/>
                    <a:gd name="T37" fmla="*/ 11 h 40"/>
                    <a:gd name="T38" fmla="*/ 29 w 40"/>
                    <a:gd name="T39" fmla="*/ 14 h 40"/>
                    <a:gd name="T40" fmla="*/ 31 w 40"/>
                    <a:gd name="T41" fmla="*/ 16 h 40"/>
                    <a:gd name="T42" fmla="*/ 31 w 40"/>
                    <a:gd name="T43" fmla="*/ 16 h 40"/>
                    <a:gd name="T44" fmla="*/ 36 w 40"/>
                    <a:gd name="T45" fmla="*/ 18 h 40"/>
                    <a:gd name="T46" fmla="*/ 38 w 40"/>
                    <a:gd name="T47" fmla="*/ 21 h 40"/>
                    <a:gd name="T48" fmla="*/ 38 w 40"/>
                    <a:gd name="T49" fmla="*/ 23 h 40"/>
                    <a:gd name="T50" fmla="*/ 38 w 40"/>
                    <a:gd name="T51" fmla="*/ 26 h 40"/>
                    <a:gd name="T52" fmla="*/ 40 w 40"/>
                    <a:gd name="T53" fmla="*/ 26 h 40"/>
                    <a:gd name="T54" fmla="*/ 38 w 40"/>
                    <a:gd name="T55" fmla="*/ 28 h 40"/>
                    <a:gd name="T56" fmla="*/ 36 w 40"/>
                    <a:gd name="T57" fmla="*/ 28 h 40"/>
                    <a:gd name="T58" fmla="*/ 33 w 40"/>
                    <a:gd name="T59" fmla="*/ 26 h 40"/>
                    <a:gd name="T60" fmla="*/ 31 w 40"/>
                    <a:gd name="T61" fmla="*/ 28 h 40"/>
                    <a:gd name="T62" fmla="*/ 29 w 40"/>
                    <a:gd name="T63" fmla="*/ 28 h 40"/>
                    <a:gd name="T64" fmla="*/ 29 w 40"/>
                    <a:gd name="T65" fmla="*/ 30 h 40"/>
                    <a:gd name="T66" fmla="*/ 29 w 40"/>
                    <a:gd name="T67" fmla="*/ 33 h 40"/>
                    <a:gd name="T68" fmla="*/ 26 w 40"/>
                    <a:gd name="T69" fmla="*/ 33 h 40"/>
                    <a:gd name="T70" fmla="*/ 26 w 40"/>
                    <a:gd name="T71" fmla="*/ 37 h 40"/>
                    <a:gd name="T72" fmla="*/ 26 w 40"/>
                    <a:gd name="T73" fmla="*/ 40 h 40"/>
                    <a:gd name="T74" fmla="*/ 24 w 40"/>
                    <a:gd name="T75" fmla="*/ 37 h 40"/>
                    <a:gd name="T76" fmla="*/ 21 w 40"/>
                    <a:gd name="T77" fmla="*/ 40 h 40"/>
                    <a:gd name="T78" fmla="*/ 21 w 40"/>
                    <a:gd name="T79" fmla="*/ 40 h 40"/>
                    <a:gd name="T80" fmla="*/ 19 w 40"/>
                    <a:gd name="T81" fmla="*/ 35 h 40"/>
                    <a:gd name="T82" fmla="*/ 21 w 40"/>
                    <a:gd name="T83" fmla="*/ 26 h 40"/>
                    <a:gd name="T84" fmla="*/ 19 w 40"/>
                    <a:gd name="T85" fmla="*/ 23 h 40"/>
                    <a:gd name="T86" fmla="*/ 17 w 40"/>
                    <a:gd name="T87" fmla="*/ 21 h 40"/>
                    <a:gd name="T88" fmla="*/ 12 w 40"/>
                    <a:gd name="T89" fmla="*/ 16 h 40"/>
                    <a:gd name="T90" fmla="*/ 12 w 40"/>
                    <a:gd name="T91" fmla="*/ 14 h 40"/>
                    <a:gd name="T92" fmla="*/ 7 w 40"/>
                    <a:gd name="T93" fmla="*/ 11 h 40"/>
                    <a:gd name="T94" fmla="*/ 5 w 40"/>
                    <a:gd name="T95" fmla="*/ 7 h 40"/>
                    <a:gd name="T96" fmla="*/ 0 w 40"/>
                    <a:gd name="T97" fmla="*/ 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0" h="40">
                      <a:moveTo>
                        <a:pt x="0" y="7"/>
                      </a:moveTo>
                      <a:lnTo>
                        <a:pt x="0" y="4"/>
                      </a:lnTo>
                      <a:lnTo>
                        <a:pt x="0" y="4"/>
                      </a:lnTo>
                      <a:lnTo>
                        <a:pt x="0" y="0"/>
                      </a:lnTo>
                      <a:lnTo>
                        <a:pt x="2" y="2"/>
                      </a:lnTo>
                      <a:lnTo>
                        <a:pt x="2" y="0"/>
                      </a:lnTo>
                      <a:lnTo>
                        <a:pt x="5" y="2"/>
                      </a:lnTo>
                      <a:lnTo>
                        <a:pt x="5" y="0"/>
                      </a:lnTo>
                      <a:lnTo>
                        <a:pt x="7" y="0"/>
                      </a:lnTo>
                      <a:lnTo>
                        <a:pt x="10" y="0"/>
                      </a:lnTo>
                      <a:lnTo>
                        <a:pt x="10" y="2"/>
                      </a:lnTo>
                      <a:lnTo>
                        <a:pt x="14" y="2"/>
                      </a:lnTo>
                      <a:lnTo>
                        <a:pt x="17" y="4"/>
                      </a:lnTo>
                      <a:lnTo>
                        <a:pt x="21" y="4"/>
                      </a:lnTo>
                      <a:lnTo>
                        <a:pt x="21" y="4"/>
                      </a:lnTo>
                      <a:lnTo>
                        <a:pt x="21" y="4"/>
                      </a:lnTo>
                      <a:lnTo>
                        <a:pt x="26" y="7"/>
                      </a:lnTo>
                      <a:lnTo>
                        <a:pt x="29" y="9"/>
                      </a:lnTo>
                      <a:lnTo>
                        <a:pt x="29" y="11"/>
                      </a:lnTo>
                      <a:lnTo>
                        <a:pt x="29" y="14"/>
                      </a:lnTo>
                      <a:lnTo>
                        <a:pt x="31" y="16"/>
                      </a:lnTo>
                      <a:lnTo>
                        <a:pt x="31" y="16"/>
                      </a:lnTo>
                      <a:lnTo>
                        <a:pt x="36" y="18"/>
                      </a:lnTo>
                      <a:lnTo>
                        <a:pt x="38" y="21"/>
                      </a:lnTo>
                      <a:lnTo>
                        <a:pt x="38" y="23"/>
                      </a:lnTo>
                      <a:lnTo>
                        <a:pt x="38" y="26"/>
                      </a:lnTo>
                      <a:lnTo>
                        <a:pt x="40" y="26"/>
                      </a:lnTo>
                      <a:lnTo>
                        <a:pt x="38" y="28"/>
                      </a:lnTo>
                      <a:lnTo>
                        <a:pt x="36" y="28"/>
                      </a:lnTo>
                      <a:lnTo>
                        <a:pt x="33" y="26"/>
                      </a:lnTo>
                      <a:lnTo>
                        <a:pt x="31" y="28"/>
                      </a:lnTo>
                      <a:lnTo>
                        <a:pt x="29" y="28"/>
                      </a:lnTo>
                      <a:lnTo>
                        <a:pt x="29" y="30"/>
                      </a:lnTo>
                      <a:lnTo>
                        <a:pt x="29" y="33"/>
                      </a:lnTo>
                      <a:lnTo>
                        <a:pt x="26" y="33"/>
                      </a:lnTo>
                      <a:lnTo>
                        <a:pt x="26" y="37"/>
                      </a:lnTo>
                      <a:lnTo>
                        <a:pt x="26" y="40"/>
                      </a:lnTo>
                      <a:lnTo>
                        <a:pt x="24" y="37"/>
                      </a:lnTo>
                      <a:lnTo>
                        <a:pt x="21" y="40"/>
                      </a:lnTo>
                      <a:lnTo>
                        <a:pt x="21" y="40"/>
                      </a:lnTo>
                      <a:lnTo>
                        <a:pt x="19" y="35"/>
                      </a:lnTo>
                      <a:lnTo>
                        <a:pt x="21" y="26"/>
                      </a:lnTo>
                      <a:lnTo>
                        <a:pt x="19" y="23"/>
                      </a:lnTo>
                      <a:lnTo>
                        <a:pt x="17" y="21"/>
                      </a:lnTo>
                      <a:lnTo>
                        <a:pt x="12" y="16"/>
                      </a:lnTo>
                      <a:lnTo>
                        <a:pt x="12" y="14"/>
                      </a:lnTo>
                      <a:lnTo>
                        <a:pt x="7" y="11"/>
                      </a:lnTo>
                      <a:lnTo>
                        <a:pt x="5" y="7"/>
                      </a:lnTo>
                      <a:lnTo>
                        <a:pt x="0" y="7"/>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8" name="Freeform 52">
                  <a:extLst>
                    <a:ext uri="{FF2B5EF4-FFF2-40B4-BE49-F238E27FC236}">
                      <a16:creationId xmlns:a16="http://schemas.microsoft.com/office/drawing/2014/main" id="{9E5F10F2-2EEB-9704-D750-D7F930EC60F0}"/>
                    </a:ext>
                  </a:extLst>
                </p:cNvPr>
                <p:cNvSpPr>
                  <a:spLocks/>
                </p:cNvSpPr>
                <p:nvPr/>
              </p:nvSpPr>
              <p:spPr bwMode="auto">
                <a:xfrm>
                  <a:off x="2865" y="2062"/>
                  <a:ext cx="99" cy="57"/>
                </a:xfrm>
                <a:custGeom>
                  <a:avLst/>
                  <a:gdLst>
                    <a:gd name="T0" fmla="*/ 23 w 99"/>
                    <a:gd name="T1" fmla="*/ 2 h 57"/>
                    <a:gd name="T2" fmla="*/ 28 w 99"/>
                    <a:gd name="T3" fmla="*/ 0 h 57"/>
                    <a:gd name="T4" fmla="*/ 35 w 99"/>
                    <a:gd name="T5" fmla="*/ 2 h 57"/>
                    <a:gd name="T6" fmla="*/ 40 w 99"/>
                    <a:gd name="T7" fmla="*/ 4 h 57"/>
                    <a:gd name="T8" fmla="*/ 45 w 99"/>
                    <a:gd name="T9" fmla="*/ 4 h 57"/>
                    <a:gd name="T10" fmla="*/ 49 w 99"/>
                    <a:gd name="T11" fmla="*/ 2 h 57"/>
                    <a:gd name="T12" fmla="*/ 59 w 99"/>
                    <a:gd name="T13" fmla="*/ 0 h 57"/>
                    <a:gd name="T14" fmla="*/ 68 w 99"/>
                    <a:gd name="T15" fmla="*/ 4 h 57"/>
                    <a:gd name="T16" fmla="*/ 73 w 99"/>
                    <a:gd name="T17" fmla="*/ 9 h 57"/>
                    <a:gd name="T18" fmla="*/ 80 w 99"/>
                    <a:gd name="T19" fmla="*/ 16 h 57"/>
                    <a:gd name="T20" fmla="*/ 80 w 99"/>
                    <a:gd name="T21" fmla="*/ 28 h 57"/>
                    <a:gd name="T22" fmla="*/ 85 w 99"/>
                    <a:gd name="T23" fmla="*/ 35 h 57"/>
                    <a:gd name="T24" fmla="*/ 92 w 99"/>
                    <a:gd name="T25" fmla="*/ 35 h 57"/>
                    <a:gd name="T26" fmla="*/ 97 w 99"/>
                    <a:gd name="T27" fmla="*/ 35 h 57"/>
                    <a:gd name="T28" fmla="*/ 97 w 99"/>
                    <a:gd name="T29" fmla="*/ 38 h 57"/>
                    <a:gd name="T30" fmla="*/ 99 w 99"/>
                    <a:gd name="T31" fmla="*/ 40 h 57"/>
                    <a:gd name="T32" fmla="*/ 94 w 99"/>
                    <a:gd name="T33" fmla="*/ 42 h 57"/>
                    <a:gd name="T34" fmla="*/ 90 w 99"/>
                    <a:gd name="T35" fmla="*/ 45 h 57"/>
                    <a:gd name="T36" fmla="*/ 90 w 99"/>
                    <a:gd name="T37" fmla="*/ 47 h 57"/>
                    <a:gd name="T38" fmla="*/ 90 w 99"/>
                    <a:gd name="T39" fmla="*/ 52 h 57"/>
                    <a:gd name="T40" fmla="*/ 87 w 99"/>
                    <a:gd name="T41" fmla="*/ 54 h 57"/>
                    <a:gd name="T42" fmla="*/ 82 w 99"/>
                    <a:gd name="T43" fmla="*/ 52 h 57"/>
                    <a:gd name="T44" fmla="*/ 80 w 99"/>
                    <a:gd name="T45" fmla="*/ 52 h 57"/>
                    <a:gd name="T46" fmla="*/ 73 w 99"/>
                    <a:gd name="T47" fmla="*/ 49 h 57"/>
                    <a:gd name="T48" fmla="*/ 63 w 99"/>
                    <a:gd name="T49" fmla="*/ 54 h 57"/>
                    <a:gd name="T50" fmla="*/ 59 w 99"/>
                    <a:gd name="T51" fmla="*/ 57 h 57"/>
                    <a:gd name="T52" fmla="*/ 54 w 99"/>
                    <a:gd name="T53" fmla="*/ 57 h 57"/>
                    <a:gd name="T54" fmla="*/ 49 w 99"/>
                    <a:gd name="T55" fmla="*/ 57 h 57"/>
                    <a:gd name="T56" fmla="*/ 45 w 99"/>
                    <a:gd name="T57" fmla="*/ 57 h 57"/>
                    <a:gd name="T58" fmla="*/ 37 w 99"/>
                    <a:gd name="T59" fmla="*/ 57 h 57"/>
                    <a:gd name="T60" fmla="*/ 35 w 99"/>
                    <a:gd name="T61" fmla="*/ 54 h 57"/>
                    <a:gd name="T62" fmla="*/ 30 w 99"/>
                    <a:gd name="T63" fmla="*/ 57 h 57"/>
                    <a:gd name="T64" fmla="*/ 30 w 99"/>
                    <a:gd name="T65" fmla="*/ 54 h 57"/>
                    <a:gd name="T66" fmla="*/ 28 w 99"/>
                    <a:gd name="T67" fmla="*/ 52 h 57"/>
                    <a:gd name="T68" fmla="*/ 26 w 99"/>
                    <a:gd name="T69" fmla="*/ 49 h 57"/>
                    <a:gd name="T70" fmla="*/ 26 w 99"/>
                    <a:gd name="T71" fmla="*/ 45 h 57"/>
                    <a:gd name="T72" fmla="*/ 21 w 99"/>
                    <a:gd name="T73" fmla="*/ 47 h 57"/>
                    <a:gd name="T74" fmla="*/ 16 w 99"/>
                    <a:gd name="T75" fmla="*/ 47 h 57"/>
                    <a:gd name="T76" fmla="*/ 11 w 99"/>
                    <a:gd name="T77" fmla="*/ 42 h 57"/>
                    <a:gd name="T78" fmla="*/ 11 w 99"/>
                    <a:gd name="T79" fmla="*/ 40 h 57"/>
                    <a:gd name="T80" fmla="*/ 7 w 99"/>
                    <a:gd name="T81" fmla="*/ 35 h 57"/>
                    <a:gd name="T82" fmla="*/ 2 w 99"/>
                    <a:gd name="T83" fmla="*/ 30 h 57"/>
                    <a:gd name="T84" fmla="*/ 0 w 99"/>
                    <a:gd name="T85" fmla="*/ 28 h 57"/>
                    <a:gd name="T86" fmla="*/ 4 w 99"/>
                    <a:gd name="T87" fmla="*/ 26 h 57"/>
                    <a:gd name="T88" fmla="*/ 7 w 99"/>
                    <a:gd name="T89" fmla="*/ 23 h 57"/>
                    <a:gd name="T90" fmla="*/ 9 w 99"/>
                    <a:gd name="T91" fmla="*/ 21 h 57"/>
                    <a:gd name="T92" fmla="*/ 16 w 99"/>
                    <a:gd name="T93" fmla="*/ 9 h 57"/>
                    <a:gd name="T94" fmla="*/ 21 w 99"/>
                    <a:gd name="T95" fmla="*/ 4 h 57"/>
                    <a:gd name="T96" fmla="*/ 21 w 99"/>
                    <a:gd name="T97" fmla="*/ 2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9" h="57">
                      <a:moveTo>
                        <a:pt x="21" y="2"/>
                      </a:moveTo>
                      <a:lnTo>
                        <a:pt x="23" y="2"/>
                      </a:lnTo>
                      <a:lnTo>
                        <a:pt x="26" y="0"/>
                      </a:lnTo>
                      <a:lnTo>
                        <a:pt x="28" y="0"/>
                      </a:lnTo>
                      <a:lnTo>
                        <a:pt x="33" y="2"/>
                      </a:lnTo>
                      <a:lnTo>
                        <a:pt x="35" y="2"/>
                      </a:lnTo>
                      <a:lnTo>
                        <a:pt x="37" y="4"/>
                      </a:lnTo>
                      <a:lnTo>
                        <a:pt x="40" y="4"/>
                      </a:lnTo>
                      <a:lnTo>
                        <a:pt x="42" y="7"/>
                      </a:lnTo>
                      <a:lnTo>
                        <a:pt x="45" y="4"/>
                      </a:lnTo>
                      <a:lnTo>
                        <a:pt x="47" y="4"/>
                      </a:lnTo>
                      <a:lnTo>
                        <a:pt x="49" y="2"/>
                      </a:lnTo>
                      <a:lnTo>
                        <a:pt x="56" y="2"/>
                      </a:lnTo>
                      <a:lnTo>
                        <a:pt x="59" y="0"/>
                      </a:lnTo>
                      <a:lnTo>
                        <a:pt x="66" y="0"/>
                      </a:lnTo>
                      <a:lnTo>
                        <a:pt x="68" y="4"/>
                      </a:lnTo>
                      <a:lnTo>
                        <a:pt x="73" y="7"/>
                      </a:lnTo>
                      <a:lnTo>
                        <a:pt x="73" y="9"/>
                      </a:lnTo>
                      <a:lnTo>
                        <a:pt x="78" y="14"/>
                      </a:lnTo>
                      <a:lnTo>
                        <a:pt x="80" y="16"/>
                      </a:lnTo>
                      <a:lnTo>
                        <a:pt x="82" y="19"/>
                      </a:lnTo>
                      <a:lnTo>
                        <a:pt x="80" y="28"/>
                      </a:lnTo>
                      <a:lnTo>
                        <a:pt x="82" y="33"/>
                      </a:lnTo>
                      <a:lnTo>
                        <a:pt x="85" y="35"/>
                      </a:lnTo>
                      <a:lnTo>
                        <a:pt x="87" y="35"/>
                      </a:lnTo>
                      <a:lnTo>
                        <a:pt x="92" y="35"/>
                      </a:lnTo>
                      <a:lnTo>
                        <a:pt x="94" y="35"/>
                      </a:lnTo>
                      <a:lnTo>
                        <a:pt x="97" y="35"/>
                      </a:lnTo>
                      <a:lnTo>
                        <a:pt x="99" y="35"/>
                      </a:lnTo>
                      <a:lnTo>
                        <a:pt x="97" y="38"/>
                      </a:lnTo>
                      <a:lnTo>
                        <a:pt x="99" y="38"/>
                      </a:lnTo>
                      <a:lnTo>
                        <a:pt x="99" y="40"/>
                      </a:lnTo>
                      <a:lnTo>
                        <a:pt x="97" y="42"/>
                      </a:lnTo>
                      <a:lnTo>
                        <a:pt x="94" y="42"/>
                      </a:lnTo>
                      <a:lnTo>
                        <a:pt x="92" y="42"/>
                      </a:lnTo>
                      <a:lnTo>
                        <a:pt x="90" y="45"/>
                      </a:lnTo>
                      <a:lnTo>
                        <a:pt x="90" y="47"/>
                      </a:lnTo>
                      <a:lnTo>
                        <a:pt x="90" y="47"/>
                      </a:lnTo>
                      <a:lnTo>
                        <a:pt x="90" y="49"/>
                      </a:lnTo>
                      <a:lnTo>
                        <a:pt x="90" y="52"/>
                      </a:lnTo>
                      <a:lnTo>
                        <a:pt x="90" y="54"/>
                      </a:lnTo>
                      <a:lnTo>
                        <a:pt x="87" y="54"/>
                      </a:lnTo>
                      <a:lnTo>
                        <a:pt x="87" y="54"/>
                      </a:lnTo>
                      <a:lnTo>
                        <a:pt x="82" y="52"/>
                      </a:lnTo>
                      <a:lnTo>
                        <a:pt x="80" y="54"/>
                      </a:lnTo>
                      <a:lnTo>
                        <a:pt x="80" y="52"/>
                      </a:lnTo>
                      <a:lnTo>
                        <a:pt x="75" y="52"/>
                      </a:lnTo>
                      <a:lnTo>
                        <a:pt x="73" y="49"/>
                      </a:lnTo>
                      <a:lnTo>
                        <a:pt x="71" y="52"/>
                      </a:lnTo>
                      <a:lnTo>
                        <a:pt x="63" y="54"/>
                      </a:lnTo>
                      <a:lnTo>
                        <a:pt x="61" y="54"/>
                      </a:lnTo>
                      <a:lnTo>
                        <a:pt x="59" y="57"/>
                      </a:lnTo>
                      <a:lnTo>
                        <a:pt x="59" y="57"/>
                      </a:lnTo>
                      <a:lnTo>
                        <a:pt x="54" y="57"/>
                      </a:lnTo>
                      <a:lnTo>
                        <a:pt x="52" y="57"/>
                      </a:lnTo>
                      <a:lnTo>
                        <a:pt x="49" y="57"/>
                      </a:lnTo>
                      <a:lnTo>
                        <a:pt x="47" y="57"/>
                      </a:lnTo>
                      <a:lnTo>
                        <a:pt x="45" y="57"/>
                      </a:lnTo>
                      <a:lnTo>
                        <a:pt x="42" y="57"/>
                      </a:lnTo>
                      <a:lnTo>
                        <a:pt x="37" y="57"/>
                      </a:lnTo>
                      <a:lnTo>
                        <a:pt x="37" y="57"/>
                      </a:lnTo>
                      <a:lnTo>
                        <a:pt x="35" y="54"/>
                      </a:lnTo>
                      <a:lnTo>
                        <a:pt x="33" y="54"/>
                      </a:lnTo>
                      <a:lnTo>
                        <a:pt x="30" y="57"/>
                      </a:lnTo>
                      <a:lnTo>
                        <a:pt x="28" y="54"/>
                      </a:lnTo>
                      <a:lnTo>
                        <a:pt x="30" y="54"/>
                      </a:lnTo>
                      <a:lnTo>
                        <a:pt x="30" y="52"/>
                      </a:lnTo>
                      <a:lnTo>
                        <a:pt x="28" y="52"/>
                      </a:lnTo>
                      <a:lnTo>
                        <a:pt x="26" y="49"/>
                      </a:lnTo>
                      <a:lnTo>
                        <a:pt x="26" y="49"/>
                      </a:lnTo>
                      <a:lnTo>
                        <a:pt x="23" y="47"/>
                      </a:lnTo>
                      <a:lnTo>
                        <a:pt x="26" y="45"/>
                      </a:lnTo>
                      <a:lnTo>
                        <a:pt x="23" y="45"/>
                      </a:lnTo>
                      <a:lnTo>
                        <a:pt x="21" y="47"/>
                      </a:lnTo>
                      <a:lnTo>
                        <a:pt x="19" y="45"/>
                      </a:lnTo>
                      <a:lnTo>
                        <a:pt x="16" y="47"/>
                      </a:lnTo>
                      <a:lnTo>
                        <a:pt x="16" y="45"/>
                      </a:lnTo>
                      <a:lnTo>
                        <a:pt x="11" y="42"/>
                      </a:lnTo>
                      <a:lnTo>
                        <a:pt x="11" y="42"/>
                      </a:lnTo>
                      <a:lnTo>
                        <a:pt x="11" y="40"/>
                      </a:lnTo>
                      <a:lnTo>
                        <a:pt x="9" y="38"/>
                      </a:lnTo>
                      <a:lnTo>
                        <a:pt x="7" y="35"/>
                      </a:lnTo>
                      <a:lnTo>
                        <a:pt x="7" y="35"/>
                      </a:lnTo>
                      <a:lnTo>
                        <a:pt x="2" y="30"/>
                      </a:lnTo>
                      <a:lnTo>
                        <a:pt x="2" y="28"/>
                      </a:lnTo>
                      <a:lnTo>
                        <a:pt x="0" y="28"/>
                      </a:lnTo>
                      <a:lnTo>
                        <a:pt x="2" y="26"/>
                      </a:lnTo>
                      <a:lnTo>
                        <a:pt x="4" y="26"/>
                      </a:lnTo>
                      <a:lnTo>
                        <a:pt x="4" y="23"/>
                      </a:lnTo>
                      <a:lnTo>
                        <a:pt x="7" y="23"/>
                      </a:lnTo>
                      <a:lnTo>
                        <a:pt x="9" y="23"/>
                      </a:lnTo>
                      <a:lnTo>
                        <a:pt x="9" y="21"/>
                      </a:lnTo>
                      <a:lnTo>
                        <a:pt x="14" y="14"/>
                      </a:lnTo>
                      <a:lnTo>
                        <a:pt x="16" y="9"/>
                      </a:lnTo>
                      <a:lnTo>
                        <a:pt x="19" y="4"/>
                      </a:lnTo>
                      <a:lnTo>
                        <a:pt x="21" y="4"/>
                      </a:lnTo>
                      <a:lnTo>
                        <a:pt x="21" y="2"/>
                      </a:lnTo>
                      <a:lnTo>
                        <a:pt x="21" y="2"/>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9" name="Freeform 53">
                  <a:extLst>
                    <a:ext uri="{FF2B5EF4-FFF2-40B4-BE49-F238E27FC236}">
                      <a16:creationId xmlns:a16="http://schemas.microsoft.com/office/drawing/2014/main" id="{6F96B86F-291B-BFC8-6151-9F36D6E91F40}"/>
                    </a:ext>
                  </a:extLst>
                </p:cNvPr>
                <p:cNvSpPr>
                  <a:spLocks/>
                </p:cNvSpPr>
                <p:nvPr/>
              </p:nvSpPr>
              <p:spPr bwMode="auto">
                <a:xfrm>
                  <a:off x="2822" y="2057"/>
                  <a:ext cx="64" cy="38"/>
                </a:xfrm>
                <a:custGeom>
                  <a:avLst/>
                  <a:gdLst>
                    <a:gd name="T0" fmla="*/ 43 w 64"/>
                    <a:gd name="T1" fmla="*/ 33 h 38"/>
                    <a:gd name="T2" fmla="*/ 45 w 64"/>
                    <a:gd name="T3" fmla="*/ 31 h 38"/>
                    <a:gd name="T4" fmla="*/ 47 w 64"/>
                    <a:gd name="T5" fmla="*/ 31 h 38"/>
                    <a:gd name="T6" fmla="*/ 47 w 64"/>
                    <a:gd name="T7" fmla="*/ 28 h 38"/>
                    <a:gd name="T8" fmla="*/ 50 w 64"/>
                    <a:gd name="T9" fmla="*/ 28 h 38"/>
                    <a:gd name="T10" fmla="*/ 52 w 64"/>
                    <a:gd name="T11" fmla="*/ 28 h 38"/>
                    <a:gd name="T12" fmla="*/ 52 w 64"/>
                    <a:gd name="T13" fmla="*/ 26 h 38"/>
                    <a:gd name="T14" fmla="*/ 57 w 64"/>
                    <a:gd name="T15" fmla="*/ 19 h 38"/>
                    <a:gd name="T16" fmla="*/ 59 w 64"/>
                    <a:gd name="T17" fmla="*/ 14 h 38"/>
                    <a:gd name="T18" fmla="*/ 62 w 64"/>
                    <a:gd name="T19" fmla="*/ 9 h 38"/>
                    <a:gd name="T20" fmla="*/ 64 w 64"/>
                    <a:gd name="T21" fmla="*/ 9 h 38"/>
                    <a:gd name="T22" fmla="*/ 64 w 64"/>
                    <a:gd name="T23" fmla="*/ 7 h 38"/>
                    <a:gd name="T24" fmla="*/ 64 w 64"/>
                    <a:gd name="T25" fmla="*/ 5 h 38"/>
                    <a:gd name="T26" fmla="*/ 62 w 64"/>
                    <a:gd name="T27" fmla="*/ 2 h 38"/>
                    <a:gd name="T28" fmla="*/ 59 w 64"/>
                    <a:gd name="T29" fmla="*/ 0 h 38"/>
                    <a:gd name="T30" fmla="*/ 57 w 64"/>
                    <a:gd name="T31" fmla="*/ 2 h 38"/>
                    <a:gd name="T32" fmla="*/ 52 w 64"/>
                    <a:gd name="T33" fmla="*/ 2 h 38"/>
                    <a:gd name="T34" fmla="*/ 47 w 64"/>
                    <a:gd name="T35" fmla="*/ 2 h 38"/>
                    <a:gd name="T36" fmla="*/ 45 w 64"/>
                    <a:gd name="T37" fmla="*/ 0 h 38"/>
                    <a:gd name="T38" fmla="*/ 40 w 64"/>
                    <a:gd name="T39" fmla="*/ 2 h 38"/>
                    <a:gd name="T40" fmla="*/ 40 w 64"/>
                    <a:gd name="T41" fmla="*/ 5 h 38"/>
                    <a:gd name="T42" fmla="*/ 38 w 64"/>
                    <a:gd name="T43" fmla="*/ 5 h 38"/>
                    <a:gd name="T44" fmla="*/ 38 w 64"/>
                    <a:gd name="T45" fmla="*/ 7 h 38"/>
                    <a:gd name="T46" fmla="*/ 33 w 64"/>
                    <a:gd name="T47" fmla="*/ 5 h 38"/>
                    <a:gd name="T48" fmla="*/ 31 w 64"/>
                    <a:gd name="T49" fmla="*/ 7 h 38"/>
                    <a:gd name="T50" fmla="*/ 26 w 64"/>
                    <a:gd name="T51" fmla="*/ 7 h 38"/>
                    <a:gd name="T52" fmla="*/ 26 w 64"/>
                    <a:gd name="T53" fmla="*/ 9 h 38"/>
                    <a:gd name="T54" fmla="*/ 21 w 64"/>
                    <a:gd name="T55" fmla="*/ 9 h 38"/>
                    <a:gd name="T56" fmla="*/ 17 w 64"/>
                    <a:gd name="T57" fmla="*/ 12 h 38"/>
                    <a:gd name="T58" fmla="*/ 12 w 64"/>
                    <a:gd name="T59" fmla="*/ 12 h 38"/>
                    <a:gd name="T60" fmla="*/ 5 w 64"/>
                    <a:gd name="T61" fmla="*/ 7 h 38"/>
                    <a:gd name="T62" fmla="*/ 5 w 64"/>
                    <a:gd name="T63" fmla="*/ 9 h 38"/>
                    <a:gd name="T64" fmla="*/ 5 w 64"/>
                    <a:gd name="T65" fmla="*/ 9 h 38"/>
                    <a:gd name="T66" fmla="*/ 5 w 64"/>
                    <a:gd name="T67" fmla="*/ 12 h 38"/>
                    <a:gd name="T68" fmla="*/ 0 w 64"/>
                    <a:gd name="T69" fmla="*/ 12 h 38"/>
                    <a:gd name="T70" fmla="*/ 0 w 64"/>
                    <a:gd name="T71" fmla="*/ 14 h 38"/>
                    <a:gd name="T72" fmla="*/ 2 w 64"/>
                    <a:gd name="T73" fmla="*/ 16 h 38"/>
                    <a:gd name="T74" fmla="*/ 2 w 64"/>
                    <a:gd name="T75" fmla="*/ 19 h 38"/>
                    <a:gd name="T76" fmla="*/ 0 w 64"/>
                    <a:gd name="T77" fmla="*/ 19 h 38"/>
                    <a:gd name="T78" fmla="*/ 2 w 64"/>
                    <a:gd name="T79" fmla="*/ 21 h 38"/>
                    <a:gd name="T80" fmla="*/ 0 w 64"/>
                    <a:gd name="T81" fmla="*/ 24 h 38"/>
                    <a:gd name="T82" fmla="*/ 0 w 64"/>
                    <a:gd name="T83" fmla="*/ 24 h 38"/>
                    <a:gd name="T84" fmla="*/ 2 w 64"/>
                    <a:gd name="T85" fmla="*/ 26 h 38"/>
                    <a:gd name="T86" fmla="*/ 2 w 64"/>
                    <a:gd name="T87" fmla="*/ 31 h 38"/>
                    <a:gd name="T88" fmla="*/ 5 w 64"/>
                    <a:gd name="T89" fmla="*/ 31 h 38"/>
                    <a:gd name="T90" fmla="*/ 9 w 64"/>
                    <a:gd name="T91" fmla="*/ 35 h 38"/>
                    <a:gd name="T92" fmla="*/ 12 w 64"/>
                    <a:gd name="T93" fmla="*/ 35 h 38"/>
                    <a:gd name="T94" fmla="*/ 14 w 64"/>
                    <a:gd name="T95" fmla="*/ 38 h 38"/>
                    <a:gd name="T96" fmla="*/ 19 w 64"/>
                    <a:gd name="T97" fmla="*/ 38 h 38"/>
                    <a:gd name="T98" fmla="*/ 24 w 64"/>
                    <a:gd name="T99" fmla="*/ 38 h 38"/>
                    <a:gd name="T100" fmla="*/ 26 w 64"/>
                    <a:gd name="T101" fmla="*/ 38 h 38"/>
                    <a:gd name="T102" fmla="*/ 26 w 64"/>
                    <a:gd name="T103" fmla="*/ 38 h 38"/>
                    <a:gd name="T104" fmla="*/ 28 w 64"/>
                    <a:gd name="T105" fmla="*/ 35 h 38"/>
                    <a:gd name="T106" fmla="*/ 31 w 64"/>
                    <a:gd name="T107" fmla="*/ 35 h 38"/>
                    <a:gd name="T108" fmla="*/ 33 w 64"/>
                    <a:gd name="T109" fmla="*/ 35 h 38"/>
                    <a:gd name="T110" fmla="*/ 33 w 64"/>
                    <a:gd name="T111" fmla="*/ 33 h 38"/>
                    <a:gd name="T112" fmla="*/ 36 w 64"/>
                    <a:gd name="T113" fmla="*/ 31 h 38"/>
                    <a:gd name="T114" fmla="*/ 38 w 64"/>
                    <a:gd name="T115" fmla="*/ 33 h 38"/>
                    <a:gd name="T116" fmla="*/ 40 w 64"/>
                    <a:gd name="T117" fmla="*/ 33 h 38"/>
                    <a:gd name="T118" fmla="*/ 43 w 64"/>
                    <a:gd name="T119" fmla="*/ 3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4" h="38">
                      <a:moveTo>
                        <a:pt x="43" y="33"/>
                      </a:moveTo>
                      <a:lnTo>
                        <a:pt x="45" y="31"/>
                      </a:lnTo>
                      <a:lnTo>
                        <a:pt x="47" y="31"/>
                      </a:lnTo>
                      <a:lnTo>
                        <a:pt x="47" y="28"/>
                      </a:lnTo>
                      <a:lnTo>
                        <a:pt x="50" y="28"/>
                      </a:lnTo>
                      <a:lnTo>
                        <a:pt x="52" y="28"/>
                      </a:lnTo>
                      <a:lnTo>
                        <a:pt x="52" y="26"/>
                      </a:lnTo>
                      <a:lnTo>
                        <a:pt x="57" y="19"/>
                      </a:lnTo>
                      <a:lnTo>
                        <a:pt x="59" y="14"/>
                      </a:lnTo>
                      <a:lnTo>
                        <a:pt x="62" y="9"/>
                      </a:lnTo>
                      <a:lnTo>
                        <a:pt x="64" y="9"/>
                      </a:lnTo>
                      <a:lnTo>
                        <a:pt x="64" y="7"/>
                      </a:lnTo>
                      <a:lnTo>
                        <a:pt x="64" y="5"/>
                      </a:lnTo>
                      <a:lnTo>
                        <a:pt x="62" y="2"/>
                      </a:lnTo>
                      <a:lnTo>
                        <a:pt x="59" y="0"/>
                      </a:lnTo>
                      <a:lnTo>
                        <a:pt x="57" y="2"/>
                      </a:lnTo>
                      <a:lnTo>
                        <a:pt x="52" y="2"/>
                      </a:lnTo>
                      <a:lnTo>
                        <a:pt x="47" y="2"/>
                      </a:lnTo>
                      <a:lnTo>
                        <a:pt x="45" y="0"/>
                      </a:lnTo>
                      <a:lnTo>
                        <a:pt x="40" y="2"/>
                      </a:lnTo>
                      <a:lnTo>
                        <a:pt x="40" y="5"/>
                      </a:lnTo>
                      <a:lnTo>
                        <a:pt x="38" y="5"/>
                      </a:lnTo>
                      <a:lnTo>
                        <a:pt x="38" y="7"/>
                      </a:lnTo>
                      <a:lnTo>
                        <a:pt x="33" y="5"/>
                      </a:lnTo>
                      <a:lnTo>
                        <a:pt x="31" y="7"/>
                      </a:lnTo>
                      <a:lnTo>
                        <a:pt x="26" y="7"/>
                      </a:lnTo>
                      <a:lnTo>
                        <a:pt x="26" y="9"/>
                      </a:lnTo>
                      <a:lnTo>
                        <a:pt x="21" y="9"/>
                      </a:lnTo>
                      <a:lnTo>
                        <a:pt x="17" y="12"/>
                      </a:lnTo>
                      <a:lnTo>
                        <a:pt x="12" y="12"/>
                      </a:lnTo>
                      <a:lnTo>
                        <a:pt x="5" y="7"/>
                      </a:lnTo>
                      <a:lnTo>
                        <a:pt x="5" y="9"/>
                      </a:lnTo>
                      <a:lnTo>
                        <a:pt x="5" y="9"/>
                      </a:lnTo>
                      <a:lnTo>
                        <a:pt x="5" y="12"/>
                      </a:lnTo>
                      <a:lnTo>
                        <a:pt x="0" y="12"/>
                      </a:lnTo>
                      <a:lnTo>
                        <a:pt x="0" y="14"/>
                      </a:lnTo>
                      <a:lnTo>
                        <a:pt x="2" y="16"/>
                      </a:lnTo>
                      <a:lnTo>
                        <a:pt x="2" y="19"/>
                      </a:lnTo>
                      <a:lnTo>
                        <a:pt x="0" y="19"/>
                      </a:lnTo>
                      <a:lnTo>
                        <a:pt x="2" y="21"/>
                      </a:lnTo>
                      <a:lnTo>
                        <a:pt x="0" y="24"/>
                      </a:lnTo>
                      <a:lnTo>
                        <a:pt x="0" y="24"/>
                      </a:lnTo>
                      <a:lnTo>
                        <a:pt x="2" y="26"/>
                      </a:lnTo>
                      <a:lnTo>
                        <a:pt x="2" y="31"/>
                      </a:lnTo>
                      <a:lnTo>
                        <a:pt x="5" y="31"/>
                      </a:lnTo>
                      <a:lnTo>
                        <a:pt x="9" y="35"/>
                      </a:lnTo>
                      <a:lnTo>
                        <a:pt x="12" y="35"/>
                      </a:lnTo>
                      <a:lnTo>
                        <a:pt x="14" y="38"/>
                      </a:lnTo>
                      <a:lnTo>
                        <a:pt x="19" y="38"/>
                      </a:lnTo>
                      <a:lnTo>
                        <a:pt x="24" y="38"/>
                      </a:lnTo>
                      <a:lnTo>
                        <a:pt x="26" y="38"/>
                      </a:lnTo>
                      <a:lnTo>
                        <a:pt x="26" y="38"/>
                      </a:lnTo>
                      <a:lnTo>
                        <a:pt x="28" y="35"/>
                      </a:lnTo>
                      <a:lnTo>
                        <a:pt x="31" y="35"/>
                      </a:lnTo>
                      <a:lnTo>
                        <a:pt x="33" y="35"/>
                      </a:lnTo>
                      <a:lnTo>
                        <a:pt x="33" y="33"/>
                      </a:lnTo>
                      <a:lnTo>
                        <a:pt x="36" y="31"/>
                      </a:lnTo>
                      <a:lnTo>
                        <a:pt x="38" y="33"/>
                      </a:lnTo>
                      <a:lnTo>
                        <a:pt x="40" y="33"/>
                      </a:lnTo>
                      <a:lnTo>
                        <a:pt x="43" y="33"/>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 name="Freeform 54">
                  <a:extLst>
                    <a:ext uri="{FF2B5EF4-FFF2-40B4-BE49-F238E27FC236}">
                      <a16:creationId xmlns:a16="http://schemas.microsoft.com/office/drawing/2014/main" id="{A9B8F1E4-E6ED-D44F-EA1E-3635103B81DD}"/>
                    </a:ext>
                  </a:extLst>
                </p:cNvPr>
                <p:cNvSpPr>
                  <a:spLocks/>
                </p:cNvSpPr>
                <p:nvPr/>
              </p:nvSpPr>
              <p:spPr bwMode="auto">
                <a:xfrm>
                  <a:off x="2827" y="2047"/>
                  <a:ext cx="57" cy="22"/>
                </a:xfrm>
                <a:custGeom>
                  <a:avLst/>
                  <a:gdLst>
                    <a:gd name="T0" fmla="*/ 0 w 57"/>
                    <a:gd name="T1" fmla="*/ 17 h 22"/>
                    <a:gd name="T2" fmla="*/ 7 w 57"/>
                    <a:gd name="T3" fmla="*/ 22 h 22"/>
                    <a:gd name="T4" fmla="*/ 12 w 57"/>
                    <a:gd name="T5" fmla="*/ 22 h 22"/>
                    <a:gd name="T6" fmla="*/ 16 w 57"/>
                    <a:gd name="T7" fmla="*/ 19 h 22"/>
                    <a:gd name="T8" fmla="*/ 21 w 57"/>
                    <a:gd name="T9" fmla="*/ 19 h 22"/>
                    <a:gd name="T10" fmla="*/ 21 w 57"/>
                    <a:gd name="T11" fmla="*/ 17 h 22"/>
                    <a:gd name="T12" fmla="*/ 26 w 57"/>
                    <a:gd name="T13" fmla="*/ 17 h 22"/>
                    <a:gd name="T14" fmla="*/ 28 w 57"/>
                    <a:gd name="T15" fmla="*/ 15 h 22"/>
                    <a:gd name="T16" fmla="*/ 33 w 57"/>
                    <a:gd name="T17" fmla="*/ 17 h 22"/>
                    <a:gd name="T18" fmla="*/ 33 w 57"/>
                    <a:gd name="T19" fmla="*/ 15 h 22"/>
                    <a:gd name="T20" fmla="*/ 35 w 57"/>
                    <a:gd name="T21" fmla="*/ 15 h 22"/>
                    <a:gd name="T22" fmla="*/ 35 w 57"/>
                    <a:gd name="T23" fmla="*/ 12 h 22"/>
                    <a:gd name="T24" fmla="*/ 40 w 57"/>
                    <a:gd name="T25" fmla="*/ 10 h 22"/>
                    <a:gd name="T26" fmla="*/ 42 w 57"/>
                    <a:gd name="T27" fmla="*/ 12 h 22"/>
                    <a:gd name="T28" fmla="*/ 47 w 57"/>
                    <a:gd name="T29" fmla="*/ 12 h 22"/>
                    <a:gd name="T30" fmla="*/ 52 w 57"/>
                    <a:gd name="T31" fmla="*/ 12 h 22"/>
                    <a:gd name="T32" fmla="*/ 54 w 57"/>
                    <a:gd name="T33" fmla="*/ 10 h 22"/>
                    <a:gd name="T34" fmla="*/ 54 w 57"/>
                    <a:gd name="T35" fmla="*/ 8 h 22"/>
                    <a:gd name="T36" fmla="*/ 57 w 57"/>
                    <a:gd name="T37" fmla="*/ 3 h 22"/>
                    <a:gd name="T38" fmla="*/ 57 w 57"/>
                    <a:gd name="T39" fmla="*/ 3 h 22"/>
                    <a:gd name="T40" fmla="*/ 52 w 57"/>
                    <a:gd name="T41" fmla="*/ 0 h 22"/>
                    <a:gd name="T42" fmla="*/ 47 w 57"/>
                    <a:gd name="T43" fmla="*/ 0 h 22"/>
                    <a:gd name="T44" fmla="*/ 47 w 57"/>
                    <a:gd name="T45" fmla="*/ 0 h 22"/>
                    <a:gd name="T46" fmla="*/ 45 w 57"/>
                    <a:gd name="T47" fmla="*/ 0 h 22"/>
                    <a:gd name="T48" fmla="*/ 42 w 57"/>
                    <a:gd name="T49" fmla="*/ 0 h 22"/>
                    <a:gd name="T50" fmla="*/ 40 w 57"/>
                    <a:gd name="T51" fmla="*/ 0 h 22"/>
                    <a:gd name="T52" fmla="*/ 40 w 57"/>
                    <a:gd name="T53" fmla="*/ 0 h 22"/>
                    <a:gd name="T54" fmla="*/ 38 w 57"/>
                    <a:gd name="T55" fmla="*/ 0 h 22"/>
                    <a:gd name="T56" fmla="*/ 35 w 57"/>
                    <a:gd name="T57" fmla="*/ 0 h 22"/>
                    <a:gd name="T58" fmla="*/ 33 w 57"/>
                    <a:gd name="T59" fmla="*/ 0 h 22"/>
                    <a:gd name="T60" fmla="*/ 33 w 57"/>
                    <a:gd name="T61" fmla="*/ 3 h 22"/>
                    <a:gd name="T62" fmla="*/ 31 w 57"/>
                    <a:gd name="T63" fmla="*/ 3 h 22"/>
                    <a:gd name="T64" fmla="*/ 28 w 57"/>
                    <a:gd name="T65" fmla="*/ 3 h 22"/>
                    <a:gd name="T66" fmla="*/ 28 w 57"/>
                    <a:gd name="T67" fmla="*/ 3 h 22"/>
                    <a:gd name="T68" fmla="*/ 23 w 57"/>
                    <a:gd name="T69" fmla="*/ 3 h 22"/>
                    <a:gd name="T70" fmla="*/ 21 w 57"/>
                    <a:gd name="T71" fmla="*/ 3 h 22"/>
                    <a:gd name="T72" fmla="*/ 19 w 57"/>
                    <a:gd name="T73" fmla="*/ 3 h 22"/>
                    <a:gd name="T74" fmla="*/ 16 w 57"/>
                    <a:gd name="T75" fmla="*/ 8 h 22"/>
                    <a:gd name="T76" fmla="*/ 12 w 57"/>
                    <a:gd name="T77" fmla="*/ 8 h 22"/>
                    <a:gd name="T78" fmla="*/ 7 w 57"/>
                    <a:gd name="T79" fmla="*/ 10 h 22"/>
                    <a:gd name="T80" fmla="*/ 7 w 57"/>
                    <a:gd name="T81" fmla="*/ 8 h 22"/>
                    <a:gd name="T82" fmla="*/ 2 w 57"/>
                    <a:gd name="T83" fmla="*/ 8 h 22"/>
                    <a:gd name="T84" fmla="*/ 0 w 57"/>
                    <a:gd name="T85" fmla="*/ 10 h 22"/>
                    <a:gd name="T86" fmla="*/ 0 w 57"/>
                    <a:gd name="T87" fmla="*/ 10 h 22"/>
                    <a:gd name="T88" fmla="*/ 0 w 57"/>
                    <a:gd name="T89" fmla="*/ 12 h 22"/>
                    <a:gd name="T90" fmla="*/ 0 w 57"/>
                    <a:gd name="T91" fmla="*/ 17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7" h="22">
                      <a:moveTo>
                        <a:pt x="0" y="17"/>
                      </a:moveTo>
                      <a:lnTo>
                        <a:pt x="7" y="22"/>
                      </a:lnTo>
                      <a:lnTo>
                        <a:pt x="12" y="22"/>
                      </a:lnTo>
                      <a:lnTo>
                        <a:pt x="16" y="19"/>
                      </a:lnTo>
                      <a:lnTo>
                        <a:pt x="21" y="19"/>
                      </a:lnTo>
                      <a:lnTo>
                        <a:pt x="21" y="17"/>
                      </a:lnTo>
                      <a:lnTo>
                        <a:pt x="26" y="17"/>
                      </a:lnTo>
                      <a:lnTo>
                        <a:pt x="28" y="15"/>
                      </a:lnTo>
                      <a:lnTo>
                        <a:pt x="33" y="17"/>
                      </a:lnTo>
                      <a:lnTo>
                        <a:pt x="33" y="15"/>
                      </a:lnTo>
                      <a:lnTo>
                        <a:pt x="35" y="15"/>
                      </a:lnTo>
                      <a:lnTo>
                        <a:pt x="35" y="12"/>
                      </a:lnTo>
                      <a:lnTo>
                        <a:pt x="40" y="10"/>
                      </a:lnTo>
                      <a:lnTo>
                        <a:pt x="42" y="12"/>
                      </a:lnTo>
                      <a:lnTo>
                        <a:pt x="47" y="12"/>
                      </a:lnTo>
                      <a:lnTo>
                        <a:pt x="52" y="12"/>
                      </a:lnTo>
                      <a:lnTo>
                        <a:pt x="54" y="10"/>
                      </a:lnTo>
                      <a:lnTo>
                        <a:pt x="54" y="8"/>
                      </a:lnTo>
                      <a:lnTo>
                        <a:pt x="57" y="3"/>
                      </a:lnTo>
                      <a:lnTo>
                        <a:pt x="57" y="3"/>
                      </a:lnTo>
                      <a:lnTo>
                        <a:pt x="52" y="0"/>
                      </a:lnTo>
                      <a:lnTo>
                        <a:pt x="47" y="0"/>
                      </a:lnTo>
                      <a:lnTo>
                        <a:pt x="47" y="0"/>
                      </a:lnTo>
                      <a:lnTo>
                        <a:pt x="45" y="0"/>
                      </a:lnTo>
                      <a:lnTo>
                        <a:pt x="42" y="0"/>
                      </a:lnTo>
                      <a:lnTo>
                        <a:pt x="40" y="0"/>
                      </a:lnTo>
                      <a:lnTo>
                        <a:pt x="40" y="0"/>
                      </a:lnTo>
                      <a:lnTo>
                        <a:pt x="38" y="0"/>
                      </a:lnTo>
                      <a:lnTo>
                        <a:pt x="35" y="0"/>
                      </a:lnTo>
                      <a:lnTo>
                        <a:pt x="33" y="0"/>
                      </a:lnTo>
                      <a:lnTo>
                        <a:pt x="33" y="3"/>
                      </a:lnTo>
                      <a:lnTo>
                        <a:pt x="31" y="3"/>
                      </a:lnTo>
                      <a:lnTo>
                        <a:pt x="28" y="3"/>
                      </a:lnTo>
                      <a:lnTo>
                        <a:pt x="28" y="3"/>
                      </a:lnTo>
                      <a:lnTo>
                        <a:pt x="23" y="3"/>
                      </a:lnTo>
                      <a:lnTo>
                        <a:pt x="21" y="3"/>
                      </a:lnTo>
                      <a:lnTo>
                        <a:pt x="19" y="3"/>
                      </a:lnTo>
                      <a:lnTo>
                        <a:pt x="16" y="8"/>
                      </a:lnTo>
                      <a:lnTo>
                        <a:pt x="12" y="8"/>
                      </a:lnTo>
                      <a:lnTo>
                        <a:pt x="7" y="10"/>
                      </a:lnTo>
                      <a:lnTo>
                        <a:pt x="7" y="8"/>
                      </a:lnTo>
                      <a:lnTo>
                        <a:pt x="2" y="8"/>
                      </a:lnTo>
                      <a:lnTo>
                        <a:pt x="0" y="10"/>
                      </a:lnTo>
                      <a:lnTo>
                        <a:pt x="0" y="10"/>
                      </a:lnTo>
                      <a:lnTo>
                        <a:pt x="0" y="12"/>
                      </a:lnTo>
                      <a:lnTo>
                        <a:pt x="0" y="17"/>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 name="Freeform 55">
                  <a:extLst>
                    <a:ext uri="{FF2B5EF4-FFF2-40B4-BE49-F238E27FC236}">
                      <a16:creationId xmlns:a16="http://schemas.microsoft.com/office/drawing/2014/main" id="{F79F3E7E-372F-4EA0-0921-EB65D963A3B1}"/>
                    </a:ext>
                  </a:extLst>
                </p:cNvPr>
                <p:cNvSpPr>
                  <a:spLocks/>
                </p:cNvSpPr>
                <p:nvPr/>
              </p:nvSpPr>
              <p:spPr bwMode="auto">
                <a:xfrm>
                  <a:off x="2888" y="2111"/>
                  <a:ext cx="67" cy="38"/>
                </a:xfrm>
                <a:custGeom>
                  <a:avLst/>
                  <a:gdLst>
                    <a:gd name="T0" fmla="*/ 5 w 67"/>
                    <a:gd name="T1" fmla="*/ 3 h 38"/>
                    <a:gd name="T2" fmla="*/ 7 w 67"/>
                    <a:gd name="T3" fmla="*/ 5 h 38"/>
                    <a:gd name="T4" fmla="*/ 7 w 67"/>
                    <a:gd name="T5" fmla="*/ 8 h 38"/>
                    <a:gd name="T6" fmla="*/ 12 w 67"/>
                    <a:gd name="T7" fmla="*/ 5 h 38"/>
                    <a:gd name="T8" fmla="*/ 14 w 67"/>
                    <a:gd name="T9" fmla="*/ 8 h 38"/>
                    <a:gd name="T10" fmla="*/ 22 w 67"/>
                    <a:gd name="T11" fmla="*/ 8 h 38"/>
                    <a:gd name="T12" fmla="*/ 26 w 67"/>
                    <a:gd name="T13" fmla="*/ 8 h 38"/>
                    <a:gd name="T14" fmla="*/ 31 w 67"/>
                    <a:gd name="T15" fmla="*/ 8 h 38"/>
                    <a:gd name="T16" fmla="*/ 36 w 67"/>
                    <a:gd name="T17" fmla="*/ 8 h 38"/>
                    <a:gd name="T18" fmla="*/ 40 w 67"/>
                    <a:gd name="T19" fmla="*/ 5 h 38"/>
                    <a:gd name="T20" fmla="*/ 50 w 67"/>
                    <a:gd name="T21" fmla="*/ 0 h 38"/>
                    <a:gd name="T22" fmla="*/ 57 w 67"/>
                    <a:gd name="T23" fmla="*/ 3 h 38"/>
                    <a:gd name="T24" fmla="*/ 59 w 67"/>
                    <a:gd name="T25" fmla="*/ 3 h 38"/>
                    <a:gd name="T26" fmla="*/ 64 w 67"/>
                    <a:gd name="T27" fmla="*/ 5 h 38"/>
                    <a:gd name="T28" fmla="*/ 67 w 67"/>
                    <a:gd name="T29" fmla="*/ 8 h 38"/>
                    <a:gd name="T30" fmla="*/ 64 w 67"/>
                    <a:gd name="T31" fmla="*/ 12 h 38"/>
                    <a:gd name="T32" fmla="*/ 59 w 67"/>
                    <a:gd name="T33" fmla="*/ 15 h 38"/>
                    <a:gd name="T34" fmla="*/ 59 w 67"/>
                    <a:gd name="T35" fmla="*/ 19 h 38"/>
                    <a:gd name="T36" fmla="*/ 57 w 67"/>
                    <a:gd name="T37" fmla="*/ 24 h 38"/>
                    <a:gd name="T38" fmla="*/ 59 w 67"/>
                    <a:gd name="T39" fmla="*/ 26 h 38"/>
                    <a:gd name="T40" fmla="*/ 62 w 67"/>
                    <a:gd name="T41" fmla="*/ 29 h 38"/>
                    <a:gd name="T42" fmla="*/ 57 w 67"/>
                    <a:gd name="T43" fmla="*/ 29 h 38"/>
                    <a:gd name="T44" fmla="*/ 52 w 67"/>
                    <a:gd name="T45" fmla="*/ 26 h 38"/>
                    <a:gd name="T46" fmla="*/ 48 w 67"/>
                    <a:gd name="T47" fmla="*/ 29 h 38"/>
                    <a:gd name="T48" fmla="*/ 48 w 67"/>
                    <a:gd name="T49" fmla="*/ 31 h 38"/>
                    <a:gd name="T50" fmla="*/ 43 w 67"/>
                    <a:gd name="T51" fmla="*/ 34 h 38"/>
                    <a:gd name="T52" fmla="*/ 43 w 67"/>
                    <a:gd name="T53" fmla="*/ 36 h 38"/>
                    <a:gd name="T54" fmla="*/ 38 w 67"/>
                    <a:gd name="T55" fmla="*/ 38 h 38"/>
                    <a:gd name="T56" fmla="*/ 33 w 67"/>
                    <a:gd name="T57" fmla="*/ 38 h 38"/>
                    <a:gd name="T58" fmla="*/ 29 w 67"/>
                    <a:gd name="T59" fmla="*/ 38 h 38"/>
                    <a:gd name="T60" fmla="*/ 26 w 67"/>
                    <a:gd name="T61" fmla="*/ 36 h 38"/>
                    <a:gd name="T62" fmla="*/ 22 w 67"/>
                    <a:gd name="T63" fmla="*/ 36 h 38"/>
                    <a:gd name="T64" fmla="*/ 17 w 67"/>
                    <a:gd name="T65" fmla="*/ 38 h 38"/>
                    <a:gd name="T66" fmla="*/ 12 w 67"/>
                    <a:gd name="T67" fmla="*/ 38 h 38"/>
                    <a:gd name="T68" fmla="*/ 12 w 67"/>
                    <a:gd name="T69" fmla="*/ 36 h 38"/>
                    <a:gd name="T70" fmla="*/ 7 w 67"/>
                    <a:gd name="T71" fmla="*/ 29 h 38"/>
                    <a:gd name="T72" fmla="*/ 3 w 67"/>
                    <a:gd name="T73" fmla="*/ 26 h 38"/>
                    <a:gd name="T74" fmla="*/ 3 w 67"/>
                    <a:gd name="T75" fmla="*/ 22 h 38"/>
                    <a:gd name="T76" fmla="*/ 7 w 67"/>
                    <a:gd name="T77" fmla="*/ 17 h 38"/>
                    <a:gd name="T78" fmla="*/ 5 w 67"/>
                    <a:gd name="T79" fmla="*/ 12 h 38"/>
                    <a:gd name="T80" fmla="*/ 0 w 67"/>
                    <a:gd name="T81" fmla="*/ 5 h 38"/>
                    <a:gd name="T82" fmla="*/ 3 w 67"/>
                    <a:gd name="T83"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7" h="38">
                      <a:moveTo>
                        <a:pt x="3" y="0"/>
                      </a:moveTo>
                      <a:lnTo>
                        <a:pt x="5" y="3"/>
                      </a:lnTo>
                      <a:lnTo>
                        <a:pt x="7" y="3"/>
                      </a:lnTo>
                      <a:lnTo>
                        <a:pt x="7" y="5"/>
                      </a:lnTo>
                      <a:lnTo>
                        <a:pt x="5" y="5"/>
                      </a:lnTo>
                      <a:lnTo>
                        <a:pt x="7" y="8"/>
                      </a:lnTo>
                      <a:lnTo>
                        <a:pt x="10" y="5"/>
                      </a:lnTo>
                      <a:lnTo>
                        <a:pt x="12" y="5"/>
                      </a:lnTo>
                      <a:lnTo>
                        <a:pt x="14" y="8"/>
                      </a:lnTo>
                      <a:lnTo>
                        <a:pt x="14" y="8"/>
                      </a:lnTo>
                      <a:lnTo>
                        <a:pt x="19" y="8"/>
                      </a:lnTo>
                      <a:lnTo>
                        <a:pt x="22" y="8"/>
                      </a:lnTo>
                      <a:lnTo>
                        <a:pt x="24" y="8"/>
                      </a:lnTo>
                      <a:lnTo>
                        <a:pt x="26" y="8"/>
                      </a:lnTo>
                      <a:lnTo>
                        <a:pt x="29" y="8"/>
                      </a:lnTo>
                      <a:lnTo>
                        <a:pt x="31" y="8"/>
                      </a:lnTo>
                      <a:lnTo>
                        <a:pt x="36" y="8"/>
                      </a:lnTo>
                      <a:lnTo>
                        <a:pt x="36" y="8"/>
                      </a:lnTo>
                      <a:lnTo>
                        <a:pt x="38" y="5"/>
                      </a:lnTo>
                      <a:lnTo>
                        <a:pt x="40" y="5"/>
                      </a:lnTo>
                      <a:lnTo>
                        <a:pt x="48" y="3"/>
                      </a:lnTo>
                      <a:lnTo>
                        <a:pt x="50" y="0"/>
                      </a:lnTo>
                      <a:lnTo>
                        <a:pt x="52" y="3"/>
                      </a:lnTo>
                      <a:lnTo>
                        <a:pt x="57" y="3"/>
                      </a:lnTo>
                      <a:lnTo>
                        <a:pt x="57" y="5"/>
                      </a:lnTo>
                      <a:lnTo>
                        <a:pt x="59" y="3"/>
                      </a:lnTo>
                      <a:lnTo>
                        <a:pt x="64" y="5"/>
                      </a:lnTo>
                      <a:lnTo>
                        <a:pt x="64" y="5"/>
                      </a:lnTo>
                      <a:lnTo>
                        <a:pt x="67" y="5"/>
                      </a:lnTo>
                      <a:lnTo>
                        <a:pt x="67" y="8"/>
                      </a:lnTo>
                      <a:lnTo>
                        <a:pt x="67" y="10"/>
                      </a:lnTo>
                      <a:lnTo>
                        <a:pt x="64" y="12"/>
                      </a:lnTo>
                      <a:lnTo>
                        <a:pt x="62" y="12"/>
                      </a:lnTo>
                      <a:lnTo>
                        <a:pt x="59" y="15"/>
                      </a:lnTo>
                      <a:lnTo>
                        <a:pt x="59" y="19"/>
                      </a:lnTo>
                      <a:lnTo>
                        <a:pt x="59" y="19"/>
                      </a:lnTo>
                      <a:lnTo>
                        <a:pt x="57" y="22"/>
                      </a:lnTo>
                      <a:lnTo>
                        <a:pt x="57" y="24"/>
                      </a:lnTo>
                      <a:lnTo>
                        <a:pt x="59" y="24"/>
                      </a:lnTo>
                      <a:lnTo>
                        <a:pt x="59" y="26"/>
                      </a:lnTo>
                      <a:lnTo>
                        <a:pt x="62" y="29"/>
                      </a:lnTo>
                      <a:lnTo>
                        <a:pt x="62" y="29"/>
                      </a:lnTo>
                      <a:lnTo>
                        <a:pt x="59" y="29"/>
                      </a:lnTo>
                      <a:lnTo>
                        <a:pt x="57" y="29"/>
                      </a:lnTo>
                      <a:lnTo>
                        <a:pt x="55" y="26"/>
                      </a:lnTo>
                      <a:lnTo>
                        <a:pt x="52" y="26"/>
                      </a:lnTo>
                      <a:lnTo>
                        <a:pt x="50" y="29"/>
                      </a:lnTo>
                      <a:lnTo>
                        <a:pt x="48" y="29"/>
                      </a:lnTo>
                      <a:lnTo>
                        <a:pt x="48" y="31"/>
                      </a:lnTo>
                      <a:lnTo>
                        <a:pt x="48" y="31"/>
                      </a:lnTo>
                      <a:lnTo>
                        <a:pt x="45" y="31"/>
                      </a:lnTo>
                      <a:lnTo>
                        <a:pt x="43" y="34"/>
                      </a:lnTo>
                      <a:lnTo>
                        <a:pt x="43" y="36"/>
                      </a:lnTo>
                      <a:lnTo>
                        <a:pt x="43" y="36"/>
                      </a:lnTo>
                      <a:lnTo>
                        <a:pt x="43" y="38"/>
                      </a:lnTo>
                      <a:lnTo>
                        <a:pt x="38" y="38"/>
                      </a:lnTo>
                      <a:lnTo>
                        <a:pt x="36" y="38"/>
                      </a:lnTo>
                      <a:lnTo>
                        <a:pt x="33" y="38"/>
                      </a:lnTo>
                      <a:lnTo>
                        <a:pt x="31" y="38"/>
                      </a:lnTo>
                      <a:lnTo>
                        <a:pt x="29" y="38"/>
                      </a:lnTo>
                      <a:lnTo>
                        <a:pt x="26" y="38"/>
                      </a:lnTo>
                      <a:lnTo>
                        <a:pt x="26" y="36"/>
                      </a:lnTo>
                      <a:lnTo>
                        <a:pt x="24" y="36"/>
                      </a:lnTo>
                      <a:lnTo>
                        <a:pt x="22" y="36"/>
                      </a:lnTo>
                      <a:lnTo>
                        <a:pt x="19" y="38"/>
                      </a:lnTo>
                      <a:lnTo>
                        <a:pt x="17" y="38"/>
                      </a:lnTo>
                      <a:lnTo>
                        <a:pt x="12" y="38"/>
                      </a:lnTo>
                      <a:lnTo>
                        <a:pt x="12" y="38"/>
                      </a:lnTo>
                      <a:lnTo>
                        <a:pt x="12" y="38"/>
                      </a:lnTo>
                      <a:lnTo>
                        <a:pt x="12" y="36"/>
                      </a:lnTo>
                      <a:lnTo>
                        <a:pt x="10" y="34"/>
                      </a:lnTo>
                      <a:lnTo>
                        <a:pt x="7" y="29"/>
                      </a:lnTo>
                      <a:lnTo>
                        <a:pt x="3" y="26"/>
                      </a:lnTo>
                      <a:lnTo>
                        <a:pt x="3" y="26"/>
                      </a:lnTo>
                      <a:lnTo>
                        <a:pt x="5" y="24"/>
                      </a:lnTo>
                      <a:lnTo>
                        <a:pt x="3" y="22"/>
                      </a:lnTo>
                      <a:lnTo>
                        <a:pt x="3" y="19"/>
                      </a:lnTo>
                      <a:lnTo>
                        <a:pt x="7" y="17"/>
                      </a:lnTo>
                      <a:lnTo>
                        <a:pt x="7" y="15"/>
                      </a:lnTo>
                      <a:lnTo>
                        <a:pt x="5" y="12"/>
                      </a:lnTo>
                      <a:lnTo>
                        <a:pt x="3" y="10"/>
                      </a:lnTo>
                      <a:lnTo>
                        <a:pt x="0" y="5"/>
                      </a:lnTo>
                      <a:lnTo>
                        <a:pt x="3" y="3"/>
                      </a:lnTo>
                      <a:lnTo>
                        <a:pt x="3" y="0"/>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 name="Freeform 56">
                  <a:extLst>
                    <a:ext uri="{FF2B5EF4-FFF2-40B4-BE49-F238E27FC236}">
                      <a16:creationId xmlns:a16="http://schemas.microsoft.com/office/drawing/2014/main" id="{7536D27D-92B6-EA01-CBFE-CD280127F603}"/>
                    </a:ext>
                  </a:extLst>
                </p:cNvPr>
                <p:cNvSpPr>
                  <a:spLocks/>
                </p:cNvSpPr>
                <p:nvPr/>
              </p:nvSpPr>
              <p:spPr bwMode="auto">
                <a:xfrm>
                  <a:off x="2872" y="2137"/>
                  <a:ext cx="28" cy="22"/>
                </a:xfrm>
                <a:custGeom>
                  <a:avLst/>
                  <a:gdLst>
                    <a:gd name="T0" fmla="*/ 19 w 28"/>
                    <a:gd name="T1" fmla="*/ 0 h 22"/>
                    <a:gd name="T2" fmla="*/ 23 w 28"/>
                    <a:gd name="T3" fmla="*/ 3 h 22"/>
                    <a:gd name="T4" fmla="*/ 26 w 28"/>
                    <a:gd name="T5" fmla="*/ 8 h 22"/>
                    <a:gd name="T6" fmla="*/ 28 w 28"/>
                    <a:gd name="T7" fmla="*/ 10 h 22"/>
                    <a:gd name="T8" fmla="*/ 28 w 28"/>
                    <a:gd name="T9" fmla="*/ 12 h 22"/>
                    <a:gd name="T10" fmla="*/ 26 w 28"/>
                    <a:gd name="T11" fmla="*/ 15 h 22"/>
                    <a:gd name="T12" fmla="*/ 23 w 28"/>
                    <a:gd name="T13" fmla="*/ 15 h 22"/>
                    <a:gd name="T14" fmla="*/ 21 w 28"/>
                    <a:gd name="T15" fmla="*/ 15 h 22"/>
                    <a:gd name="T16" fmla="*/ 16 w 28"/>
                    <a:gd name="T17" fmla="*/ 15 h 22"/>
                    <a:gd name="T18" fmla="*/ 14 w 28"/>
                    <a:gd name="T19" fmla="*/ 17 h 22"/>
                    <a:gd name="T20" fmla="*/ 14 w 28"/>
                    <a:gd name="T21" fmla="*/ 17 h 22"/>
                    <a:gd name="T22" fmla="*/ 9 w 28"/>
                    <a:gd name="T23" fmla="*/ 17 h 22"/>
                    <a:gd name="T24" fmla="*/ 4 w 28"/>
                    <a:gd name="T25" fmla="*/ 19 h 22"/>
                    <a:gd name="T26" fmla="*/ 4 w 28"/>
                    <a:gd name="T27" fmla="*/ 22 h 22"/>
                    <a:gd name="T28" fmla="*/ 2 w 28"/>
                    <a:gd name="T29" fmla="*/ 19 h 22"/>
                    <a:gd name="T30" fmla="*/ 2 w 28"/>
                    <a:gd name="T31" fmla="*/ 17 h 22"/>
                    <a:gd name="T32" fmla="*/ 0 w 28"/>
                    <a:gd name="T33" fmla="*/ 15 h 22"/>
                    <a:gd name="T34" fmla="*/ 0 w 28"/>
                    <a:gd name="T35" fmla="*/ 10 h 22"/>
                    <a:gd name="T36" fmla="*/ 0 w 28"/>
                    <a:gd name="T37" fmla="*/ 8 h 22"/>
                    <a:gd name="T38" fmla="*/ 0 w 28"/>
                    <a:gd name="T39" fmla="*/ 8 h 22"/>
                    <a:gd name="T40" fmla="*/ 2 w 28"/>
                    <a:gd name="T41" fmla="*/ 5 h 22"/>
                    <a:gd name="T42" fmla="*/ 0 w 28"/>
                    <a:gd name="T43" fmla="*/ 5 h 22"/>
                    <a:gd name="T44" fmla="*/ 4 w 28"/>
                    <a:gd name="T45" fmla="*/ 3 h 22"/>
                    <a:gd name="T46" fmla="*/ 7 w 28"/>
                    <a:gd name="T47" fmla="*/ 3 h 22"/>
                    <a:gd name="T48" fmla="*/ 7 w 28"/>
                    <a:gd name="T49" fmla="*/ 0 h 22"/>
                    <a:gd name="T50" fmla="*/ 12 w 28"/>
                    <a:gd name="T51" fmla="*/ 0 h 22"/>
                    <a:gd name="T52" fmla="*/ 14 w 28"/>
                    <a:gd name="T53" fmla="*/ 0 h 22"/>
                    <a:gd name="T54" fmla="*/ 16 w 28"/>
                    <a:gd name="T55" fmla="*/ 0 h 22"/>
                    <a:gd name="T56" fmla="*/ 19 w 28"/>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8" h="22">
                      <a:moveTo>
                        <a:pt x="19" y="0"/>
                      </a:moveTo>
                      <a:lnTo>
                        <a:pt x="23" y="3"/>
                      </a:lnTo>
                      <a:lnTo>
                        <a:pt x="26" y="8"/>
                      </a:lnTo>
                      <a:lnTo>
                        <a:pt x="28" y="10"/>
                      </a:lnTo>
                      <a:lnTo>
                        <a:pt x="28" y="12"/>
                      </a:lnTo>
                      <a:lnTo>
                        <a:pt x="26" y="15"/>
                      </a:lnTo>
                      <a:lnTo>
                        <a:pt x="23" y="15"/>
                      </a:lnTo>
                      <a:lnTo>
                        <a:pt x="21" y="15"/>
                      </a:lnTo>
                      <a:lnTo>
                        <a:pt x="16" y="15"/>
                      </a:lnTo>
                      <a:lnTo>
                        <a:pt x="14" y="17"/>
                      </a:lnTo>
                      <a:lnTo>
                        <a:pt x="14" y="17"/>
                      </a:lnTo>
                      <a:lnTo>
                        <a:pt x="9" y="17"/>
                      </a:lnTo>
                      <a:lnTo>
                        <a:pt x="4" y="19"/>
                      </a:lnTo>
                      <a:lnTo>
                        <a:pt x="4" y="22"/>
                      </a:lnTo>
                      <a:lnTo>
                        <a:pt x="2" y="19"/>
                      </a:lnTo>
                      <a:lnTo>
                        <a:pt x="2" y="17"/>
                      </a:lnTo>
                      <a:lnTo>
                        <a:pt x="0" y="15"/>
                      </a:lnTo>
                      <a:lnTo>
                        <a:pt x="0" y="10"/>
                      </a:lnTo>
                      <a:lnTo>
                        <a:pt x="0" y="8"/>
                      </a:lnTo>
                      <a:lnTo>
                        <a:pt x="0" y="8"/>
                      </a:lnTo>
                      <a:lnTo>
                        <a:pt x="2" y="5"/>
                      </a:lnTo>
                      <a:lnTo>
                        <a:pt x="0" y="5"/>
                      </a:lnTo>
                      <a:lnTo>
                        <a:pt x="4" y="3"/>
                      </a:lnTo>
                      <a:lnTo>
                        <a:pt x="7" y="3"/>
                      </a:lnTo>
                      <a:lnTo>
                        <a:pt x="7" y="0"/>
                      </a:lnTo>
                      <a:lnTo>
                        <a:pt x="12" y="0"/>
                      </a:lnTo>
                      <a:lnTo>
                        <a:pt x="14" y="0"/>
                      </a:lnTo>
                      <a:lnTo>
                        <a:pt x="16" y="0"/>
                      </a:lnTo>
                      <a:lnTo>
                        <a:pt x="19" y="0"/>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 name="Freeform 57">
                  <a:extLst>
                    <a:ext uri="{FF2B5EF4-FFF2-40B4-BE49-F238E27FC236}">
                      <a16:creationId xmlns:a16="http://schemas.microsoft.com/office/drawing/2014/main" id="{673C237D-A05A-EEB1-5173-B80F2C7E5DD8}"/>
                    </a:ext>
                  </a:extLst>
                </p:cNvPr>
                <p:cNvSpPr>
                  <a:spLocks/>
                </p:cNvSpPr>
                <p:nvPr/>
              </p:nvSpPr>
              <p:spPr bwMode="auto">
                <a:xfrm>
                  <a:off x="2858" y="2133"/>
                  <a:ext cx="18" cy="38"/>
                </a:xfrm>
                <a:custGeom>
                  <a:avLst/>
                  <a:gdLst>
                    <a:gd name="T0" fmla="*/ 14 w 18"/>
                    <a:gd name="T1" fmla="*/ 12 h 38"/>
                    <a:gd name="T2" fmla="*/ 14 w 18"/>
                    <a:gd name="T3" fmla="*/ 14 h 38"/>
                    <a:gd name="T4" fmla="*/ 14 w 18"/>
                    <a:gd name="T5" fmla="*/ 19 h 38"/>
                    <a:gd name="T6" fmla="*/ 16 w 18"/>
                    <a:gd name="T7" fmla="*/ 21 h 38"/>
                    <a:gd name="T8" fmla="*/ 16 w 18"/>
                    <a:gd name="T9" fmla="*/ 23 h 38"/>
                    <a:gd name="T10" fmla="*/ 18 w 18"/>
                    <a:gd name="T11" fmla="*/ 26 h 38"/>
                    <a:gd name="T12" fmla="*/ 18 w 18"/>
                    <a:gd name="T13" fmla="*/ 28 h 38"/>
                    <a:gd name="T14" fmla="*/ 18 w 18"/>
                    <a:gd name="T15" fmla="*/ 31 h 38"/>
                    <a:gd name="T16" fmla="*/ 14 w 18"/>
                    <a:gd name="T17" fmla="*/ 31 h 38"/>
                    <a:gd name="T18" fmla="*/ 14 w 18"/>
                    <a:gd name="T19" fmla="*/ 33 h 38"/>
                    <a:gd name="T20" fmla="*/ 11 w 18"/>
                    <a:gd name="T21" fmla="*/ 38 h 38"/>
                    <a:gd name="T22" fmla="*/ 9 w 18"/>
                    <a:gd name="T23" fmla="*/ 38 h 38"/>
                    <a:gd name="T24" fmla="*/ 7 w 18"/>
                    <a:gd name="T25" fmla="*/ 38 h 38"/>
                    <a:gd name="T26" fmla="*/ 7 w 18"/>
                    <a:gd name="T27" fmla="*/ 31 h 38"/>
                    <a:gd name="T28" fmla="*/ 2 w 18"/>
                    <a:gd name="T29" fmla="*/ 31 h 38"/>
                    <a:gd name="T30" fmla="*/ 0 w 18"/>
                    <a:gd name="T31" fmla="*/ 31 h 38"/>
                    <a:gd name="T32" fmla="*/ 2 w 18"/>
                    <a:gd name="T33" fmla="*/ 28 h 38"/>
                    <a:gd name="T34" fmla="*/ 0 w 18"/>
                    <a:gd name="T35" fmla="*/ 26 h 38"/>
                    <a:gd name="T36" fmla="*/ 0 w 18"/>
                    <a:gd name="T37" fmla="*/ 23 h 38"/>
                    <a:gd name="T38" fmla="*/ 2 w 18"/>
                    <a:gd name="T39" fmla="*/ 21 h 38"/>
                    <a:gd name="T40" fmla="*/ 0 w 18"/>
                    <a:gd name="T41" fmla="*/ 19 h 38"/>
                    <a:gd name="T42" fmla="*/ 0 w 18"/>
                    <a:gd name="T43" fmla="*/ 14 h 38"/>
                    <a:gd name="T44" fmla="*/ 2 w 18"/>
                    <a:gd name="T45" fmla="*/ 14 h 38"/>
                    <a:gd name="T46" fmla="*/ 2 w 18"/>
                    <a:gd name="T47" fmla="*/ 12 h 38"/>
                    <a:gd name="T48" fmla="*/ 0 w 18"/>
                    <a:gd name="T49" fmla="*/ 9 h 38"/>
                    <a:gd name="T50" fmla="*/ 0 w 18"/>
                    <a:gd name="T51" fmla="*/ 7 h 38"/>
                    <a:gd name="T52" fmla="*/ 0 w 18"/>
                    <a:gd name="T53" fmla="*/ 4 h 38"/>
                    <a:gd name="T54" fmla="*/ 2 w 18"/>
                    <a:gd name="T55" fmla="*/ 0 h 38"/>
                    <a:gd name="T56" fmla="*/ 4 w 18"/>
                    <a:gd name="T57" fmla="*/ 2 h 38"/>
                    <a:gd name="T58" fmla="*/ 4 w 18"/>
                    <a:gd name="T59" fmla="*/ 2 h 38"/>
                    <a:gd name="T60" fmla="*/ 7 w 18"/>
                    <a:gd name="T61" fmla="*/ 0 h 38"/>
                    <a:gd name="T62" fmla="*/ 7 w 18"/>
                    <a:gd name="T63" fmla="*/ 0 h 38"/>
                    <a:gd name="T64" fmla="*/ 9 w 18"/>
                    <a:gd name="T65" fmla="*/ 2 h 38"/>
                    <a:gd name="T66" fmla="*/ 9 w 18"/>
                    <a:gd name="T67" fmla="*/ 4 h 38"/>
                    <a:gd name="T68" fmla="*/ 11 w 18"/>
                    <a:gd name="T69" fmla="*/ 4 h 38"/>
                    <a:gd name="T70" fmla="*/ 14 w 18"/>
                    <a:gd name="T71" fmla="*/ 4 h 38"/>
                    <a:gd name="T72" fmla="*/ 14 w 18"/>
                    <a:gd name="T73" fmla="*/ 7 h 38"/>
                    <a:gd name="T74" fmla="*/ 14 w 18"/>
                    <a:gd name="T75" fmla="*/ 9 h 38"/>
                    <a:gd name="T76" fmla="*/ 14 w 18"/>
                    <a:gd name="T77" fmla="*/ 12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8" h="38">
                      <a:moveTo>
                        <a:pt x="14" y="12"/>
                      </a:moveTo>
                      <a:lnTo>
                        <a:pt x="14" y="14"/>
                      </a:lnTo>
                      <a:lnTo>
                        <a:pt x="14" y="19"/>
                      </a:lnTo>
                      <a:lnTo>
                        <a:pt x="16" y="21"/>
                      </a:lnTo>
                      <a:lnTo>
                        <a:pt x="16" y="23"/>
                      </a:lnTo>
                      <a:lnTo>
                        <a:pt x="18" y="26"/>
                      </a:lnTo>
                      <a:lnTo>
                        <a:pt x="18" y="28"/>
                      </a:lnTo>
                      <a:lnTo>
                        <a:pt x="18" y="31"/>
                      </a:lnTo>
                      <a:lnTo>
                        <a:pt x="14" y="31"/>
                      </a:lnTo>
                      <a:lnTo>
                        <a:pt x="14" y="33"/>
                      </a:lnTo>
                      <a:lnTo>
                        <a:pt x="11" y="38"/>
                      </a:lnTo>
                      <a:lnTo>
                        <a:pt x="9" y="38"/>
                      </a:lnTo>
                      <a:lnTo>
                        <a:pt x="7" y="38"/>
                      </a:lnTo>
                      <a:lnTo>
                        <a:pt x="7" y="31"/>
                      </a:lnTo>
                      <a:lnTo>
                        <a:pt x="2" y="31"/>
                      </a:lnTo>
                      <a:lnTo>
                        <a:pt x="0" y="31"/>
                      </a:lnTo>
                      <a:lnTo>
                        <a:pt x="2" y="28"/>
                      </a:lnTo>
                      <a:lnTo>
                        <a:pt x="0" y="26"/>
                      </a:lnTo>
                      <a:lnTo>
                        <a:pt x="0" y="23"/>
                      </a:lnTo>
                      <a:lnTo>
                        <a:pt x="2" y="21"/>
                      </a:lnTo>
                      <a:lnTo>
                        <a:pt x="0" y="19"/>
                      </a:lnTo>
                      <a:lnTo>
                        <a:pt x="0" y="14"/>
                      </a:lnTo>
                      <a:lnTo>
                        <a:pt x="2" y="14"/>
                      </a:lnTo>
                      <a:lnTo>
                        <a:pt x="2" y="12"/>
                      </a:lnTo>
                      <a:lnTo>
                        <a:pt x="0" y="9"/>
                      </a:lnTo>
                      <a:lnTo>
                        <a:pt x="0" y="7"/>
                      </a:lnTo>
                      <a:lnTo>
                        <a:pt x="0" y="4"/>
                      </a:lnTo>
                      <a:lnTo>
                        <a:pt x="2" y="0"/>
                      </a:lnTo>
                      <a:lnTo>
                        <a:pt x="4" y="2"/>
                      </a:lnTo>
                      <a:lnTo>
                        <a:pt x="4" y="2"/>
                      </a:lnTo>
                      <a:lnTo>
                        <a:pt x="7" y="0"/>
                      </a:lnTo>
                      <a:lnTo>
                        <a:pt x="7" y="0"/>
                      </a:lnTo>
                      <a:lnTo>
                        <a:pt x="9" y="2"/>
                      </a:lnTo>
                      <a:lnTo>
                        <a:pt x="9" y="4"/>
                      </a:lnTo>
                      <a:lnTo>
                        <a:pt x="11" y="4"/>
                      </a:lnTo>
                      <a:lnTo>
                        <a:pt x="14" y="4"/>
                      </a:lnTo>
                      <a:lnTo>
                        <a:pt x="14" y="7"/>
                      </a:lnTo>
                      <a:lnTo>
                        <a:pt x="14" y="9"/>
                      </a:lnTo>
                      <a:lnTo>
                        <a:pt x="14" y="12"/>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 name="Freeform 58">
                  <a:extLst>
                    <a:ext uri="{FF2B5EF4-FFF2-40B4-BE49-F238E27FC236}">
                      <a16:creationId xmlns:a16="http://schemas.microsoft.com/office/drawing/2014/main" id="{C330AF46-1CB7-D392-ED54-9817484A39F1}"/>
                    </a:ext>
                  </a:extLst>
                </p:cNvPr>
                <p:cNvSpPr>
                  <a:spLocks/>
                </p:cNvSpPr>
                <p:nvPr/>
              </p:nvSpPr>
              <p:spPr bwMode="auto">
                <a:xfrm>
                  <a:off x="2848" y="2088"/>
                  <a:ext cx="47" cy="57"/>
                </a:xfrm>
                <a:custGeom>
                  <a:avLst/>
                  <a:gdLst>
                    <a:gd name="T0" fmla="*/ 2 w 47"/>
                    <a:gd name="T1" fmla="*/ 4 h 57"/>
                    <a:gd name="T2" fmla="*/ 7 w 47"/>
                    <a:gd name="T3" fmla="*/ 4 h 57"/>
                    <a:gd name="T4" fmla="*/ 10 w 47"/>
                    <a:gd name="T5" fmla="*/ 0 h 57"/>
                    <a:gd name="T6" fmla="*/ 14 w 47"/>
                    <a:gd name="T7" fmla="*/ 2 h 57"/>
                    <a:gd name="T8" fmla="*/ 19 w 47"/>
                    <a:gd name="T9" fmla="*/ 4 h 57"/>
                    <a:gd name="T10" fmla="*/ 24 w 47"/>
                    <a:gd name="T11" fmla="*/ 9 h 57"/>
                    <a:gd name="T12" fmla="*/ 28 w 47"/>
                    <a:gd name="T13" fmla="*/ 14 h 57"/>
                    <a:gd name="T14" fmla="*/ 28 w 47"/>
                    <a:gd name="T15" fmla="*/ 16 h 57"/>
                    <a:gd name="T16" fmla="*/ 33 w 47"/>
                    <a:gd name="T17" fmla="*/ 21 h 57"/>
                    <a:gd name="T18" fmla="*/ 38 w 47"/>
                    <a:gd name="T19" fmla="*/ 21 h 57"/>
                    <a:gd name="T20" fmla="*/ 43 w 47"/>
                    <a:gd name="T21" fmla="*/ 19 h 57"/>
                    <a:gd name="T22" fmla="*/ 43 w 47"/>
                    <a:gd name="T23" fmla="*/ 23 h 57"/>
                    <a:gd name="T24" fmla="*/ 40 w 47"/>
                    <a:gd name="T25" fmla="*/ 28 h 57"/>
                    <a:gd name="T26" fmla="*/ 45 w 47"/>
                    <a:gd name="T27" fmla="*/ 35 h 57"/>
                    <a:gd name="T28" fmla="*/ 47 w 47"/>
                    <a:gd name="T29" fmla="*/ 40 h 57"/>
                    <a:gd name="T30" fmla="*/ 43 w 47"/>
                    <a:gd name="T31" fmla="*/ 45 h 57"/>
                    <a:gd name="T32" fmla="*/ 43 w 47"/>
                    <a:gd name="T33" fmla="*/ 49 h 57"/>
                    <a:gd name="T34" fmla="*/ 38 w 47"/>
                    <a:gd name="T35" fmla="*/ 49 h 57"/>
                    <a:gd name="T36" fmla="*/ 31 w 47"/>
                    <a:gd name="T37" fmla="*/ 49 h 57"/>
                    <a:gd name="T38" fmla="*/ 28 w 47"/>
                    <a:gd name="T39" fmla="*/ 52 h 57"/>
                    <a:gd name="T40" fmla="*/ 26 w 47"/>
                    <a:gd name="T41" fmla="*/ 54 h 57"/>
                    <a:gd name="T42" fmla="*/ 24 w 47"/>
                    <a:gd name="T43" fmla="*/ 54 h 57"/>
                    <a:gd name="T44" fmla="*/ 24 w 47"/>
                    <a:gd name="T45" fmla="*/ 49 h 57"/>
                    <a:gd name="T46" fmla="*/ 19 w 47"/>
                    <a:gd name="T47" fmla="*/ 49 h 57"/>
                    <a:gd name="T48" fmla="*/ 17 w 47"/>
                    <a:gd name="T49" fmla="*/ 45 h 57"/>
                    <a:gd name="T50" fmla="*/ 19 w 47"/>
                    <a:gd name="T51" fmla="*/ 42 h 57"/>
                    <a:gd name="T52" fmla="*/ 17 w 47"/>
                    <a:gd name="T53" fmla="*/ 40 h 57"/>
                    <a:gd name="T54" fmla="*/ 12 w 47"/>
                    <a:gd name="T55" fmla="*/ 40 h 57"/>
                    <a:gd name="T56" fmla="*/ 10 w 47"/>
                    <a:gd name="T57" fmla="*/ 35 h 57"/>
                    <a:gd name="T58" fmla="*/ 10 w 47"/>
                    <a:gd name="T59" fmla="*/ 33 h 57"/>
                    <a:gd name="T60" fmla="*/ 7 w 47"/>
                    <a:gd name="T61" fmla="*/ 28 h 57"/>
                    <a:gd name="T62" fmla="*/ 10 w 47"/>
                    <a:gd name="T63" fmla="*/ 28 h 57"/>
                    <a:gd name="T64" fmla="*/ 10 w 47"/>
                    <a:gd name="T65" fmla="*/ 26 h 57"/>
                    <a:gd name="T66" fmla="*/ 5 w 47"/>
                    <a:gd name="T67" fmla="*/ 23 h 57"/>
                    <a:gd name="T68" fmla="*/ 7 w 47"/>
                    <a:gd name="T69" fmla="*/ 19 h 57"/>
                    <a:gd name="T70" fmla="*/ 5 w 47"/>
                    <a:gd name="T71" fmla="*/ 16 h 57"/>
                    <a:gd name="T72" fmla="*/ 2 w 47"/>
                    <a:gd name="T73" fmla="*/ 16 h 57"/>
                    <a:gd name="T74" fmla="*/ 5 w 47"/>
                    <a:gd name="T75" fmla="*/ 14 h 57"/>
                    <a:gd name="T76" fmla="*/ 7 w 47"/>
                    <a:gd name="T77" fmla="*/ 14 h 57"/>
                    <a:gd name="T78" fmla="*/ 2 w 47"/>
                    <a:gd name="T79" fmla="*/ 12 h 57"/>
                    <a:gd name="T80" fmla="*/ 2 w 47"/>
                    <a:gd name="T81" fmla="*/ 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7" h="57">
                      <a:moveTo>
                        <a:pt x="0" y="7"/>
                      </a:moveTo>
                      <a:lnTo>
                        <a:pt x="2" y="4"/>
                      </a:lnTo>
                      <a:lnTo>
                        <a:pt x="5" y="4"/>
                      </a:lnTo>
                      <a:lnTo>
                        <a:pt x="7" y="4"/>
                      </a:lnTo>
                      <a:lnTo>
                        <a:pt x="7" y="2"/>
                      </a:lnTo>
                      <a:lnTo>
                        <a:pt x="10" y="0"/>
                      </a:lnTo>
                      <a:lnTo>
                        <a:pt x="12" y="2"/>
                      </a:lnTo>
                      <a:lnTo>
                        <a:pt x="14" y="2"/>
                      </a:lnTo>
                      <a:lnTo>
                        <a:pt x="19" y="2"/>
                      </a:lnTo>
                      <a:lnTo>
                        <a:pt x="19" y="4"/>
                      </a:lnTo>
                      <a:lnTo>
                        <a:pt x="24" y="9"/>
                      </a:lnTo>
                      <a:lnTo>
                        <a:pt x="24" y="9"/>
                      </a:lnTo>
                      <a:lnTo>
                        <a:pt x="26" y="12"/>
                      </a:lnTo>
                      <a:lnTo>
                        <a:pt x="28" y="14"/>
                      </a:lnTo>
                      <a:lnTo>
                        <a:pt x="28" y="16"/>
                      </a:lnTo>
                      <a:lnTo>
                        <a:pt x="28" y="16"/>
                      </a:lnTo>
                      <a:lnTo>
                        <a:pt x="33" y="19"/>
                      </a:lnTo>
                      <a:lnTo>
                        <a:pt x="33" y="21"/>
                      </a:lnTo>
                      <a:lnTo>
                        <a:pt x="36" y="19"/>
                      </a:lnTo>
                      <a:lnTo>
                        <a:pt x="38" y="21"/>
                      </a:lnTo>
                      <a:lnTo>
                        <a:pt x="40" y="19"/>
                      </a:lnTo>
                      <a:lnTo>
                        <a:pt x="43" y="19"/>
                      </a:lnTo>
                      <a:lnTo>
                        <a:pt x="40" y="21"/>
                      </a:lnTo>
                      <a:lnTo>
                        <a:pt x="43" y="23"/>
                      </a:lnTo>
                      <a:lnTo>
                        <a:pt x="43" y="26"/>
                      </a:lnTo>
                      <a:lnTo>
                        <a:pt x="40" y="28"/>
                      </a:lnTo>
                      <a:lnTo>
                        <a:pt x="43" y="33"/>
                      </a:lnTo>
                      <a:lnTo>
                        <a:pt x="45" y="35"/>
                      </a:lnTo>
                      <a:lnTo>
                        <a:pt x="47" y="38"/>
                      </a:lnTo>
                      <a:lnTo>
                        <a:pt x="47" y="40"/>
                      </a:lnTo>
                      <a:lnTo>
                        <a:pt x="43" y="42"/>
                      </a:lnTo>
                      <a:lnTo>
                        <a:pt x="43" y="45"/>
                      </a:lnTo>
                      <a:lnTo>
                        <a:pt x="45" y="47"/>
                      </a:lnTo>
                      <a:lnTo>
                        <a:pt x="43" y="49"/>
                      </a:lnTo>
                      <a:lnTo>
                        <a:pt x="40" y="49"/>
                      </a:lnTo>
                      <a:lnTo>
                        <a:pt x="38" y="49"/>
                      </a:lnTo>
                      <a:lnTo>
                        <a:pt x="36" y="49"/>
                      </a:lnTo>
                      <a:lnTo>
                        <a:pt x="31" y="49"/>
                      </a:lnTo>
                      <a:lnTo>
                        <a:pt x="31" y="52"/>
                      </a:lnTo>
                      <a:lnTo>
                        <a:pt x="28" y="52"/>
                      </a:lnTo>
                      <a:lnTo>
                        <a:pt x="24" y="54"/>
                      </a:lnTo>
                      <a:lnTo>
                        <a:pt x="26" y="54"/>
                      </a:lnTo>
                      <a:lnTo>
                        <a:pt x="24" y="57"/>
                      </a:lnTo>
                      <a:lnTo>
                        <a:pt x="24" y="54"/>
                      </a:lnTo>
                      <a:lnTo>
                        <a:pt x="24" y="52"/>
                      </a:lnTo>
                      <a:lnTo>
                        <a:pt x="24" y="49"/>
                      </a:lnTo>
                      <a:lnTo>
                        <a:pt x="21" y="49"/>
                      </a:lnTo>
                      <a:lnTo>
                        <a:pt x="19" y="49"/>
                      </a:lnTo>
                      <a:lnTo>
                        <a:pt x="19" y="47"/>
                      </a:lnTo>
                      <a:lnTo>
                        <a:pt x="17" y="45"/>
                      </a:lnTo>
                      <a:lnTo>
                        <a:pt x="17" y="45"/>
                      </a:lnTo>
                      <a:lnTo>
                        <a:pt x="19" y="42"/>
                      </a:lnTo>
                      <a:lnTo>
                        <a:pt x="19" y="40"/>
                      </a:lnTo>
                      <a:lnTo>
                        <a:pt x="17" y="40"/>
                      </a:lnTo>
                      <a:lnTo>
                        <a:pt x="14" y="40"/>
                      </a:lnTo>
                      <a:lnTo>
                        <a:pt x="12" y="40"/>
                      </a:lnTo>
                      <a:lnTo>
                        <a:pt x="10" y="38"/>
                      </a:lnTo>
                      <a:lnTo>
                        <a:pt x="10" y="35"/>
                      </a:lnTo>
                      <a:lnTo>
                        <a:pt x="7" y="35"/>
                      </a:lnTo>
                      <a:lnTo>
                        <a:pt x="10" y="33"/>
                      </a:lnTo>
                      <a:lnTo>
                        <a:pt x="7" y="31"/>
                      </a:lnTo>
                      <a:lnTo>
                        <a:pt x="7" y="28"/>
                      </a:lnTo>
                      <a:lnTo>
                        <a:pt x="7" y="28"/>
                      </a:lnTo>
                      <a:lnTo>
                        <a:pt x="10" y="28"/>
                      </a:lnTo>
                      <a:lnTo>
                        <a:pt x="10" y="28"/>
                      </a:lnTo>
                      <a:lnTo>
                        <a:pt x="10" y="26"/>
                      </a:lnTo>
                      <a:lnTo>
                        <a:pt x="7" y="26"/>
                      </a:lnTo>
                      <a:lnTo>
                        <a:pt x="5" y="23"/>
                      </a:lnTo>
                      <a:lnTo>
                        <a:pt x="5" y="23"/>
                      </a:lnTo>
                      <a:lnTo>
                        <a:pt x="7" y="19"/>
                      </a:lnTo>
                      <a:lnTo>
                        <a:pt x="7" y="16"/>
                      </a:lnTo>
                      <a:lnTo>
                        <a:pt x="5" y="16"/>
                      </a:lnTo>
                      <a:lnTo>
                        <a:pt x="5" y="16"/>
                      </a:lnTo>
                      <a:lnTo>
                        <a:pt x="2" y="16"/>
                      </a:lnTo>
                      <a:lnTo>
                        <a:pt x="2" y="14"/>
                      </a:lnTo>
                      <a:lnTo>
                        <a:pt x="5" y="14"/>
                      </a:lnTo>
                      <a:lnTo>
                        <a:pt x="7" y="14"/>
                      </a:lnTo>
                      <a:lnTo>
                        <a:pt x="7" y="14"/>
                      </a:lnTo>
                      <a:lnTo>
                        <a:pt x="5" y="14"/>
                      </a:lnTo>
                      <a:lnTo>
                        <a:pt x="2" y="12"/>
                      </a:lnTo>
                      <a:lnTo>
                        <a:pt x="2" y="9"/>
                      </a:lnTo>
                      <a:lnTo>
                        <a:pt x="2" y="7"/>
                      </a:lnTo>
                      <a:lnTo>
                        <a:pt x="0" y="7"/>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5" name="Freeform 59">
                  <a:extLst>
                    <a:ext uri="{FF2B5EF4-FFF2-40B4-BE49-F238E27FC236}">
                      <a16:creationId xmlns:a16="http://schemas.microsoft.com/office/drawing/2014/main" id="{F1418814-BE5A-D0A6-8147-FF0B4AF8B52A}"/>
                    </a:ext>
                  </a:extLst>
                </p:cNvPr>
                <p:cNvSpPr>
                  <a:spLocks/>
                </p:cNvSpPr>
                <p:nvPr/>
              </p:nvSpPr>
              <p:spPr bwMode="auto">
                <a:xfrm>
                  <a:off x="2846" y="2121"/>
                  <a:ext cx="21" cy="21"/>
                </a:xfrm>
                <a:custGeom>
                  <a:avLst/>
                  <a:gdLst>
                    <a:gd name="T0" fmla="*/ 12 w 21"/>
                    <a:gd name="T1" fmla="*/ 21 h 21"/>
                    <a:gd name="T2" fmla="*/ 12 w 21"/>
                    <a:gd name="T3" fmla="*/ 19 h 21"/>
                    <a:gd name="T4" fmla="*/ 12 w 21"/>
                    <a:gd name="T5" fmla="*/ 16 h 21"/>
                    <a:gd name="T6" fmla="*/ 14 w 21"/>
                    <a:gd name="T7" fmla="*/ 12 h 21"/>
                    <a:gd name="T8" fmla="*/ 16 w 21"/>
                    <a:gd name="T9" fmla="*/ 14 h 21"/>
                    <a:gd name="T10" fmla="*/ 16 w 21"/>
                    <a:gd name="T11" fmla="*/ 14 h 21"/>
                    <a:gd name="T12" fmla="*/ 19 w 21"/>
                    <a:gd name="T13" fmla="*/ 12 h 21"/>
                    <a:gd name="T14" fmla="*/ 19 w 21"/>
                    <a:gd name="T15" fmla="*/ 12 h 21"/>
                    <a:gd name="T16" fmla="*/ 21 w 21"/>
                    <a:gd name="T17" fmla="*/ 9 h 21"/>
                    <a:gd name="T18" fmla="*/ 21 w 21"/>
                    <a:gd name="T19" fmla="*/ 7 h 21"/>
                    <a:gd name="T20" fmla="*/ 19 w 21"/>
                    <a:gd name="T21" fmla="*/ 7 h 21"/>
                    <a:gd name="T22" fmla="*/ 16 w 21"/>
                    <a:gd name="T23" fmla="*/ 7 h 21"/>
                    <a:gd name="T24" fmla="*/ 14 w 21"/>
                    <a:gd name="T25" fmla="*/ 7 h 21"/>
                    <a:gd name="T26" fmla="*/ 12 w 21"/>
                    <a:gd name="T27" fmla="*/ 5 h 21"/>
                    <a:gd name="T28" fmla="*/ 12 w 21"/>
                    <a:gd name="T29" fmla="*/ 2 h 21"/>
                    <a:gd name="T30" fmla="*/ 9 w 21"/>
                    <a:gd name="T31" fmla="*/ 2 h 21"/>
                    <a:gd name="T32" fmla="*/ 9 w 21"/>
                    <a:gd name="T33" fmla="*/ 2 h 21"/>
                    <a:gd name="T34" fmla="*/ 9 w 21"/>
                    <a:gd name="T35" fmla="*/ 0 h 21"/>
                    <a:gd name="T36" fmla="*/ 7 w 21"/>
                    <a:gd name="T37" fmla="*/ 0 h 21"/>
                    <a:gd name="T38" fmla="*/ 4 w 21"/>
                    <a:gd name="T39" fmla="*/ 0 h 21"/>
                    <a:gd name="T40" fmla="*/ 4 w 21"/>
                    <a:gd name="T41" fmla="*/ 2 h 21"/>
                    <a:gd name="T42" fmla="*/ 7 w 21"/>
                    <a:gd name="T43" fmla="*/ 2 h 21"/>
                    <a:gd name="T44" fmla="*/ 7 w 21"/>
                    <a:gd name="T45" fmla="*/ 5 h 21"/>
                    <a:gd name="T46" fmla="*/ 7 w 21"/>
                    <a:gd name="T47" fmla="*/ 5 h 21"/>
                    <a:gd name="T48" fmla="*/ 4 w 21"/>
                    <a:gd name="T49" fmla="*/ 5 h 21"/>
                    <a:gd name="T50" fmla="*/ 2 w 21"/>
                    <a:gd name="T51" fmla="*/ 7 h 21"/>
                    <a:gd name="T52" fmla="*/ 2 w 21"/>
                    <a:gd name="T53" fmla="*/ 9 h 21"/>
                    <a:gd name="T54" fmla="*/ 2 w 21"/>
                    <a:gd name="T55" fmla="*/ 12 h 21"/>
                    <a:gd name="T56" fmla="*/ 0 w 21"/>
                    <a:gd name="T57" fmla="*/ 12 h 21"/>
                    <a:gd name="T58" fmla="*/ 2 w 21"/>
                    <a:gd name="T59" fmla="*/ 14 h 21"/>
                    <a:gd name="T60" fmla="*/ 4 w 21"/>
                    <a:gd name="T61" fmla="*/ 14 h 21"/>
                    <a:gd name="T62" fmla="*/ 7 w 21"/>
                    <a:gd name="T63" fmla="*/ 19 h 21"/>
                    <a:gd name="T64" fmla="*/ 9 w 21"/>
                    <a:gd name="T65" fmla="*/ 21 h 21"/>
                    <a:gd name="T66" fmla="*/ 12 w 21"/>
                    <a:gd name="T67"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1" h="21">
                      <a:moveTo>
                        <a:pt x="12" y="21"/>
                      </a:moveTo>
                      <a:lnTo>
                        <a:pt x="12" y="19"/>
                      </a:lnTo>
                      <a:lnTo>
                        <a:pt x="12" y="16"/>
                      </a:lnTo>
                      <a:lnTo>
                        <a:pt x="14" y="12"/>
                      </a:lnTo>
                      <a:lnTo>
                        <a:pt x="16" y="14"/>
                      </a:lnTo>
                      <a:lnTo>
                        <a:pt x="16" y="14"/>
                      </a:lnTo>
                      <a:lnTo>
                        <a:pt x="19" y="12"/>
                      </a:lnTo>
                      <a:lnTo>
                        <a:pt x="19" y="12"/>
                      </a:lnTo>
                      <a:lnTo>
                        <a:pt x="21" y="9"/>
                      </a:lnTo>
                      <a:lnTo>
                        <a:pt x="21" y="7"/>
                      </a:lnTo>
                      <a:lnTo>
                        <a:pt x="19" y="7"/>
                      </a:lnTo>
                      <a:lnTo>
                        <a:pt x="16" y="7"/>
                      </a:lnTo>
                      <a:lnTo>
                        <a:pt x="14" y="7"/>
                      </a:lnTo>
                      <a:lnTo>
                        <a:pt x="12" y="5"/>
                      </a:lnTo>
                      <a:lnTo>
                        <a:pt x="12" y="2"/>
                      </a:lnTo>
                      <a:lnTo>
                        <a:pt x="9" y="2"/>
                      </a:lnTo>
                      <a:lnTo>
                        <a:pt x="9" y="2"/>
                      </a:lnTo>
                      <a:lnTo>
                        <a:pt x="9" y="0"/>
                      </a:lnTo>
                      <a:lnTo>
                        <a:pt x="7" y="0"/>
                      </a:lnTo>
                      <a:lnTo>
                        <a:pt x="4" y="0"/>
                      </a:lnTo>
                      <a:lnTo>
                        <a:pt x="4" y="2"/>
                      </a:lnTo>
                      <a:lnTo>
                        <a:pt x="7" y="2"/>
                      </a:lnTo>
                      <a:lnTo>
                        <a:pt x="7" y="5"/>
                      </a:lnTo>
                      <a:lnTo>
                        <a:pt x="7" y="5"/>
                      </a:lnTo>
                      <a:lnTo>
                        <a:pt x="4" y="5"/>
                      </a:lnTo>
                      <a:lnTo>
                        <a:pt x="2" y="7"/>
                      </a:lnTo>
                      <a:lnTo>
                        <a:pt x="2" y="9"/>
                      </a:lnTo>
                      <a:lnTo>
                        <a:pt x="2" y="12"/>
                      </a:lnTo>
                      <a:lnTo>
                        <a:pt x="0" y="12"/>
                      </a:lnTo>
                      <a:lnTo>
                        <a:pt x="2" y="14"/>
                      </a:lnTo>
                      <a:lnTo>
                        <a:pt x="4" y="14"/>
                      </a:lnTo>
                      <a:lnTo>
                        <a:pt x="7" y="19"/>
                      </a:lnTo>
                      <a:lnTo>
                        <a:pt x="9" y="21"/>
                      </a:lnTo>
                      <a:lnTo>
                        <a:pt x="12" y="21"/>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 name="Freeform 60">
                  <a:extLst>
                    <a:ext uri="{FF2B5EF4-FFF2-40B4-BE49-F238E27FC236}">
                      <a16:creationId xmlns:a16="http://schemas.microsoft.com/office/drawing/2014/main" id="{2D6AA4A3-5EED-58CA-A8F4-38E4E9A12555}"/>
                    </a:ext>
                  </a:extLst>
                </p:cNvPr>
                <p:cNvSpPr>
                  <a:spLocks noEditPoints="1"/>
                </p:cNvSpPr>
                <p:nvPr/>
              </p:nvSpPr>
              <p:spPr bwMode="auto">
                <a:xfrm>
                  <a:off x="2794" y="2088"/>
                  <a:ext cx="61" cy="42"/>
                </a:xfrm>
                <a:custGeom>
                  <a:avLst/>
                  <a:gdLst>
                    <a:gd name="T0" fmla="*/ 25 w 26"/>
                    <a:gd name="T1" fmla="*/ 6 h 18"/>
                    <a:gd name="T2" fmla="*/ 25 w 26"/>
                    <a:gd name="T3" fmla="*/ 6 h 18"/>
                    <a:gd name="T4" fmla="*/ 24 w 26"/>
                    <a:gd name="T5" fmla="*/ 3 h 18"/>
                    <a:gd name="T6" fmla="*/ 20 w 26"/>
                    <a:gd name="T7" fmla="*/ 3 h 18"/>
                    <a:gd name="T8" fmla="*/ 16 w 26"/>
                    <a:gd name="T9" fmla="*/ 2 h 18"/>
                    <a:gd name="T10" fmla="*/ 13 w 26"/>
                    <a:gd name="T11" fmla="*/ 0 h 18"/>
                    <a:gd name="T12" fmla="*/ 8 w 26"/>
                    <a:gd name="T13" fmla="*/ 2 h 18"/>
                    <a:gd name="T14" fmla="*/ 5 w 26"/>
                    <a:gd name="T15" fmla="*/ 5 h 18"/>
                    <a:gd name="T16" fmla="*/ 1 w 26"/>
                    <a:gd name="T17" fmla="*/ 5 h 18"/>
                    <a:gd name="T18" fmla="*/ 0 w 26"/>
                    <a:gd name="T19" fmla="*/ 7 h 18"/>
                    <a:gd name="T20" fmla="*/ 1 w 26"/>
                    <a:gd name="T21" fmla="*/ 8 h 18"/>
                    <a:gd name="T22" fmla="*/ 4 w 26"/>
                    <a:gd name="T23" fmla="*/ 5 h 18"/>
                    <a:gd name="T24" fmla="*/ 6 w 26"/>
                    <a:gd name="T25" fmla="*/ 7 h 18"/>
                    <a:gd name="T26" fmla="*/ 8 w 26"/>
                    <a:gd name="T27" fmla="*/ 10 h 18"/>
                    <a:gd name="T28" fmla="*/ 9 w 26"/>
                    <a:gd name="T29" fmla="*/ 11 h 18"/>
                    <a:gd name="T30" fmla="*/ 8 w 26"/>
                    <a:gd name="T31" fmla="*/ 13 h 18"/>
                    <a:gd name="T32" fmla="*/ 11 w 26"/>
                    <a:gd name="T33" fmla="*/ 14 h 18"/>
                    <a:gd name="T34" fmla="*/ 13 w 26"/>
                    <a:gd name="T35" fmla="*/ 15 h 18"/>
                    <a:gd name="T36" fmla="*/ 19 w 26"/>
                    <a:gd name="T37" fmla="*/ 18 h 18"/>
                    <a:gd name="T38" fmla="*/ 17 w 26"/>
                    <a:gd name="T39" fmla="*/ 18 h 18"/>
                    <a:gd name="T40" fmla="*/ 19 w 26"/>
                    <a:gd name="T41" fmla="*/ 17 h 18"/>
                    <a:gd name="T42" fmla="*/ 12 w 26"/>
                    <a:gd name="T43" fmla="*/ 10 h 18"/>
                    <a:gd name="T44" fmla="*/ 11 w 26"/>
                    <a:gd name="T45" fmla="*/ 9 h 18"/>
                    <a:gd name="T46" fmla="*/ 9 w 26"/>
                    <a:gd name="T47" fmla="*/ 7 h 18"/>
                    <a:gd name="T48" fmla="*/ 10 w 26"/>
                    <a:gd name="T49" fmla="*/ 5 h 18"/>
                    <a:gd name="T50" fmla="*/ 12 w 26"/>
                    <a:gd name="T51" fmla="*/ 6 h 18"/>
                    <a:gd name="T52" fmla="*/ 14 w 26"/>
                    <a:gd name="T53" fmla="*/ 6 h 18"/>
                    <a:gd name="T54" fmla="*/ 15 w 26"/>
                    <a:gd name="T55" fmla="*/ 5 h 18"/>
                    <a:gd name="T56" fmla="*/ 17 w 26"/>
                    <a:gd name="T57" fmla="*/ 6 h 18"/>
                    <a:gd name="T58" fmla="*/ 19 w 26"/>
                    <a:gd name="T59" fmla="*/ 6 h 18"/>
                    <a:gd name="T60" fmla="*/ 22 w 26"/>
                    <a:gd name="T61" fmla="*/ 6 h 18"/>
                    <a:gd name="T62" fmla="*/ 24 w 26"/>
                    <a:gd name="T63" fmla="*/ 7 h 18"/>
                    <a:gd name="T64" fmla="*/ 17 w 26"/>
                    <a:gd name="T65" fmla="*/ 18 h 18"/>
                    <a:gd name="T66" fmla="*/ 13 w 26"/>
                    <a:gd name="T67" fmla="*/ 16 h 18"/>
                    <a:gd name="T68" fmla="*/ 13 w 26"/>
                    <a:gd name="T69" fmla="*/ 16 h 18"/>
                    <a:gd name="T70" fmla="*/ 16 w 26"/>
                    <a:gd name="T71" fmla="*/ 16 h 18"/>
                    <a:gd name="T72" fmla="*/ 13 w 26"/>
                    <a:gd name="T73" fmla="*/ 15 h 18"/>
                    <a:gd name="T74" fmla="*/ 8 w 26"/>
                    <a:gd name="T75" fmla="*/ 11 h 18"/>
                    <a:gd name="T76" fmla="*/ 6 w 26"/>
                    <a:gd name="T77" fmla="*/ 9 h 18"/>
                    <a:gd name="T78" fmla="*/ 6 w 26"/>
                    <a:gd name="T79" fmla="*/ 9 h 18"/>
                    <a:gd name="T80" fmla="*/ 7 w 26"/>
                    <a:gd name="T81" fmla="*/ 13 h 18"/>
                    <a:gd name="T82" fmla="*/ 6 w 26"/>
                    <a:gd name="T83" fmla="*/ 10 h 18"/>
                    <a:gd name="T84" fmla="*/ 3 w 26"/>
                    <a:gd name="T85" fmla="*/ 8 h 18"/>
                    <a:gd name="T86" fmla="*/ 4 w 26"/>
                    <a:gd name="T87" fmla="*/ 10 h 18"/>
                    <a:gd name="T88" fmla="*/ 3 w 26"/>
                    <a:gd name="T89" fmla="*/ 8 h 18"/>
                    <a:gd name="T90" fmla="*/ 5 w 26"/>
                    <a:gd name="T91" fmla="*/ 8 h 18"/>
                    <a:gd name="T92" fmla="*/ 4 w 26"/>
                    <a:gd name="T93" fmla="*/ 6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6" h="18">
                      <a:moveTo>
                        <a:pt x="24" y="7"/>
                      </a:moveTo>
                      <a:cubicBezTo>
                        <a:pt x="24" y="6"/>
                        <a:pt x="24" y="6"/>
                        <a:pt x="24" y="6"/>
                      </a:cubicBezTo>
                      <a:cubicBezTo>
                        <a:pt x="25" y="6"/>
                        <a:pt x="25" y="6"/>
                        <a:pt x="25" y="6"/>
                      </a:cubicBezTo>
                      <a:cubicBezTo>
                        <a:pt x="26" y="6"/>
                        <a:pt x="26" y="6"/>
                        <a:pt x="26" y="6"/>
                      </a:cubicBezTo>
                      <a:cubicBezTo>
                        <a:pt x="26" y="6"/>
                        <a:pt x="26" y="6"/>
                        <a:pt x="26" y="6"/>
                      </a:cubicBezTo>
                      <a:cubicBezTo>
                        <a:pt x="25" y="6"/>
                        <a:pt x="25" y="6"/>
                        <a:pt x="25" y="6"/>
                      </a:cubicBezTo>
                      <a:cubicBezTo>
                        <a:pt x="24" y="5"/>
                        <a:pt x="24" y="5"/>
                        <a:pt x="24" y="5"/>
                      </a:cubicBezTo>
                      <a:cubicBezTo>
                        <a:pt x="24" y="4"/>
                        <a:pt x="24" y="4"/>
                        <a:pt x="24" y="4"/>
                      </a:cubicBezTo>
                      <a:cubicBezTo>
                        <a:pt x="24" y="3"/>
                        <a:pt x="24" y="3"/>
                        <a:pt x="24" y="3"/>
                      </a:cubicBezTo>
                      <a:cubicBezTo>
                        <a:pt x="23" y="3"/>
                        <a:pt x="23" y="3"/>
                        <a:pt x="23" y="3"/>
                      </a:cubicBezTo>
                      <a:cubicBezTo>
                        <a:pt x="22" y="3"/>
                        <a:pt x="22" y="3"/>
                        <a:pt x="22" y="3"/>
                      </a:cubicBezTo>
                      <a:cubicBezTo>
                        <a:pt x="20" y="3"/>
                        <a:pt x="20" y="3"/>
                        <a:pt x="20" y="3"/>
                      </a:cubicBezTo>
                      <a:cubicBezTo>
                        <a:pt x="18" y="3"/>
                        <a:pt x="18" y="3"/>
                        <a:pt x="18" y="3"/>
                      </a:cubicBezTo>
                      <a:cubicBezTo>
                        <a:pt x="17" y="2"/>
                        <a:pt x="17" y="2"/>
                        <a:pt x="17" y="2"/>
                      </a:cubicBezTo>
                      <a:cubicBezTo>
                        <a:pt x="16" y="2"/>
                        <a:pt x="16" y="2"/>
                        <a:pt x="16" y="2"/>
                      </a:cubicBezTo>
                      <a:cubicBezTo>
                        <a:pt x="14" y="0"/>
                        <a:pt x="14" y="0"/>
                        <a:pt x="14" y="0"/>
                      </a:cubicBezTo>
                      <a:cubicBezTo>
                        <a:pt x="13" y="0"/>
                        <a:pt x="13" y="0"/>
                        <a:pt x="13" y="0"/>
                      </a:cubicBezTo>
                      <a:cubicBezTo>
                        <a:pt x="13" y="0"/>
                        <a:pt x="13" y="0"/>
                        <a:pt x="13" y="0"/>
                      </a:cubicBezTo>
                      <a:cubicBezTo>
                        <a:pt x="11" y="0"/>
                        <a:pt x="11" y="0"/>
                        <a:pt x="11" y="0"/>
                      </a:cubicBezTo>
                      <a:cubicBezTo>
                        <a:pt x="8" y="1"/>
                        <a:pt x="8" y="1"/>
                        <a:pt x="8" y="1"/>
                      </a:cubicBezTo>
                      <a:cubicBezTo>
                        <a:pt x="8" y="2"/>
                        <a:pt x="8" y="2"/>
                        <a:pt x="8" y="2"/>
                      </a:cubicBezTo>
                      <a:cubicBezTo>
                        <a:pt x="7" y="3"/>
                        <a:pt x="7" y="3"/>
                        <a:pt x="7" y="3"/>
                      </a:cubicBezTo>
                      <a:cubicBezTo>
                        <a:pt x="6" y="5"/>
                        <a:pt x="6" y="5"/>
                        <a:pt x="6" y="5"/>
                      </a:cubicBezTo>
                      <a:cubicBezTo>
                        <a:pt x="5" y="5"/>
                        <a:pt x="5" y="5"/>
                        <a:pt x="5" y="5"/>
                      </a:cubicBezTo>
                      <a:cubicBezTo>
                        <a:pt x="4" y="4"/>
                        <a:pt x="4" y="4"/>
                        <a:pt x="4" y="4"/>
                      </a:cubicBezTo>
                      <a:cubicBezTo>
                        <a:pt x="3" y="4"/>
                        <a:pt x="3" y="4"/>
                        <a:pt x="3" y="4"/>
                      </a:cubicBezTo>
                      <a:cubicBezTo>
                        <a:pt x="1" y="5"/>
                        <a:pt x="1" y="5"/>
                        <a:pt x="1" y="5"/>
                      </a:cubicBezTo>
                      <a:cubicBezTo>
                        <a:pt x="0" y="5"/>
                        <a:pt x="0" y="5"/>
                        <a:pt x="0" y="5"/>
                      </a:cubicBezTo>
                      <a:cubicBezTo>
                        <a:pt x="0" y="5"/>
                        <a:pt x="0" y="5"/>
                        <a:pt x="0" y="5"/>
                      </a:cubicBezTo>
                      <a:cubicBezTo>
                        <a:pt x="0" y="7"/>
                        <a:pt x="0" y="7"/>
                        <a:pt x="0" y="7"/>
                      </a:cubicBezTo>
                      <a:cubicBezTo>
                        <a:pt x="1" y="8"/>
                        <a:pt x="1" y="8"/>
                        <a:pt x="1" y="8"/>
                      </a:cubicBezTo>
                      <a:cubicBezTo>
                        <a:pt x="1" y="8"/>
                        <a:pt x="1" y="8"/>
                        <a:pt x="1" y="8"/>
                      </a:cubicBezTo>
                      <a:cubicBezTo>
                        <a:pt x="1" y="8"/>
                        <a:pt x="1" y="8"/>
                        <a:pt x="1" y="8"/>
                      </a:cubicBezTo>
                      <a:cubicBezTo>
                        <a:pt x="3" y="7"/>
                        <a:pt x="3" y="7"/>
                        <a:pt x="3" y="7"/>
                      </a:cubicBezTo>
                      <a:cubicBezTo>
                        <a:pt x="3" y="6"/>
                        <a:pt x="3" y="6"/>
                        <a:pt x="3" y="6"/>
                      </a:cubicBezTo>
                      <a:cubicBezTo>
                        <a:pt x="4" y="5"/>
                        <a:pt x="4" y="5"/>
                        <a:pt x="4" y="5"/>
                      </a:cubicBezTo>
                      <a:cubicBezTo>
                        <a:pt x="5" y="5"/>
                        <a:pt x="5" y="5"/>
                        <a:pt x="5" y="5"/>
                      </a:cubicBezTo>
                      <a:cubicBezTo>
                        <a:pt x="5" y="6"/>
                        <a:pt x="5" y="6"/>
                        <a:pt x="5" y="6"/>
                      </a:cubicBezTo>
                      <a:cubicBezTo>
                        <a:pt x="6" y="7"/>
                        <a:pt x="6" y="7"/>
                        <a:pt x="6" y="7"/>
                      </a:cubicBezTo>
                      <a:cubicBezTo>
                        <a:pt x="6" y="8"/>
                        <a:pt x="6" y="8"/>
                        <a:pt x="6" y="8"/>
                      </a:cubicBezTo>
                      <a:cubicBezTo>
                        <a:pt x="7" y="9"/>
                        <a:pt x="7" y="9"/>
                        <a:pt x="7" y="9"/>
                      </a:cubicBezTo>
                      <a:cubicBezTo>
                        <a:pt x="8" y="10"/>
                        <a:pt x="8" y="10"/>
                        <a:pt x="8" y="10"/>
                      </a:cubicBezTo>
                      <a:cubicBezTo>
                        <a:pt x="9" y="10"/>
                        <a:pt x="9" y="10"/>
                        <a:pt x="9" y="10"/>
                      </a:cubicBezTo>
                      <a:cubicBezTo>
                        <a:pt x="9" y="11"/>
                        <a:pt x="9" y="11"/>
                        <a:pt x="9" y="11"/>
                      </a:cubicBezTo>
                      <a:cubicBezTo>
                        <a:pt x="9" y="11"/>
                        <a:pt x="9" y="11"/>
                        <a:pt x="9" y="11"/>
                      </a:cubicBezTo>
                      <a:cubicBezTo>
                        <a:pt x="8" y="11"/>
                        <a:pt x="8" y="11"/>
                        <a:pt x="8" y="11"/>
                      </a:cubicBezTo>
                      <a:cubicBezTo>
                        <a:pt x="8" y="12"/>
                        <a:pt x="8" y="12"/>
                        <a:pt x="8" y="12"/>
                      </a:cubicBezTo>
                      <a:cubicBezTo>
                        <a:pt x="8" y="13"/>
                        <a:pt x="8" y="13"/>
                        <a:pt x="8" y="13"/>
                      </a:cubicBezTo>
                      <a:cubicBezTo>
                        <a:pt x="9" y="13"/>
                        <a:pt x="9" y="13"/>
                        <a:pt x="9" y="13"/>
                      </a:cubicBezTo>
                      <a:cubicBezTo>
                        <a:pt x="10" y="13"/>
                        <a:pt x="10" y="13"/>
                        <a:pt x="10" y="13"/>
                      </a:cubicBezTo>
                      <a:cubicBezTo>
                        <a:pt x="11" y="14"/>
                        <a:pt x="11" y="14"/>
                        <a:pt x="11" y="14"/>
                      </a:cubicBezTo>
                      <a:cubicBezTo>
                        <a:pt x="11" y="15"/>
                        <a:pt x="11" y="15"/>
                        <a:pt x="11" y="15"/>
                      </a:cubicBezTo>
                      <a:cubicBezTo>
                        <a:pt x="12" y="15"/>
                        <a:pt x="12" y="15"/>
                        <a:pt x="12" y="15"/>
                      </a:cubicBezTo>
                      <a:cubicBezTo>
                        <a:pt x="13" y="15"/>
                        <a:pt x="13" y="15"/>
                        <a:pt x="13" y="15"/>
                      </a:cubicBezTo>
                      <a:cubicBezTo>
                        <a:pt x="15" y="15"/>
                        <a:pt x="15" y="15"/>
                        <a:pt x="15" y="15"/>
                      </a:cubicBezTo>
                      <a:cubicBezTo>
                        <a:pt x="16" y="16"/>
                        <a:pt x="16" y="16"/>
                        <a:pt x="16" y="16"/>
                      </a:cubicBezTo>
                      <a:cubicBezTo>
                        <a:pt x="19" y="18"/>
                        <a:pt x="19" y="18"/>
                        <a:pt x="19" y="18"/>
                      </a:cubicBezTo>
                      <a:cubicBezTo>
                        <a:pt x="18" y="18"/>
                        <a:pt x="18" y="18"/>
                        <a:pt x="18" y="18"/>
                      </a:cubicBezTo>
                      <a:cubicBezTo>
                        <a:pt x="17" y="17"/>
                        <a:pt x="17" y="17"/>
                        <a:pt x="17" y="17"/>
                      </a:cubicBezTo>
                      <a:cubicBezTo>
                        <a:pt x="17" y="18"/>
                        <a:pt x="17" y="18"/>
                        <a:pt x="17" y="18"/>
                      </a:cubicBezTo>
                      <a:cubicBezTo>
                        <a:pt x="18" y="18"/>
                        <a:pt x="18" y="18"/>
                        <a:pt x="18" y="18"/>
                      </a:cubicBezTo>
                      <a:cubicBezTo>
                        <a:pt x="18" y="18"/>
                        <a:pt x="18" y="18"/>
                        <a:pt x="18" y="18"/>
                      </a:cubicBezTo>
                      <a:cubicBezTo>
                        <a:pt x="19" y="17"/>
                        <a:pt x="19" y="17"/>
                        <a:pt x="19" y="17"/>
                      </a:cubicBezTo>
                      <a:cubicBezTo>
                        <a:pt x="15" y="14"/>
                        <a:pt x="15" y="14"/>
                        <a:pt x="15" y="14"/>
                      </a:cubicBezTo>
                      <a:cubicBezTo>
                        <a:pt x="12" y="11"/>
                        <a:pt x="12" y="11"/>
                        <a:pt x="12" y="11"/>
                      </a:cubicBezTo>
                      <a:cubicBezTo>
                        <a:pt x="12" y="10"/>
                        <a:pt x="12" y="10"/>
                        <a:pt x="12" y="10"/>
                      </a:cubicBezTo>
                      <a:cubicBezTo>
                        <a:pt x="12" y="10"/>
                        <a:pt x="12" y="10"/>
                        <a:pt x="12" y="10"/>
                      </a:cubicBezTo>
                      <a:cubicBezTo>
                        <a:pt x="11" y="9"/>
                        <a:pt x="11" y="9"/>
                        <a:pt x="11" y="9"/>
                      </a:cubicBezTo>
                      <a:cubicBezTo>
                        <a:pt x="11" y="9"/>
                        <a:pt x="11" y="9"/>
                        <a:pt x="11" y="9"/>
                      </a:cubicBezTo>
                      <a:cubicBezTo>
                        <a:pt x="10" y="8"/>
                        <a:pt x="10" y="8"/>
                        <a:pt x="10" y="8"/>
                      </a:cubicBezTo>
                      <a:cubicBezTo>
                        <a:pt x="9" y="8"/>
                        <a:pt x="9" y="8"/>
                        <a:pt x="9" y="8"/>
                      </a:cubicBezTo>
                      <a:cubicBezTo>
                        <a:pt x="9" y="7"/>
                        <a:pt x="9" y="7"/>
                        <a:pt x="9" y="7"/>
                      </a:cubicBezTo>
                      <a:cubicBezTo>
                        <a:pt x="10" y="7"/>
                        <a:pt x="10" y="7"/>
                        <a:pt x="10" y="7"/>
                      </a:cubicBezTo>
                      <a:cubicBezTo>
                        <a:pt x="10" y="6"/>
                        <a:pt x="10" y="6"/>
                        <a:pt x="10" y="6"/>
                      </a:cubicBezTo>
                      <a:cubicBezTo>
                        <a:pt x="10" y="5"/>
                        <a:pt x="10" y="5"/>
                        <a:pt x="10" y="5"/>
                      </a:cubicBezTo>
                      <a:cubicBezTo>
                        <a:pt x="11" y="6"/>
                        <a:pt x="11" y="6"/>
                        <a:pt x="11" y="6"/>
                      </a:cubicBezTo>
                      <a:cubicBezTo>
                        <a:pt x="12" y="7"/>
                        <a:pt x="12" y="7"/>
                        <a:pt x="12" y="7"/>
                      </a:cubicBezTo>
                      <a:cubicBezTo>
                        <a:pt x="12" y="6"/>
                        <a:pt x="12" y="6"/>
                        <a:pt x="12" y="6"/>
                      </a:cubicBezTo>
                      <a:cubicBezTo>
                        <a:pt x="12" y="6"/>
                        <a:pt x="12" y="6"/>
                        <a:pt x="12" y="6"/>
                      </a:cubicBezTo>
                      <a:cubicBezTo>
                        <a:pt x="13" y="6"/>
                        <a:pt x="13" y="6"/>
                        <a:pt x="13" y="6"/>
                      </a:cubicBezTo>
                      <a:cubicBezTo>
                        <a:pt x="14" y="6"/>
                        <a:pt x="14" y="6"/>
                        <a:pt x="14" y="6"/>
                      </a:cubicBezTo>
                      <a:cubicBezTo>
                        <a:pt x="14" y="5"/>
                        <a:pt x="14" y="5"/>
                        <a:pt x="14" y="5"/>
                      </a:cubicBezTo>
                      <a:cubicBezTo>
                        <a:pt x="15" y="6"/>
                        <a:pt x="15" y="6"/>
                        <a:pt x="15" y="6"/>
                      </a:cubicBezTo>
                      <a:cubicBezTo>
                        <a:pt x="15" y="5"/>
                        <a:pt x="15" y="5"/>
                        <a:pt x="15" y="5"/>
                      </a:cubicBezTo>
                      <a:cubicBezTo>
                        <a:pt x="16" y="6"/>
                        <a:pt x="16" y="6"/>
                        <a:pt x="16" y="6"/>
                      </a:cubicBezTo>
                      <a:cubicBezTo>
                        <a:pt x="17" y="6"/>
                        <a:pt x="17" y="6"/>
                        <a:pt x="17" y="6"/>
                      </a:cubicBezTo>
                      <a:cubicBezTo>
                        <a:pt x="17" y="6"/>
                        <a:pt x="17" y="6"/>
                        <a:pt x="17" y="6"/>
                      </a:cubicBezTo>
                      <a:cubicBezTo>
                        <a:pt x="18" y="6"/>
                        <a:pt x="18" y="6"/>
                        <a:pt x="18" y="6"/>
                      </a:cubicBezTo>
                      <a:cubicBezTo>
                        <a:pt x="19" y="6"/>
                        <a:pt x="19" y="6"/>
                        <a:pt x="19" y="6"/>
                      </a:cubicBezTo>
                      <a:cubicBezTo>
                        <a:pt x="19" y="6"/>
                        <a:pt x="19" y="6"/>
                        <a:pt x="19" y="6"/>
                      </a:cubicBezTo>
                      <a:cubicBezTo>
                        <a:pt x="20" y="6"/>
                        <a:pt x="20" y="6"/>
                        <a:pt x="20" y="6"/>
                      </a:cubicBezTo>
                      <a:cubicBezTo>
                        <a:pt x="21" y="6"/>
                        <a:pt x="21" y="6"/>
                        <a:pt x="21" y="6"/>
                      </a:cubicBezTo>
                      <a:cubicBezTo>
                        <a:pt x="22" y="6"/>
                        <a:pt x="22" y="6"/>
                        <a:pt x="22" y="6"/>
                      </a:cubicBezTo>
                      <a:cubicBezTo>
                        <a:pt x="23" y="7"/>
                        <a:pt x="23" y="7"/>
                        <a:pt x="23" y="7"/>
                      </a:cubicBezTo>
                      <a:cubicBezTo>
                        <a:pt x="24" y="7"/>
                        <a:pt x="24" y="7"/>
                        <a:pt x="24" y="7"/>
                      </a:cubicBezTo>
                      <a:cubicBezTo>
                        <a:pt x="24" y="7"/>
                        <a:pt x="24" y="7"/>
                        <a:pt x="24" y="7"/>
                      </a:cubicBezTo>
                      <a:close/>
                      <a:moveTo>
                        <a:pt x="15" y="17"/>
                      </a:moveTo>
                      <a:cubicBezTo>
                        <a:pt x="15" y="17"/>
                        <a:pt x="16" y="17"/>
                        <a:pt x="16" y="17"/>
                      </a:cubicBezTo>
                      <a:cubicBezTo>
                        <a:pt x="17" y="18"/>
                        <a:pt x="17" y="18"/>
                        <a:pt x="17" y="18"/>
                      </a:cubicBezTo>
                      <a:cubicBezTo>
                        <a:pt x="15" y="18"/>
                        <a:pt x="15" y="18"/>
                        <a:pt x="15" y="18"/>
                      </a:cubicBezTo>
                      <a:cubicBezTo>
                        <a:pt x="15" y="17"/>
                        <a:pt x="15" y="17"/>
                        <a:pt x="15" y="17"/>
                      </a:cubicBezTo>
                      <a:close/>
                      <a:moveTo>
                        <a:pt x="13" y="16"/>
                      </a:moveTo>
                      <a:cubicBezTo>
                        <a:pt x="16" y="17"/>
                        <a:pt x="16" y="17"/>
                        <a:pt x="16" y="17"/>
                      </a:cubicBezTo>
                      <a:cubicBezTo>
                        <a:pt x="15" y="17"/>
                        <a:pt x="15" y="17"/>
                        <a:pt x="15" y="17"/>
                      </a:cubicBezTo>
                      <a:cubicBezTo>
                        <a:pt x="13" y="16"/>
                        <a:pt x="13" y="16"/>
                        <a:pt x="13" y="16"/>
                      </a:cubicBezTo>
                      <a:close/>
                      <a:moveTo>
                        <a:pt x="13" y="15"/>
                      </a:moveTo>
                      <a:cubicBezTo>
                        <a:pt x="15" y="15"/>
                        <a:pt x="15" y="15"/>
                        <a:pt x="15" y="15"/>
                      </a:cubicBezTo>
                      <a:cubicBezTo>
                        <a:pt x="16" y="16"/>
                        <a:pt x="16" y="16"/>
                        <a:pt x="16" y="16"/>
                      </a:cubicBezTo>
                      <a:cubicBezTo>
                        <a:pt x="15" y="16"/>
                        <a:pt x="15" y="16"/>
                        <a:pt x="15" y="16"/>
                      </a:cubicBezTo>
                      <a:cubicBezTo>
                        <a:pt x="14" y="16"/>
                        <a:pt x="14" y="16"/>
                        <a:pt x="14" y="16"/>
                      </a:cubicBezTo>
                      <a:cubicBezTo>
                        <a:pt x="13" y="15"/>
                        <a:pt x="13" y="15"/>
                        <a:pt x="13" y="15"/>
                      </a:cubicBezTo>
                      <a:close/>
                      <a:moveTo>
                        <a:pt x="7" y="10"/>
                      </a:moveTo>
                      <a:cubicBezTo>
                        <a:pt x="7" y="10"/>
                        <a:pt x="7" y="10"/>
                        <a:pt x="7" y="10"/>
                      </a:cubicBezTo>
                      <a:cubicBezTo>
                        <a:pt x="8" y="11"/>
                        <a:pt x="8" y="11"/>
                        <a:pt x="8" y="11"/>
                      </a:cubicBezTo>
                      <a:cubicBezTo>
                        <a:pt x="7" y="11"/>
                        <a:pt x="7" y="11"/>
                        <a:pt x="7" y="11"/>
                      </a:cubicBezTo>
                      <a:cubicBezTo>
                        <a:pt x="7" y="10"/>
                        <a:pt x="7" y="10"/>
                        <a:pt x="7" y="10"/>
                      </a:cubicBezTo>
                      <a:close/>
                      <a:moveTo>
                        <a:pt x="6" y="9"/>
                      </a:moveTo>
                      <a:cubicBezTo>
                        <a:pt x="7" y="10"/>
                        <a:pt x="7" y="10"/>
                        <a:pt x="7" y="10"/>
                      </a:cubicBezTo>
                      <a:cubicBezTo>
                        <a:pt x="6" y="9"/>
                        <a:pt x="6" y="9"/>
                        <a:pt x="6" y="9"/>
                      </a:cubicBezTo>
                      <a:cubicBezTo>
                        <a:pt x="6" y="9"/>
                        <a:pt x="6" y="9"/>
                        <a:pt x="6" y="9"/>
                      </a:cubicBezTo>
                      <a:close/>
                      <a:moveTo>
                        <a:pt x="6" y="11"/>
                      </a:moveTo>
                      <a:cubicBezTo>
                        <a:pt x="7" y="12"/>
                        <a:pt x="7" y="12"/>
                        <a:pt x="7" y="12"/>
                      </a:cubicBezTo>
                      <a:cubicBezTo>
                        <a:pt x="7" y="13"/>
                        <a:pt x="7" y="13"/>
                        <a:pt x="7" y="13"/>
                      </a:cubicBezTo>
                      <a:cubicBezTo>
                        <a:pt x="6" y="11"/>
                        <a:pt x="6" y="11"/>
                        <a:pt x="6" y="11"/>
                      </a:cubicBezTo>
                      <a:close/>
                      <a:moveTo>
                        <a:pt x="5" y="10"/>
                      </a:moveTo>
                      <a:cubicBezTo>
                        <a:pt x="6" y="10"/>
                        <a:pt x="6" y="10"/>
                        <a:pt x="6" y="10"/>
                      </a:cubicBezTo>
                      <a:cubicBezTo>
                        <a:pt x="6" y="11"/>
                        <a:pt x="6" y="11"/>
                        <a:pt x="6" y="11"/>
                      </a:cubicBezTo>
                      <a:cubicBezTo>
                        <a:pt x="5" y="10"/>
                        <a:pt x="5" y="10"/>
                        <a:pt x="5" y="10"/>
                      </a:cubicBezTo>
                      <a:close/>
                      <a:moveTo>
                        <a:pt x="3" y="8"/>
                      </a:moveTo>
                      <a:cubicBezTo>
                        <a:pt x="4" y="8"/>
                        <a:pt x="4" y="8"/>
                        <a:pt x="4" y="8"/>
                      </a:cubicBezTo>
                      <a:cubicBezTo>
                        <a:pt x="5" y="10"/>
                        <a:pt x="5" y="10"/>
                        <a:pt x="5" y="10"/>
                      </a:cubicBezTo>
                      <a:cubicBezTo>
                        <a:pt x="4" y="10"/>
                        <a:pt x="4" y="10"/>
                        <a:pt x="4" y="10"/>
                      </a:cubicBezTo>
                      <a:cubicBezTo>
                        <a:pt x="4" y="9"/>
                        <a:pt x="4" y="9"/>
                        <a:pt x="4" y="9"/>
                      </a:cubicBezTo>
                      <a:cubicBezTo>
                        <a:pt x="4" y="9"/>
                        <a:pt x="4" y="9"/>
                        <a:pt x="4" y="9"/>
                      </a:cubicBezTo>
                      <a:cubicBezTo>
                        <a:pt x="3" y="8"/>
                        <a:pt x="3" y="8"/>
                        <a:pt x="3" y="8"/>
                      </a:cubicBezTo>
                      <a:close/>
                      <a:moveTo>
                        <a:pt x="4" y="6"/>
                      </a:moveTo>
                      <a:cubicBezTo>
                        <a:pt x="5" y="8"/>
                        <a:pt x="5" y="8"/>
                        <a:pt x="5" y="8"/>
                      </a:cubicBezTo>
                      <a:cubicBezTo>
                        <a:pt x="5" y="8"/>
                        <a:pt x="5" y="8"/>
                        <a:pt x="5" y="8"/>
                      </a:cubicBezTo>
                      <a:cubicBezTo>
                        <a:pt x="4" y="8"/>
                        <a:pt x="4" y="8"/>
                        <a:pt x="4" y="8"/>
                      </a:cubicBezTo>
                      <a:cubicBezTo>
                        <a:pt x="4" y="7"/>
                        <a:pt x="4" y="7"/>
                        <a:pt x="4" y="7"/>
                      </a:cubicBezTo>
                      <a:cubicBezTo>
                        <a:pt x="4" y="6"/>
                        <a:pt x="4" y="6"/>
                        <a:pt x="4" y="6"/>
                      </a:cubicBezTo>
                      <a:cubicBezTo>
                        <a:pt x="4" y="6"/>
                        <a:pt x="4" y="6"/>
                        <a:pt x="4" y="6"/>
                      </a:cubicBez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 name="Freeform 61">
                  <a:extLst>
                    <a:ext uri="{FF2B5EF4-FFF2-40B4-BE49-F238E27FC236}">
                      <a16:creationId xmlns:a16="http://schemas.microsoft.com/office/drawing/2014/main" id="{6ABB694A-B963-D9A3-7AF1-63A98DD3F1A8}"/>
                    </a:ext>
                  </a:extLst>
                </p:cNvPr>
                <p:cNvSpPr>
                  <a:spLocks/>
                </p:cNvSpPr>
                <p:nvPr/>
              </p:nvSpPr>
              <p:spPr bwMode="auto">
                <a:xfrm>
                  <a:off x="2815" y="2100"/>
                  <a:ext cx="43" cy="33"/>
                </a:xfrm>
                <a:custGeom>
                  <a:avLst/>
                  <a:gdLst>
                    <a:gd name="T0" fmla="*/ 24 w 43"/>
                    <a:gd name="T1" fmla="*/ 28 h 33"/>
                    <a:gd name="T2" fmla="*/ 7 w 43"/>
                    <a:gd name="T3" fmla="*/ 14 h 33"/>
                    <a:gd name="T4" fmla="*/ 7 w 43"/>
                    <a:gd name="T5" fmla="*/ 11 h 33"/>
                    <a:gd name="T6" fmla="*/ 5 w 43"/>
                    <a:gd name="T7" fmla="*/ 9 h 33"/>
                    <a:gd name="T8" fmla="*/ 0 w 43"/>
                    <a:gd name="T9" fmla="*/ 7 h 33"/>
                    <a:gd name="T10" fmla="*/ 2 w 43"/>
                    <a:gd name="T11" fmla="*/ 4 h 33"/>
                    <a:gd name="T12" fmla="*/ 2 w 43"/>
                    <a:gd name="T13" fmla="*/ 0 h 33"/>
                    <a:gd name="T14" fmla="*/ 7 w 43"/>
                    <a:gd name="T15" fmla="*/ 4 h 33"/>
                    <a:gd name="T16" fmla="*/ 7 w 43"/>
                    <a:gd name="T17" fmla="*/ 2 h 33"/>
                    <a:gd name="T18" fmla="*/ 12 w 43"/>
                    <a:gd name="T19" fmla="*/ 2 h 33"/>
                    <a:gd name="T20" fmla="*/ 14 w 43"/>
                    <a:gd name="T21" fmla="*/ 2 h 33"/>
                    <a:gd name="T22" fmla="*/ 16 w 43"/>
                    <a:gd name="T23" fmla="*/ 2 h 33"/>
                    <a:gd name="T24" fmla="*/ 19 w 43"/>
                    <a:gd name="T25" fmla="*/ 2 h 33"/>
                    <a:gd name="T26" fmla="*/ 24 w 43"/>
                    <a:gd name="T27" fmla="*/ 2 h 33"/>
                    <a:gd name="T28" fmla="*/ 26 w 43"/>
                    <a:gd name="T29" fmla="*/ 2 h 33"/>
                    <a:gd name="T30" fmla="*/ 31 w 43"/>
                    <a:gd name="T31" fmla="*/ 2 h 33"/>
                    <a:gd name="T32" fmla="*/ 35 w 43"/>
                    <a:gd name="T33" fmla="*/ 4 h 33"/>
                    <a:gd name="T34" fmla="*/ 38 w 43"/>
                    <a:gd name="T35" fmla="*/ 4 h 33"/>
                    <a:gd name="T36" fmla="*/ 40 w 43"/>
                    <a:gd name="T37" fmla="*/ 7 h 33"/>
                    <a:gd name="T38" fmla="*/ 38 w 43"/>
                    <a:gd name="T39" fmla="*/ 11 h 33"/>
                    <a:gd name="T40" fmla="*/ 43 w 43"/>
                    <a:gd name="T41" fmla="*/ 14 h 33"/>
                    <a:gd name="T42" fmla="*/ 43 w 43"/>
                    <a:gd name="T43" fmla="*/ 16 h 33"/>
                    <a:gd name="T44" fmla="*/ 40 w 43"/>
                    <a:gd name="T45" fmla="*/ 16 h 33"/>
                    <a:gd name="T46" fmla="*/ 43 w 43"/>
                    <a:gd name="T47" fmla="*/ 21 h 33"/>
                    <a:gd name="T48" fmla="*/ 40 w 43"/>
                    <a:gd name="T49" fmla="*/ 21 h 33"/>
                    <a:gd name="T50" fmla="*/ 35 w 43"/>
                    <a:gd name="T51" fmla="*/ 21 h 33"/>
                    <a:gd name="T52" fmla="*/ 38 w 43"/>
                    <a:gd name="T53" fmla="*/ 23 h 33"/>
                    <a:gd name="T54" fmla="*/ 38 w 43"/>
                    <a:gd name="T55" fmla="*/ 26 h 33"/>
                    <a:gd name="T56" fmla="*/ 33 w 43"/>
                    <a:gd name="T57" fmla="*/ 28 h 33"/>
                    <a:gd name="T58" fmla="*/ 33 w 43"/>
                    <a:gd name="T59" fmla="*/ 33 h 33"/>
                    <a:gd name="T60" fmla="*/ 28 w 43"/>
                    <a:gd name="T61" fmla="*/ 30 h 33"/>
                    <a:gd name="T62" fmla="*/ 24 w 43"/>
                    <a:gd name="T63" fmla="*/ 30 h 33"/>
                    <a:gd name="T64" fmla="*/ 21 w 43"/>
                    <a:gd name="T65" fmla="*/ 3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 h="33">
                      <a:moveTo>
                        <a:pt x="21" y="30"/>
                      </a:moveTo>
                      <a:lnTo>
                        <a:pt x="24" y="28"/>
                      </a:lnTo>
                      <a:lnTo>
                        <a:pt x="14" y="21"/>
                      </a:lnTo>
                      <a:lnTo>
                        <a:pt x="7" y="14"/>
                      </a:lnTo>
                      <a:lnTo>
                        <a:pt x="7" y="11"/>
                      </a:lnTo>
                      <a:lnTo>
                        <a:pt x="7" y="11"/>
                      </a:lnTo>
                      <a:lnTo>
                        <a:pt x="5" y="9"/>
                      </a:lnTo>
                      <a:lnTo>
                        <a:pt x="5" y="9"/>
                      </a:lnTo>
                      <a:lnTo>
                        <a:pt x="2" y="7"/>
                      </a:lnTo>
                      <a:lnTo>
                        <a:pt x="0" y="7"/>
                      </a:lnTo>
                      <a:lnTo>
                        <a:pt x="0" y="4"/>
                      </a:lnTo>
                      <a:lnTo>
                        <a:pt x="2" y="4"/>
                      </a:lnTo>
                      <a:lnTo>
                        <a:pt x="2" y="2"/>
                      </a:lnTo>
                      <a:lnTo>
                        <a:pt x="2" y="0"/>
                      </a:lnTo>
                      <a:lnTo>
                        <a:pt x="5" y="2"/>
                      </a:lnTo>
                      <a:lnTo>
                        <a:pt x="7" y="4"/>
                      </a:lnTo>
                      <a:lnTo>
                        <a:pt x="7" y="2"/>
                      </a:lnTo>
                      <a:lnTo>
                        <a:pt x="7" y="2"/>
                      </a:lnTo>
                      <a:lnTo>
                        <a:pt x="9" y="2"/>
                      </a:lnTo>
                      <a:lnTo>
                        <a:pt x="12" y="2"/>
                      </a:lnTo>
                      <a:lnTo>
                        <a:pt x="12" y="0"/>
                      </a:lnTo>
                      <a:lnTo>
                        <a:pt x="14" y="2"/>
                      </a:lnTo>
                      <a:lnTo>
                        <a:pt x="14" y="0"/>
                      </a:lnTo>
                      <a:lnTo>
                        <a:pt x="16" y="2"/>
                      </a:lnTo>
                      <a:lnTo>
                        <a:pt x="19" y="2"/>
                      </a:lnTo>
                      <a:lnTo>
                        <a:pt x="19" y="2"/>
                      </a:lnTo>
                      <a:lnTo>
                        <a:pt x="21" y="2"/>
                      </a:lnTo>
                      <a:lnTo>
                        <a:pt x="24" y="2"/>
                      </a:lnTo>
                      <a:lnTo>
                        <a:pt x="24" y="2"/>
                      </a:lnTo>
                      <a:lnTo>
                        <a:pt x="26" y="2"/>
                      </a:lnTo>
                      <a:lnTo>
                        <a:pt x="28" y="2"/>
                      </a:lnTo>
                      <a:lnTo>
                        <a:pt x="31" y="2"/>
                      </a:lnTo>
                      <a:lnTo>
                        <a:pt x="33" y="4"/>
                      </a:lnTo>
                      <a:lnTo>
                        <a:pt x="35" y="4"/>
                      </a:lnTo>
                      <a:lnTo>
                        <a:pt x="38" y="4"/>
                      </a:lnTo>
                      <a:lnTo>
                        <a:pt x="38" y="4"/>
                      </a:lnTo>
                      <a:lnTo>
                        <a:pt x="40" y="4"/>
                      </a:lnTo>
                      <a:lnTo>
                        <a:pt x="40" y="7"/>
                      </a:lnTo>
                      <a:lnTo>
                        <a:pt x="38" y="11"/>
                      </a:lnTo>
                      <a:lnTo>
                        <a:pt x="38" y="11"/>
                      </a:lnTo>
                      <a:lnTo>
                        <a:pt x="40" y="14"/>
                      </a:lnTo>
                      <a:lnTo>
                        <a:pt x="43" y="14"/>
                      </a:lnTo>
                      <a:lnTo>
                        <a:pt x="43" y="16"/>
                      </a:lnTo>
                      <a:lnTo>
                        <a:pt x="43" y="16"/>
                      </a:lnTo>
                      <a:lnTo>
                        <a:pt x="40" y="16"/>
                      </a:lnTo>
                      <a:lnTo>
                        <a:pt x="40" y="16"/>
                      </a:lnTo>
                      <a:lnTo>
                        <a:pt x="40" y="19"/>
                      </a:lnTo>
                      <a:lnTo>
                        <a:pt x="43" y="21"/>
                      </a:lnTo>
                      <a:lnTo>
                        <a:pt x="40" y="23"/>
                      </a:lnTo>
                      <a:lnTo>
                        <a:pt x="40" y="21"/>
                      </a:lnTo>
                      <a:lnTo>
                        <a:pt x="38" y="21"/>
                      </a:lnTo>
                      <a:lnTo>
                        <a:pt x="35" y="21"/>
                      </a:lnTo>
                      <a:lnTo>
                        <a:pt x="35" y="23"/>
                      </a:lnTo>
                      <a:lnTo>
                        <a:pt x="38" y="23"/>
                      </a:lnTo>
                      <a:lnTo>
                        <a:pt x="38" y="26"/>
                      </a:lnTo>
                      <a:lnTo>
                        <a:pt x="38" y="26"/>
                      </a:lnTo>
                      <a:lnTo>
                        <a:pt x="35" y="26"/>
                      </a:lnTo>
                      <a:lnTo>
                        <a:pt x="33" y="28"/>
                      </a:lnTo>
                      <a:lnTo>
                        <a:pt x="33" y="30"/>
                      </a:lnTo>
                      <a:lnTo>
                        <a:pt x="33" y="33"/>
                      </a:lnTo>
                      <a:lnTo>
                        <a:pt x="31" y="33"/>
                      </a:lnTo>
                      <a:lnTo>
                        <a:pt x="28" y="30"/>
                      </a:lnTo>
                      <a:lnTo>
                        <a:pt x="28" y="30"/>
                      </a:lnTo>
                      <a:lnTo>
                        <a:pt x="24" y="30"/>
                      </a:lnTo>
                      <a:lnTo>
                        <a:pt x="21" y="30"/>
                      </a:lnTo>
                      <a:lnTo>
                        <a:pt x="21" y="30"/>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 name="Freeform 62">
                  <a:extLst>
                    <a:ext uri="{FF2B5EF4-FFF2-40B4-BE49-F238E27FC236}">
                      <a16:creationId xmlns:a16="http://schemas.microsoft.com/office/drawing/2014/main" id="{6C735DD4-ECF8-8BAF-31E3-9F178E57B81F}"/>
                    </a:ext>
                  </a:extLst>
                </p:cNvPr>
                <p:cNvSpPr>
                  <a:spLocks/>
                </p:cNvSpPr>
                <p:nvPr/>
              </p:nvSpPr>
              <p:spPr bwMode="auto">
                <a:xfrm>
                  <a:off x="2791" y="2081"/>
                  <a:ext cx="33" cy="19"/>
                </a:xfrm>
                <a:custGeom>
                  <a:avLst/>
                  <a:gdLst>
                    <a:gd name="T0" fmla="*/ 3 w 33"/>
                    <a:gd name="T1" fmla="*/ 19 h 19"/>
                    <a:gd name="T2" fmla="*/ 5 w 33"/>
                    <a:gd name="T3" fmla="*/ 19 h 19"/>
                    <a:gd name="T4" fmla="*/ 10 w 33"/>
                    <a:gd name="T5" fmla="*/ 16 h 19"/>
                    <a:gd name="T6" fmla="*/ 12 w 33"/>
                    <a:gd name="T7" fmla="*/ 16 h 19"/>
                    <a:gd name="T8" fmla="*/ 14 w 33"/>
                    <a:gd name="T9" fmla="*/ 19 h 19"/>
                    <a:gd name="T10" fmla="*/ 17 w 33"/>
                    <a:gd name="T11" fmla="*/ 19 h 19"/>
                    <a:gd name="T12" fmla="*/ 19 w 33"/>
                    <a:gd name="T13" fmla="*/ 14 h 19"/>
                    <a:gd name="T14" fmla="*/ 22 w 33"/>
                    <a:gd name="T15" fmla="*/ 11 h 19"/>
                    <a:gd name="T16" fmla="*/ 22 w 33"/>
                    <a:gd name="T17" fmla="*/ 9 h 19"/>
                    <a:gd name="T18" fmla="*/ 29 w 33"/>
                    <a:gd name="T19" fmla="*/ 7 h 19"/>
                    <a:gd name="T20" fmla="*/ 33 w 33"/>
                    <a:gd name="T21" fmla="*/ 7 h 19"/>
                    <a:gd name="T22" fmla="*/ 33 w 33"/>
                    <a:gd name="T23" fmla="*/ 2 h 19"/>
                    <a:gd name="T24" fmla="*/ 31 w 33"/>
                    <a:gd name="T25" fmla="*/ 0 h 19"/>
                    <a:gd name="T26" fmla="*/ 29 w 33"/>
                    <a:gd name="T27" fmla="*/ 0 h 19"/>
                    <a:gd name="T28" fmla="*/ 24 w 33"/>
                    <a:gd name="T29" fmla="*/ 4 h 19"/>
                    <a:gd name="T30" fmla="*/ 22 w 33"/>
                    <a:gd name="T31" fmla="*/ 2 h 19"/>
                    <a:gd name="T32" fmla="*/ 22 w 33"/>
                    <a:gd name="T33" fmla="*/ 4 h 19"/>
                    <a:gd name="T34" fmla="*/ 17 w 33"/>
                    <a:gd name="T35" fmla="*/ 4 h 19"/>
                    <a:gd name="T36" fmla="*/ 14 w 33"/>
                    <a:gd name="T37" fmla="*/ 4 h 19"/>
                    <a:gd name="T38" fmla="*/ 12 w 33"/>
                    <a:gd name="T39" fmla="*/ 4 h 19"/>
                    <a:gd name="T40" fmla="*/ 12 w 33"/>
                    <a:gd name="T41" fmla="*/ 4 h 19"/>
                    <a:gd name="T42" fmla="*/ 5 w 33"/>
                    <a:gd name="T43" fmla="*/ 4 h 19"/>
                    <a:gd name="T44" fmla="*/ 5 w 33"/>
                    <a:gd name="T45" fmla="*/ 4 h 19"/>
                    <a:gd name="T46" fmla="*/ 3 w 33"/>
                    <a:gd name="T47" fmla="*/ 7 h 19"/>
                    <a:gd name="T48" fmla="*/ 3 w 33"/>
                    <a:gd name="T49" fmla="*/ 9 h 19"/>
                    <a:gd name="T50" fmla="*/ 0 w 33"/>
                    <a:gd name="T51" fmla="*/ 11 h 19"/>
                    <a:gd name="T52" fmla="*/ 3 w 33"/>
                    <a:gd name="T53" fmla="*/ 14 h 19"/>
                    <a:gd name="T54" fmla="*/ 3 w 33"/>
                    <a:gd name="T55" fmla="*/ 14 h 19"/>
                    <a:gd name="T56" fmla="*/ 5 w 33"/>
                    <a:gd name="T57" fmla="*/ 16 h 19"/>
                    <a:gd name="T58" fmla="*/ 5 w 33"/>
                    <a:gd name="T59" fmla="*/ 16 h 19"/>
                    <a:gd name="T60" fmla="*/ 3 w 33"/>
                    <a:gd name="T61" fmla="*/ 16 h 19"/>
                    <a:gd name="T62" fmla="*/ 3 w 33"/>
                    <a:gd name="T63"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3" h="19">
                      <a:moveTo>
                        <a:pt x="3" y="19"/>
                      </a:moveTo>
                      <a:lnTo>
                        <a:pt x="5" y="19"/>
                      </a:lnTo>
                      <a:lnTo>
                        <a:pt x="10" y="16"/>
                      </a:lnTo>
                      <a:lnTo>
                        <a:pt x="12" y="16"/>
                      </a:lnTo>
                      <a:lnTo>
                        <a:pt x="14" y="19"/>
                      </a:lnTo>
                      <a:lnTo>
                        <a:pt x="17" y="19"/>
                      </a:lnTo>
                      <a:lnTo>
                        <a:pt x="19" y="14"/>
                      </a:lnTo>
                      <a:lnTo>
                        <a:pt x="22" y="11"/>
                      </a:lnTo>
                      <a:lnTo>
                        <a:pt x="22" y="9"/>
                      </a:lnTo>
                      <a:lnTo>
                        <a:pt x="29" y="7"/>
                      </a:lnTo>
                      <a:lnTo>
                        <a:pt x="33" y="7"/>
                      </a:lnTo>
                      <a:lnTo>
                        <a:pt x="33" y="2"/>
                      </a:lnTo>
                      <a:lnTo>
                        <a:pt x="31" y="0"/>
                      </a:lnTo>
                      <a:lnTo>
                        <a:pt x="29" y="0"/>
                      </a:lnTo>
                      <a:lnTo>
                        <a:pt x="24" y="4"/>
                      </a:lnTo>
                      <a:lnTo>
                        <a:pt x="22" y="2"/>
                      </a:lnTo>
                      <a:lnTo>
                        <a:pt x="22" y="4"/>
                      </a:lnTo>
                      <a:lnTo>
                        <a:pt x="17" y="4"/>
                      </a:lnTo>
                      <a:lnTo>
                        <a:pt x="14" y="4"/>
                      </a:lnTo>
                      <a:lnTo>
                        <a:pt x="12" y="4"/>
                      </a:lnTo>
                      <a:lnTo>
                        <a:pt x="12" y="4"/>
                      </a:lnTo>
                      <a:lnTo>
                        <a:pt x="5" y="4"/>
                      </a:lnTo>
                      <a:lnTo>
                        <a:pt x="5" y="4"/>
                      </a:lnTo>
                      <a:lnTo>
                        <a:pt x="3" y="7"/>
                      </a:lnTo>
                      <a:lnTo>
                        <a:pt x="3" y="9"/>
                      </a:lnTo>
                      <a:lnTo>
                        <a:pt x="0" y="11"/>
                      </a:lnTo>
                      <a:lnTo>
                        <a:pt x="3" y="14"/>
                      </a:lnTo>
                      <a:lnTo>
                        <a:pt x="3" y="14"/>
                      </a:lnTo>
                      <a:lnTo>
                        <a:pt x="5" y="16"/>
                      </a:lnTo>
                      <a:lnTo>
                        <a:pt x="5" y="16"/>
                      </a:lnTo>
                      <a:lnTo>
                        <a:pt x="3" y="16"/>
                      </a:lnTo>
                      <a:lnTo>
                        <a:pt x="3" y="19"/>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9" name="Freeform 63">
                  <a:extLst>
                    <a:ext uri="{FF2B5EF4-FFF2-40B4-BE49-F238E27FC236}">
                      <a16:creationId xmlns:a16="http://schemas.microsoft.com/office/drawing/2014/main" id="{8B7B1D8F-6D61-E8A7-3539-C59A7D1F68FB}"/>
                    </a:ext>
                  </a:extLst>
                </p:cNvPr>
                <p:cNvSpPr>
                  <a:spLocks/>
                </p:cNvSpPr>
                <p:nvPr/>
              </p:nvSpPr>
              <p:spPr bwMode="auto">
                <a:xfrm>
                  <a:off x="2749" y="2052"/>
                  <a:ext cx="78" cy="33"/>
                </a:xfrm>
                <a:custGeom>
                  <a:avLst/>
                  <a:gdLst>
                    <a:gd name="T0" fmla="*/ 47 w 78"/>
                    <a:gd name="T1" fmla="*/ 33 h 33"/>
                    <a:gd name="T2" fmla="*/ 54 w 78"/>
                    <a:gd name="T3" fmla="*/ 33 h 33"/>
                    <a:gd name="T4" fmla="*/ 59 w 78"/>
                    <a:gd name="T5" fmla="*/ 33 h 33"/>
                    <a:gd name="T6" fmla="*/ 64 w 78"/>
                    <a:gd name="T7" fmla="*/ 31 h 33"/>
                    <a:gd name="T8" fmla="*/ 71 w 78"/>
                    <a:gd name="T9" fmla="*/ 29 h 33"/>
                    <a:gd name="T10" fmla="*/ 75 w 78"/>
                    <a:gd name="T11" fmla="*/ 26 h 33"/>
                    <a:gd name="T12" fmla="*/ 75 w 78"/>
                    <a:gd name="T13" fmla="*/ 24 h 33"/>
                    <a:gd name="T14" fmla="*/ 73 w 78"/>
                    <a:gd name="T15" fmla="*/ 19 h 33"/>
                    <a:gd name="T16" fmla="*/ 78 w 78"/>
                    <a:gd name="T17" fmla="*/ 17 h 33"/>
                    <a:gd name="T18" fmla="*/ 78 w 78"/>
                    <a:gd name="T19" fmla="*/ 14 h 33"/>
                    <a:gd name="T20" fmla="*/ 78 w 78"/>
                    <a:gd name="T21" fmla="*/ 5 h 33"/>
                    <a:gd name="T22" fmla="*/ 71 w 78"/>
                    <a:gd name="T23" fmla="*/ 3 h 33"/>
                    <a:gd name="T24" fmla="*/ 66 w 78"/>
                    <a:gd name="T25" fmla="*/ 3 h 33"/>
                    <a:gd name="T26" fmla="*/ 59 w 78"/>
                    <a:gd name="T27" fmla="*/ 0 h 33"/>
                    <a:gd name="T28" fmla="*/ 56 w 78"/>
                    <a:gd name="T29" fmla="*/ 3 h 33"/>
                    <a:gd name="T30" fmla="*/ 54 w 78"/>
                    <a:gd name="T31" fmla="*/ 5 h 33"/>
                    <a:gd name="T32" fmla="*/ 49 w 78"/>
                    <a:gd name="T33" fmla="*/ 5 h 33"/>
                    <a:gd name="T34" fmla="*/ 42 w 78"/>
                    <a:gd name="T35" fmla="*/ 3 h 33"/>
                    <a:gd name="T36" fmla="*/ 42 w 78"/>
                    <a:gd name="T37" fmla="*/ 7 h 33"/>
                    <a:gd name="T38" fmla="*/ 40 w 78"/>
                    <a:gd name="T39" fmla="*/ 10 h 33"/>
                    <a:gd name="T40" fmla="*/ 33 w 78"/>
                    <a:gd name="T41" fmla="*/ 12 h 33"/>
                    <a:gd name="T42" fmla="*/ 35 w 78"/>
                    <a:gd name="T43" fmla="*/ 17 h 33"/>
                    <a:gd name="T44" fmla="*/ 35 w 78"/>
                    <a:gd name="T45" fmla="*/ 19 h 33"/>
                    <a:gd name="T46" fmla="*/ 30 w 78"/>
                    <a:gd name="T47" fmla="*/ 17 h 33"/>
                    <a:gd name="T48" fmla="*/ 26 w 78"/>
                    <a:gd name="T49" fmla="*/ 17 h 33"/>
                    <a:gd name="T50" fmla="*/ 21 w 78"/>
                    <a:gd name="T51" fmla="*/ 19 h 33"/>
                    <a:gd name="T52" fmla="*/ 16 w 78"/>
                    <a:gd name="T53" fmla="*/ 19 h 33"/>
                    <a:gd name="T54" fmla="*/ 12 w 78"/>
                    <a:gd name="T55" fmla="*/ 19 h 33"/>
                    <a:gd name="T56" fmla="*/ 9 w 78"/>
                    <a:gd name="T57" fmla="*/ 19 h 33"/>
                    <a:gd name="T58" fmla="*/ 7 w 78"/>
                    <a:gd name="T59" fmla="*/ 19 h 33"/>
                    <a:gd name="T60" fmla="*/ 2 w 78"/>
                    <a:gd name="T61" fmla="*/ 19 h 33"/>
                    <a:gd name="T62" fmla="*/ 0 w 78"/>
                    <a:gd name="T63" fmla="*/ 19 h 33"/>
                    <a:gd name="T64" fmla="*/ 2 w 78"/>
                    <a:gd name="T65" fmla="*/ 21 h 33"/>
                    <a:gd name="T66" fmla="*/ 2 w 78"/>
                    <a:gd name="T67" fmla="*/ 24 h 33"/>
                    <a:gd name="T68" fmla="*/ 7 w 78"/>
                    <a:gd name="T69" fmla="*/ 24 h 33"/>
                    <a:gd name="T70" fmla="*/ 9 w 78"/>
                    <a:gd name="T71" fmla="*/ 24 h 33"/>
                    <a:gd name="T72" fmla="*/ 14 w 78"/>
                    <a:gd name="T73" fmla="*/ 26 h 33"/>
                    <a:gd name="T74" fmla="*/ 16 w 78"/>
                    <a:gd name="T75" fmla="*/ 29 h 33"/>
                    <a:gd name="T76" fmla="*/ 26 w 78"/>
                    <a:gd name="T77" fmla="*/ 26 h 33"/>
                    <a:gd name="T78" fmla="*/ 28 w 78"/>
                    <a:gd name="T79" fmla="*/ 26 h 33"/>
                    <a:gd name="T80" fmla="*/ 40 w 78"/>
                    <a:gd name="T81" fmla="*/ 31 h 33"/>
                    <a:gd name="T82" fmla="*/ 47 w 78"/>
                    <a:gd name="T83"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8" h="33">
                      <a:moveTo>
                        <a:pt x="47" y="33"/>
                      </a:moveTo>
                      <a:lnTo>
                        <a:pt x="47" y="33"/>
                      </a:lnTo>
                      <a:lnTo>
                        <a:pt x="54" y="33"/>
                      </a:lnTo>
                      <a:lnTo>
                        <a:pt x="54" y="33"/>
                      </a:lnTo>
                      <a:lnTo>
                        <a:pt x="56" y="33"/>
                      </a:lnTo>
                      <a:lnTo>
                        <a:pt x="59" y="33"/>
                      </a:lnTo>
                      <a:lnTo>
                        <a:pt x="64" y="33"/>
                      </a:lnTo>
                      <a:lnTo>
                        <a:pt x="64" y="31"/>
                      </a:lnTo>
                      <a:lnTo>
                        <a:pt x="66" y="33"/>
                      </a:lnTo>
                      <a:lnTo>
                        <a:pt x="71" y="29"/>
                      </a:lnTo>
                      <a:lnTo>
                        <a:pt x="73" y="29"/>
                      </a:lnTo>
                      <a:lnTo>
                        <a:pt x="75" y="26"/>
                      </a:lnTo>
                      <a:lnTo>
                        <a:pt x="73" y="24"/>
                      </a:lnTo>
                      <a:lnTo>
                        <a:pt x="75" y="24"/>
                      </a:lnTo>
                      <a:lnTo>
                        <a:pt x="75" y="21"/>
                      </a:lnTo>
                      <a:lnTo>
                        <a:pt x="73" y="19"/>
                      </a:lnTo>
                      <a:lnTo>
                        <a:pt x="73" y="17"/>
                      </a:lnTo>
                      <a:lnTo>
                        <a:pt x="78" y="17"/>
                      </a:lnTo>
                      <a:lnTo>
                        <a:pt x="78" y="14"/>
                      </a:lnTo>
                      <a:lnTo>
                        <a:pt x="78" y="14"/>
                      </a:lnTo>
                      <a:lnTo>
                        <a:pt x="78" y="7"/>
                      </a:lnTo>
                      <a:lnTo>
                        <a:pt x="78" y="5"/>
                      </a:lnTo>
                      <a:lnTo>
                        <a:pt x="73" y="3"/>
                      </a:lnTo>
                      <a:lnTo>
                        <a:pt x="71" y="3"/>
                      </a:lnTo>
                      <a:lnTo>
                        <a:pt x="68" y="3"/>
                      </a:lnTo>
                      <a:lnTo>
                        <a:pt x="66" y="3"/>
                      </a:lnTo>
                      <a:lnTo>
                        <a:pt x="64" y="0"/>
                      </a:lnTo>
                      <a:lnTo>
                        <a:pt x="59" y="0"/>
                      </a:lnTo>
                      <a:lnTo>
                        <a:pt x="56" y="0"/>
                      </a:lnTo>
                      <a:lnTo>
                        <a:pt x="56" y="3"/>
                      </a:lnTo>
                      <a:lnTo>
                        <a:pt x="54" y="3"/>
                      </a:lnTo>
                      <a:lnTo>
                        <a:pt x="54" y="5"/>
                      </a:lnTo>
                      <a:lnTo>
                        <a:pt x="52" y="5"/>
                      </a:lnTo>
                      <a:lnTo>
                        <a:pt x="49" y="5"/>
                      </a:lnTo>
                      <a:lnTo>
                        <a:pt x="45" y="3"/>
                      </a:lnTo>
                      <a:lnTo>
                        <a:pt x="42" y="3"/>
                      </a:lnTo>
                      <a:lnTo>
                        <a:pt x="42" y="5"/>
                      </a:lnTo>
                      <a:lnTo>
                        <a:pt x="42" y="7"/>
                      </a:lnTo>
                      <a:lnTo>
                        <a:pt x="40" y="7"/>
                      </a:lnTo>
                      <a:lnTo>
                        <a:pt x="40" y="10"/>
                      </a:lnTo>
                      <a:lnTo>
                        <a:pt x="38" y="10"/>
                      </a:lnTo>
                      <a:lnTo>
                        <a:pt x="33" y="12"/>
                      </a:lnTo>
                      <a:lnTo>
                        <a:pt x="33" y="14"/>
                      </a:lnTo>
                      <a:lnTo>
                        <a:pt x="35" y="17"/>
                      </a:lnTo>
                      <a:lnTo>
                        <a:pt x="38" y="17"/>
                      </a:lnTo>
                      <a:lnTo>
                        <a:pt x="35" y="19"/>
                      </a:lnTo>
                      <a:lnTo>
                        <a:pt x="33" y="17"/>
                      </a:lnTo>
                      <a:lnTo>
                        <a:pt x="30" y="17"/>
                      </a:lnTo>
                      <a:lnTo>
                        <a:pt x="28" y="17"/>
                      </a:lnTo>
                      <a:lnTo>
                        <a:pt x="26" y="17"/>
                      </a:lnTo>
                      <a:lnTo>
                        <a:pt x="23" y="19"/>
                      </a:lnTo>
                      <a:lnTo>
                        <a:pt x="21" y="19"/>
                      </a:lnTo>
                      <a:lnTo>
                        <a:pt x="19" y="19"/>
                      </a:lnTo>
                      <a:lnTo>
                        <a:pt x="16" y="19"/>
                      </a:lnTo>
                      <a:lnTo>
                        <a:pt x="16" y="19"/>
                      </a:lnTo>
                      <a:lnTo>
                        <a:pt x="12" y="19"/>
                      </a:lnTo>
                      <a:lnTo>
                        <a:pt x="9" y="19"/>
                      </a:lnTo>
                      <a:lnTo>
                        <a:pt x="9" y="19"/>
                      </a:lnTo>
                      <a:lnTo>
                        <a:pt x="9" y="21"/>
                      </a:lnTo>
                      <a:lnTo>
                        <a:pt x="7" y="19"/>
                      </a:lnTo>
                      <a:lnTo>
                        <a:pt x="4" y="19"/>
                      </a:lnTo>
                      <a:lnTo>
                        <a:pt x="2" y="19"/>
                      </a:lnTo>
                      <a:lnTo>
                        <a:pt x="0" y="19"/>
                      </a:lnTo>
                      <a:lnTo>
                        <a:pt x="0" y="19"/>
                      </a:lnTo>
                      <a:lnTo>
                        <a:pt x="2" y="21"/>
                      </a:lnTo>
                      <a:lnTo>
                        <a:pt x="2" y="21"/>
                      </a:lnTo>
                      <a:lnTo>
                        <a:pt x="2" y="24"/>
                      </a:lnTo>
                      <a:lnTo>
                        <a:pt x="2" y="24"/>
                      </a:lnTo>
                      <a:lnTo>
                        <a:pt x="4" y="26"/>
                      </a:lnTo>
                      <a:lnTo>
                        <a:pt x="7" y="24"/>
                      </a:lnTo>
                      <a:lnTo>
                        <a:pt x="9" y="26"/>
                      </a:lnTo>
                      <a:lnTo>
                        <a:pt x="9" y="24"/>
                      </a:lnTo>
                      <a:lnTo>
                        <a:pt x="12" y="24"/>
                      </a:lnTo>
                      <a:lnTo>
                        <a:pt x="14" y="26"/>
                      </a:lnTo>
                      <a:lnTo>
                        <a:pt x="14" y="26"/>
                      </a:lnTo>
                      <a:lnTo>
                        <a:pt x="16" y="29"/>
                      </a:lnTo>
                      <a:lnTo>
                        <a:pt x="23" y="26"/>
                      </a:lnTo>
                      <a:lnTo>
                        <a:pt x="26" y="26"/>
                      </a:lnTo>
                      <a:lnTo>
                        <a:pt x="28" y="26"/>
                      </a:lnTo>
                      <a:lnTo>
                        <a:pt x="28" y="26"/>
                      </a:lnTo>
                      <a:lnTo>
                        <a:pt x="35" y="31"/>
                      </a:lnTo>
                      <a:lnTo>
                        <a:pt x="40" y="31"/>
                      </a:lnTo>
                      <a:lnTo>
                        <a:pt x="45" y="31"/>
                      </a:lnTo>
                      <a:lnTo>
                        <a:pt x="47" y="33"/>
                      </a:lnTo>
                      <a:lnTo>
                        <a:pt x="47" y="33"/>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 name="Freeform 64">
                  <a:extLst>
                    <a:ext uri="{FF2B5EF4-FFF2-40B4-BE49-F238E27FC236}">
                      <a16:creationId xmlns:a16="http://schemas.microsoft.com/office/drawing/2014/main" id="{371A4719-C5D9-2249-80A9-CB78B10A1B02}"/>
                    </a:ext>
                  </a:extLst>
                </p:cNvPr>
                <p:cNvSpPr>
                  <a:spLocks/>
                </p:cNvSpPr>
                <p:nvPr/>
              </p:nvSpPr>
              <p:spPr bwMode="auto">
                <a:xfrm>
                  <a:off x="2794" y="1969"/>
                  <a:ext cx="104" cy="81"/>
                </a:xfrm>
                <a:custGeom>
                  <a:avLst/>
                  <a:gdLst>
                    <a:gd name="T0" fmla="*/ 64 w 104"/>
                    <a:gd name="T1" fmla="*/ 81 h 81"/>
                    <a:gd name="T2" fmla="*/ 66 w 104"/>
                    <a:gd name="T3" fmla="*/ 78 h 81"/>
                    <a:gd name="T4" fmla="*/ 71 w 104"/>
                    <a:gd name="T5" fmla="*/ 78 h 81"/>
                    <a:gd name="T6" fmla="*/ 73 w 104"/>
                    <a:gd name="T7" fmla="*/ 78 h 81"/>
                    <a:gd name="T8" fmla="*/ 78 w 104"/>
                    <a:gd name="T9" fmla="*/ 78 h 81"/>
                    <a:gd name="T10" fmla="*/ 80 w 104"/>
                    <a:gd name="T11" fmla="*/ 78 h 81"/>
                    <a:gd name="T12" fmla="*/ 90 w 104"/>
                    <a:gd name="T13" fmla="*/ 81 h 81"/>
                    <a:gd name="T14" fmla="*/ 92 w 104"/>
                    <a:gd name="T15" fmla="*/ 78 h 81"/>
                    <a:gd name="T16" fmla="*/ 99 w 104"/>
                    <a:gd name="T17" fmla="*/ 67 h 81"/>
                    <a:gd name="T18" fmla="*/ 101 w 104"/>
                    <a:gd name="T19" fmla="*/ 62 h 81"/>
                    <a:gd name="T20" fmla="*/ 104 w 104"/>
                    <a:gd name="T21" fmla="*/ 59 h 81"/>
                    <a:gd name="T22" fmla="*/ 101 w 104"/>
                    <a:gd name="T23" fmla="*/ 57 h 81"/>
                    <a:gd name="T24" fmla="*/ 101 w 104"/>
                    <a:gd name="T25" fmla="*/ 55 h 81"/>
                    <a:gd name="T26" fmla="*/ 99 w 104"/>
                    <a:gd name="T27" fmla="*/ 50 h 81"/>
                    <a:gd name="T28" fmla="*/ 99 w 104"/>
                    <a:gd name="T29" fmla="*/ 43 h 81"/>
                    <a:gd name="T30" fmla="*/ 94 w 104"/>
                    <a:gd name="T31" fmla="*/ 36 h 81"/>
                    <a:gd name="T32" fmla="*/ 99 w 104"/>
                    <a:gd name="T33" fmla="*/ 33 h 81"/>
                    <a:gd name="T34" fmla="*/ 97 w 104"/>
                    <a:gd name="T35" fmla="*/ 26 h 81"/>
                    <a:gd name="T36" fmla="*/ 94 w 104"/>
                    <a:gd name="T37" fmla="*/ 22 h 81"/>
                    <a:gd name="T38" fmla="*/ 92 w 104"/>
                    <a:gd name="T39" fmla="*/ 12 h 81"/>
                    <a:gd name="T40" fmla="*/ 90 w 104"/>
                    <a:gd name="T41" fmla="*/ 7 h 81"/>
                    <a:gd name="T42" fmla="*/ 87 w 104"/>
                    <a:gd name="T43" fmla="*/ 5 h 81"/>
                    <a:gd name="T44" fmla="*/ 56 w 104"/>
                    <a:gd name="T45" fmla="*/ 5 h 81"/>
                    <a:gd name="T46" fmla="*/ 52 w 104"/>
                    <a:gd name="T47" fmla="*/ 10 h 81"/>
                    <a:gd name="T48" fmla="*/ 47 w 104"/>
                    <a:gd name="T49" fmla="*/ 10 h 81"/>
                    <a:gd name="T50" fmla="*/ 54 w 104"/>
                    <a:gd name="T51" fmla="*/ 5 h 81"/>
                    <a:gd name="T52" fmla="*/ 52 w 104"/>
                    <a:gd name="T53" fmla="*/ 7 h 81"/>
                    <a:gd name="T54" fmla="*/ 42 w 104"/>
                    <a:gd name="T55" fmla="*/ 7 h 81"/>
                    <a:gd name="T56" fmla="*/ 42 w 104"/>
                    <a:gd name="T57" fmla="*/ 3 h 81"/>
                    <a:gd name="T58" fmla="*/ 45 w 104"/>
                    <a:gd name="T59" fmla="*/ 5 h 81"/>
                    <a:gd name="T60" fmla="*/ 42 w 104"/>
                    <a:gd name="T61" fmla="*/ 3 h 81"/>
                    <a:gd name="T62" fmla="*/ 33 w 104"/>
                    <a:gd name="T63" fmla="*/ 3 h 81"/>
                    <a:gd name="T64" fmla="*/ 26 w 104"/>
                    <a:gd name="T65" fmla="*/ 5 h 81"/>
                    <a:gd name="T66" fmla="*/ 21 w 104"/>
                    <a:gd name="T67" fmla="*/ 7 h 81"/>
                    <a:gd name="T68" fmla="*/ 19 w 104"/>
                    <a:gd name="T69" fmla="*/ 10 h 81"/>
                    <a:gd name="T70" fmla="*/ 9 w 104"/>
                    <a:gd name="T71" fmla="*/ 12 h 81"/>
                    <a:gd name="T72" fmla="*/ 4 w 104"/>
                    <a:gd name="T73" fmla="*/ 17 h 81"/>
                    <a:gd name="T74" fmla="*/ 2 w 104"/>
                    <a:gd name="T75" fmla="*/ 19 h 81"/>
                    <a:gd name="T76" fmla="*/ 2 w 104"/>
                    <a:gd name="T77" fmla="*/ 19 h 81"/>
                    <a:gd name="T78" fmla="*/ 2 w 104"/>
                    <a:gd name="T79" fmla="*/ 29 h 81"/>
                    <a:gd name="T80" fmla="*/ 0 w 104"/>
                    <a:gd name="T81" fmla="*/ 31 h 81"/>
                    <a:gd name="T82" fmla="*/ 2 w 104"/>
                    <a:gd name="T83" fmla="*/ 36 h 81"/>
                    <a:gd name="T84" fmla="*/ 4 w 104"/>
                    <a:gd name="T85" fmla="*/ 40 h 81"/>
                    <a:gd name="T86" fmla="*/ 4 w 104"/>
                    <a:gd name="T87" fmla="*/ 43 h 81"/>
                    <a:gd name="T88" fmla="*/ 9 w 104"/>
                    <a:gd name="T89" fmla="*/ 48 h 81"/>
                    <a:gd name="T90" fmla="*/ 9 w 104"/>
                    <a:gd name="T91" fmla="*/ 55 h 81"/>
                    <a:gd name="T92" fmla="*/ 9 w 104"/>
                    <a:gd name="T93" fmla="*/ 57 h 81"/>
                    <a:gd name="T94" fmla="*/ 11 w 104"/>
                    <a:gd name="T95" fmla="*/ 57 h 81"/>
                    <a:gd name="T96" fmla="*/ 19 w 104"/>
                    <a:gd name="T97" fmla="*/ 57 h 81"/>
                    <a:gd name="T98" fmla="*/ 21 w 104"/>
                    <a:gd name="T99" fmla="*/ 59 h 81"/>
                    <a:gd name="T100" fmla="*/ 23 w 104"/>
                    <a:gd name="T101" fmla="*/ 62 h 81"/>
                    <a:gd name="T102" fmla="*/ 23 w 104"/>
                    <a:gd name="T103" fmla="*/ 64 h 81"/>
                    <a:gd name="T104" fmla="*/ 23 w 104"/>
                    <a:gd name="T105" fmla="*/ 67 h 81"/>
                    <a:gd name="T106" fmla="*/ 26 w 104"/>
                    <a:gd name="T107" fmla="*/ 67 h 81"/>
                    <a:gd name="T108" fmla="*/ 26 w 104"/>
                    <a:gd name="T109" fmla="*/ 64 h 81"/>
                    <a:gd name="T110" fmla="*/ 33 w 104"/>
                    <a:gd name="T111" fmla="*/ 67 h 81"/>
                    <a:gd name="T112" fmla="*/ 35 w 104"/>
                    <a:gd name="T113" fmla="*/ 67 h 81"/>
                    <a:gd name="T114" fmla="*/ 42 w 104"/>
                    <a:gd name="T115" fmla="*/ 69 h 81"/>
                    <a:gd name="T116" fmla="*/ 52 w 104"/>
                    <a:gd name="T117" fmla="*/ 74 h 81"/>
                    <a:gd name="T118" fmla="*/ 56 w 104"/>
                    <a:gd name="T119" fmla="*/ 76 h 81"/>
                    <a:gd name="T120" fmla="*/ 59 w 104"/>
                    <a:gd name="T121" fmla="*/ 76 h 81"/>
                    <a:gd name="T122" fmla="*/ 61 w 104"/>
                    <a:gd name="T123"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4" h="81">
                      <a:moveTo>
                        <a:pt x="61" y="81"/>
                      </a:moveTo>
                      <a:lnTo>
                        <a:pt x="64" y="81"/>
                      </a:lnTo>
                      <a:lnTo>
                        <a:pt x="66" y="81"/>
                      </a:lnTo>
                      <a:lnTo>
                        <a:pt x="66" y="78"/>
                      </a:lnTo>
                      <a:lnTo>
                        <a:pt x="68" y="78"/>
                      </a:lnTo>
                      <a:lnTo>
                        <a:pt x="71" y="78"/>
                      </a:lnTo>
                      <a:lnTo>
                        <a:pt x="73" y="78"/>
                      </a:lnTo>
                      <a:lnTo>
                        <a:pt x="73" y="78"/>
                      </a:lnTo>
                      <a:lnTo>
                        <a:pt x="75" y="78"/>
                      </a:lnTo>
                      <a:lnTo>
                        <a:pt x="78" y="78"/>
                      </a:lnTo>
                      <a:lnTo>
                        <a:pt x="80" y="78"/>
                      </a:lnTo>
                      <a:lnTo>
                        <a:pt x="80" y="78"/>
                      </a:lnTo>
                      <a:lnTo>
                        <a:pt x="85" y="78"/>
                      </a:lnTo>
                      <a:lnTo>
                        <a:pt x="90" y="81"/>
                      </a:lnTo>
                      <a:lnTo>
                        <a:pt x="92" y="81"/>
                      </a:lnTo>
                      <a:lnTo>
                        <a:pt x="92" y="78"/>
                      </a:lnTo>
                      <a:lnTo>
                        <a:pt x="92" y="74"/>
                      </a:lnTo>
                      <a:lnTo>
                        <a:pt x="99" y="67"/>
                      </a:lnTo>
                      <a:lnTo>
                        <a:pt x="99" y="64"/>
                      </a:lnTo>
                      <a:lnTo>
                        <a:pt x="101" y="62"/>
                      </a:lnTo>
                      <a:lnTo>
                        <a:pt x="104" y="62"/>
                      </a:lnTo>
                      <a:lnTo>
                        <a:pt x="104" y="59"/>
                      </a:lnTo>
                      <a:lnTo>
                        <a:pt x="104" y="59"/>
                      </a:lnTo>
                      <a:lnTo>
                        <a:pt x="101" y="57"/>
                      </a:lnTo>
                      <a:lnTo>
                        <a:pt x="104" y="55"/>
                      </a:lnTo>
                      <a:lnTo>
                        <a:pt x="101" y="55"/>
                      </a:lnTo>
                      <a:lnTo>
                        <a:pt x="99" y="50"/>
                      </a:lnTo>
                      <a:lnTo>
                        <a:pt x="99" y="50"/>
                      </a:lnTo>
                      <a:lnTo>
                        <a:pt x="97" y="45"/>
                      </a:lnTo>
                      <a:lnTo>
                        <a:pt x="99" y="43"/>
                      </a:lnTo>
                      <a:lnTo>
                        <a:pt x="97" y="38"/>
                      </a:lnTo>
                      <a:lnTo>
                        <a:pt x="94" y="36"/>
                      </a:lnTo>
                      <a:lnTo>
                        <a:pt x="97" y="33"/>
                      </a:lnTo>
                      <a:lnTo>
                        <a:pt x="99" y="33"/>
                      </a:lnTo>
                      <a:lnTo>
                        <a:pt x="99" y="26"/>
                      </a:lnTo>
                      <a:lnTo>
                        <a:pt x="97" y="26"/>
                      </a:lnTo>
                      <a:lnTo>
                        <a:pt x="97" y="24"/>
                      </a:lnTo>
                      <a:lnTo>
                        <a:pt x="94" y="22"/>
                      </a:lnTo>
                      <a:lnTo>
                        <a:pt x="94" y="17"/>
                      </a:lnTo>
                      <a:lnTo>
                        <a:pt x="92" y="12"/>
                      </a:lnTo>
                      <a:lnTo>
                        <a:pt x="92" y="10"/>
                      </a:lnTo>
                      <a:lnTo>
                        <a:pt x="90" y="7"/>
                      </a:lnTo>
                      <a:lnTo>
                        <a:pt x="90" y="7"/>
                      </a:lnTo>
                      <a:lnTo>
                        <a:pt x="87" y="5"/>
                      </a:lnTo>
                      <a:lnTo>
                        <a:pt x="71" y="7"/>
                      </a:lnTo>
                      <a:lnTo>
                        <a:pt x="56" y="5"/>
                      </a:lnTo>
                      <a:lnTo>
                        <a:pt x="56" y="5"/>
                      </a:lnTo>
                      <a:lnTo>
                        <a:pt x="52" y="10"/>
                      </a:lnTo>
                      <a:lnTo>
                        <a:pt x="49" y="10"/>
                      </a:lnTo>
                      <a:lnTo>
                        <a:pt x="47" y="10"/>
                      </a:lnTo>
                      <a:lnTo>
                        <a:pt x="52" y="7"/>
                      </a:lnTo>
                      <a:lnTo>
                        <a:pt x="54" y="5"/>
                      </a:lnTo>
                      <a:lnTo>
                        <a:pt x="54" y="5"/>
                      </a:lnTo>
                      <a:lnTo>
                        <a:pt x="52" y="7"/>
                      </a:lnTo>
                      <a:lnTo>
                        <a:pt x="47" y="10"/>
                      </a:lnTo>
                      <a:lnTo>
                        <a:pt x="42" y="7"/>
                      </a:lnTo>
                      <a:lnTo>
                        <a:pt x="40" y="5"/>
                      </a:lnTo>
                      <a:lnTo>
                        <a:pt x="42" y="3"/>
                      </a:lnTo>
                      <a:lnTo>
                        <a:pt x="45" y="3"/>
                      </a:lnTo>
                      <a:lnTo>
                        <a:pt x="45" y="5"/>
                      </a:lnTo>
                      <a:lnTo>
                        <a:pt x="45" y="3"/>
                      </a:lnTo>
                      <a:lnTo>
                        <a:pt x="42" y="3"/>
                      </a:lnTo>
                      <a:lnTo>
                        <a:pt x="37" y="0"/>
                      </a:lnTo>
                      <a:lnTo>
                        <a:pt x="33" y="3"/>
                      </a:lnTo>
                      <a:lnTo>
                        <a:pt x="28" y="3"/>
                      </a:lnTo>
                      <a:lnTo>
                        <a:pt x="26" y="5"/>
                      </a:lnTo>
                      <a:lnTo>
                        <a:pt x="23" y="7"/>
                      </a:lnTo>
                      <a:lnTo>
                        <a:pt x="21" y="7"/>
                      </a:lnTo>
                      <a:lnTo>
                        <a:pt x="19" y="10"/>
                      </a:lnTo>
                      <a:lnTo>
                        <a:pt x="19" y="10"/>
                      </a:lnTo>
                      <a:lnTo>
                        <a:pt x="14" y="10"/>
                      </a:lnTo>
                      <a:lnTo>
                        <a:pt x="9" y="12"/>
                      </a:lnTo>
                      <a:lnTo>
                        <a:pt x="7" y="14"/>
                      </a:lnTo>
                      <a:lnTo>
                        <a:pt x="4" y="17"/>
                      </a:lnTo>
                      <a:lnTo>
                        <a:pt x="4" y="19"/>
                      </a:lnTo>
                      <a:lnTo>
                        <a:pt x="2" y="19"/>
                      </a:lnTo>
                      <a:lnTo>
                        <a:pt x="2" y="19"/>
                      </a:lnTo>
                      <a:lnTo>
                        <a:pt x="2" y="19"/>
                      </a:lnTo>
                      <a:lnTo>
                        <a:pt x="2" y="24"/>
                      </a:lnTo>
                      <a:lnTo>
                        <a:pt x="2" y="29"/>
                      </a:lnTo>
                      <a:lnTo>
                        <a:pt x="0" y="29"/>
                      </a:lnTo>
                      <a:lnTo>
                        <a:pt x="0" y="31"/>
                      </a:lnTo>
                      <a:lnTo>
                        <a:pt x="2" y="33"/>
                      </a:lnTo>
                      <a:lnTo>
                        <a:pt x="2" y="36"/>
                      </a:lnTo>
                      <a:lnTo>
                        <a:pt x="4" y="38"/>
                      </a:lnTo>
                      <a:lnTo>
                        <a:pt x="4" y="40"/>
                      </a:lnTo>
                      <a:lnTo>
                        <a:pt x="4" y="40"/>
                      </a:lnTo>
                      <a:lnTo>
                        <a:pt x="4" y="43"/>
                      </a:lnTo>
                      <a:lnTo>
                        <a:pt x="7" y="48"/>
                      </a:lnTo>
                      <a:lnTo>
                        <a:pt x="9" y="48"/>
                      </a:lnTo>
                      <a:lnTo>
                        <a:pt x="9" y="50"/>
                      </a:lnTo>
                      <a:lnTo>
                        <a:pt x="9" y="55"/>
                      </a:lnTo>
                      <a:lnTo>
                        <a:pt x="9" y="57"/>
                      </a:lnTo>
                      <a:lnTo>
                        <a:pt x="9" y="57"/>
                      </a:lnTo>
                      <a:lnTo>
                        <a:pt x="11" y="57"/>
                      </a:lnTo>
                      <a:lnTo>
                        <a:pt x="11" y="57"/>
                      </a:lnTo>
                      <a:lnTo>
                        <a:pt x="14" y="57"/>
                      </a:lnTo>
                      <a:lnTo>
                        <a:pt x="19" y="57"/>
                      </a:lnTo>
                      <a:lnTo>
                        <a:pt x="19" y="59"/>
                      </a:lnTo>
                      <a:lnTo>
                        <a:pt x="21" y="59"/>
                      </a:lnTo>
                      <a:lnTo>
                        <a:pt x="21" y="59"/>
                      </a:lnTo>
                      <a:lnTo>
                        <a:pt x="23" y="62"/>
                      </a:lnTo>
                      <a:lnTo>
                        <a:pt x="23" y="64"/>
                      </a:lnTo>
                      <a:lnTo>
                        <a:pt x="23" y="64"/>
                      </a:lnTo>
                      <a:lnTo>
                        <a:pt x="23" y="64"/>
                      </a:lnTo>
                      <a:lnTo>
                        <a:pt x="23" y="67"/>
                      </a:lnTo>
                      <a:lnTo>
                        <a:pt x="26" y="69"/>
                      </a:lnTo>
                      <a:lnTo>
                        <a:pt x="26" y="67"/>
                      </a:lnTo>
                      <a:lnTo>
                        <a:pt x="28" y="67"/>
                      </a:lnTo>
                      <a:lnTo>
                        <a:pt x="26" y="64"/>
                      </a:lnTo>
                      <a:lnTo>
                        <a:pt x="26" y="62"/>
                      </a:lnTo>
                      <a:lnTo>
                        <a:pt x="33" y="67"/>
                      </a:lnTo>
                      <a:lnTo>
                        <a:pt x="35" y="64"/>
                      </a:lnTo>
                      <a:lnTo>
                        <a:pt x="35" y="67"/>
                      </a:lnTo>
                      <a:lnTo>
                        <a:pt x="37" y="69"/>
                      </a:lnTo>
                      <a:lnTo>
                        <a:pt x="42" y="69"/>
                      </a:lnTo>
                      <a:lnTo>
                        <a:pt x="45" y="69"/>
                      </a:lnTo>
                      <a:lnTo>
                        <a:pt x="52" y="74"/>
                      </a:lnTo>
                      <a:lnTo>
                        <a:pt x="54" y="76"/>
                      </a:lnTo>
                      <a:lnTo>
                        <a:pt x="56" y="76"/>
                      </a:lnTo>
                      <a:lnTo>
                        <a:pt x="56" y="76"/>
                      </a:lnTo>
                      <a:lnTo>
                        <a:pt x="59" y="76"/>
                      </a:lnTo>
                      <a:lnTo>
                        <a:pt x="61" y="78"/>
                      </a:lnTo>
                      <a:lnTo>
                        <a:pt x="61" y="81"/>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 name="Freeform 65">
                  <a:extLst>
                    <a:ext uri="{FF2B5EF4-FFF2-40B4-BE49-F238E27FC236}">
                      <a16:creationId xmlns:a16="http://schemas.microsoft.com/office/drawing/2014/main" id="{0D4A8E99-A1C2-8BF6-188D-6BF644EE235A}"/>
                    </a:ext>
                  </a:extLst>
                </p:cNvPr>
                <p:cNvSpPr>
                  <a:spLocks/>
                </p:cNvSpPr>
                <p:nvPr/>
              </p:nvSpPr>
              <p:spPr bwMode="auto">
                <a:xfrm>
                  <a:off x="2772" y="2026"/>
                  <a:ext cx="83" cy="31"/>
                </a:xfrm>
                <a:custGeom>
                  <a:avLst/>
                  <a:gdLst>
                    <a:gd name="T0" fmla="*/ 31 w 83"/>
                    <a:gd name="T1" fmla="*/ 0 h 31"/>
                    <a:gd name="T2" fmla="*/ 33 w 83"/>
                    <a:gd name="T3" fmla="*/ 0 h 31"/>
                    <a:gd name="T4" fmla="*/ 41 w 83"/>
                    <a:gd name="T5" fmla="*/ 0 h 31"/>
                    <a:gd name="T6" fmla="*/ 43 w 83"/>
                    <a:gd name="T7" fmla="*/ 2 h 31"/>
                    <a:gd name="T8" fmla="*/ 45 w 83"/>
                    <a:gd name="T9" fmla="*/ 5 h 31"/>
                    <a:gd name="T10" fmla="*/ 45 w 83"/>
                    <a:gd name="T11" fmla="*/ 7 h 31"/>
                    <a:gd name="T12" fmla="*/ 45 w 83"/>
                    <a:gd name="T13" fmla="*/ 10 h 31"/>
                    <a:gd name="T14" fmla="*/ 48 w 83"/>
                    <a:gd name="T15" fmla="*/ 10 h 31"/>
                    <a:gd name="T16" fmla="*/ 48 w 83"/>
                    <a:gd name="T17" fmla="*/ 7 h 31"/>
                    <a:gd name="T18" fmla="*/ 55 w 83"/>
                    <a:gd name="T19" fmla="*/ 10 h 31"/>
                    <a:gd name="T20" fmla="*/ 57 w 83"/>
                    <a:gd name="T21" fmla="*/ 10 h 31"/>
                    <a:gd name="T22" fmla="*/ 64 w 83"/>
                    <a:gd name="T23" fmla="*/ 12 h 31"/>
                    <a:gd name="T24" fmla="*/ 74 w 83"/>
                    <a:gd name="T25" fmla="*/ 17 h 31"/>
                    <a:gd name="T26" fmla="*/ 78 w 83"/>
                    <a:gd name="T27" fmla="*/ 19 h 31"/>
                    <a:gd name="T28" fmla="*/ 81 w 83"/>
                    <a:gd name="T29" fmla="*/ 19 h 31"/>
                    <a:gd name="T30" fmla="*/ 83 w 83"/>
                    <a:gd name="T31" fmla="*/ 24 h 31"/>
                    <a:gd name="T32" fmla="*/ 76 w 83"/>
                    <a:gd name="T33" fmla="*/ 24 h 31"/>
                    <a:gd name="T34" fmla="*/ 71 w 83"/>
                    <a:gd name="T35" fmla="*/ 29 h 31"/>
                    <a:gd name="T36" fmla="*/ 62 w 83"/>
                    <a:gd name="T37" fmla="*/ 31 h 31"/>
                    <a:gd name="T38" fmla="*/ 57 w 83"/>
                    <a:gd name="T39" fmla="*/ 29 h 31"/>
                    <a:gd name="T40" fmla="*/ 50 w 83"/>
                    <a:gd name="T41" fmla="*/ 29 h 31"/>
                    <a:gd name="T42" fmla="*/ 45 w 83"/>
                    <a:gd name="T43" fmla="*/ 29 h 31"/>
                    <a:gd name="T44" fmla="*/ 41 w 83"/>
                    <a:gd name="T45" fmla="*/ 26 h 31"/>
                    <a:gd name="T46" fmla="*/ 33 w 83"/>
                    <a:gd name="T47" fmla="*/ 26 h 31"/>
                    <a:gd name="T48" fmla="*/ 31 w 83"/>
                    <a:gd name="T49" fmla="*/ 29 h 31"/>
                    <a:gd name="T50" fmla="*/ 29 w 83"/>
                    <a:gd name="T51" fmla="*/ 31 h 31"/>
                    <a:gd name="T52" fmla="*/ 22 w 83"/>
                    <a:gd name="T53" fmla="*/ 29 h 31"/>
                    <a:gd name="T54" fmla="*/ 19 w 83"/>
                    <a:gd name="T55" fmla="*/ 29 h 31"/>
                    <a:gd name="T56" fmla="*/ 12 w 83"/>
                    <a:gd name="T57" fmla="*/ 21 h 31"/>
                    <a:gd name="T58" fmla="*/ 7 w 83"/>
                    <a:gd name="T59" fmla="*/ 19 h 31"/>
                    <a:gd name="T60" fmla="*/ 7 w 83"/>
                    <a:gd name="T61" fmla="*/ 14 h 31"/>
                    <a:gd name="T62" fmla="*/ 0 w 83"/>
                    <a:gd name="T63" fmla="*/ 10 h 31"/>
                    <a:gd name="T64" fmla="*/ 3 w 83"/>
                    <a:gd name="T65" fmla="*/ 7 h 31"/>
                    <a:gd name="T66" fmla="*/ 5 w 83"/>
                    <a:gd name="T67" fmla="*/ 10 h 31"/>
                    <a:gd name="T68" fmla="*/ 10 w 83"/>
                    <a:gd name="T69" fmla="*/ 5 h 31"/>
                    <a:gd name="T70" fmla="*/ 15 w 83"/>
                    <a:gd name="T71" fmla="*/ 2 h 31"/>
                    <a:gd name="T72" fmla="*/ 19 w 83"/>
                    <a:gd name="T73" fmla="*/ 2 h 31"/>
                    <a:gd name="T74" fmla="*/ 24 w 83"/>
                    <a:gd name="T75" fmla="*/ 0 h 31"/>
                    <a:gd name="T76" fmla="*/ 26 w 83"/>
                    <a:gd name="T77" fmla="*/ 0 h 31"/>
                    <a:gd name="T78" fmla="*/ 31 w 83"/>
                    <a:gd name="T79"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3" h="31">
                      <a:moveTo>
                        <a:pt x="31" y="0"/>
                      </a:moveTo>
                      <a:lnTo>
                        <a:pt x="31" y="0"/>
                      </a:lnTo>
                      <a:lnTo>
                        <a:pt x="33" y="0"/>
                      </a:lnTo>
                      <a:lnTo>
                        <a:pt x="33" y="0"/>
                      </a:lnTo>
                      <a:lnTo>
                        <a:pt x="36" y="0"/>
                      </a:lnTo>
                      <a:lnTo>
                        <a:pt x="41" y="0"/>
                      </a:lnTo>
                      <a:lnTo>
                        <a:pt x="41" y="2"/>
                      </a:lnTo>
                      <a:lnTo>
                        <a:pt x="43" y="2"/>
                      </a:lnTo>
                      <a:lnTo>
                        <a:pt x="43" y="2"/>
                      </a:lnTo>
                      <a:lnTo>
                        <a:pt x="45" y="5"/>
                      </a:lnTo>
                      <a:lnTo>
                        <a:pt x="45" y="7"/>
                      </a:lnTo>
                      <a:lnTo>
                        <a:pt x="45" y="7"/>
                      </a:lnTo>
                      <a:lnTo>
                        <a:pt x="45" y="7"/>
                      </a:lnTo>
                      <a:lnTo>
                        <a:pt x="45" y="10"/>
                      </a:lnTo>
                      <a:lnTo>
                        <a:pt x="48" y="12"/>
                      </a:lnTo>
                      <a:lnTo>
                        <a:pt x="48" y="10"/>
                      </a:lnTo>
                      <a:lnTo>
                        <a:pt x="50" y="10"/>
                      </a:lnTo>
                      <a:lnTo>
                        <a:pt x="48" y="7"/>
                      </a:lnTo>
                      <a:lnTo>
                        <a:pt x="48" y="5"/>
                      </a:lnTo>
                      <a:lnTo>
                        <a:pt x="55" y="10"/>
                      </a:lnTo>
                      <a:lnTo>
                        <a:pt x="57" y="7"/>
                      </a:lnTo>
                      <a:lnTo>
                        <a:pt x="57" y="10"/>
                      </a:lnTo>
                      <a:lnTo>
                        <a:pt x="59" y="12"/>
                      </a:lnTo>
                      <a:lnTo>
                        <a:pt x="64" y="12"/>
                      </a:lnTo>
                      <a:lnTo>
                        <a:pt x="67" y="12"/>
                      </a:lnTo>
                      <a:lnTo>
                        <a:pt x="74" y="17"/>
                      </a:lnTo>
                      <a:lnTo>
                        <a:pt x="76" y="19"/>
                      </a:lnTo>
                      <a:lnTo>
                        <a:pt x="78" y="19"/>
                      </a:lnTo>
                      <a:lnTo>
                        <a:pt x="78" y="19"/>
                      </a:lnTo>
                      <a:lnTo>
                        <a:pt x="81" y="19"/>
                      </a:lnTo>
                      <a:lnTo>
                        <a:pt x="83" y="21"/>
                      </a:lnTo>
                      <a:lnTo>
                        <a:pt x="83" y="24"/>
                      </a:lnTo>
                      <a:lnTo>
                        <a:pt x="78" y="24"/>
                      </a:lnTo>
                      <a:lnTo>
                        <a:pt x="76" y="24"/>
                      </a:lnTo>
                      <a:lnTo>
                        <a:pt x="74" y="24"/>
                      </a:lnTo>
                      <a:lnTo>
                        <a:pt x="71" y="29"/>
                      </a:lnTo>
                      <a:lnTo>
                        <a:pt x="67" y="29"/>
                      </a:lnTo>
                      <a:lnTo>
                        <a:pt x="62" y="31"/>
                      </a:lnTo>
                      <a:lnTo>
                        <a:pt x="62" y="29"/>
                      </a:lnTo>
                      <a:lnTo>
                        <a:pt x="57" y="29"/>
                      </a:lnTo>
                      <a:lnTo>
                        <a:pt x="55" y="31"/>
                      </a:lnTo>
                      <a:lnTo>
                        <a:pt x="50" y="29"/>
                      </a:lnTo>
                      <a:lnTo>
                        <a:pt x="48" y="29"/>
                      </a:lnTo>
                      <a:lnTo>
                        <a:pt x="45" y="29"/>
                      </a:lnTo>
                      <a:lnTo>
                        <a:pt x="43" y="29"/>
                      </a:lnTo>
                      <a:lnTo>
                        <a:pt x="41" y="26"/>
                      </a:lnTo>
                      <a:lnTo>
                        <a:pt x="36" y="26"/>
                      </a:lnTo>
                      <a:lnTo>
                        <a:pt x="33" y="26"/>
                      </a:lnTo>
                      <a:lnTo>
                        <a:pt x="33" y="29"/>
                      </a:lnTo>
                      <a:lnTo>
                        <a:pt x="31" y="29"/>
                      </a:lnTo>
                      <a:lnTo>
                        <a:pt x="31" y="31"/>
                      </a:lnTo>
                      <a:lnTo>
                        <a:pt x="29" y="31"/>
                      </a:lnTo>
                      <a:lnTo>
                        <a:pt x="26" y="31"/>
                      </a:lnTo>
                      <a:lnTo>
                        <a:pt x="22" y="29"/>
                      </a:lnTo>
                      <a:lnTo>
                        <a:pt x="19" y="29"/>
                      </a:lnTo>
                      <a:lnTo>
                        <a:pt x="19" y="29"/>
                      </a:lnTo>
                      <a:lnTo>
                        <a:pt x="15" y="24"/>
                      </a:lnTo>
                      <a:lnTo>
                        <a:pt x="12" y="21"/>
                      </a:lnTo>
                      <a:lnTo>
                        <a:pt x="10" y="19"/>
                      </a:lnTo>
                      <a:lnTo>
                        <a:pt x="7" y="19"/>
                      </a:lnTo>
                      <a:lnTo>
                        <a:pt x="5" y="17"/>
                      </a:lnTo>
                      <a:lnTo>
                        <a:pt x="7" y="14"/>
                      </a:lnTo>
                      <a:lnTo>
                        <a:pt x="5" y="12"/>
                      </a:lnTo>
                      <a:lnTo>
                        <a:pt x="0" y="10"/>
                      </a:lnTo>
                      <a:lnTo>
                        <a:pt x="0" y="10"/>
                      </a:lnTo>
                      <a:lnTo>
                        <a:pt x="3" y="7"/>
                      </a:lnTo>
                      <a:lnTo>
                        <a:pt x="3" y="10"/>
                      </a:lnTo>
                      <a:lnTo>
                        <a:pt x="5" y="10"/>
                      </a:lnTo>
                      <a:lnTo>
                        <a:pt x="10" y="7"/>
                      </a:lnTo>
                      <a:lnTo>
                        <a:pt x="10" y="5"/>
                      </a:lnTo>
                      <a:lnTo>
                        <a:pt x="12" y="2"/>
                      </a:lnTo>
                      <a:lnTo>
                        <a:pt x="15" y="2"/>
                      </a:lnTo>
                      <a:lnTo>
                        <a:pt x="17" y="2"/>
                      </a:lnTo>
                      <a:lnTo>
                        <a:pt x="19" y="2"/>
                      </a:lnTo>
                      <a:lnTo>
                        <a:pt x="22" y="2"/>
                      </a:lnTo>
                      <a:lnTo>
                        <a:pt x="24" y="0"/>
                      </a:lnTo>
                      <a:lnTo>
                        <a:pt x="24" y="0"/>
                      </a:lnTo>
                      <a:lnTo>
                        <a:pt x="26" y="0"/>
                      </a:lnTo>
                      <a:lnTo>
                        <a:pt x="29" y="0"/>
                      </a:lnTo>
                      <a:lnTo>
                        <a:pt x="31" y="0"/>
                      </a:lnTo>
                      <a:lnTo>
                        <a:pt x="31" y="0"/>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 name="Freeform 66">
                  <a:extLst>
                    <a:ext uri="{FF2B5EF4-FFF2-40B4-BE49-F238E27FC236}">
                      <a16:creationId xmlns:a16="http://schemas.microsoft.com/office/drawing/2014/main" id="{D9C35C24-077C-ED7A-DF52-A5C67597B83B}"/>
                    </a:ext>
                  </a:extLst>
                </p:cNvPr>
                <p:cNvSpPr>
                  <a:spLocks/>
                </p:cNvSpPr>
                <p:nvPr/>
              </p:nvSpPr>
              <p:spPr bwMode="auto">
                <a:xfrm>
                  <a:off x="2708" y="1972"/>
                  <a:ext cx="95" cy="101"/>
                </a:xfrm>
                <a:custGeom>
                  <a:avLst/>
                  <a:gdLst>
                    <a:gd name="T0" fmla="*/ 36 w 95"/>
                    <a:gd name="T1" fmla="*/ 0 h 101"/>
                    <a:gd name="T2" fmla="*/ 41 w 95"/>
                    <a:gd name="T3" fmla="*/ 4 h 101"/>
                    <a:gd name="T4" fmla="*/ 43 w 95"/>
                    <a:gd name="T5" fmla="*/ 9 h 101"/>
                    <a:gd name="T6" fmla="*/ 48 w 95"/>
                    <a:gd name="T7" fmla="*/ 7 h 101"/>
                    <a:gd name="T8" fmla="*/ 53 w 95"/>
                    <a:gd name="T9" fmla="*/ 7 h 101"/>
                    <a:gd name="T10" fmla="*/ 48 w 95"/>
                    <a:gd name="T11" fmla="*/ 11 h 101"/>
                    <a:gd name="T12" fmla="*/ 55 w 95"/>
                    <a:gd name="T13" fmla="*/ 14 h 101"/>
                    <a:gd name="T14" fmla="*/ 64 w 95"/>
                    <a:gd name="T15" fmla="*/ 9 h 101"/>
                    <a:gd name="T16" fmla="*/ 67 w 95"/>
                    <a:gd name="T17" fmla="*/ 7 h 101"/>
                    <a:gd name="T18" fmla="*/ 67 w 95"/>
                    <a:gd name="T19" fmla="*/ 7 h 101"/>
                    <a:gd name="T20" fmla="*/ 71 w 95"/>
                    <a:gd name="T21" fmla="*/ 7 h 101"/>
                    <a:gd name="T22" fmla="*/ 79 w 95"/>
                    <a:gd name="T23" fmla="*/ 11 h 101"/>
                    <a:gd name="T24" fmla="*/ 83 w 95"/>
                    <a:gd name="T25" fmla="*/ 16 h 101"/>
                    <a:gd name="T26" fmla="*/ 88 w 95"/>
                    <a:gd name="T27" fmla="*/ 21 h 101"/>
                    <a:gd name="T28" fmla="*/ 88 w 95"/>
                    <a:gd name="T29" fmla="*/ 30 h 101"/>
                    <a:gd name="T30" fmla="*/ 90 w 95"/>
                    <a:gd name="T31" fmla="*/ 37 h 101"/>
                    <a:gd name="T32" fmla="*/ 95 w 95"/>
                    <a:gd name="T33" fmla="*/ 47 h 101"/>
                    <a:gd name="T34" fmla="*/ 90 w 95"/>
                    <a:gd name="T35" fmla="*/ 54 h 101"/>
                    <a:gd name="T36" fmla="*/ 83 w 95"/>
                    <a:gd name="T37" fmla="*/ 56 h 101"/>
                    <a:gd name="T38" fmla="*/ 74 w 95"/>
                    <a:gd name="T39" fmla="*/ 59 h 101"/>
                    <a:gd name="T40" fmla="*/ 67 w 95"/>
                    <a:gd name="T41" fmla="*/ 61 h 101"/>
                    <a:gd name="T42" fmla="*/ 71 w 95"/>
                    <a:gd name="T43" fmla="*/ 68 h 101"/>
                    <a:gd name="T44" fmla="*/ 76 w 95"/>
                    <a:gd name="T45" fmla="*/ 75 h 101"/>
                    <a:gd name="T46" fmla="*/ 83 w 95"/>
                    <a:gd name="T47" fmla="*/ 87 h 101"/>
                    <a:gd name="T48" fmla="*/ 74 w 95"/>
                    <a:gd name="T49" fmla="*/ 92 h 101"/>
                    <a:gd name="T50" fmla="*/ 76 w 95"/>
                    <a:gd name="T51" fmla="*/ 99 h 101"/>
                    <a:gd name="T52" fmla="*/ 67 w 95"/>
                    <a:gd name="T53" fmla="*/ 97 h 101"/>
                    <a:gd name="T54" fmla="*/ 57 w 95"/>
                    <a:gd name="T55" fmla="*/ 99 h 101"/>
                    <a:gd name="T56" fmla="*/ 50 w 95"/>
                    <a:gd name="T57" fmla="*/ 99 h 101"/>
                    <a:gd name="T58" fmla="*/ 43 w 95"/>
                    <a:gd name="T59" fmla="*/ 99 h 101"/>
                    <a:gd name="T60" fmla="*/ 36 w 95"/>
                    <a:gd name="T61" fmla="*/ 97 h 101"/>
                    <a:gd name="T62" fmla="*/ 31 w 95"/>
                    <a:gd name="T63" fmla="*/ 97 h 101"/>
                    <a:gd name="T64" fmla="*/ 26 w 95"/>
                    <a:gd name="T65" fmla="*/ 99 h 101"/>
                    <a:gd name="T66" fmla="*/ 22 w 95"/>
                    <a:gd name="T67" fmla="*/ 97 h 101"/>
                    <a:gd name="T68" fmla="*/ 22 w 95"/>
                    <a:gd name="T69" fmla="*/ 87 h 101"/>
                    <a:gd name="T70" fmla="*/ 24 w 95"/>
                    <a:gd name="T71" fmla="*/ 80 h 101"/>
                    <a:gd name="T72" fmla="*/ 15 w 95"/>
                    <a:gd name="T73" fmla="*/ 78 h 101"/>
                    <a:gd name="T74" fmla="*/ 10 w 95"/>
                    <a:gd name="T75" fmla="*/ 75 h 101"/>
                    <a:gd name="T76" fmla="*/ 8 w 95"/>
                    <a:gd name="T77" fmla="*/ 71 h 101"/>
                    <a:gd name="T78" fmla="*/ 3 w 95"/>
                    <a:gd name="T79" fmla="*/ 64 h 101"/>
                    <a:gd name="T80" fmla="*/ 0 w 95"/>
                    <a:gd name="T81" fmla="*/ 54 h 101"/>
                    <a:gd name="T82" fmla="*/ 3 w 95"/>
                    <a:gd name="T83" fmla="*/ 47 h 101"/>
                    <a:gd name="T84" fmla="*/ 10 w 95"/>
                    <a:gd name="T85" fmla="*/ 42 h 101"/>
                    <a:gd name="T86" fmla="*/ 12 w 95"/>
                    <a:gd name="T87" fmla="*/ 35 h 101"/>
                    <a:gd name="T88" fmla="*/ 10 w 95"/>
                    <a:gd name="T89" fmla="*/ 33 h 101"/>
                    <a:gd name="T90" fmla="*/ 15 w 95"/>
                    <a:gd name="T91" fmla="*/ 28 h 101"/>
                    <a:gd name="T92" fmla="*/ 17 w 95"/>
                    <a:gd name="T93" fmla="*/ 26 h 101"/>
                    <a:gd name="T94" fmla="*/ 12 w 95"/>
                    <a:gd name="T95" fmla="*/ 21 h 101"/>
                    <a:gd name="T96" fmla="*/ 22 w 95"/>
                    <a:gd name="T97" fmla="*/ 19 h 101"/>
                    <a:gd name="T98" fmla="*/ 24 w 95"/>
                    <a:gd name="T99" fmla="*/ 19 h 101"/>
                    <a:gd name="T100" fmla="*/ 26 w 95"/>
                    <a:gd name="T101" fmla="*/ 21 h 101"/>
                    <a:gd name="T102" fmla="*/ 26 w 95"/>
                    <a:gd name="T103" fmla="*/ 19 h 101"/>
                    <a:gd name="T104" fmla="*/ 34 w 95"/>
                    <a:gd name="T105" fmla="*/ 16 h 101"/>
                    <a:gd name="T106" fmla="*/ 36 w 95"/>
                    <a:gd name="T107" fmla="*/ 14 h 101"/>
                    <a:gd name="T108" fmla="*/ 31 w 95"/>
                    <a:gd name="T109" fmla="*/ 11 h 101"/>
                    <a:gd name="T110" fmla="*/ 29 w 95"/>
                    <a:gd name="T111" fmla="*/ 7 h 101"/>
                    <a:gd name="T112" fmla="*/ 29 w 95"/>
                    <a:gd name="T113" fmla="*/ 2 h 101"/>
                    <a:gd name="T114" fmla="*/ 26 w 95"/>
                    <a:gd name="T115"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5" h="101">
                      <a:moveTo>
                        <a:pt x="26" y="0"/>
                      </a:moveTo>
                      <a:lnTo>
                        <a:pt x="31" y="0"/>
                      </a:lnTo>
                      <a:lnTo>
                        <a:pt x="34" y="0"/>
                      </a:lnTo>
                      <a:lnTo>
                        <a:pt x="36" y="0"/>
                      </a:lnTo>
                      <a:lnTo>
                        <a:pt x="38" y="0"/>
                      </a:lnTo>
                      <a:lnTo>
                        <a:pt x="41" y="2"/>
                      </a:lnTo>
                      <a:lnTo>
                        <a:pt x="43" y="2"/>
                      </a:lnTo>
                      <a:lnTo>
                        <a:pt x="41" y="4"/>
                      </a:lnTo>
                      <a:lnTo>
                        <a:pt x="41" y="7"/>
                      </a:lnTo>
                      <a:lnTo>
                        <a:pt x="41" y="7"/>
                      </a:lnTo>
                      <a:lnTo>
                        <a:pt x="43" y="7"/>
                      </a:lnTo>
                      <a:lnTo>
                        <a:pt x="43" y="9"/>
                      </a:lnTo>
                      <a:lnTo>
                        <a:pt x="45" y="7"/>
                      </a:lnTo>
                      <a:lnTo>
                        <a:pt x="45" y="7"/>
                      </a:lnTo>
                      <a:lnTo>
                        <a:pt x="45" y="7"/>
                      </a:lnTo>
                      <a:lnTo>
                        <a:pt x="48" y="7"/>
                      </a:lnTo>
                      <a:lnTo>
                        <a:pt x="50" y="9"/>
                      </a:lnTo>
                      <a:lnTo>
                        <a:pt x="50" y="9"/>
                      </a:lnTo>
                      <a:lnTo>
                        <a:pt x="53" y="7"/>
                      </a:lnTo>
                      <a:lnTo>
                        <a:pt x="53" y="7"/>
                      </a:lnTo>
                      <a:lnTo>
                        <a:pt x="53" y="9"/>
                      </a:lnTo>
                      <a:lnTo>
                        <a:pt x="53" y="11"/>
                      </a:lnTo>
                      <a:lnTo>
                        <a:pt x="50" y="11"/>
                      </a:lnTo>
                      <a:lnTo>
                        <a:pt x="48" y="11"/>
                      </a:lnTo>
                      <a:lnTo>
                        <a:pt x="50" y="11"/>
                      </a:lnTo>
                      <a:lnTo>
                        <a:pt x="53" y="11"/>
                      </a:lnTo>
                      <a:lnTo>
                        <a:pt x="55" y="11"/>
                      </a:lnTo>
                      <a:lnTo>
                        <a:pt x="55" y="14"/>
                      </a:lnTo>
                      <a:lnTo>
                        <a:pt x="57" y="14"/>
                      </a:lnTo>
                      <a:lnTo>
                        <a:pt x="57" y="11"/>
                      </a:lnTo>
                      <a:lnTo>
                        <a:pt x="60" y="9"/>
                      </a:lnTo>
                      <a:lnTo>
                        <a:pt x="64" y="9"/>
                      </a:lnTo>
                      <a:lnTo>
                        <a:pt x="64" y="9"/>
                      </a:lnTo>
                      <a:lnTo>
                        <a:pt x="67" y="7"/>
                      </a:lnTo>
                      <a:lnTo>
                        <a:pt x="67" y="7"/>
                      </a:lnTo>
                      <a:lnTo>
                        <a:pt x="67" y="7"/>
                      </a:lnTo>
                      <a:lnTo>
                        <a:pt x="69" y="7"/>
                      </a:lnTo>
                      <a:lnTo>
                        <a:pt x="67" y="7"/>
                      </a:lnTo>
                      <a:lnTo>
                        <a:pt x="67" y="7"/>
                      </a:lnTo>
                      <a:lnTo>
                        <a:pt x="67" y="7"/>
                      </a:lnTo>
                      <a:lnTo>
                        <a:pt x="64" y="9"/>
                      </a:lnTo>
                      <a:lnTo>
                        <a:pt x="67" y="9"/>
                      </a:lnTo>
                      <a:lnTo>
                        <a:pt x="69" y="7"/>
                      </a:lnTo>
                      <a:lnTo>
                        <a:pt x="71" y="7"/>
                      </a:lnTo>
                      <a:lnTo>
                        <a:pt x="71" y="7"/>
                      </a:lnTo>
                      <a:lnTo>
                        <a:pt x="74" y="9"/>
                      </a:lnTo>
                      <a:lnTo>
                        <a:pt x="74" y="9"/>
                      </a:lnTo>
                      <a:lnTo>
                        <a:pt x="79" y="11"/>
                      </a:lnTo>
                      <a:lnTo>
                        <a:pt x="81" y="11"/>
                      </a:lnTo>
                      <a:lnTo>
                        <a:pt x="81" y="11"/>
                      </a:lnTo>
                      <a:lnTo>
                        <a:pt x="81" y="14"/>
                      </a:lnTo>
                      <a:lnTo>
                        <a:pt x="83" y="16"/>
                      </a:lnTo>
                      <a:lnTo>
                        <a:pt x="86" y="16"/>
                      </a:lnTo>
                      <a:lnTo>
                        <a:pt x="86" y="16"/>
                      </a:lnTo>
                      <a:lnTo>
                        <a:pt x="88" y="16"/>
                      </a:lnTo>
                      <a:lnTo>
                        <a:pt x="88" y="21"/>
                      </a:lnTo>
                      <a:lnTo>
                        <a:pt x="88" y="26"/>
                      </a:lnTo>
                      <a:lnTo>
                        <a:pt x="86" y="26"/>
                      </a:lnTo>
                      <a:lnTo>
                        <a:pt x="86" y="28"/>
                      </a:lnTo>
                      <a:lnTo>
                        <a:pt x="88" y="30"/>
                      </a:lnTo>
                      <a:lnTo>
                        <a:pt x="88" y="33"/>
                      </a:lnTo>
                      <a:lnTo>
                        <a:pt x="90" y="35"/>
                      </a:lnTo>
                      <a:lnTo>
                        <a:pt x="90" y="37"/>
                      </a:lnTo>
                      <a:lnTo>
                        <a:pt x="90" y="37"/>
                      </a:lnTo>
                      <a:lnTo>
                        <a:pt x="90" y="40"/>
                      </a:lnTo>
                      <a:lnTo>
                        <a:pt x="93" y="45"/>
                      </a:lnTo>
                      <a:lnTo>
                        <a:pt x="95" y="45"/>
                      </a:lnTo>
                      <a:lnTo>
                        <a:pt x="95" y="47"/>
                      </a:lnTo>
                      <a:lnTo>
                        <a:pt x="95" y="52"/>
                      </a:lnTo>
                      <a:lnTo>
                        <a:pt x="95" y="54"/>
                      </a:lnTo>
                      <a:lnTo>
                        <a:pt x="93" y="54"/>
                      </a:lnTo>
                      <a:lnTo>
                        <a:pt x="90" y="54"/>
                      </a:lnTo>
                      <a:lnTo>
                        <a:pt x="88" y="54"/>
                      </a:lnTo>
                      <a:lnTo>
                        <a:pt x="88" y="54"/>
                      </a:lnTo>
                      <a:lnTo>
                        <a:pt x="86" y="56"/>
                      </a:lnTo>
                      <a:lnTo>
                        <a:pt x="83" y="56"/>
                      </a:lnTo>
                      <a:lnTo>
                        <a:pt x="81" y="56"/>
                      </a:lnTo>
                      <a:lnTo>
                        <a:pt x="79" y="56"/>
                      </a:lnTo>
                      <a:lnTo>
                        <a:pt x="76" y="56"/>
                      </a:lnTo>
                      <a:lnTo>
                        <a:pt x="74" y="59"/>
                      </a:lnTo>
                      <a:lnTo>
                        <a:pt x="74" y="61"/>
                      </a:lnTo>
                      <a:lnTo>
                        <a:pt x="69" y="64"/>
                      </a:lnTo>
                      <a:lnTo>
                        <a:pt x="67" y="64"/>
                      </a:lnTo>
                      <a:lnTo>
                        <a:pt x="67" y="61"/>
                      </a:lnTo>
                      <a:lnTo>
                        <a:pt x="64" y="64"/>
                      </a:lnTo>
                      <a:lnTo>
                        <a:pt x="64" y="64"/>
                      </a:lnTo>
                      <a:lnTo>
                        <a:pt x="69" y="66"/>
                      </a:lnTo>
                      <a:lnTo>
                        <a:pt x="71" y="68"/>
                      </a:lnTo>
                      <a:lnTo>
                        <a:pt x="69" y="71"/>
                      </a:lnTo>
                      <a:lnTo>
                        <a:pt x="71" y="73"/>
                      </a:lnTo>
                      <a:lnTo>
                        <a:pt x="74" y="73"/>
                      </a:lnTo>
                      <a:lnTo>
                        <a:pt x="76" y="75"/>
                      </a:lnTo>
                      <a:lnTo>
                        <a:pt x="79" y="78"/>
                      </a:lnTo>
                      <a:lnTo>
                        <a:pt x="83" y="83"/>
                      </a:lnTo>
                      <a:lnTo>
                        <a:pt x="83" y="85"/>
                      </a:lnTo>
                      <a:lnTo>
                        <a:pt x="83" y="87"/>
                      </a:lnTo>
                      <a:lnTo>
                        <a:pt x="81" y="87"/>
                      </a:lnTo>
                      <a:lnTo>
                        <a:pt x="81" y="90"/>
                      </a:lnTo>
                      <a:lnTo>
                        <a:pt x="79" y="90"/>
                      </a:lnTo>
                      <a:lnTo>
                        <a:pt x="74" y="92"/>
                      </a:lnTo>
                      <a:lnTo>
                        <a:pt x="74" y="94"/>
                      </a:lnTo>
                      <a:lnTo>
                        <a:pt x="76" y="97"/>
                      </a:lnTo>
                      <a:lnTo>
                        <a:pt x="79" y="97"/>
                      </a:lnTo>
                      <a:lnTo>
                        <a:pt x="76" y="99"/>
                      </a:lnTo>
                      <a:lnTo>
                        <a:pt x="74" y="97"/>
                      </a:lnTo>
                      <a:lnTo>
                        <a:pt x="71" y="97"/>
                      </a:lnTo>
                      <a:lnTo>
                        <a:pt x="69" y="97"/>
                      </a:lnTo>
                      <a:lnTo>
                        <a:pt x="67" y="97"/>
                      </a:lnTo>
                      <a:lnTo>
                        <a:pt x="64" y="99"/>
                      </a:lnTo>
                      <a:lnTo>
                        <a:pt x="62" y="99"/>
                      </a:lnTo>
                      <a:lnTo>
                        <a:pt x="60" y="99"/>
                      </a:lnTo>
                      <a:lnTo>
                        <a:pt x="57" y="99"/>
                      </a:lnTo>
                      <a:lnTo>
                        <a:pt x="57" y="99"/>
                      </a:lnTo>
                      <a:lnTo>
                        <a:pt x="53" y="99"/>
                      </a:lnTo>
                      <a:lnTo>
                        <a:pt x="50" y="99"/>
                      </a:lnTo>
                      <a:lnTo>
                        <a:pt x="50" y="99"/>
                      </a:lnTo>
                      <a:lnTo>
                        <a:pt x="50" y="101"/>
                      </a:lnTo>
                      <a:lnTo>
                        <a:pt x="48" y="99"/>
                      </a:lnTo>
                      <a:lnTo>
                        <a:pt x="45" y="99"/>
                      </a:lnTo>
                      <a:lnTo>
                        <a:pt x="43" y="99"/>
                      </a:lnTo>
                      <a:lnTo>
                        <a:pt x="41" y="99"/>
                      </a:lnTo>
                      <a:lnTo>
                        <a:pt x="41" y="99"/>
                      </a:lnTo>
                      <a:lnTo>
                        <a:pt x="41" y="99"/>
                      </a:lnTo>
                      <a:lnTo>
                        <a:pt x="36" y="97"/>
                      </a:lnTo>
                      <a:lnTo>
                        <a:pt x="36" y="97"/>
                      </a:lnTo>
                      <a:lnTo>
                        <a:pt x="34" y="99"/>
                      </a:lnTo>
                      <a:lnTo>
                        <a:pt x="34" y="97"/>
                      </a:lnTo>
                      <a:lnTo>
                        <a:pt x="31" y="97"/>
                      </a:lnTo>
                      <a:lnTo>
                        <a:pt x="29" y="97"/>
                      </a:lnTo>
                      <a:lnTo>
                        <a:pt x="31" y="97"/>
                      </a:lnTo>
                      <a:lnTo>
                        <a:pt x="29" y="99"/>
                      </a:lnTo>
                      <a:lnTo>
                        <a:pt x="26" y="99"/>
                      </a:lnTo>
                      <a:lnTo>
                        <a:pt x="24" y="99"/>
                      </a:lnTo>
                      <a:lnTo>
                        <a:pt x="22" y="99"/>
                      </a:lnTo>
                      <a:lnTo>
                        <a:pt x="22" y="99"/>
                      </a:lnTo>
                      <a:lnTo>
                        <a:pt x="22" y="97"/>
                      </a:lnTo>
                      <a:lnTo>
                        <a:pt x="19" y="94"/>
                      </a:lnTo>
                      <a:lnTo>
                        <a:pt x="19" y="92"/>
                      </a:lnTo>
                      <a:lnTo>
                        <a:pt x="22" y="90"/>
                      </a:lnTo>
                      <a:lnTo>
                        <a:pt x="22" y="87"/>
                      </a:lnTo>
                      <a:lnTo>
                        <a:pt x="22" y="85"/>
                      </a:lnTo>
                      <a:lnTo>
                        <a:pt x="24" y="83"/>
                      </a:lnTo>
                      <a:lnTo>
                        <a:pt x="26" y="80"/>
                      </a:lnTo>
                      <a:lnTo>
                        <a:pt x="24" y="80"/>
                      </a:lnTo>
                      <a:lnTo>
                        <a:pt x="22" y="80"/>
                      </a:lnTo>
                      <a:lnTo>
                        <a:pt x="19" y="78"/>
                      </a:lnTo>
                      <a:lnTo>
                        <a:pt x="17" y="78"/>
                      </a:lnTo>
                      <a:lnTo>
                        <a:pt x="15" y="78"/>
                      </a:lnTo>
                      <a:lnTo>
                        <a:pt x="15" y="78"/>
                      </a:lnTo>
                      <a:lnTo>
                        <a:pt x="12" y="78"/>
                      </a:lnTo>
                      <a:lnTo>
                        <a:pt x="10" y="78"/>
                      </a:lnTo>
                      <a:lnTo>
                        <a:pt x="10" y="75"/>
                      </a:lnTo>
                      <a:lnTo>
                        <a:pt x="8" y="75"/>
                      </a:lnTo>
                      <a:lnTo>
                        <a:pt x="8" y="75"/>
                      </a:lnTo>
                      <a:lnTo>
                        <a:pt x="8" y="71"/>
                      </a:lnTo>
                      <a:lnTo>
                        <a:pt x="8" y="71"/>
                      </a:lnTo>
                      <a:lnTo>
                        <a:pt x="5" y="68"/>
                      </a:lnTo>
                      <a:lnTo>
                        <a:pt x="3" y="66"/>
                      </a:lnTo>
                      <a:lnTo>
                        <a:pt x="3" y="66"/>
                      </a:lnTo>
                      <a:lnTo>
                        <a:pt x="3" y="64"/>
                      </a:lnTo>
                      <a:lnTo>
                        <a:pt x="3" y="61"/>
                      </a:lnTo>
                      <a:lnTo>
                        <a:pt x="3" y="59"/>
                      </a:lnTo>
                      <a:lnTo>
                        <a:pt x="0" y="56"/>
                      </a:lnTo>
                      <a:lnTo>
                        <a:pt x="0" y="54"/>
                      </a:lnTo>
                      <a:lnTo>
                        <a:pt x="0" y="54"/>
                      </a:lnTo>
                      <a:lnTo>
                        <a:pt x="3" y="52"/>
                      </a:lnTo>
                      <a:lnTo>
                        <a:pt x="3" y="49"/>
                      </a:lnTo>
                      <a:lnTo>
                        <a:pt x="3" y="47"/>
                      </a:lnTo>
                      <a:lnTo>
                        <a:pt x="3" y="45"/>
                      </a:lnTo>
                      <a:lnTo>
                        <a:pt x="5" y="42"/>
                      </a:lnTo>
                      <a:lnTo>
                        <a:pt x="8" y="42"/>
                      </a:lnTo>
                      <a:lnTo>
                        <a:pt x="10" y="42"/>
                      </a:lnTo>
                      <a:lnTo>
                        <a:pt x="12" y="42"/>
                      </a:lnTo>
                      <a:lnTo>
                        <a:pt x="12" y="40"/>
                      </a:lnTo>
                      <a:lnTo>
                        <a:pt x="12" y="37"/>
                      </a:lnTo>
                      <a:lnTo>
                        <a:pt x="12" y="35"/>
                      </a:lnTo>
                      <a:lnTo>
                        <a:pt x="15" y="35"/>
                      </a:lnTo>
                      <a:lnTo>
                        <a:pt x="12" y="35"/>
                      </a:lnTo>
                      <a:lnTo>
                        <a:pt x="10" y="35"/>
                      </a:lnTo>
                      <a:lnTo>
                        <a:pt x="10" y="33"/>
                      </a:lnTo>
                      <a:lnTo>
                        <a:pt x="10" y="30"/>
                      </a:lnTo>
                      <a:lnTo>
                        <a:pt x="12" y="33"/>
                      </a:lnTo>
                      <a:lnTo>
                        <a:pt x="15" y="30"/>
                      </a:lnTo>
                      <a:lnTo>
                        <a:pt x="15" y="28"/>
                      </a:lnTo>
                      <a:lnTo>
                        <a:pt x="15" y="26"/>
                      </a:lnTo>
                      <a:lnTo>
                        <a:pt x="15" y="26"/>
                      </a:lnTo>
                      <a:lnTo>
                        <a:pt x="17" y="26"/>
                      </a:lnTo>
                      <a:lnTo>
                        <a:pt x="17" y="26"/>
                      </a:lnTo>
                      <a:lnTo>
                        <a:pt x="17" y="26"/>
                      </a:lnTo>
                      <a:lnTo>
                        <a:pt x="17" y="23"/>
                      </a:lnTo>
                      <a:lnTo>
                        <a:pt x="15" y="23"/>
                      </a:lnTo>
                      <a:lnTo>
                        <a:pt x="12" y="21"/>
                      </a:lnTo>
                      <a:lnTo>
                        <a:pt x="12" y="19"/>
                      </a:lnTo>
                      <a:lnTo>
                        <a:pt x="17" y="16"/>
                      </a:lnTo>
                      <a:lnTo>
                        <a:pt x="19" y="16"/>
                      </a:lnTo>
                      <a:lnTo>
                        <a:pt x="22" y="19"/>
                      </a:lnTo>
                      <a:lnTo>
                        <a:pt x="22" y="21"/>
                      </a:lnTo>
                      <a:lnTo>
                        <a:pt x="24" y="23"/>
                      </a:lnTo>
                      <a:lnTo>
                        <a:pt x="24" y="21"/>
                      </a:lnTo>
                      <a:lnTo>
                        <a:pt x="24" y="19"/>
                      </a:lnTo>
                      <a:lnTo>
                        <a:pt x="24" y="19"/>
                      </a:lnTo>
                      <a:lnTo>
                        <a:pt x="24" y="19"/>
                      </a:lnTo>
                      <a:lnTo>
                        <a:pt x="26" y="19"/>
                      </a:lnTo>
                      <a:lnTo>
                        <a:pt x="26" y="21"/>
                      </a:lnTo>
                      <a:lnTo>
                        <a:pt x="29" y="23"/>
                      </a:lnTo>
                      <a:lnTo>
                        <a:pt x="29" y="21"/>
                      </a:lnTo>
                      <a:lnTo>
                        <a:pt x="29" y="19"/>
                      </a:lnTo>
                      <a:lnTo>
                        <a:pt x="26" y="19"/>
                      </a:lnTo>
                      <a:lnTo>
                        <a:pt x="29" y="16"/>
                      </a:lnTo>
                      <a:lnTo>
                        <a:pt x="31" y="16"/>
                      </a:lnTo>
                      <a:lnTo>
                        <a:pt x="31" y="16"/>
                      </a:lnTo>
                      <a:lnTo>
                        <a:pt x="34" y="16"/>
                      </a:lnTo>
                      <a:lnTo>
                        <a:pt x="38" y="19"/>
                      </a:lnTo>
                      <a:lnTo>
                        <a:pt x="43" y="19"/>
                      </a:lnTo>
                      <a:lnTo>
                        <a:pt x="38" y="19"/>
                      </a:lnTo>
                      <a:lnTo>
                        <a:pt x="36" y="14"/>
                      </a:lnTo>
                      <a:lnTo>
                        <a:pt x="31" y="14"/>
                      </a:lnTo>
                      <a:lnTo>
                        <a:pt x="31" y="14"/>
                      </a:lnTo>
                      <a:lnTo>
                        <a:pt x="31" y="11"/>
                      </a:lnTo>
                      <a:lnTo>
                        <a:pt x="31" y="11"/>
                      </a:lnTo>
                      <a:lnTo>
                        <a:pt x="31" y="9"/>
                      </a:lnTo>
                      <a:lnTo>
                        <a:pt x="31" y="7"/>
                      </a:lnTo>
                      <a:lnTo>
                        <a:pt x="29" y="9"/>
                      </a:lnTo>
                      <a:lnTo>
                        <a:pt x="29" y="7"/>
                      </a:lnTo>
                      <a:lnTo>
                        <a:pt x="31" y="7"/>
                      </a:lnTo>
                      <a:lnTo>
                        <a:pt x="31" y="4"/>
                      </a:lnTo>
                      <a:lnTo>
                        <a:pt x="29" y="4"/>
                      </a:lnTo>
                      <a:lnTo>
                        <a:pt x="29" y="2"/>
                      </a:lnTo>
                      <a:lnTo>
                        <a:pt x="29" y="2"/>
                      </a:lnTo>
                      <a:lnTo>
                        <a:pt x="26" y="2"/>
                      </a:lnTo>
                      <a:lnTo>
                        <a:pt x="26" y="0"/>
                      </a:lnTo>
                      <a:lnTo>
                        <a:pt x="26" y="0"/>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 name="Freeform 67">
                  <a:extLst>
                    <a:ext uri="{FF2B5EF4-FFF2-40B4-BE49-F238E27FC236}">
                      <a16:creationId xmlns:a16="http://schemas.microsoft.com/office/drawing/2014/main" id="{41B703A7-8A23-5B6A-F7C9-81ED39A27198}"/>
                    </a:ext>
                  </a:extLst>
                </p:cNvPr>
                <p:cNvSpPr>
                  <a:spLocks/>
                </p:cNvSpPr>
                <p:nvPr/>
              </p:nvSpPr>
              <p:spPr bwMode="auto">
                <a:xfrm>
                  <a:off x="2749" y="2073"/>
                  <a:ext cx="2" cy="3"/>
                </a:xfrm>
                <a:custGeom>
                  <a:avLst/>
                  <a:gdLst>
                    <a:gd name="T0" fmla="*/ 2 w 2"/>
                    <a:gd name="T1" fmla="*/ 0 h 3"/>
                    <a:gd name="T2" fmla="*/ 2 w 2"/>
                    <a:gd name="T3" fmla="*/ 3 h 3"/>
                    <a:gd name="T4" fmla="*/ 2 w 2"/>
                    <a:gd name="T5" fmla="*/ 3 h 3"/>
                    <a:gd name="T6" fmla="*/ 2 w 2"/>
                    <a:gd name="T7" fmla="*/ 3 h 3"/>
                    <a:gd name="T8" fmla="*/ 0 w 2"/>
                    <a:gd name="T9" fmla="*/ 3 h 3"/>
                    <a:gd name="T10" fmla="*/ 2 w 2"/>
                    <a:gd name="T11" fmla="*/ 0 h 3"/>
                    <a:gd name="T12" fmla="*/ 2 w 2"/>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2" y="0"/>
                      </a:moveTo>
                      <a:lnTo>
                        <a:pt x="2" y="3"/>
                      </a:lnTo>
                      <a:lnTo>
                        <a:pt x="2" y="3"/>
                      </a:lnTo>
                      <a:lnTo>
                        <a:pt x="2" y="3"/>
                      </a:lnTo>
                      <a:lnTo>
                        <a:pt x="0" y="3"/>
                      </a:lnTo>
                      <a:lnTo>
                        <a:pt x="2" y="0"/>
                      </a:lnTo>
                      <a:lnTo>
                        <a:pt x="2" y="0"/>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 name="Freeform 68">
                  <a:extLst>
                    <a:ext uri="{FF2B5EF4-FFF2-40B4-BE49-F238E27FC236}">
                      <a16:creationId xmlns:a16="http://schemas.microsoft.com/office/drawing/2014/main" id="{3252A035-7BFB-7367-D915-2A47801979FB}"/>
                    </a:ext>
                  </a:extLst>
                </p:cNvPr>
                <p:cNvSpPr>
                  <a:spLocks/>
                </p:cNvSpPr>
                <p:nvPr/>
              </p:nvSpPr>
              <p:spPr bwMode="auto">
                <a:xfrm>
                  <a:off x="2711" y="2069"/>
                  <a:ext cx="52" cy="26"/>
                </a:xfrm>
                <a:custGeom>
                  <a:avLst/>
                  <a:gdLst>
                    <a:gd name="T0" fmla="*/ 21 w 52"/>
                    <a:gd name="T1" fmla="*/ 2 h 26"/>
                    <a:gd name="T2" fmla="*/ 26 w 52"/>
                    <a:gd name="T3" fmla="*/ 2 h 26"/>
                    <a:gd name="T4" fmla="*/ 26 w 52"/>
                    <a:gd name="T5" fmla="*/ 0 h 26"/>
                    <a:gd name="T6" fmla="*/ 31 w 52"/>
                    <a:gd name="T7" fmla="*/ 0 h 26"/>
                    <a:gd name="T8" fmla="*/ 33 w 52"/>
                    <a:gd name="T9" fmla="*/ 0 h 26"/>
                    <a:gd name="T10" fmla="*/ 38 w 52"/>
                    <a:gd name="T11" fmla="*/ 2 h 26"/>
                    <a:gd name="T12" fmla="*/ 40 w 52"/>
                    <a:gd name="T13" fmla="*/ 4 h 26"/>
                    <a:gd name="T14" fmla="*/ 40 w 52"/>
                    <a:gd name="T15" fmla="*/ 7 h 26"/>
                    <a:gd name="T16" fmla="*/ 45 w 52"/>
                    <a:gd name="T17" fmla="*/ 7 h 26"/>
                    <a:gd name="T18" fmla="*/ 47 w 52"/>
                    <a:gd name="T19" fmla="*/ 7 h 26"/>
                    <a:gd name="T20" fmla="*/ 52 w 52"/>
                    <a:gd name="T21" fmla="*/ 9 h 26"/>
                    <a:gd name="T22" fmla="*/ 50 w 52"/>
                    <a:gd name="T23" fmla="*/ 16 h 26"/>
                    <a:gd name="T24" fmla="*/ 45 w 52"/>
                    <a:gd name="T25" fmla="*/ 21 h 26"/>
                    <a:gd name="T26" fmla="*/ 40 w 52"/>
                    <a:gd name="T27" fmla="*/ 19 h 26"/>
                    <a:gd name="T28" fmla="*/ 35 w 52"/>
                    <a:gd name="T29" fmla="*/ 21 h 26"/>
                    <a:gd name="T30" fmla="*/ 33 w 52"/>
                    <a:gd name="T31" fmla="*/ 21 h 26"/>
                    <a:gd name="T32" fmla="*/ 31 w 52"/>
                    <a:gd name="T33" fmla="*/ 19 h 26"/>
                    <a:gd name="T34" fmla="*/ 23 w 52"/>
                    <a:gd name="T35" fmla="*/ 23 h 26"/>
                    <a:gd name="T36" fmla="*/ 16 w 52"/>
                    <a:gd name="T37" fmla="*/ 26 h 26"/>
                    <a:gd name="T38" fmla="*/ 12 w 52"/>
                    <a:gd name="T39" fmla="*/ 21 h 26"/>
                    <a:gd name="T40" fmla="*/ 12 w 52"/>
                    <a:gd name="T41" fmla="*/ 19 h 26"/>
                    <a:gd name="T42" fmla="*/ 7 w 52"/>
                    <a:gd name="T43" fmla="*/ 16 h 26"/>
                    <a:gd name="T44" fmla="*/ 5 w 52"/>
                    <a:gd name="T45" fmla="*/ 21 h 26"/>
                    <a:gd name="T46" fmla="*/ 0 w 52"/>
                    <a:gd name="T47" fmla="*/ 21 h 26"/>
                    <a:gd name="T48" fmla="*/ 2 w 52"/>
                    <a:gd name="T49" fmla="*/ 19 h 26"/>
                    <a:gd name="T50" fmla="*/ 2 w 52"/>
                    <a:gd name="T51" fmla="*/ 16 h 26"/>
                    <a:gd name="T52" fmla="*/ 7 w 52"/>
                    <a:gd name="T53" fmla="*/ 9 h 26"/>
                    <a:gd name="T54" fmla="*/ 9 w 52"/>
                    <a:gd name="T55" fmla="*/ 7 h 26"/>
                    <a:gd name="T56" fmla="*/ 12 w 52"/>
                    <a:gd name="T57" fmla="*/ 4 h 26"/>
                    <a:gd name="T58" fmla="*/ 12 w 52"/>
                    <a:gd name="T59" fmla="*/ 2 h 26"/>
                    <a:gd name="T60" fmla="*/ 14 w 52"/>
                    <a:gd name="T61" fmla="*/ 2 h 26"/>
                    <a:gd name="T62" fmla="*/ 19 w 52"/>
                    <a:gd name="T63" fmla="*/ 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2" h="26">
                      <a:moveTo>
                        <a:pt x="19" y="2"/>
                      </a:moveTo>
                      <a:lnTo>
                        <a:pt x="21" y="2"/>
                      </a:lnTo>
                      <a:lnTo>
                        <a:pt x="23" y="2"/>
                      </a:lnTo>
                      <a:lnTo>
                        <a:pt x="26" y="2"/>
                      </a:lnTo>
                      <a:lnTo>
                        <a:pt x="28" y="0"/>
                      </a:lnTo>
                      <a:lnTo>
                        <a:pt x="26" y="0"/>
                      </a:lnTo>
                      <a:lnTo>
                        <a:pt x="28" y="0"/>
                      </a:lnTo>
                      <a:lnTo>
                        <a:pt x="31" y="0"/>
                      </a:lnTo>
                      <a:lnTo>
                        <a:pt x="31" y="2"/>
                      </a:lnTo>
                      <a:lnTo>
                        <a:pt x="33" y="0"/>
                      </a:lnTo>
                      <a:lnTo>
                        <a:pt x="33" y="0"/>
                      </a:lnTo>
                      <a:lnTo>
                        <a:pt x="38" y="2"/>
                      </a:lnTo>
                      <a:lnTo>
                        <a:pt x="40" y="4"/>
                      </a:lnTo>
                      <a:lnTo>
                        <a:pt x="40" y="4"/>
                      </a:lnTo>
                      <a:lnTo>
                        <a:pt x="38" y="7"/>
                      </a:lnTo>
                      <a:lnTo>
                        <a:pt x="40" y="7"/>
                      </a:lnTo>
                      <a:lnTo>
                        <a:pt x="42" y="9"/>
                      </a:lnTo>
                      <a:lnTo>
                        <a:pt x="45" y="7"/>
                      </a:lnTo>
                      <a:lnTo>
                        <a:pt x="47" y="9"/>
                      </a:lnTo>
                      <a:lnTo>
                        <a:pt x="47" y="7"/>
                      </a:lnTo>
                      <a:lnTo>
                        <a:pt x="50" y="7"/>
                      </a:lnTo>
                      <a:lnTo>
                        <a:pt x="52" y="9"/>
                      </a:lnTo>
                      <a:lnTo>
                        <a:pt x="50" y="12"/>
                      </a:lnTo>
                      <a:lnTo>
                        <a:pt x="50" y="16"/>
                      </a:lnTo>
                      <a:lnTo>
                        <a:pt x="45" y="16"/>
                      </a:lnTo>
                      <a:lnTo>
                        <a:pt x="45" y="21"/>
                      </a:lnTo>
                      <a:lnTo>
                        <a:pt x="42" y="19"/>
                      </a:lnTo>
                      <a:lnTo>
                        <a:pt x="40" y="19"/>
                      </a:lnTo>
                      <a:lnTo>
                        <a:pt x="35" y="19"/>
                      </a:lnTo>
                      <a:lnTo>
                        <a:pt x="35" y="21"/>
                      </a:lnTo>
                      <a:lnTo>
                        <a:pt x="33" y="23"/>
                      </a:lnTo>
                      <a:lnTo>
                        <a:pt x="33" y="21"/>
                      </a:lnTo>
                      <a:lnTo>
                        <a:pt x="28" y="21"/>
                      </a:lnTo>
                      <a:lnTo>
                        <a:pt x="31" y="19"/>
                      </a:lnTo>
                      <a:lnTo>
                        <a:pt x="26" y="16"/>
                      </a:lnTo>
                      <a:lnTo>
                        <a:pt x="23" y="23"/>
                      </a:lnTo>
                      <a:lnTo>
                        <a:pt x="19" y="21"/>
                      </a:lnTo>
                      <a:lnTo>
                        <a:pt x="16" y="26"/>
                      </a:lnTo>
                      <a:lnTo>
                        <a:pt x="14" y="23"/>
                      </a:lnTo>
                      <a:lnTo>
                        <a:pt x="12" y="21"/>
                      </a:lnTo>
                      <a:lnTo>
                        <a:pt x="12" y="21"/>
                      </a:lnTo>
                      <a:lnTo>
                        <a:pt x="12" y="19"/>
                      </a:lnTo>
                      <a:lnTo>
                        <a:pt x="9" y="16"/>
                      </a:lnTo>
                      <a:lnTo>
                        <a:pt x="7" y="16"/>
                      </a:lnTo>
                      <a:lnTo>
                        <a:pt x="5" y="19"/>
                      </a:lnTo>
                      <a:lnTo>
                        <a:pt x="5" y="21"/>
                      </a:lnTo>
                      <a:lnTo>
                        <a:pt x="2" y="21"/>
                      </a:lnTo>
                      <a:lnTo>
                        <a:pt x="0" y="21"/>
                      </a:lnTo>
                      <a:lnTo>
                        <a:pt x="0" y="19"/>
                      </a:lnTo>
                      <a:lnTo>
                        <a:pt x="2" y="19"/>
                      </a:lnTo>
                      <a:lnTo>
                        <a:pt x="2" y="19"/>
                      </a:lnTo>
                      <a:lnTo>
                        <a:pt x="2" y="16"/>
                      </a:lnTo>
                      <a:lnTo>
                        <a:pt x="2" y="14"/>
                      </a:lnTo>
                      <a:lnTo>
                        <a:pt x="7" y="9"/>
                      </a:lnTo>
                      <a:lnTo>
                        <a:pt x="7" y="9"/>
                      </a:lnTo>
                      <a:lnTo>
                        <a:pt x="9" y="7"/>
                      </a:lnTo>
                      <a:lnTo>
                        <a:pt x="12" y="7"/>
                      </a:lnTo>
                      <a:lnTo>
                        <a:pt x="12" y="4"/>
                      </a:lnTo>
                      <a:lnTo>
                        <a:pt x="9" y="2"/>
                      </a:lnTo>
                      <a:lnTo>
                        <a:pt x="12" y="2"/>
                      </a:lnTo>
                      <a:lnTo>
                        <a:pt x="14" y="2"/>
                      </a:lnTo>
                      <a:lnTo>
                        <a:pt x="14" y="2"/>
                      </a:lnTo>
                      <a:lnTo>
                        <a:pt x="16" y="2"/>
                      </a:lnTo>
                      <a:lnTo>
                        <a:pt x="19" y="2"/>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 name="Freeform 69">
                  <a:extLst>
                    <a:ext uri="{FF2B5EF4-FFF2-40B4-BE49-F238E27FC236}">
                      <a16:creationId xmlns:a16="http://schemas.microsoft.com/office/drawing/2014/main" id="{129E33CC-A24F-2A75-DB67-75C584456139}"/>
                    </a:ext>
                  </a:extLst>
                </p:cNvPr>
                <p:cNvSpPr>
                  <a:spLocks noEditPoints="1"/>
                </p:cNvSpPr>
                <p:nvPr/>
              </p:nvSpPr>
              <p:spPr bwMode="auto">
                <a:xfrm>
                  <a:off x="2685" y="1993"/>
                  <a:ext cx="40" cy="33"/>
                </a:xfrm>
                <a:custGeom>
                  <a:avLst/>
                  <a:gdLst>
                    <a:gd name="T0" fmla="*/ 26 w 40"/>
                    <a:gd name="T1" fmla="*/ 31 h 33"/>
                    <a:gd name="T2" fmla="*/ 26 w 40"/>
                    <a:gd name="T3" fmla="*/ 26 h 33"/>
                    <a:gd name="T4" fmla="*/ 28 w 40"/>
                    <a:gd name="T5" fmla="*/ 21 h 33"/>
                    <a:gd name="T6" fmla="*/ 33 w 40"/>
                    <a:gd name="T7" fmla="*/ 21 h 33"/>
                    <a:gd name="T8" fmla="*/ 35 w 40"/>
                    <a:gd name="T9" fmla="*/ 19 h 33"/>
                    <a:gd name="T10" fmla="*/ 35 w 40"/>
                    <a:gd name="T11" fmla="*/ 14 h 33"/>
                    <a:gd name="T12" fmla="*/ 35 w 40"/>
                    <a:gd name="T13" fmla="*/ 14 h 33"/>
                    <a:gd name="T14" fmla="*/ 33 w 40"/>
                    <a:gd name="T15" fmla="*/ 12 h 33"/>
                    <a:gd name="T16" fmla="*/ 35 w 40"/>
                    <a:gd name="T17" fmla="*/ 12 h 33"/>
                    <a:gd name="T18" fmla="*/ 38 w 40"/>
                    <a:gd name="T19" fmla="*/ 7 h 33"/>
                    <a:gd name="T20" fmla="*/ 38 w 40"/>
                    <a:gd name="T21" fmla="*/ 5 h 33"/>
                    <a:gd name="T22" fmla="*/ 40 w 40"/>
                    <a:gd name="T23" fmla="*/ 5 h 33"/>
                    <a:gd name="T24" fmla="*/ 35 w 40"/>
                    <a:gd name="T25" fmla="*/ 2 h 33"/>
                    <a:gd name="T26" fmla="*/ 28 w 40"/>
                    <a:gd name="T27" fmla="*/ 0 h 33"/>
                    <a:gd name="T28" fmla="*/ 26 w 40"/>
                    <a:gd name="T29" fmla="*/ 2 h 33"/>
                    <a:gd name="T30" fmla="*/ 21 w 40"/>
                    <a:gd name="T31" fmla="*/ 2 h 33"/>
                    <a:gd name="T32" fmla="*/ 14 w 40"/>
                    <a:gd name="T33" fmla="*/ 7 h 33"/>
                    <a:gd name="T34" fmla="*/ 12 w 40"/>
                    <a:gd name="T35" fmla="*/ 7 h 33"/>
                    <a:gd name="T36" fmla="*/ 9 w 40"/>
                    <a:gd name="T37" fmla="*/ 12 h 33"/>
                    <a:gd name="T38" fmla="*/ 9 w 40"/>
                    <a:gd name="T39" fmla="*/ 16 h 33"/>
                    <a:gd name="T40" fmla="*/ 7 w 40"/>
                    <a:gd name="T41" fmla="*/ 19 h 33"/>
                    <a:gd name="T42" fmla="*/ 7 w 40"/>
                    <a:gd name="T43" fmla="*/ 21 h 33"/>
                    <a:gd name="T44" fmla="*/ 12 w 40"/>
                    <a:gd name="T45" fmla="*/ 24 h 33"/>
                    <a:gd name="T46" fmla="*/ 7 w 40"/>
                    <a:gd name="T47" fmla="*/ 26 h 33"/>
                    <a:gd name="T48" fmla="*/ 7 w 40"/>
                    <a:gd name="T49" fmla="*/ 26 h 33"/>
                    <a:gd name="T50" fmla="*/ 9 w 40"/>
                    <a:gd name="T51" fmla="*/ 28 h 33"/>
                    <a:gd name="T52" fmla="*/ 5 w 40"/>
                    <a:gd name="T53" fmla="*/ 26 h 33"/>
                    <a:gd name="T54" fmla="*/ 0 w 40"/>
                    <a:gd name="T55" fmla="*/ 26 h 33"/>
                    <a:gd name="T56" fmla="*/ 2 w 40"/>
                    <a:gd name="T57" fmla="*/ 26 h 33"/>
                    <a:gd name="T58" fmla="*/ 5 w 40"/>
                    <a:gd name="T59" fmla="*/ 28 h 33"/>
                    <a:gd name="T60" fmla="*/ 5 w 40"/>
                    <a:gd name="T61" fmla="*/ 28 h 33"/>
                    <a:gd name="T62" fmla="*/ 2 w 40"/>
                    <a:gd name="T63" fmla="*/ 28 h 33"/>
                    <a:gd name="T64" fmla="*/ 0 w 40"/>
                    <a:gd name="T65" fmla="*/ 28 h 33"/>
                    <a:gd name="T66" fmla="*/ 2 w 40"/>
                    <a:gd name="T67" fmla="*/ 31 h 33"/>
                    <a:gd name="T68" fmla="*/ 5 w 40"/>
                    <a:gd name="T69" fmla="*/ 31 h 33"/>
                    <a:gd name="T70" fmla="*/ 7 w 40"/>
                    <a:gd name="T71" fmla="*/ 31 h 33"/>
                    <a:gd name="T72" fmla="*/ 9 w 40"/>
                    <a:gd name="T73" fmla="*/ 28 h 33"/>
                    <a:gd name="T74" fmla="*/ 14 w 40"/>
                    <a:gd name="T75" fmla="*/ 28 h 33"/>
                    <a:gd name="T76" fmla="*/ 16 w 40"/>
                    <a:gd name="T77" fmla="*/ 28 h 33"/>
                    <a:gd name="T78" fmla="*/ 21 w 40"/>
                    <a:gd name="T79" fmla="*/ 31 h 33"/>
                    <a:gd name="T80" fmla="*/ 23 w 40"/>
                    <a:gd name="T81" fmla="*/ 33 h 33"/>
                    <a:gd name="T82" fmla="*/ 23 w 40"/>
                    <a:gd name="T83" fmla="*/ 33 h 33"/>
                    <a:gd name="T84" fmla="*/ 5 w 40"/>
                    <a:gd name="T85" fmla="*/ 24 h 33"/>
                    <a:gd name="T86" fmla="*/ 5 w 40"/>
                    <a:gd name="T87" fmla="*/ 26 h 33"/>
                    <a:gd name="T88" fmla="*/ 2 w 40"/>
                    <a:gd name="T89" fmla="*/ 24 h 33"/>
                    <a:gd name="T90" fmla="*/ 5 w 40"/>
                    <a:gd name="T91" fmla="*/ 24 h 33"/>
                    <a:gd name="T92" fmla="*/ 7 w 40"/>
                    <a:gd name="T93" fmla="*/ 24 h 33"/>
                    <a:gd name="T94" fmla="*/ 7 w 40"/>
                    <a:gd name="T95" fmla="*/ 24 h 33"/>
                    <a:gd name="T96" fmla="*/ 5 w 40"/>
                    <a:gd name="T97" fmla="*/ 24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0" h="33">
                      <a:moveTo>
                        <a:pt x="23" y="33"/>
                      </a:moveTo>
                      <a:lnTo>
                        <a:pt x="26" y="31"/>
                      </a:lnTo>
                      <a:lnTo>
                        <a:pt x="26" y="28"/>
                      </a:lnTo>
                      <a:lnTo>
                        <a:pt x="26" y="26"/>
                      </a:lnTo>
                      <a:lnTo>
                        <a:pt x="26" y="24"/>
                      </a:lnTo>
                      <a:lnTo>
                        <a:pt x="28" y="21"/>
                      </a:lnTo>
                      <a:lnTo>
                        <a:pt x="31" y="21"/>
                      </a:lnTo>
                      <a:lnTo>
                        <a:pt x="33" y="21"/>
                      </a:lnTo>
                      <a:lnTo>
                        <a:pt x="35" y="21"/>
                      </a:lnTo>
                      <a:lnTo>
                        <a:pt x="35" y="19"/>
                      </a:lnTo>
                      <a:lnTo>
                        <a:pt x="35" y="16"/>
                      </a:lnTo>
                      <a:lnTo>
                        <a:pt x="35" y="14"/>
                      </a:lnTo>
                      <a:lnTo>
                        <a:pt x="38" y="14"/>
                      </a:lnTo>
                      <a:lnTo>
                        <a:pt x="35" y="14"/>
                      </a:lnTo>
                      <a:lnTo>
                        <a:pt x="33" y="14"/>
                      </a:lnTo>
                      <a:lnTo>
                        <a:pt x="33" y="12"/>
                      </a:lnTo>
                      <a:lnTo>
                        <a:pt x="33" y="9"/>
                      </a:lnTo>
                      <a:lnTo>
                        <a:pt x="35" y="12"/>
                      </a:lnTo>
                      <a:lnTo>
                        <a:pt x="38" y="9"/>
                      </a:lnTo>
                      <a:lnTo>
                        <a:pt x="38" y="7"/>
                      </a:lnTo>
                      <a:lnTo>
                        <a:pt x="38" y="5"/>
                      </a:lnTo>
                      <a:lnTo>
                        <a:pt x="38" y="5"/>
                      </a:lnTo>
                      <a:lnTo>
                        <a:pt x="40" y="5"/>
                      </a:lnTo>
                      <a:lnTo>
                        <a:pt x="40" y="5"/>
                      </a:lnTo>
                      <a:lnTo>
                        <a:pt x="38" y="2"/>
                      </a:lnTo>
                      <a:lnTo>
                        <a:pt x="35" y="2"/>
                      </a:lnTo>
                      <a:lnTo>
                        <a:pt x="33" y="0"/>
                      </a:lnTo>
                      <a:lnTo>
                        <a:pt x="28" y="0"/>
                      </a:lnTo>
                      <a:lnTo>
                        <a:pt x="26" y="2"/>
                      </a:lnTo>
                      <a:lnTo>
                        <a:pt x="26" y="2"/>
                      </a:lnTo>
                      <a:lnTo>
                        <a:pt x="23" y="2"/>
                      </a:lnTo>
                      <a:lnTo>
                        <a:pt x="21" y="2"/>
                      </a:lnTo>
                      <a:lnTo>
                        <a:pt x="19" y="5"/>
                      </a:lnTo>
                      <a:lnTo>
                        <a:pt x="14" y="7"/>
                      </a:lnTo>
                      <a:lnTo>
                        <a:pt x="14" y="7"/>
                      </a:lnTo>
                      <a:lnTo>
                        <a:pt x="12" y="7"/>
                      </a:lnTo>
                      <a:lnTo>
                        <a:pt x="12" y="9"/>
                      </a:lnTo>
                      <a:lnTo>
                        <a:pt x="9" y="12"/>
                      </a:lnTo>
                      <a:lnTo>
                        <a:pt x="9" y="14"/>
                      </a:lnTo>
                      <a:lnTo>
                        <a:pt x="9" y="16"/>
                      </a:lnTo>
                      <a:lnTo>
                        <a:pt x="9" y="16"/>
                      </a:lnTo>
                      <a:lnTo>
                        <a:pt x="7" y="19"/>
                      </a:lnTo>
                      <a:lnTo>
                        <a:pt x="5" y="19"/>
                      </a:lnTo>
                      <a:lnTo>
                        <a:pt x="7" y="21"/>
                      </a:lnTo>
                      <a:lnTo>
                        <a:pt x="9" y="24"/>
                      </a:lnTo>
                      <a:lnTo>
                        <a:pt x="12" y="24"/>
                      </a:lnTo>
                      <a:lnTo>
                        <a:pt x="7" y="24"/>
                      </a:lnTo>
                      <a:lnTo>
                        <a:pt x="7" y="26"/>
                      </a:lnTo>
                      <a:lnTo>
                        <a:pt x="7" y="26"/>
                      </a:lnTo>
                      <a:lnTo>
                        <a:pt x="7" y="26"/>
                      </a:lnTo>
                      <a:lnTo>
                        <a:pt x="9" y="26"/>
                      </a:lnTo>
                      <a:lnTo>
                        <a:pt x="9" y="28"/>
                      </a:lnTo>
                      <a:lnTo>
                        <a:pt x="7" y="28"/>
                      </a:lnTo>
                      <a:lnTo>
                        <a:pt x="5" y="26"/>
                      </a:lnTo>
                      <a:lnTo>
                        <a:pt x="2" y="26"/>
                      </a:lnTo>
                      <a:lnTo>
                        <a:pt x="0" y="26"/>
                      </a:lnTo>
                      <a:lnTo>
                        <a:pt x="2" y="26"/>
                      </a:lnTo>
                      <a:lnTo>
                        <a:pt x="2" y="26"/>
                      </a:lnTo>
                      <a:lnTo>
                        <a:pt x="5" y="28"/>
                      </a:lnTo>
                      <a:lnTo>
                        <a:pt x="5" y="28"/>
                      </a:lnTo>
                      <a:lnTo>
                        <a:pt x="7" y="31"/>
                      </a:lnTo>
                      <a:lnTo>
                        <a:pt x="5" y="28"/>
                      </a:lnTo>
                      <a:lnTo>
                        <a:pt x="5" y="28"/>
                      </a:lnTo>
                      <a:lnTo>
                        <a:pt x="2" y="28"/>
                      </a:lnTo>
                      <a:lnTo>
                        <a:pt x="0" y="28"/>
                      </a:lnTo>
                      <a:lnTo>
                        <a:pt x="0" y="28"/>
                      </a:lnTo>
                      <a:lnTo>
                        <a:pt x="0" y="28"/>
                      </a:lnTo>
                      <a:lnTo>
                        <a:pt x="2" y="31"/>
                      </a:lnTo>
                      <a:lnTo>
                        <a:pt x="2" y="31"/>
                      </a:lnTo>
                      <a:lnTo>
                        <a:pt x="5" y="31"/>
                      </a:lnTo>
                      <a:lnTo>
                        <a:pt x="5" y="31"/>
                      </a:lnTo>
                      <a:lnTo>
                        <a:pt x="7" y="31"/>
                      </a:lnTo>
                      <a:lnTo>
                        <a:pt x="7" y="28"/>
                      </a:lnTo>
                      <a:lnTo>
                        <a:pt x="9" y="28"/>
                      </a:lnTo>
                      <a:lnTo>
                        <a:pt x="9" y="28"/>
                      </a:lnTo>
                      <a:lnTo>
                        <a:pt x="14" y="28"/>
                      </a:lnTo>
                      <a:lnTo>
                        <a:pt x="16" y="28"/>
                      </a:lnTo>
                      <a:lnTo>
                        <a:pt x="16" y="28"/>
                      </a:lnTo>
                      <a:lnTo>
                        <a:pt x="19" y="31"/>
                      </a:lnTo>
                      <a:lnTo>
                        <a:pt x="21" y="31"/>
                      </a:lnTo>
                      <a:lnTo>
                        <a:pt x="23" y="31"/>
                      </a:lnTo>
                      <a:lnTo>
                        <a:pt x="23" y="33"/>
                      </a:lnTo>
                      <a:lnTo>
                        <a:pt x="23" y="33"/>
                      </a:lnTo>
                      <a:lnTo>
                        <a:pt x="23" y="33"/>
                      </a:lnTo>
                      <a:close/>
                      <a:moveTo>
                        <a:pt x="2" y="24"/>
                      </a:moveTo>
                      <a:lnTo>
                        <a:pt x="5" y="24"/>
                      </a:lnTo>
                      <a:lnTo>
                        <a:pt x="5" y="26"/>
                      </a:lnTo>
                      <a:lnTo>
                        <a:pt x="5" y="26"/>
                      </a:lnTo>
                      <a:lnTo>
                        <a:pt x="5" y="24"/>
                      </a:lnTo>
                      <a:lnTo>
                        <a:pt x="2" y="24"/>
                      </a:lnTo>
                      <a:lnTo>
                        <a:pt x="2" y="24"/>
                      </a:lnTo>
                      <a:close/>
                      <a:moveTo>
                        <a:pt x="5" y="24"/>
                      </a:moveTo>
                      <a:lnTo>
                        <a:pt x="5" y="24"/>
                      </a:lnTo>
                      <a:lnTo>
                        <a:pt x="7" y="24"/>
                      </a:lnTo>
                      <a:lnTo>
                        <a:pt x="7" y="24"/>
                      </a:lnTo>
                      <a:lnTo>
                        <a:pt x="7" y="24"/>
                      </a:lnTo>
                      <a:lnTo>
                        <a:pt x="5" y="24"/>
                      </a:lnTo>
                      <a:lnTo>
                        <a:pt x="5" y="24"/>
                      </a:lnTo>
                      <a:lnTo>
                        <a:pt x="5" y="24"/>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 name="Freeform 70">
                  <a:extLst>
                    <a:ext uri="{FF2B5EF4-FFF2-40B4-BE49-F238E27FC236}">
                      <a16:creationId xmlns:a16="http://schemas.microsoft.com/office/drawing/2014/main" id="{5D8C106C-7E0B-E64E-5E24-588E9668A043}"/>
                    </a:ext>
                  </a:extLst>
                </p:cNvPr>
                <p:cNvSpPr>
                  <a:spLocks/>
                </p:cNvSpPr>
                <p:nvPr/>
              </p:nvSpPr>
              <p:spPr bwMode="auto">
                <a:xfrm>
                  <a:off x="2680" y="2021"/>
                  <a:ext cx="31" cy="24"/>
                </a:xfrm>
                <a:custGeom>
                  <a:avLst/>
                  <a:gdLst>
                    <a:gd name="T0" fmla="*/ 31 w 31"/>
                    <a:gd name="T1" fmla="*/ 17 h 24"/>
                    <a:gd name="T2" fmla="*/ 31 w 31"/>
                    <a:gd name="T3" fmla="*/ 15 h 24"/>
                    <a:gd name="T4" fmla="*/ 31 w 31"/>
                    <a:gd name="T5" fmla="*/ 12 h 24"/>
                    <a:gd name="T6" fmla="*/ 31 w 31"/>
                    <a:gd name="T7" fmla="*/ 10 h 24"/>
                    <a:gd name="T8" fmla="*/ 28 w 31"/>
                    <a:gd name="T9" fmla="*/ 7 h 24"/>
                    <a:gd name="T10" fmla="*/ 28 w 31"/>
                    <a:gd name="T11" fmla="*/ 5 h 24"/>
                    <a:gd name="T12" fmla="*/ 28 w 31"/>
                    <a:gd name="T13" fmla="*/ 5 h 24"/>
                    <a:gd name="T14" fmla="*/ 28 w 31"/>
                    <a:gd name="T15" fmla="*/ 3 h 24"/>
                    <a:gd name="T16" fmla="*/ 26 w 31"/>
                    <a:gd name="T17" fmla="*/ 3 h 24"/>
                    <a:gd name="T18" fmla="*/ 24 w 31"/>
                    <a:gd name="T19" fmla="*/ 3 h 24"/>
                    <a:gd name="T20" fmla="*/ 21 w 31"/>
                    <a:gd name="T21" fmla="*/ 0 h 24"/>
                    <a:gd name="T22" fmla="*/ 21 w 31"/>
                    <a:gd name="T23" fmla="*/ 0 h 24"/>
                    <a:gd name="T24" fmla="*/ 19 w 31"/>
                    <a:gd name="T25" fmla="*/ 0 h 24"/>
                    <a:gd name="T26" fmla="*/ 14 w 31"/>
                    <a:gd name="T27" fmla="*/ 0 h 24"/>
                    <a:gd name="T28" fmla="*/ 14 w 31"/>
                    <a:gd name="T29" fmla="*/ 0 h 24"/>
                    <a:gd name="T30" fmla="*/ 12 w 31"/>
                    <a:gd name="T31" fmla="*/ 0 h 24"/>
                    <a:gd name="T32" fmla="*/ 12 w 31"/>
                    <a:gd name="T33" fmla="*/ 3 h 24"/>
                    <a:gd name="T34" fmla="*/ 10 w 31"/>
                    <a:gd name="T35" fmla="*/ 3 h 24"/>
                    <a:gd name="T36" fmla="*/ 10 w 31"/>
                    <a:gd name="T37" fmla="*/ 3 h 24"/>
                    <a:gd name="T38" fmla="*/ 7 w 31"/>
                    <a:gd name="T39" fmla="*/ 3 h 24"/>
                    <a:gd name="T40" fmla="*/ 7 w 31"/>
                    <a:gd name="T41" fmla="*/ 3 h 24"/>
                    <a:gd name="T42" fmla="*/ 5 w 31"/>
                    <a:gd name="T43" fmla="*/ 0 h 24"/>
                    <a:gd name="T44" fmla="*/ 5 w 31"/>
                    <a:gd name="T45" fmla="*/ 0 h 24"/>
                    <a:gd name="T46" fmla="*/ 2 w 31"/>
                    <a:gd name="T47" fmla="*/ 3 h 24"/>
                    <a:gd name="T48" fmla="*/ 0 w 31"/>
                    <a:gd name="T49" fmla="*/ 5 h 24"/>
                    <a:gd name="T50" fmla="*/ 2 w 31"/>
                    <a:gd name="T51" fmla="*/ 5 h 24"/>
                    <a:gd name="T52" fmla="*/ 2 w 31"/>
                    <a:gd name="T53" fmla="*/ 10 h 24"/>
                    <a:gd name="T54" fmla="*/ 5 w 31"/>
                    <a:gd name="T55" fmla="*/ 10 h 24"/>
                    <a:gd name="T56" fmla="*/ 5 w 31"/>
                    <a:gd name="T57" fmla="*/ 12 h 24"/>
                    <a:gd name="T58" fmla="*/ 7 w 31"/>
                    <a:gd name="T59" fmla="*/ 15 h 24"/>
                    <a:gd name="T60" fmla="*/ 10 w 31"/>
                    <a:gd name="T61" fmla="*/ 15 h 24"/>
                    <a:gd name="T62" fmla="*/ 12 w 31"/>
                    <a:gd name="T63" fmla="*/ 15 h 24"/>
                    <a:gd name="T64" fmla="*/ 12 w 31"/>
                    <a:gd name="T65" fmla="*/ 15 h 24"/>
                    <a:gd name="T66" fmla="*/ 12 w 31"/>
                    <a:gd name="T67" fmla="*/ 17 h 24"/>
                    <a:gd name="T68" fmla="*/ 14 w 31"/>
                    <a:gd name="T69" fmla="*/ 19 h 24"/>
                    <a:gd name="T70" fmla="*/ 17 w 31"/>
                    <a:gd name="T71" fmla="*/ 19 h 24"/>
                    <a:gd name="T72" fmla="*/ 17 w 31"/>
                    <a:gd name="T73" fmla="*/ 19 h 24"/>
                    <a:gd name="T74" fmla="*/ 19 w 31"/>
                    <a:gd name="T75" fmla="*/ 19 h 24"/>
                    <a:gd name="T76" fmla="*/ 19 w 31"/>
                    <a:gd name="T77" fmla="*/ 19 h 24"/>
                    <a:gd name="T78" fmla="*/ 24 w 31"/>
                    <a:gd name="T79" fmla="*/ 22 h 24"/>
                    <a:gd name="T80" fmla="*/ 26 w 31"/>
                    <a:gd name="T81" fmla="*/ 22 h 24"/>
                    <a:gd name="T82" fmla="*/ 26 w 31"/>
                    <a:gd name="T83" fmla="*/ 24 h 24"/>
                    <a:gd name="T84" fmla="*/ 28 w 31"/>
                    <a:gd name="T85" fmla="*/ 24 h 24"/>
                    <a:gd name="T86" fmla="*/ 28 w 31"/>
                    <a:gd name="T87" fmla="*/ 24 h 24"/>
                    <a:gd name="T88" fmla="*/ 28 w 31"/>
                    <a:gd name="T89" fmla="*/ 22 h 24"/>
                    <a:gd name="T90" fmla="*/ 28 w 31"/>
                    <a:gd name="T91" fmla="*/ 22 h 24"/>
                    <a:gd name="T92" fmla="*/ 28 w 31"/>
                    <a:gd name="T93" fmla="*/ 19 h 24"/>
                    <a:gd name="T94" fmla="*/ 28 w 31"/>
                    <a:gd name="T95" fmla="*/ 19 h 24"/>
                    <a:gd name="T96" fmla="*/ 28 w 31"/>
                    <a:gd name="T97" fmla="*/ 17 h 24"/>
                    <a:gd name="T98" fmla="*/ 31 w 31"/>
                    <a:gd name="T99" fmla="*/ 17 h 24"/>
                    <a:gd name="T100" fmla="*/ 31 w 31"/>
                    <a:gd name="T101" fmla="*/ 17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1" h="24">
                      <a:moveTo>
                        <a:pt x="31" y="17"/>
                      </a:moveTo>
                      <a:lnTo>
                        <a:pt x="31" y="15"/>
                      </a:lnTo>
                      <a:lnTo>
                        <a:pt x="31" y="12"/>
                      </a:lnTo>
                      <a:lnTo>
                        <a:pt x="31" y="10"/>
                      </a:lnTo>
                      <a:lnTo>
                        <a:pt x="28" y="7"/>
                      </a:lnTo>
                      <a:lnTo>
                        <a:pt x="28" y="5"/>
                      </a:lnTo>
                      <a:lnTo>
                        <a:pt x="28" y="5"/>
                      </a:lnTo>
                      <a:lnTo>
                        <a:pt x="28" y="3"/>
                      </a:lnTo>
                      <a:lnTo>
                        <a:pt x="26" y="3"/>
                      </a:lnTo>
                      <a:lnTo>
                        <a:pt x="24" y="3"/>
                      </a:lnTo>
                      <a:lnTo>
                        <a:pt x="21" y="0"/>
                      </a:lnTo>
                      <a:lnTo>
                        <a:pt x="21" y="0"/>
                      </a:lnTo>
                      <a:lnTo>
                        <a:pt x="19" y="0"/>
                      </a:lnTo>
                      <a:lnTo>
                        <a:pt x="14" y="0"/>
                      </a:lnTo>
                      <a:lnTo>
                        <a:pt x="14" y="0"/>
                      </a:lnTo>
                      <a:lnTo>
                        <a:pt x="12" y="0"/>
                      </a:lnTo>
                      <a:lnTo>
                        <a:pt x="12" y="3"/>
                      </a:lnTo>
                      <a:lnTo>
                        <a:pt x="10" y="3"/>
                      </a:lnTo>
                      <a:lnTo>
                        <a:pt x="10" y="3"/>
                      </a:lnTo>
                      <a:lnTo>
                        <a:pt x="7" y="3"/>
                      </a:lnTo>
                      <a:lnTo>
                        <a:pt x="7" y="3"/>
                      </a:lnTo>
                      <a:lnTo>
                        <a:pt x="5" y="0"/>
                      </a:lnTo>
                      <a:lnTo>
                        <a:pt x="5" y="0"/>
                      </a:lnTo>
                      <a:lnTo>
                        <a:pt x="2" y="3"/>
                      </a:lnTo>
                      <a:lnTo>
                        <a:pt x="0" y="5"/>
                      </a:lnTo>
                      <a:lnTo>
                        <a:pt x="2" y="5"/>
                      </a:lnTo>
                      <a:lnTo>
                        <a:pt x="2" y="10"/>
                      </a:lnTo>
                      <a:lnTo>
                        <a:pt x="5" y="10"/>
                      </a:lnTo>
                      <a:lnTo>
                        <a:pt x="5" y="12"/>
                      </a:lnTo>
                      <a:lnTo>
                        <a:pt x="7" y="15"/>
                      </a:lnTo>
                      <a:lnTo>
                        <a:pt x="10" y="15"/>
                      </a:lnTo>
                      <a:lnTo>
                        <a:pt x="12" y="15"/>
                      </a:lnTo>
                      <a:lnTo>
                        <a:pt x="12" y="15"/>
                      </a:lnTo>
                      <a:lnTo>
                        <a:pt x="12" y="17"/>
                      </a:lnTo>
                      <a:lnTo>
                        <a:pt x="14" y="19"/>
                      </a:lnTo>
                      <a:lnTo>
                        <a:pt x="17" y="19"/>
                      </a:lnTo>
                      <a:lnTo>
                        <a:pt x="17" y="19"/>
                      </a:lnTo>
                      <a:lnTo>
                        <a:pt x="19" y="19"/>
                      </a:lnTo>
                      <a:lnTo>
                        <a:pt x="19" y="19"/>
                      </a:lnTo>
                      <a:lnTo>
                        <a:pt x="24" y="22"/>
                      </a:lnTo>
                      <a:lnTo>
                        <a:pt x="26" y="22"/>
                      </a:lnTo>
                      <a:lnTo>
                        <a:pt x="26" y="24"/>
                      </a:lnTo>
                      <a:lnTo>
                        <a:pt x="28" y="24"/>
                      </a:lnTo>
                      <a:lnTo>
                        <a:pt x="28" y="24"/>
                      </a:lnTo>
                      <a:lnTo>
                        <a:pt x="28" y="22"/>
                      </a:lnTo>
                      <a:lnTo>
                        <a:pt x="28" y="22"/>
                      </a:lnTo>
                      <a:lnTo>
                        <a:pt x="28" y="19"/>
                      </a:lnTo>
                      <a:lnTo>
                        <a:pt x="28" y="19"/>
                      </a:lnTo>
                      <a:lnTo>
                        <a:pt x="28" y="17"/>
                      </a:lnTo>
                      <a:lnTo>
                        <a:pt x="31" y="17"/>
                      </a:lnTo>
                      <a:lnTo>
                        <a:pt x="31" y="17"/>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 name="Freeform 71">
                  <a:extLst>
                    <a:ext uri="{FF2B5EF4-FFF2-40B4-BE49-F238E27FC236}">
                      <a16:creationId xmlns:a16="http://schemas.microsoft.com/office/drawing/2014/main" id="{B58590C9-D904-0F34-AC28-0F93F9870E3C}"/>
                    </a:ext>
                  </a:extLst>
                </p:cNvPr>
                <p:cNvSpPr>
                  <a:spLocks/>
                </p:cNvSpPr>
                <p:nvPr/>
              </p:nvSpPr>
              <p:spPr bwMode="auto">
                <a:xfrm>
                  <a:off x="2708" y="2038"/>
                  <a:ext cx="8" cy="9"/>
                </a:xfrm>
                <a:custGeom>
                  <a:avLst/>
                  <a:gdLst>
                    <a:gd name="T0" fmla="*/ 0 w 8"/>
                    <a:gd name="T1" fmla="*/ 7 h 9"/>
                    <a:gd name="T2" fmla="*/ 0 w 8"/>
                    <a:gd name="T3" fmla="*/ 5 h 9"/>
                    <a:gd name="T4" fmla="*/ 0 w 8"/>
                    <a:gd name="T5" fmla="*/ 5 h 9"/>
                    <a:gd name="T6" fmla="*/ 0 w 8"/>
                    <a:gd name="T7" fmla="*/ 2 h 9"/>
                    <a:gd name="T8" fmla="*/ 0 w 8"/>
                    <a:gd name="T9" fmla="*/ 2 h 9"/>
                    <a:gd name="T10" fmla="*/ 0 w 8"/>
                    <a:gd name="T11" fmla="*/ 0 h 9"/>
                    <a:gd name="T12" fmla="*/ 3 w 8"/>
                    <a:gd name="T13" fmla="*/ 0 h 9"/>
                    <a:gd name="T14" fmla="*/ 3 w 8"/>
                    <a:gd name="T15" fmla="*/ 0 h 9"/>
                    <a:gd name="T16" fmla="*/ 5 w 8"/>
                    <a:gd name="T17" fmla="*/ 2 h 9"/>
                    <a:gd name="T18" fmla="*/ 8 w 8"/>
                    <a:gd name="T19" fmla="*/ 5 h 9"/>
                    <a:gd name="T20" fmla="*/ 8 w 8"/>
                    <a:gd name="T21" fmla="*/ 5 h 9"/>
                    <a:gd name="T22" fmla="*/ 8 w 8"/>
                    <a:gd name="T23" fmla="*/ 9 h 9"/>
                    <a:gd name="T24" fmla="*/ 5 w 8"/>
                    <a:gd name="T25" fmla="*/ 9 h 9"/>
                    <a:gd name="T26" fmla="*/ 3 w 8"/>
                    <a:gd name="T27" fmla="*/ 9 h 9"/>
                    <a:gd name="T28" fmla="*/ 3 w 8"/>
                    <a:gd name="T29" fmla="*/ 7 h 9"/>
                    <a:gd name="T30" fmla="*/ 0 w 8"/>
                    <a:gd name="T31" fmla="*/ 7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9">
                      <a:moveTo>
                        <a:pt x="0" y="7"/>
                      </a:moveTo>
                      <a:lnTo>
                        <a:pt x="0" y="5"/>
                      </a:lnTo>
                      <a:lnTo>
                        <a:pt x="0" y="5"/>
                      </a:lnTo>
                      <a:lnTo>
                        <a:pt x="0" y="2"/>
                      </a:lnTo>
                      <a:lnTo>
                        <a:pt x="0" y="2"/>
                      </a:lnTo>
                      <a:lnTo>
                        <a:pt x="0" y="0"/>
                      </a:lnTo>
                      <a:lnTo>
                        <a:pt x="3" y="0"/>
                      </a:lnTo>
                      <a:lnTo>
                        <a:pt x="3" y="0"/>
                      </a:lnTo>
                      <a:lnTo>
                        <a:pt x="5" y="2"/>
                      </a:lnTo>
                      <a:lnTo>
                        <a:pt x="8" y="5"/>
                      </a:lnTo>
                      <a:lnTo>
                        <a:pt x="8" y="5"/>
                      </a:lnTo>
                      <a:lnTo>
                        <a:pt x="8" y="9"/>
                      </a:lnTo>
                      <a:lnTo>
                        <a:pt x="5" y="9"/>
                      </a:lnTo>
                      <a:lnTo>
                        <a:pt x="3" y="9"/>
                      </a:lnTo>
                      <a:lnTo>
                        <a:pt x="3" y="7"/>
                      </a:lnTo>
                      <a:lnTo>
                        <a:pt x="0" y="7"/>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 name="Freeform 72">
                  <a:extLst>
                    <a:ext uri="{FF2B5EF4-FFF2-40B4-BE49-F238E27FC236}">
                      <a16:creationId xmlns:a16="http://schemas.microsoft.com/office/drawing/2014/main" id="{CD23F7F3-86BB-A2E9-825E-484D75CE046E}"/>
                    </a:ext>
                  </a:extLst>
                </p:cNvPr>
                <p:cNvSpPr>
                  <a:spLocks noEditPoints="1"/>
                </p:cNvSpPr>
                <p:nvPr/>
              </p:nvSpPr>
              <p:spPr bwMode="auto">
                <a:xfrm>
                  <a:off x="2583" y="1855"/>
                  <a:ext cx="7" cy="17"/>
                </a:xfrm>
                <a:custGeom>
                  <a:avLst/>
                  <a:gdLst>
                    <a:gd name="T0" fmla="*/ 1 w 3"/>
                    <a:gd name="T1" fmla="*/ 6 h 7"/>
                    <a:gd name="T2" fmla="*/ 2 w 3"/>
                    <a:gd name="T3" fmla="*/ 7 h 7"/>
                    <a:gd name="T4" fmla="*/ 2 w 3"/>
                    <a:gd name="T5" fmla="*/ 6 h 7"/>
                    <a:gd name="T6" fmla="*/ 2 w 3"/>
                    <a:gd name="T7" fmla="*/ 6 h 7"/>
                    <a:gd name="T8" fmla="*/ 1 w 3"/>
                    <a:gd name="T9" fmla="*/ 6 h 7"/>
                    <a:gd name="T10" fmla="*/ 2 w 3"/>
                    <a:gd name="T11" fmla="*/ 4 h 7"/>
                    <a:gd name="T12" fmla="*/ 1 w 3"/>
                    <a:gd name="T13" fmla="*/ 4 h 7"/>
                    <a:gd name="T14" fmla="*/ 2 w 3"/>
                    <a:gd name="T15" fmla="*/ 5 h 7"/>
                    <a:gd name="T16" fmla="*/ 2 w 3"/>
                    <a:gd name="T17" fmla="*/ 4 h 7"/>
                    <a:gd name="T18" fmla="*/ 2 w 3"/>
                    <a:gd name="T19" fmla="*/ 4 h 7"/>
                    <a:gd name="T20" fmla="*/ 0 w 3"/>
                    <a:gd name="T21" fmla="*/ 1 h 7"/>
                    <a:gd name="T22" fmla="*/ 0 w 3"/>
                    <a:gd name="T23" fmla="*/ 2 h 7"/>
                    <a:gd name="T24" fmla="*/ 0 w 3"/>
                    <a:gd name="T25" fmla="*/ 2 h 7"/>
                    <a:gd name="T26" fmla="*/ 0 w 3"/>
                    <a:gd name="T27" fmla="*/ 1 h 7"/>
                    <a:gd name="T28" fmla="*/ 2 w 3"/>
                    <a:gd name="T29" fmla="*/ 0 h 7"/>
                    <a:gd name="T30" fmla="*/ 3 w 3"/>
                    <a:gd name="T31" fmla="*/ 1 h 7"/>
                    <a:gd name="T32" fmla="*/ 3 w 3"/>
                    <a:gd name="T33" fmla="*/ 0 h 7"/>
                    <a:gd name="T34" fmla="*/ 2 w 3"/>
                    <a:gd name="T35" fmla="*/ 0 h 7"/>
                    <a:gd name="T36" fmla="*/ 1 w 3"/>
                    <a:gd name="T37" fmla="*/ 0 h 7"/>
                    <a:gd name="T38" fmla="*/ 1 w 3"/>
                    <a:gd name="T39" fmla="*/ 0 h 7"/>
                    <a:gd name="T40" fmla="*/ 2 w 3"/>
                    <a:gd name="T41" fmla="*/ 1 h 7"/>
                    <a:gd name="T42" fmla="*/ 2 w 3"/>
                    <a:gd name="T43" fmla="*/ 1 h 7"/>
                    <a:gd name="T44" fmla="*/ 2 w 3"/>
                    <a:gd name="T45" fmla="*/ 1 h 7"/>
                    <a:gd name="T46" fmla="*/ 1 w 3"/>
                    <a:gd name="T47" fmla="*/ 0 h 7"/>
                    <a:gd name="T48" fmla="*/ 1 w 3"/>
                    <a:gd name="T49" fmla="*/ 0 h 7"/>
                    <a:gd name="T50" fmla="*/ 2 w 3"/>
                    <a:gd name="T51" fmla="*/ 2 h 7"/>
                    <a:gd name="T52" fmla="*/ 3 w 3"/>
                    <a:gd name="T53" fmla="*/ 3 h 7"/>
                    <a:gd name="T54" fmla="*/ 2 w 3"/>
                    <a:gd name="T55" fmla="*/ 3 h 7"/>
                    <a:gd name="T56" fmla="*/ 1 w 3"/>
                    <a:gd name="T57" fmla="*/ 2 h 7"/>
                    <a:gd name="T58" fmla="*/ 0 w 3"/>
                    <a:gd name="T59" fmla="*/ 1 h 7"/>
                    <a:gd name="T60" fmla="*/ 1 w 3"/>
                    <a:gd name="T61"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 h="7">
                      <a:moveTo>
                        <a:pt x="1" y="6"/>
                      </a:moveTo>
                      <a:cubicBezTo>
                        <a:pt x="2" y="7"/>
                        <a:pt x="2" y="7"/>
                        <a:pt x="2" y="7"/>
                      </a:cubicBezTo>
                      <a:cubicBezTo>
                        <a:pt x="2" y="6"/>
                        <a:pt x="2" y="6"/>
                        <a:pt x="2" y="6"/>
                      </a:cubicBezTo>
                      <a:cubicBezTo>
                        <a:pt x="2" y="6"/>
                        <a:pt x="2" y="6"/>
                        <a:pt x="2" y="6"/>
                      </a:cubicBezTo>
                      <a:cubicBezTo>
                        <a:pt x="1" y="6"/>
                        <a:pt x="1" y="6"/>
                        <a:pt x="1" y="6"/>
                      </a:cubicBezTo>
                      <a:close/>
                      <a:moveTo>
                        <a:pt x="2" y="4"/>
                      </a:moveTo>
                      <a:cubicBezTo>
                        <a:pt x="1" y="4"/>
                        <a:pt x="1" y="4"/>
                        <a:pt x="1" y="4"/>
                      </a:cubicBezTo>
                      <a:cubicBezTo>
                        <a:pt x="2" y="5"/>
                        <a:pt x="2" y="5"/>
                        <a:pt x="2" y="5"/>
                      </a:cubicBezTo>
                      <a:cubicBezTo>
                        <a:pt x="2" y="4"/>
                        <a:pt x="2" y="4"/>
                        <a:pt x="2" y="4"/>
                      </a:cubicBezTo>
                      <a:cubicBezTo>
                        <a:pt x="2" y="4"/>
                        <a:pt x="2" y="4"/>
                        <a:pt x="2" y="4"/>
                      </a:cubicBezTo>
                      <a:close/>
                      <a:moveTo>
                        <a:pt x="0" y="1"/>
                      </a:moveTo>
                      <a:cubicBezTo>
                        <a:pt x="0" y="2"/>
                        <a:pt x="0" y="2"/>
                        <a:pt x="0" y="2"/>
                      </a:cubicBezTo>
                      <a:cubicBezTo>
                        <a:pt x="0" y="2"/>
                        <a:pt x="0" y="2"/>
                        <a:pt x="0" y="2"/>
                      </a:cubicBezTo>
                      <a:cubicBezTo>
                        <a:pt x="0" y="1"/>
                        <a:pt x="0" y="1"/>
                        <a:pt x="0" y="1"/>
                      </a:cubicBezTo>
                      <a:close/>
                      <a:moveTo>
                        <a:pt x="2" y="0"/>
                      </a:moveTo>
                      <a:cubicBezTo>
                        <a:pt x="3" y="1"/>
                        <a:pt x="3" y="1"/>
                        <a:pt x="3" y="1"/>
                      </a:cubicBezTo>
                      <a:cubicBezTo>
                        <a:pt x="3" y="0"/>
                        <a:pt x="3" y="0"/>
                        <a:pt x="3" y="0"/>
                      </a:cubicBezTo>
                      <a:cubicBezTo>
                        <a:pt x="2" y="0"/>
                        <a:pt x="2" y="0"/>
                        <a:pt x="2" y="0"/>
                      </a:cubicBezTo>
                      <a:close/>
                      <a:moveTo>
                        <a:pt x="1" y="0"/>
                      </a:moveTo>
                      <a:cubicBezTo>
                        <a:pt x="1" y="0"/>
                        <a:pt x="1" y="0"/>
                        <a:pt x="1" y="0"/>
                      </a:cubicBezTo>
                      <a:cubicBezTo>
                        <a:pt x="2" y="1"/>
                        <a:pt x="2" y="1"/>
                        <a:pt x="2" y="1"/>
                      </a:cubicBezTo>
                      <a:cubicBezTo>
                        <a:pt x="2" y="1"/>
                        <a:pt x="2" y="1"/>
                        <a:pt x="2" y="1"/>
                      </a:cubicBezTo>
                      <a:cubicBezTo>
                        <a:pt x="2" y="1"/>
                        <a:pt x="2" y="1"/>
                        <a:pt x="2" y="1"/>
                      </a:cubicBezTo>
                      <a:cubicBezTo>
                        <a:pt x="1" y="0"/>
                        <a:pt x="1" y="0"/>
                        <a:pt x="1" y="0"/>
                      </a:cubicBezTo>
                      <a:close/>
                      <a:moveTo>
                        <a:pt x="1" y="0"/>
                      </a:moveTo>
                      <a:cubicBezTo>
                        <a:pt x="2" y="2"/>
                        <a:pt x="2" y="2"/>
                        <a:pt x="2" y="2"/>
                      </a:cubicBezTo>
                      <a:cubicBezTo>
                        <a:pt x="3" y="3"/>
                        <a:pt x="3" y="3"/>
                        <a:pt x="3" y="3"/>
                      </a:cubicBezTo>
                      <a:cubicBezTo>
                        <a:pt x="2" y="3"/>
                        <a:pt x="2" y="3"/>
                        <a:pt x="2" y="3"/>
                      </a:cubicBezTo>
                      <a:cubicBezTo>
                        <a:pt x="1" y="2"/>
                        <a:pt x="1" y="2"/>
                        <a:pt x="1" y="2"/>
                      </a:cubicBezTo>
                      <a:cubicBezTo>
                        <a:pt x="0" y="1"/>
                        <a:pt x="0" y="1"/>
                        <a:pt x="0" y="1"/>
                      </a:cubicBezTo>
                      <a:lnTo>
                        <a:pt x="1" y="0"/>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 name="Freeform 73">
                  <a:extLst>
                    <a:ext uri="{FF2B5EF4-FFF2-40B4-BE49-F238E27FC236}">
                      <a16:creationId xmlns:a16="http://schemas.microsoft.com/office/drawing/2014/main" id="{00E2DD9C-D947-A25B-C8C5-491CDA085CA7}"/>
                    </a:ext>
                  </a:extLst>
                </p:cNvPr>
                <p:cNvSpPr>
                  <a:spLocks/>
                </p:cNvSpPr>
                <p:nvPr/>
              </p:nvSpPr>
              <p:spPr bwMode="auto">
                <a:xfrm>
                  <a:off x="2548" y="1964"/>
                  <a:ext cx="45" cy="55"/>
                </a:xfrm>
                <a:custGeom>
                  <a:avLst/>
                  <a:gdLst>
                    <a:gd name="T0" fmla="*/ 18 w 45"/>
                    <a:gd name="T1" fmla="*/ 53 h 55"/>
                    <a:gd name="T2" fmla="*/ 21 w 45"/>
                    <a:gd name="T3" fmla="*/ 50 h 55"/>
                    <a:gd name="T4" fmla="*/ 26 w 45"/>
                    <a:gd name="T5" fmla="*/ 48 h 55"/>
                    <a:gd name="T6" fmla="*/ 33 w 45"/>
                    <a:gd name="T7" fmla="*/ 45 h 55"/>
                    <a:gd name="T8" fmla="*/ 37 w 45"/>
                    <a:gd name="T9" fmla="*/ 45 h 55"/>
                    <a:gd name="T10" fmla="*/ 40 w 45"/>
                    <a:gd name="T11" fmla="*/ 43 h 55"/>
                    <a:gd name="T12" fmla="*/ 42 w 45"/>
                    <a:gd name="T13" fmla="*/ 38 h 55"/>
                    <a:gd name="T14" fmla="*/ 42 w 45"/>
                    <a:gd name="T15" fmla="*/ 31 h 55"/>
                    <a:gd name="T16" fmla="*/ 45 w 45"/>
                    <a:gd name="T17" fmla="*/ 27 h 55"/>
                    <a:gd name="T18" fmla="*/ 40 w 45"/>
                    <a:gd name="T19" fmla="*/ 22 h 55"/>
                    <a:gd name="T20" fmla="*/ 40 w 45"/>
                    <a:gd name="T21" fmla="*/ 19 h 55"/>
                    <a:gd name="T22" fmla="*/ 33 w 45"/>
                    <a:gd name="T23" fmla="*/ 12 h 55"/>
                    <a:gd name="T24" fmla="*/ 30 w 45"/>
                    <a:gd name="T25" fmla="*/ 17 h 55"/>
                    <a:gd name="T26" fmla="*/ 30 w 45"/>
                    <a:gd name="T27" fmla="*/ 8 h 55"/>
                    <a:gd name="T28" fmla="*/ 33 w 45"/>
                    <a:gd name="T29" fmla="*/ 5 h 55"/>
                    <a:gd name="T30" fmla="*/ 37 w 45"/>
                    <a:gd name="T31" fmla="*/ 3 h 55"/>
                    <a:gd name="T32" fmla="*/ 33 w 45"/>
                    <a:gd name="T33" fmla="*/ 0 h 55"/>
                    <a:gd name="T34" fmla="*/ 30 w 45"/>
                    <a:gd name="T35" fmla="*/ 5 h 55"/>
                    <a:gd name="T36" fmla="*/ 30 w 45"/>
                    <a:gd name="T37" fmla="*/ 0 h 55"/>
                    <a:gd name="T38" fmla="*/ 28 w 45"/>
                    <a:gd name="T39" fmla="*/ 3 h 55"/>
                    <a:gd name="T40" fmla="*/ 23 w 45"/>
                    <a:gd name="T41" fmla="*/ 5 h 55"/>
                    <a:gd name="T42" fmla="*/ 23 w 45"/>
                    <a:gd name="T43" fmla="*/ 8 h 55"/>
                    <a:gd name="T44" fmla="*/ 21 w 45"/>
                    <a:gd name="T45" fmla="*/ 8 h 55"/>
                    <a:gd name="T46" fmla="*/ 21 w 45"/>
                    <a:gd name="T47" fmla="*/ 10 h 55"/>
                    <a:gd name="T48" fmla="*/ 26 w 45"/>
                    <a:gd name="T49" fmla="*/ 10 h 55"/>
                    <a:gd name="T50" fmla="*/ 21 w 45"/>
                    <a:gd name="T51" fmla="*/ 15 h 55"/>
                    <a:gd name="T52" fmla="*/ 14 w 45"/>
                    <a:gd name="T53" fmla="*/ 17 h 55"/>
                    <a:gd name="T54" fmla="*/ 9 w 45"/>
                    <a:gd name="T55" fmla="*/ 15 h 55"/>
                    <a:gd name="T56" fmla="*/ 7 w 45"/>
                    <a:gd name="T57" fmla="*/ 15 h 55"/>
                    <a:gd name="T58" fmla="*/ 7 w 45"/>
                    <a:gd name="T59" fmla="*/ 19 h 55"/>
                    <a:gd name="T60" fmla="*/ 4 w 45"/>
                    <a:gd name="T61" fmla="*/ 17 h 55"/>
                    <a:gd name="T62" fmla="*/ 9 w 45"/>
                    <a:gd name="T63" fmla="*/ 22 h 55"/>
                    <a:gd name="T64" fmla="*/ 7 w 45"/>
                    <a:gd name="T65" fmla="*/ 24 h 55"/>
                    <a:gd name="T66" fmla="*/ 4 w 45"/>
                    <a:gd name="T67" fmla="*/ 27 h 55"/>
                    <a:gd name="T68" fmla="*/ 7 w 45"/>
                    <a:gd name="T69" fmla="*/ 27 h 55"/>
                    <a:gd name="T70" fmla="*/ 16 w 45"/>
                    <a:gd name="T71" fmla="*/ 29 h 55"/>
                    <a:gd name="T72" fmla="*/ 9 w 45"/>
                    <a:gd name="T73" fmla="*/ 34 h 55"/>
                    <a:gd name="T74" fmla="*/ 4 w 45"/>
                    <a:gd name="T75" fmla="*/ 38 h 55"/>
                    <a:gd name="T76" fmla="*/ 9 w 45"/>
                    <a:gd name="T77" fmla="*/ 38 h 55"/>
                    <a:gd name="T78" fmla="*/ 14 w 45"/>
                    <a:gd name="T79" fmla="*/ 38 h 55"/>
                    <a:gd name="T80" fmla="*/ 9 w 45"/>
                    <a:gd name="T81" fmla="*/ 38 h 55"/>
                    <a:gd name="T82" fmla="*/ 7 w 45"/>
                    <a:gd name="T83" fmla="*/ 43 h 55"/>
                    <a:gd name="T84" fmla="*/ 4 w 45"/>
                    <a:gd name="T85" fmla="*/ 43 h 55"/>
                    <a:gd name="T86" fmla="*/ 2 w 45"/>
                    <a:gd name="T87" fmla="*/ 43 h 55"/>
                    <a:gd name="T88" fmla="*/ 7 w 45"/>
                    <a:gd name="T89" fmla="*/ 45 h 55"/>
                    <a:gd name="T90" fmla="*/ 0 w 45"/>
                    <a:gd name="T91" fmla="*/ 48 h 55"/>
                    <a:gd name="T92" fmla="*/ 7 w 45"/>
                    <a:gd name="T93" fmla="*/ 48 h 55"/>
                    <a:gd name="T94" fmla="*/ 4 w 45"/>
                    <a:gd name="T95" fmla="*/ 53 h 55"/>
                    <a:gd name="T96" fmla="*/ 4 w 45"/>
                    <a:gd name="T97" fmla="*/ 53 h 55"/>
                    <a:gd name="T98" fmla="*/ 9 w 45"/>
                    <a:gd name="T9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5" h="55">
                      <a:moveTo>
                        <a:pt x="9" y="55"/>
                      </a:moveTo>
                      <a:lnTo>
                        <a:pt x="14" y="55"/>
                      </a:lnTo>
                      <a:lnTo>
                        <a:pt x="18" y="53"/>
                      </a:lnTo>
                      <a:lnTo>
                        <a:pt x="21" y="50"/>
                      </a:lnTo>
                      <a:lnTo>
                        <a:pt x="18" y="50"/>
                      </a:lnTo>
                      <a:lnTo>
                        <a:pt x="21" y="50"/>
                      </a:lnTo>
                      <a:lnTo>
                        <a:pt x="21" y="50"/>
                      </a:lnTo>
                      <a:lnTo>
                        <a:pt x="23" y="50"/>
                      </a:lnTo>
                      <a:lnTo>
                        <a:pt x="26" y="48"/>
                      </a:lnTo>
                      <a:lnTo>
                        <a:pt x="26" y="48"/>
                      </a:lnTo>
                      <a:lnTo>
                        <a:pt x="28" y="48"/>
                      </a:lnTo>
                      <a:lnTo>
                        <a:pt x="33" y="45"/>
                      </a:lnTo>
                      <a:lnTo>
                        <a:pt x="35" y="45"/>
                      </a:lnTo>
                      <a:lnTo>
                        <a:pt x="35" y="45"/>
                      </a:lnTo>
                      <a:lnTo>
                        <a:pt x="37" y="45"/>
                      </a:lnTo>
                      <a:lnTo>
                        <a:pt x="37" y="45"/>
                      </a:lnTo>
                      <a:lnTo>
                        <a:pt x="40" y="45"/>
                      </a:lnTo>
                      <a:lnTo>
                        <a:pt x="40" y="43"/>
                      </a:lnTo>
                      <a:lnTo>
                        <a:pt x="40" y="43"/>
                      </a:lnTo>
                      <a:lnTo>
                        <a:pt x="42" y="41"/>
                      </a:lnTo>
                      <a:lnTo>
                        <a:pt x="42" y="38"/>
                      </a:lnTo>
                      <a:lnTo>
                        <a:pt x="45" y="36"/>
                      </a:lnTo>
                      <a:lnTo>
                        <a:pt x="45" y="36"/>
                      </a:lnTo>
                      <a:lnTo>
                        <a:pt x="42" y="31"/>
                      </a:lnTo>
                      <a:lnTo>
                        <a:pt x="42" y="29"/>
                      </a:lnTo>
                      <a:lnTo>
                        <a:pt x="45" y="29"/>
                      </a:lnTo>
                      <a:lnTo>
                        <a:pt x="45" y="27"/>
                      </a:lnTo>
                      <a:lnTo>
                        <a:pt x="42" y="24"/>
                      </a:lnTo>
                      <a:lnTo>
                        <a:pt x="42" y="22"/>
                      </a:lnTo>
                      <a:lnTo>
                        <a:pt x="40" y="22"/>
                      </a:lnTo>
                      <a:lnTo>
                        <a:pt x="42" y="19"/>
                      </a:lnTo>
                      <a:lnTo>
                        <a:pt x="42" y="19"/>
                      </a:lnTo>
                      <a:lnTo>
                        <a:pt x="40" y="19"/>
                      </a:lnTo>
                      <a:lnTo>
                        <a:pt x="40" y="19"/>
                      </a:lnTo>
                      <a:lnTo>
                        <a:pt x="37" y="15"/>
                      </a:lnTo>
                      <a:lnTo>
                        <a:pt x="33" y="12"/>
                      </a:lnTo>
                      <a:lnTo>
                        <a:pt x="33" y="15"/>
                      </a:lnTo>
                      <a:lnTo>
                        <a:pt x="33" y="17"/>
                      </a:lnTo>
                      <a:lnTo>
                        <a:pt x="30" y="17"/>
                      </a:lnTo>
                      <a:lnTo>
                        <a:pt x="26" y="12"/>
                      </a:lnTo>
                      <a:lnTo>
                        <a:pt x="28" y="8"/>
                      </a:lnTo>
                      <a:lnTo>
                        <a:pt x="30" y="8"/>
                      </a:lnTo>
                      <a:lnTo>
                        <a:pt x="30" y="8"/>
                      </a:lnTo>
                      <a:lnTo>
                        <a:pt x="33" y="5"/>
                      </a:lnTo>
                      <a:lnTo>
                        <a:pt x="33" y="5"/>
                      </a:lnTo>
                      <a:lnTo>
                        <a:pt x="33" y="5"/>
                      </a:lnTo>
                      <a:lnTo>
                        <a:pt x="35" y="3"/>
                      </a:lnTo>
                      <a:lnTo>
                        <a:pt x="37" y="3"/>
                      </a:lnTo>
                      <a:lnTo>
                        <a:pt x="35" y="0"/>
                      </a:lnTo>
                      <a:lnTo>
                        <a:pt x="33" y="0"/>
                      </a:lnTo>
                      <a:lnTo>
                        <a:pt x="33" y="0"/>
                      </a:lnTo>
                      <a:lnTo>
                        <a:pt x="30" y="0"/>
                      </a:lnTo>
                      <a:lnTo>
                        <a:pt x="30" y="3"/>
                      </a:lnTo>
                      <a:lnTo>
                        <a:pt x="30" y="5"/>
                      </a:lnTo>
                      <a:lnTo>
                        <a:pt x="30" y="5"/>
                      </a:lnTo>
                      <a:lnTo>
                        <a:pt x="30" y="3"/>
                      </a:lnTo>
                      <a:lnTo>
                        <a:pt x="30" y="0"/>
                      </a:lnTo>
                      <a:lnTo>
                        <a:pt x="28" y="3"/>
                      </a:lnTo>
                      <a:lnTo>
                        <a:pt x="28" y="3"/>
                      </a:lnTo>
                      <a:lnTo>
                        <a:pt x="28" y="3"/>
                      </a:lnTo>
                      <a:lnTo>
                        <a:pt x="26" y="3"/>
                      </a:lnTo>
                      <a:lnTo>
                        <a:pt x="23" y="3"/>
                      </a:lnTo>
                      <a:lnTo>
                        <a:pt x="23" y="5"/>
                      </a:lnTo>
                      <a:lnTo>
                        <a:pt x="23" y="5"/>
                      </a:lnTo>
                      <a:lnTo>
                        <a:pt x="21" y="5"/>
                      </a:lnTo>
                      <a:lnTo>
                        <a:pt x="23" y="8"/>
                      </a:lnTo>
                      <a:lnTo>
                        <a:pt x="23" y="8"/>
                      </a:lnTo>
                      <a:lnTo>
                        <a:pt x="21" y="8"/>
                      </a:lnTo>
                      <a:lnTo>
                        <a:pt x="21" y="8"/>
                      </a:lnTo>
                      <a:lnTo>
                        <a:pt x="18" y="8"/>
                      </a:lnTo>
                      <a:lnTo>
                        <a:pt x="18" y="10"/>
                      </a:lnTo>
                      <a:lnTo>
                        <a:pt x="21" y="10"/>
                      </a:lnTo>
                      <a:lnTo>
                        <a:pt x="21" y="10"/>
                      </a:lnTo>
                      <a:lnTo>
                        <a:pt x="23" y="10"/>
                      </a:lnTo>
                      <a:lnTo>
                        <a:pt x="26" y="10"/>
                      </a:lnTo>
                      <a:lnTo>
                        <a:pt x="23" y="12"/>
                      </a:lnTo>
                      <a:lnTo>
                        <a:pt x="18" y="15"/>
                      </a:lnTo>
                      <a:lnTo>
                        <a:pt x="21" y="15"/>
                      </a:lnTo>
                      <a:lnTo>
                        <a:pt x="16" y="15"/>
                      </a:lnTo>
                      <a:lnTo>
                        <a:pt x="16" y="15"/>
                      </a:lnTo>
                      <a:lnTo>
                        <a:pt x="14" y="17"/>
                      </a:lnTo>
                      <a:lnTo>
                        <a:pt x="14" y="15"/>
                      </a:lnTo>
                      <a:lnTo>
                        <a:pt x="9" y="15"/>
                      </a:lnTo>
                      <a:lnTo>
                        <a:pt x="9" y="15"/>
                      </a:lnTo>
                      <a:lnTo>
                        <a:pt x="4" y="15"/>
                      </a:lnTo>
                      <a:lnTo>
                        <a:pt x="4" y="17"/>
                      </a:lnTo>
                      <a:lnTo>
                        <a:pt x="7" y="15"/>
                      </a:lnTo>
                      <a:lnTo>
                        <a:pt x="7" y="17"/>
                      </a:lnTo>
                      <a:lnTo>
                        <a:pt x="7" y="17"/>
                      </a:lnTo>
                      <a:lnTo>
                        <a:pt x="7" y="19"/>
                      </a:lnTo>
                      <a:lnTo>
                        <a:pt x="7" y="19"/>
                      </a:lnTo>
                      <a:lnTo>
                        <a:pt x="7" y="17"/>
                      </a:lnTo>
                      <a:lnTo>
                        <a:pt x="4" y="17"/>
                      </a:lnTo>
                      <a:lnTo>
                        <a:pt x="7" y="19"/>
                      </a:lnTo>
                      <a:lnTo>
                        <a:pt x="9" y="19"/>
                      </a:lnTo>
                      <a:lnTo>
                        <a:pt x="9" y="22"/>
                      </a:lnTo>
                      <a:lnTo>
                        <a:pt x="7" y="22"/>
                      </a:lnTo>
                      <a:lnTo>
                        <a:pt x="7" y="24"/>
                      </a:lnTo>
                      <a:lnTo>
                        <a:pt x="7" y="24"/>
                      </a:lnTo>
                      <a:lnTo>
                        <a:pt x="4" y="24"/>
                      </a:lnTo>
                      <a:lnTo>
                        <a:pt x="4" y="27"/>
                      </a:lnTo>
                      <a:lnTo>
                        <a:pt x="4" y="27"/>
                      </a:lnTo>
                      <a:lnTo>
                        <a:pt x="4" y="27"/>
                      </a:lnTo>
                      <a:lnTo>
                        <a:pt x="7" y="27"/>
                      </a:lnTo>
                      <a:lnTo>
                        <a:pt x="7" y="27"/>
                      </a:lnTo>
                      <a:lnTo>
                        <a:pt x="9" y="27"/>
                      </a:lnTo>
                      <a:lnTo>
                        <a:pt x="9" y="29"/>
                      </a:lnTo>
                      <a:lnTo>
                        <a:pt x="16" y="29"/>
                      </a:lnTo>
                      <a:lnTo>
                        <a:pt x="14" y="31"/>
                      </a:lnTo>
                      <a:lnTo>
                        <a:pt x="11" y="31"/>
                      </a:lnTo>
                      <a:lnTo>
                        <a:pt x="9" y="34"/>
                      </a:lnTo>
                      <a:lnTo>
                        <a:pt x="11" y="34"/>
                      </a:lnTo>
                      <a:lnTo>
                        <a:pt x="9" y="36"/>
                      </a:lnTo>
                      <a:lnTo>
                        <a:pt x="4" y="38"/>
                      </a:lnTo>
                      <a:lnTo>
                        <a:pt x="7" y="38"/>
                      </a:lnTo>
                      <a:lnTo>
                        <a:pt x="9" y="38"/>
                      </a:lnTo>
                      <a:lnTo>
                        <a:pt x="9" y="38"/>
                      </a:lnTo>
                      <a:lnTo>
                        <a:pt x="11" y="38"/>
                      </a:lnTo>
                      <a:lnTo>
                        <a:pt x="14" y="36"/>
                      </a:lnTo>
                      <a:lnTo>
                        <a:pt x="14" y="38"/>
                      </a:lnTo>
                      <a:lnTo>
                        <a:pt x="16" y="38"/>
                      </a:lnTo>
                      <a:lnTo>
                        <a:pt x="11" y="38"/>
                      </a:lnTo>
                      <a:lnTo>
                        <a:pt x="9" y="38"/>
                      </a:lnTo>
                      <a:lnTo>
                        <a:pt x="7" y="41"/>
                      </a:lnTo>
                      <a:lnTo>
                        <a:pt x="4" y="41"/>
                      </a:lnTo>
                      <a:lnTo>
                        <a:pt x="7" y="43"/>
                      </a:lnTo>
                      <a:lnTo>
                        <a:pt x="4" y="43"/>
                      </a:lnTo>
                      <a:lnTo>
                        <a:pt x="7" y="43"/>
                      </a:lnTo>
                      <a:lnTo>
                        <a:pt x="4" y="43"/>
                      </a:lnTo>
                      <a:lnTo>
                        <a:pt x="2" y="43"/>
                      </a:lnTo>
                      <a:lnTo>
                        <a:pt x="2" y="43"/>
                      </a:lnTo>
                      <a:lnTo>
                        <a:pt x="2" y="43"/>
                      </a:lnTo>
                      <a:lnTo>
                        <a:pt x="0" y="43"/>
                      </a:lnTo>
                      <a:lnTo>
                        <a:pt x="0" y="45"/>
                      </a:lnTo>
                      <a:lnTo>
                        <a:pt x="7" y="45"/>
                      </a:lnTo>
                      <a:lnTo>
                        <a:pt x="4" y="45"/>
                      </a:lnTo>
                      <a:lnTo>
                        <a:pt x="0" y="48"/>
                      </a:lnTo>
                      <a:lnTo>
                        <a:pt x="0" y="48"/>
                      </a:lnTo>
                      <a:lnTo>
                        <a:pt x="2" y="48"/>
                      </a:lnTo>
                      <a:lnTo>
                        <a:pt x="2" y="50"/>
                      </a:lnTo>
                      <a:lnTo>
                        <a:pt x="7" y="48"/>
                      </a:lnTo>
                      <a:lnTo>
                        <a:pt x="4" y="50"/>
                      </a:lnTo>
                      <a:lnTo>
                        <a:pt x="2" y="53"/>
                      </a:lnTo>
                      <a:lnTo>
                        <a:pt x="4" y="53"/>
                      </a:lnTo>
                      <a:lnTo>
                        <a:pt x="9" y="50"/>
                      </a:lnTo>
                      <a:lnTo>
                        <a:pt x="7" y="53"/>
                      </a:lnTo>
                      <a:lnTo>
                        <a:pt x="4" y="53"/>
                      </a:lnTo>
                      <a:lnTo>
                        <a:pt x="7" y="53"/>
                      </a:lnTo>
                      <a:lnTo>
                        <a:pt x="7" y="55"/>
                      </a:lnTo>
                      <a:lnTo>
                        <a:pt x="9" y="53"/>
                      </a:lnTo>
                      <a:lnTo>
                        <a:pt x="9" y="55"/>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 name="Freeform 74">
                  <a:extLst>
                    <a:ext uri="{FF2B5EF4-FFF2-40B4-BE49-F238E27FC236}">
                      <a16:creationId xmlns:a16="http://schemas.microsoft.com/office/drawing/2014/main" id="{6BA48F07-B05B-54E9-6E0A-45505388C8C0}"/>
                    </a:ext>
                  </a:extLst>
                </p:cNvPr>
                <p:cNvSpPr>
                  <a:spLocks noEditPoints="1"/>
                </p:cNvSpPr>
                <p:nvPr/>
              </p:nvSpPr>
              <p:spPr bwMode="auto">
                <a:xfrm>
                  <a:off x="2574" y="1879"/>
                  <a:ext cx="97" cy="164"/>
                </a:xfrm>
                <a:custGeom>
                  <a:avLst/>
                  <a:gdLst>
                    <a:gd name="T0" fmla="*/ 2 w 41"/>
                    <a:gd name="T1" fmla="*/ 39 h 69"/>
                    <a:gd name="T2" fmla="*/ 9 w 41"/>
                    <a:gd name="T3" fmla="*/ 40 h 69"/>
                    <a:gd name="T4" fmla="*/ 9 w 41"/>
                    <a:gd name="T5" fmla="*/ 43 h 69"/>
                    <a:gd name="T6" fmla="*/ 30 w 41"/>
                    <a:gd name="T7" fmla="*/ 0 h 69"/>
                    <a:gd name="T8" fmla="*/ 29 w 41"/>
                    <a:gd name="T9" fmla="*/ 1 h 69"/>
                    <a:gd name="T10" fmla="*/ 28 w 41"/>
                    <a:gd name="T11" fmla="*/ 3 h 69"/>
                    <a:gd name="T12" fmla="*/ 38 w 41"/>
                    <a:gd name="T13" fmla="*/ 59 h 69"/>
                    <a:gd name="T14" fmla="*/ 27 w 41"/>
                    <a:gd name="T15" fmla="*/ 64 h 69"/>
                    <a:gd name="T16" fmla="*/ 5 w 41"/>
                    <a:gd name="T17" fmla="*/ 29 h 69"/>
                    <a:gd name="T18" fmla="*/ 7 w 41"/>
                    <a:gd name="T19" fmla="*/ 26 h 69"/>
                    <a:gd name="T20" fmla="*/ 20 w 41"/>
                    <a:gd name="T21" fmla="*/ 14 h 69"/>
                    <a:gd name="T22" fmla="*/ 19 w 41"/>
                    <a:gd name="T23" fmla="*/ 16 h 69"/>
                    <a:gd name="T24" fmla="*/ 8 w 41"/>
                    <a:gd name="T25" fmla="*/ 18 h 69"/>
                    <a:gd name="T26" fmla="*/ 5 w 41"/>
                    <a:gd name="T27" fmla="*/ 21 h 69"/>
                    <a:gd name="T28" fmla="*/ 3 w 41"/>
                    <a:gd name="T29" fmla="*/ 23 h 69"/>
                    <a:gd name="T30" fmla="*/ 4 w 41"/>
                    <a:gd name="T31" fmla="*/ 24 h 69"/>
                    <a:gd name="T32" fmla="*/ 7 w 41"/>
                    <a:gd name="T33" fmla="*/ 24 h 69"/>
                    <a:gd name="T34" fmla="*/ 8 w 41"/>
                    <a:gd name="T35" fmla="*/ 24 h 69"/>
                    <a:gd name="T36" fmla="*/ 9 w 41"/>
                    <a:gd name="T37" fmla="*/ 29 h 69"/>
                    <a:gd name="T38" fmla="*/ 9 w 41"/>
                    <a:gd name="T39" fmla="*/ 33 h 69"/>
                    <a:gd name="T40" fmla="*/ 12 w 41"/>
                    <a:gd name="T41" fmla="*/ 36 h 69"/>
                    <a:gd name="T42" fmla="*/ 13 w 41"/>
                    <a:gd name="T43" fmla="*/ 44 h 69"/>
                    <a:gd name="T44" fmla="*/ 12 w 41"/>
                    <a:gd name="T45" fmla="*/ 68 h 69"/>
                    <a:gd name="T46" fmla="*/ 18 w 41"/>
                    <a:gd name="T47" fmla="*/ 67 h 69"/>
                    <a:gd name="T48" fmla="*/ 24 w 41"/>
                    <a:gd name="T49" fmla="*/ 65 h 69"/>
                    <a:gd name="T50" fmla="*/ 31 w 41"/>
                    <a:gd name="T51" fmla="*/ 64 h 69"/>
                    <a:gd name="T52" fmla="*/ 38 w 41"/>
                    <a:gd name="T53" fmla="*/ 62 h 69"/>
                    <a:gd name="T54" fmla="*/ 37 w 41"/>
                    <a:gd name="T55" fmla="*/ 59 h 69"/>
                    <a:gd name="T56" fmla="*/ 38 w 41"/>
                    <a:gd name="T57" fmla="*/ 57 h 69"/>
                    <a:gd name="T58" fmla="*/ 41 w 41"/>
                    <a:gd name="T59" fmla="*/ 55 h 69"/>
                    <a:gd name="T60" fmla="*/ 33 w 41"/>
                    <a:gd name="T61" fmla="*/ 51 h 69"/>
                    <a:gd name="T62" fmla="*/ 31 w 41"/>
                    <a:gd name="T63" fmla="*/ 46 h 69"/>
                    <a:gd name="T64" fmla="*/ 32 w 41"/>
                    <a:gd name="T65" fmla="*/ 43 h 69"/>
                    <a:gd name="T66" fmla="*/ 25 w 41"/>
                    <a:gd name="T67" fmla="*/ 35 h 69"/>
                    <a:gd name="T68" fmla="*/ 17 w 41"/>
                    <a:gd name="T69" fmla="*/ 32 h 69"/>
                    <a:gd name="T70" fmla="*/ 19 w 41"/>
                    <a:gd name="T71" fmla="*/ 30 h 69"/>
                    <a:gd name="T72" fmla="*/ 24 w 41"/>
                    <a:gd name="T73" fmla="*/ 24 h 69"/>
                    <a:gd name="T74" fmla="*/ 18 w 41"/>
                    <a:gd name="T75" fmla="*/ 22 h 69"/>
                    <a:gd name="T76" fmla="*/ 16 w 41"/>
                    <a:gd name="T77" fmla="*/ 21 h 69"/>
                    <a:gd name="T78" fmla="*/ 17 w 41"/>
                    <a:gd name="T79" fmla="*/ 17 h 69"/>
                    <a:gd name="T80" fmla="*/ 12 w 41"/>
                    <a:gd name="T81" fmla="*/ 17 h 69"/>
                    <a:gd name="T82" fmla="*/ 11 w 41"/>
                    <a:gd name="T83" fmla="*/ 21 h 69"/>
                    <a:gd name="T84" fmla="*/ 10 w 41"/>
                    <a:gd name="T85" fmla="*/ 23 h 69"/>
                    <a:gd name="T86" fmla="*/ 10 w 41"/>
                    <a:gd name="T87" fmla="*/ 25 h 69"/>
                    <a:gd name="T88" fmla="*/ 9 w 41"/>
                    <a:gd name="T89" fmla="*/ 27 h 69"/>
                    <a:gd name="T90" fmla="*/ 10 w 41"/>
                    <a:gd name="T91" fmla="*/ 29 h 69"/>
                    <a:gd name="T92" fmla="*/ 10 w 41"/>
                    <a:gd name="T93" fmla="*/ 33 h 69"/>
                    <a:gd name="T94" fmla="*/ 11 w 41"/>
                    <a:gd name="T95" fmla="*/ 34 h 69"/>
                    <a:gd name="T96" fmla="*/ 13 w 41"/>
                    <a:gd name="T97" fmla="*/ 31 h 69"/>
                    <a:gd name="T98" fmla="*/ 12 w 41"/>
                    <a:gd name="T99" fmla="*/ 39 h 69"/>
                    <a:gd name="T100" fmla="*/ 17 w 41"/>
                    <a:gd name="T101" fmla="*/ 39 h 69"/>
                    <a:gd name="T102" fmla="*/ 21 w 41"/>
                    <a:gd name="T103" fmla="*/ 43 h 69"/>
                    <a:gd name="T104" fmla="*/ 20 w 41"/>
                    <a:gd name="T105" fmla="*/ 48 h 69"/>
                    <a:gd name="T106" fmla="*/ 13 w 41"/>
                    <a:gd name="T107" fmla="*/ 52 h 69"/>
                    <a:gd name="T108" fmla="*/ 15 w 41"/>
                    <a:gd name="T109" fmla="*/ 55 h 69"/>
                    <a:gd name="T110" fmla="*/ 12 w 41"/>
                    <a:gd name="T111" fmla="*/ 59 h 69"/>
                    <a:gd name="T112" fmla="*/ 18 w 41"/>
                    <a:gd name="T113" fmla="*/ 60 h 69"/>
                    <a:gd name="T114" fmla="*/ 20 w 41"/>
                    <a:gd name="T115" fmla="*/ 61 h 69"/>
                    <a:gd name="T116" fmla="*/ 12 w 41"/>
                    <a:gd name="T117" fmla="*/ 65 h 69"/>
                    <a:gd name="T118" fmla="*/ 11 w 41"/>
                    <a:gd name="T119" fmla="*/ 6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1" h="69">
                      <a:moveTo>
                        <a:pt x="7" y="44"/>
                      </a:moveTo>
                      <a:cubicBezTo>
                        <a:pt x="6" y="44"/>
                        <a:pt x="6" y="44"/>
                        <a:pt x="6" y="44"/>
                      </a:cubicBezTo>
                      <a:cubicBezTo>
                        <a:pt x="6" y="44"/>
                        <a:pt x="6" y="44"/>
                        <a:pt x="6" y="44"/>
                      </a:cubicBezTo>
                      <a:cubicBezTo>
                        <a:pt x="5" y="42"/>
                        <a:pt x="5" y="42"/>
                        <a:pt x="5" y="42"/>
                      </a:cubicBezTo>
                      <a:cubicBezTo>
                        <a:pt x="3" y="41"/>
                        <a:pt x="3" y="41"/>
                        <a:pt x="3" y="41"/>
                      </a:cubicBezTo>
                      <a:cubicBezTo>
                        <a:pt x="3" y="42"/>
                        <a:pt x="3" y="42"/>
                        <a:pt x="3" y="42"/>
                      </a:cubicBezTo>
                      <a:cubicBezTo>
                        <a:pt x="3" y="43"/>
                        <a:pt x="3" y="43"/>
                        <a:pt x="3" y="43"/>
                      </a:cubicBezTo>
                      <a:cubicBezTo>
                        <a:pt x="2" y="43"/>
                        <a:pt x="2" y="43"/>
                        <a:pt x="2" y="43"/>
                      </a:cubicBezTo>
                      <a:cubicBezTo>
                        <a:pt x="0" y="41"/>
                        <a:pt x="0" y="41"/>
                        <a:pt x="0" y="41"/>
                      </a:cubicBezTo>
                      <a:cubicBezTo>
                        <a:pt x="1" y="39"/>
                        <a:pt x="1" y="39"/>
                        <a:pt x="1" y="39"/>
                      </a:cubicBezTo>
                      <a:cubicBezTo>
                        <a:pt x="2" y="39"/>
                        <a:pt x="2" y="39"/>
                        <a:pt x="2" y="39"/>
                      </a:cubicBezTo>
                      <a:cubicBezTo>
                        <a:pt x="2" y="39"/>
                        <a:pt x="2" y="39"/>
                        <a:pt x="2" y="39"/>
                      </a:cubicBezTo>
                      <a:cubicBezTo>
                        <a:pt x="3" y="38"/>
                        <a:pt x="3" y="38"/>
                        <a:pt x="3" y="38"/>
                      </a:cubicBezTo>
                      <a:cubicBezTo>
                        <a:pt x="3" y="38"/>
                        <a:pt x="3" y="38"/>
                        <a:pt x="3" y="38"/>
                      </a:cubicBezTo>
                      <a:cubicBezTo>
                        <a:pt x="4" y="38"/>
                        <a:pt x="4" y="38"/>
                        <a:pt x="4" y="38"/>
                      </a:cubicBezTo>
                      <a:cubicBezTo>
                        <a:pt x="4" y="37"/>
                        <a:pt x="4" y="37"/>
                        <a:pt x="4" y="37"/>
                      </a:cubicBezTo>
                      <a:cubicBezTo>
                        <a:pt x="5" y="37"/>
                        <a:pt x="5" y="37"/>
                        <a:pt x="5" y="37"/>
                      </a:cubicBezTo>
                      <a:cubicBezTo>
                        <a:pt x="6" y="37"/>
                        <a:pt x="6" y="37"/>
                        <a:pt x="6" y="37"/>
                      </a:cubicBezTo>
                      <a:cubicBezTo>
                        <a:pt x="7" y="37"/>
                        <a:pt x="7" y="37"/>
                        <a:pt x="7" y="37"/>
                      </a:cubicBezTo>
                      <a:cubicBezTo>
                        <a:pt x="8" y="37"/>
                        <a:pt x="8" y="37"/>
                        <a:pt x="8" y="37"/>
                      </a:cubicBezTo>
                      <a:cubicBezTo>
                        <a:pt x="8" y="38"/>
                        <a:pt x="8" y="38"/>
                        <a:pt x="8" y="38"/>
                      </a:cubicBezTo>
                      <a:cubicBezTo>
                        <a:pt x="9" y="40"/>
                        <a:pt x="9" y="40"/>
                        <a:pt x="9" y="40"/>
                      </a:cubicBezTo>
                      <a:cubicBezTo>
                        <a:pt x="9" y="40"/>
                        <a:pt x="9" y="40"/>
                        <a:pt x="9" y="40"/>
                      </a:cubicBezTo>
                      <a:cubicBezTo>
                        <a:pt x="10" y="40"/>
                        <a:pt x="10" y="40"/>
                        <a:pt x="10" y="40"/>
                      </a:cubicBezTo>
                      <a:cubicBezTo>
                        <a:pt x="10" y="42"/>
                        <a:pt x="10" y="42"/>
                        <a:pt x="10" y="42"/>
                      </a:cubicBezTo>
                      <a:cubicBezTo>
                        <a:pt x="10" y="41"/>
                        <a:pt x="10" y="41"/>
                        <a:pt x="10" y="41"/>
                      </a:cubicBezTo>
                      <a:cubicBezTo>
                        <a:pt x="9" y="41"/>
                        <a:pt x="9" y="41"/>
                        <a:pt x="9" y="41"/>
                      </a:cubicBezTo>
                      <a:cubicBezTo>
                        <a:pt x="10" y="41"/>
                        <a:pt x="10" y="41"/>
                        <a:pt x="10" y="41"/>
                      </a:cubicBezTo>
                      <a:cubicBezTo>
                        <a:pt x="9" y="42"/>
                        <a:pt x="9" y="42"/>
                        <a:pt x="9" y="42"/>
                      </a:cubicBezTo>
                      <a:cubicBezTo>
                        <a:pt x="10" y="42"/>
                        <a:pt x="10" y="42"/>
                        <a:pt x="10" y="42"/>
                      </a:cubicBezTo>
                      <a:cubicBezTo>
                        <a:pt x="10" y="43"/>
                        <a:pt x="10" y="43"/>
                        <a:pt x="10" y="43"/>
                      </a:cubicBezTo>
                      <a:cubicBezTo>
                        <a:pt x="9" y="43"/>
                        <a:pt x="9" y="43"/>
                        <a:pt x="9" y="43"/>
                      </a:cubicBezTo>
                      <a:cubicBezTo>
                        <a:pt x="9" y="43"/>
                        <a:pt x="9" y="43"/>
                        <a:pt x="9" y="43"/>
                      </a:cubicBezTo>
                      <a:cubicBezTo>
                        <a:pt x="8" y="44"/>
                        <a:pt x="8" y="44"/>
                        <a:pt x="8" y="44"/>
                      </a:cubicBezTo>
                      <a:cubicBezTo>
                        <a:pt x="7" y="44"/>
                        <a:pt x="7" y="44"/>
                        <a:pt x="7" y="44"/>
                      </a:cubicBezTo>
                      <a:cubicBezTo>
                        <a:pt x="8" y="44"/>
                        <a:pt x="8" y="44"/>
                        <a:pt x="8" y="44"/>
                      </a:cubicBezTo>
                      <a:cubicBezTo>
                        <a:pt x="7" y="44"/>
                        <a:pt x="7" y="44"/>
                        <a:pt x="7" y="44"/>
                      </a:cubicBezTo>
                      <a:close/>
                      <a:moveTo>
                        <a:pt x="27" y="6"/>
                      </a:moveTo>
                      <a:cubicBezTo>
                        <a:pt x="28" y="6"/>
                        <a:pt x="28" y="6"/>
                        <a:pt x="28" y="6"/>
                      </a:cubicBezTo>
                      <a:cubicBezTo>
                        <a:pt x="28" y="6"/>
                        <a:pt x="28" y="6"/>
                        <a:pt x="28" y="6"/>
                      </a:cubicBezTo>
                      <a:cubicBezTo>
                        <a:pt x="27" y="6"/>
                        <a:pt x="27" y="6"/>
                        <a:pt x="27" y="6"/>
                      </a:cubicBezTo>
                      <a:close/>
                      <a:moveTo>
                        <a:pt x="29" y="1"/>
                      </a:moveTo>
                      <a:cubicBezTo>
                        <a:pt x="29" y="1"/>
                        <a:pt x="29" y="1"/>
                        <a:pt x="29" y="1"/>
                      </a:cubicBezTo>
                      <a:cubicBezTo>
                        <a:pt x="30" y="0"/>
                        <a:pt x="30" y="0"/>
                        <a:pt x="30" y="0"/>
                      </a:cubicBezTo>
                      <a:cubicBezTo>
                        <a:pt x="29" y="1"/>
                        <a:pt x="29" y="1"/>
                        <a:pt x="29" y="1"/>
                      </a:cubicBezTo>
                      <a:close/>
                      <a:moveTo>
                        <a:pt x="27" y="3"/>
                      </a:moveTo>
                      <a:cubicBezTo>
                        <a:pt x="27" y="2"/>
                        <a:pt x="27" y="2"/>
                        <a:pt x="27" y="2"/>
                      </a:cubicBezTo>
                      <a:cubicBezTo>
                        <a:pt x="27" y="2"/>
                        <a:pt x="27" y="2"/>
                        <a:pt x="27" y="2"/>
                      </a:cubicBezTo>
                      <a:cubicBezTo>
                        <a:pt x="26" y="3"/>
                        <a:pt x="26" y="3"/>
                        <a:pt x="26" y="3"/>
                      </a:cubicBezTo>
                      <a:cubicBezTo>
                        <a:pt x="26" y="3"/>
                        <a:pt x="27" y="3"/>
                        <a:pt x="27" y="3"/>
                      </a:cubicBezTo>
                      <a:close/>
                      <a:moveTo>
                        <a:pt x="28" y="3"/>
                      </a:moveTo>
                      <a:cubicBezTo>
                        <a:pt x="28" y="2"/>
                        <a:pt x="28" y="2"/>
                        <a:pt x="28" y="2"/>
                      </a:cubicBezTo>
                      <a:cubicBezTo>
                        <a:pt x="28" y="2"/>
                        <a:pt x="28" y="2"/>
                        <a:pt x="28" y="2"/>
                      </a:cubicBezTo>
                      <a:cubicBezTo>
                        <a:pt x="28" y="1"/>
                        <a:pt x="28" y="1"/>
                        <a:pt x="28" y="1"/>
                      </a:cubicBezTo>
                      <a:cubicBezTo>
                        <a:pt x="29" y="1"/>
                        <a:pt x="29" y="1"/>
                        <a:pt x="29" y="1"/>
                      </a:cubicBezTo>
                      <a:cubicBezTo>
                        <a:pt x="29" y="2"/>
                        <a:pt x="29" y="2"/>
                        <a:pt x="29" y="2"/>
                      </a:cubicBezTo>
                      <a:cubicBezTo>
                        <a:pt x="28" y="3"/>
                        <a:pt x="28" y="3"/>
                        <a:pt x="28" y="3"/>
                      </a:cubicBezTo>
                      <a:close/>
                      <a:moveTo>
                        <a:pt x="28" y="5"/>
                      </a:moveTo>
                      <a:cubicBezTo>
                        <a:pt x="27" y="5"/>
                        <a:pt x="27" y="5"/>
                        <a:pt x="27" y="5"/>
                      </a:cubicBezTo>
                      <a:cubicBezTo>
                        <a:pt x="26" y="5"/>
                        <a:pt x="26" y="5"/>
                        <a:pt x="26" y="5"/>
                      </a:cubicBezTo>
                      <a:cubicBezTo>
                        <a:pt x="26" y="4"/>
                        <a:pt x="26" y="4"/>
                        <a:pt x="26" y="4"/>
                      </a:cubicBezTo>
                      <a:cubicBezTo>
                        <a:pt x="26" y="4"/>
                        <a:pt x="26" y="4"/>
                        <a:pt x="26" y="4"/>
                      </a:cubicBezTo>
                      <a:cubicBezTo>
                        <a:pt x="27" y="4"/>
                        <a:pt x="27" y="4"/>
                        <a:pt x="27" y="4"/>
                      </a:cubicBezTo>
                      <a:cubicBezTo>
                        <a:pt x="28" y="4"/>
                        <a:pt x="28" y="4"/>
                        <a:pt x="28" y="4"/>
                      </a:cubicBezTo>
                      <a:cubicBezTo>
                        <a:pt x="27" y="3"/>
                        <a:pt x="27" y="3"/>
                        <a:pt x="27" y="3"/>
                      </a:cubicBezTo>
                      <a:cubicBezTo>
                        <a:pt x="28" y="3"/>
                        <a:pt x="28" y="3"/>
                        <a:pt x="28" y="3"/>
                      </a:cubicBezTo>
                      <a:cubicBezTo>
                        <a:pt x="28" y="3"/>
                        <a:pt x="28" y="3"/>
                        <a:pt x="28" y="3"/>
                      </a:cubicBezTo>
                      <a:cubicBezTo>
                        <a:pt x="29" y="4"/>
                        <a:pt x="29" y="4"/>
                        <a:pt x="29" y="4"/>
                      </a:cubicBezTo>
                      <a:cubicBezTo>
                        <a:pt x="28" y="4"/>
                        <a:pt x="28" y="4"/>
                        <a:pt x="28" y="4"/>
                      </a:cubicBezTo>
                      <a:cubicBezTo>
                        <a:pt x="29" y="4"/>
                        <a:pt x="29" y="4"/>
                        <a:pt x="29" y="4"/>
                      </a:cubicBezTo>
                      <a:cubicBezTo>
                        <a:pt x="28" y="5"/>
                        <a:pt x="28" y="5"/>
                        <a:pt x="28" y="5"/>
                      </a:cubicBezTo>
                      <a:cubicBezTo>
                        <a:pt x="28" y="6"/>
                        <a:pt x="28" y="6"/>
                        <a:pt x="28" y="6"/>
                      </a:cubicBezTo>
                      <a:cubicBezTo>
                        <a:pt x="28" y="5"/>
                        <a:pt x="28" y="5"/>
                        <a:pt x="28" y="5"/>
                      </a:cubicBezTo>
                      <a:close/>
                      <a:moveTo>
                        <a:pt x="37" y="60"/>
                      </a:moveTo>
                      <a:cubicBezTo>
                        <a:pt x="38" y="60"/>
                        <a:pt x="38" y="60"/>
                        <a:pt x="38" y="60"/>
                      </a:cubicBezTo>
                      <a:cubicBezTo>
                        <a:pt x="38" y="60"/>
                        <a:pt x="38" y="60"/>
                        <a:pt x="38" y="60"/>
                      </a:cubicBezTo>
                      <a:cubicBezTo>
                        <a:pt x="38" y="59"/>
                        <a:pt x="38" y="59"/>
                        <a:pt x="38" y="59"/>
                      </a:cubicBezTo>
                      <a:cubicBezTo>
                        <a:pt x="37" y="59"/>
                        <a:pt x="37" y="59"/>
                        <a:pt x="37" y="59"/>
                      </a:cubicBezTo>
                      <a:cubicBezTo>
                        <a:pt x="37" y="60"/>
                        <a:pt x="37" y="60"/>
                        <a:pt x="37" y="60"/>
                      </a:cubicBezTo>
                      <a:close/>
                      <a:moveTo>
                        <a:pt x="27" y="64"/>
                      </a:moveTo>
                      <a:cubicBezTo>
                        <a:pt x="29" y="64"/>
                        <a:pt x="29" y="64"/>
                        <a:pt x="29" y="64"/>
                      </a:cubicBezTo>
                      <a:cubicBezTo>
                        <a:pt x="29" y="64"/>
                        <a:pt x="29" y="64"/>
                        <a:pt x="29" y="64"/>
                      </a:cubicBezTo>
                      <a:cubicBezTo>
                        <a:pt x="29" y="64"/>
                        <a:pt x="29" y="64"/>
                        <a:pt x="29" y="64"/>
                      </a:cubicBezTo>
                      <a:cubicBezTo>
                        <a:pt x="29" y="65"/>
                        <a:pt x="29" y="65"/>
                        <a:pt x="29" y="65"/>
                      </a:cubicBezTo>
                      <a:cubicBezTo>
                        <a:pt x="29" y="65"/>
                        <a:pt x="29" y="65"/>
                        <a:pt x="29" y="65"/>
                      </a:cubicBezTo>
                      <a:cubicBezTo>
                        <a:pt x="29" y="65"/>
                        <a:pt x="29" y="65"/>
                        <a:pt x="29" y="65"/>
                      </a:cubicBezTo>
                      <a:cubicBezTo>
                        <a:pt x="28" y="65"/>
                        <a:pt x="28" y="65"/>
                        <a:pt x="28" y="65"/>
                      </a:cubicBezTo>
                      <a:cubicBezTo>
                        <a:pt x="27" y="64"/>
                        <a:pt x="27" y="64"/>
                        <a:pt x="27" y="64"/>
                      </a:cubicBezTo>
                      <a:close/>
                      <a:moveTo>
                        <a:pt x="12" y="33"/>
                      </a:moveTo>
                      <a:cubicBezTo>
                        <a:pt x="12" y="34"/>
                        <a:pt x="12" y="34"/>
                        <a:pt x="12" y="34"/>
                      </a:cubicBezTo>
                      <a:cubicBezTo>
                        <a:pt x="12" y="34"/>
                        <a:pt x="12" y="34"/>
                        <a:pt x="12" y="34"/>
                      </a:cubicBezTo>
                      <a:cubicBezTo>
                        <a:pt x="12" y="33"/>
                        <a:pt x="12" y="33"/>
                        <a:pt x="12" y="33"/>
                      </a:cubicBezTo>
                      <a:cubicBezTo>
                        <a:pt x="12" y="33"/>
                        <a:pt x="12" y="33"/>
                        <a:pt x="12" y="33"/>
                      </a:cubicBezTo>
                      <a:close/>
                      <a:moveTo>
                        <a:pt x="7" y="32"/>
                      </a:moveTo>
                      <a:cubicBezTo>
                        <a:pt x="8" y="31"/>
                        <a:pt x="8" y="31"/>
                        <a:pt x="8" y="31"/>
                      </a:cubicBezTo>
                      <a:cubicBezTo>
                        <a:pt x="8" y="32"/>
                        <a:pt x="8" y="32"/>
                        <a:pt x="8" y="32"/>
                      </a:cubicBezTo>
                      <a:cubicBezTo>
                        <a:pt x="7" y="32"/>
                        <a:pt x="7" y="32"/>
                        <a:pt x="7" y="32"/>
                      </a:cubicBezTo>
                      <a:close/>
                      <a:moveTo>
                        <a:pt x="5" y="30"/>
                      </a:moveTo>
                      <a:cubicBezTo>
                        <a:pt x="5" y="29"/>
                        <a:pt x="5" y="29"/>
                        <a:pt x="5" y="29"/>
                      </a:cubicBezTo>
                      <a:cubicBezTo>
                        <a:pt x="5" y="29"/>
                        <a:pt x="5" y="29"/>
                        <a:pt x="5" y="29"/>
                      </a:cubicBezTo>
                      <a:cubicBezTo>
                        <a:pt x="5" y="30"/>
                        <a:pt x="5" y="30"/>
                        <a:pt x="5" y="30"/>
                      </a:cubicBezTo>
                      <a:close/>
                      <a:moveTo>
                        <a:pt x="6" y="29"/>
                      </a:moveTo>
                      <a:cubicBezTo>
                        <a:pt x="7" y="28"/>
                        <a:pt x="7" y="28"/>
                        <a:pt x="7" y="28"/>
                      </a:cubicBezTo>
                      <a:cubicBezTo>
                        <a:pt x="6" y="29"/>
                        <a:pt x="6" y="29"/>
                        <a:pt x="6" y="29"/>
                      </a:cubicBezTo>
                      <a:cubicBezTo>
                        <a:pt x="6" y="29"/>
                        <a:pt x="6" y="29"/>
                        <a:pt x="6" y="29"/>
                      </a:cubicBezTo>
                      <a:close/>
                      <a:moveTo>
                        <a:pt x="8" y="27"/>
                      </a:moveTo>
                      <a:cubicBezTo>
                        <a:pt x="8" y="27"/>
                        <a:pt x="8" y="27"/>
                        <a:pt x="8" y="27"/>
                      </a:cubicBezTo>
                      <a:cubicBezTo>
                        <a:pt x="8" y="27"/>
                        <a:pt x="8" y="27"/>
                        <a:pt x="8" y="27"/>
                      </a:cubicBezTo>
                      <a:cubicBezTo>
                        <a:pt x="8" y="27"/>
                        <a:pt x="8" y="27"/>
                        <a:pt x="8" y="27"/>
                      </a:cubicBezTo>
                      <a:close/>
                      <a:moveTo>
                        <a:pt x="7" y="26"/>
                      </a:moveTo>
                      <a:cubicBezTo>
                        <a:pt x="7" y="27"/>
                        <a:pt x="7" y="27"/>
                        <a:pt x="7" y="27"/>
                      </a:cubicBezTo>
                      <a:cubicBezTo>
                        <a:pt x="8" y="26"/>
                        <a:pt x="8" y="26"/>
                        <a:pt x="8" y="26"/>
                      </a:cubicBezTo>
                      <a:cubicBezTo>
                        <a:pt x="7" y="26"/>
                        <a:pt x="7" y="26"/>
                        <a:pt x="7" y="26"/>
                      </a:cubicBezTo>
                      <a:cubicBezTo>
                        <a:pt x="7" y="26"/>
                        <a:pt x="7" y="26"/>
                        <a:pt x="7" y="26"/>
                      </a:cubicBezTo>
                      <a:close/>
                      <a:moveTo>
                        <a:pt x="19" y="13"/>
                      </a:moveTo>
                      <a:cubicBezTo>
                        <a:pt x="20" y="13"/>
                        <a:pt x="20" y="13"/>
                        <a:pt x="20" y="13"/>
                      </a:cubicBezTo>
                      <a:cubicBezTo>
                        <a:pt x="20" y="13"/>
                        <a:pt x="20" y="13"/>
                        <a:pt x="20" y="13"/>
                      </a:cubicBezTo>
                      <a:cubicBezTo>
                        <a:pt x="19" y="13"/>
                        <a:pt x="19" y="13"/>
                        <a:pt x="19" y="13"/>
                      </a:cubicBezTo>
                      <a:close/>
                      <a:moveTo>
                        <a:pt x="18" y="13"/>
                      </a:moveTo>
                      <a:cubicBezTo>
                        <a:pt x="19" y="13"/>
                        <a:pt x="19" y="13"/>
                        <a:pt x="19" y="13"/>
                      </a:cubicBezTo>
                      <a:cubicBezTo>
                        <a:pt x="20" y="14"/>
                        <a:pt x="20" y="14"/>
                        <a:pt x="20" y="14"/>
                      </a:cubicBezTo>
                      <a:cubicBezTo>
                        <a:pt x="19" y="14"/>
                        <a:pt x="19" y="14"/>
                        <a:pt x="19" y="14"/>
                      </a:cubicBezTo>
                      <a:cubicBezTo>
                        <a:pt x="20" y="14"/>
                        <a:pt x="20" y="14"/>
                        <a:pt x="20" y="14"/>
                      </a:cubicBezTo>
                      <a:cubicBezTo>
                        <a:pt x="20" y="15"/>
                        <a:pt x="20" y="15"/>
                        <a:pt x="20" y="15"/>
                      </a:cubicBezTo>
                      <a:cubicBezTo>
                        <a:pt x="20" y="15"/>
                        <a:pt x="20" y="15"/>
                        <a:pt x="20" y="15"/>
                      </a:cubicBezTo>
                      <a:cubicBezTo>
                        <a:pt x="19" y="15"/>
                        <a:pt x="19" y="15"/>
                        <a:pt x="19" y="15"/>
                      </a:cubicBezTo>
                      <a:cubicBezTo>
                        <a:pt x="19" y="14"/>
                        <a:pt x="19" y="14"/>
                        <a:pt x="19" y="14"/>
                      </a:cubicBezTo>
                      <a:cubicBezTo>
                        <a:pt x="19" y="15"/>
                        <a:pt x="19" y="15"/>
                        <a:pt x="19" y="15"/>
                      </a:cubicBezTo>
                      <a:cubicBezTo>
                        <a:pt x="18" y="14"/>
                        <a:pt x="18" y="14"/>
                        <a:pt x="18" y="14"/>
                      </a:cubicBezTo>
                      <a:cubicBezTo>
                        <a:pt x="18" y="13"/>
                        <a:pt x="18" y="13"/>
                        <a:pt x="18" y="13"/>
                      </a:cubicBezTo>
                      <a:close/>
                      <a:moveTo>
                        <a:pt x="18" y="15"/>
                      </a:moveTo>
                      <a:cubicBezTo>
                        <a:pt x="19" y="16"/>
                        <a:pt x="19" y="16"/>
                        <a:pt x="19" y="16"/>
                      </a:cubicBezTo>
                      <a:cubicBezTo>
                        <a:pt x="19" y="15"/>
                        <a:pt x="19" y="15"/>
                        <a:pt x="19" y="15"/>
                      </a:cubicBezTo>
                      <a:cubicBezTo>
                        <a:pt x="19" y="15"/>
                        <a:pt x="19" y="15"/>
                        <a:pt x="19" y="15"/>
                      </a:cubicBezTo>
                      <a:cubicBezTo>
                        <a:pt x="18" y="15"/>
                        <a:pt x="18" y="15"/>
                        <a:pt x="18" y="15"/>
                      </a:cubicBezTo>
                      <a:close/>
                      <a:moveTo>
                        <a:pt x="5" y="20"/>
                      </a:moveTo>
                      <a:cubicBezTo>
                        <a:pt x="5" y="20"/>
                        <a:pt x="5" y="20"/>
                        <a:pt x="5" y="20"/>
                      </a:cubicBezTo>
                      <a:cubicBezTo>
                        <a:pt x="5" y="19"/>
                        <a:pt x="5" y="19"/>
                        <a:pt x="5" y="19"/>
                      </a:cubicBezTo>
                      <a:cubicBezTo>
                        <a:pt x="5" y="19"/>
                        <a:pt x="5" y="19"/>
                        <a:pt x="5" y="19"/>
                      </a:cubicBezTo>
                      <a:cubicBezTo>
                        <a:pt x="6" y="19"/>
                        <a:pt x="6" y="19"/>
                        <a:pt x="6" y="19"/>
                      </a:cubicBezTo>
                      <a:cubicBezTo>
                        <a:pt x="6" y="18"/>
                        <a:pt x="6" y="18"/>
                        <a:pt x="6" y="18"/>
                      </a:cubicBezTo>
                      <a:cubicBezTo>
                        <a:pt x="8" y="17"/>
                        <a:pt x="8" y="17"/>
                        <a:pt x="8" y="17"/>
                      </a:cubicBezTo>
                      <a:cubicBezTo>
                        <a:pt x="8" y="18"/>
                        <a:pt x="8" y="18"/>
                        <a:pt x="8" y="18"/>
                      </a:cubicBezTo>
                      <a:cubicBezTo>
                        <a:pt x="7" y="19"/>
                        <a:pt x="7" y="19"/>
                        <a:pt x="7" y="19"/>
                      </a:cubicBezTo>
                      <a:cubicBezTo>
                        <a:pt x="7" y="20"/>
                        <a:pt x="7" y="20"/>
                        <a:pt x="7" y="20"/>
                      </a:cubicBezTo>
                      <a:cubicBezTo>
                        <a:pt x="7" y="20"/>
                        <a:pt x="7" y="20"/>
                        <a:pt x="7" y="20"/>
                      </a:cubicBezTo>
                      <a:cubicBezTo>
                        <a:pt x="7" y="20"/>
                        <a:pt x="7" y="20"/>
                        <a:pt x="7" y="20"/>
                      </a:cubicBezTo>
                      <a:cubicBezTo>
                        <a:pt x="6" y="20"/>
                        <a:pt x="6" y="20"/>
                        <a:pt x="6" y="20"/>
                      </a:cubicBezTo>
                      <a:cubicBezTo>
                        <a:pt x="5" y="20"/>
                        <a:pt x="5" y="20"/>
                        <a:pt x="5" y="20"/>
                      </a:cubicBezTo>
                      <a:cubicBezTo>
                        <a:pt x="5" y="20"/>
                        <a:pt x="5" y="20"/>
                        <a:pt x="5" y="20"/>
                      </a:cubicBezTo>
                      <a:close/>
                      <a:moveTo>
                        <a:pt x="5" y="21"/>
                      </a:moveTo>
                      <a:cubicBezTo>
                        <a:pt x="5" y="22"/>
                        <a:pt x="5" y="22"/>
                        <a:pt x="5" y="22"/>
                      </a:cubicBezTo>
                      <a:cubicBezTo>
                        <a:pt x="6" y="21"/>
                        <a:pt x="6" y="21"/>
                        <a:pt x="6" y="21"/>
                      </a:cubicBezTo>
                      <a:cubicBezTo>
                        <a:pt x="5" y="21"/>
                        <a:pt x="5" y="21"/>
                        <a:pt x="5" y="21"/>
                      </a:cubicBezTo>
                      <a:cubicBezTo>
                        <a:pt x="5" y="21"/>
                        <a:pt x="5" y="21"/>
                        <a:pt x="5" y="21"/>
                      </a:cubicBezTo>
                      <a:cubicBezTo>
                        <a:pt x="5" y="21"/>
                        <a:pt x="5" y="21"/>
                        <a:pt x="5" y="21"/>
                      </a:cubicBezTo>
                      <a:cubicBezTo>
                        <a:pt x="5" y="21"/>
                        <a:pt x="5" y="21"/>
                        <a:pt x="5" y="21"/>
                      </a:cubicBezTo>
                      <a:close/>
                      <a:moveTo>
                        <a:pt x="4" y="23"/>
                      </a:moveTo>
                      <a:cubicBezTo>
                        <a:pt x="3" y="23"/>
                        <a:pt x="3" y="23"/>
                        <a:pt x="3" y="23"/>
                      </a:cubicBezTo>
                      <a:cubicBezTo>
                        <a:pt x="3" y="22"/>
                        <a:pt x="3" y="22"/>
                        <a:pt x="3" y="22"/>
                      </a:cubicBezTo>
                      <a:cubicBezTo>
                        <a:pt x="3" y="22"/>
                        <a:pt x="3" y="22"/>
                        <a:pt x="3" y="22"/>
                      </a:cubicBezTo>
                      <a:cubicBezTo>
                        <a:pt x="4" y="22"/>
                        <a:pt x="4" y="22"/>
                        <a:pt x="4" y="22"/>
                      </a:cubicBezTo>
                      <a:cubicBezTo>
                        <a:pt x="4" y="23"/>
                        <a:pt x="4" y="23"/>
                        <a:pt x="4" y="23"/>
                      </a:cubicBezTo>
                      <a:close/>
                      <a:moveTo>
                        <a:pt x="4" y="24"/>
                      </a:moveTo>
                      <a:cubicBezTo>
                        <a:pt x="3" y="23"/>
                        <a:pt x="3" y="23"/>
                        <a:pt x="3" y="23"/>
                      </a:cubicBezTo>
                      <a:cubicBezTo>
                        <a:pt x="3" y="23"/>
                        <a:pt x="3" y="23"/>
                        <a:pt x="3" y="23"/>
                      </a:cubicBezTo>
                      <a:cubicBezTo>
                        <a:pt x="4" y="23"/>
                        <a:pt x="4" y="23"/>
                        <a:pt x="4" y="23"/>
                      </a:cubicBezTo>
                      <a:cubicBezTo>
                        <a:pt x="4" y="24"/>
                        <a:pt x="4" y="24"/>
                        <a:pt x="4" y="24"/>
                      </a:cubicBezTo>
                      <a:close/>
                      <a:moveTo>
                        <a:pt x="3" y="26"/>
                      </a:moveTo>
                      <a:cubicBezTo>
                        <a:pt x="3" y="26"/>
                        <a:pt x="3" y="26"/>
                        <a:pt x="3" y="26"/>
                      </a:cubicBezTo>
                      <a:cubicBezTo>
                        <a:pt x="3" y="27"/>
                        <a:pt x="3" y="27"/>
                        <a:pt x="3" y="27"/>
                      </a:cubicBezTo>
                      <a:cubicBezTo>
                        <a:pt x="3" y="26"/>
                        <a:pt x="3" y="26"/>
                        <a:pt x="3" y="26"/>
                      </a:cubicBezTo>
                      <a:cubicBezTo>
                        <a:pt x="3" y="26"/>
                        <a:pt x="3" y="26"/>
                        <a:pt x="3" y="26"/>
                      </a:cubicBezTo>
                      <a:close/>
                      <a:moveTo>
                        <a:pt x="4" y="25"/>
                      </a:moveTo>
                      <a:cubicBezTo>
                        <a:pt x="4" y="25"/>
                        <a:pt x="4" y="25"/>
                        <a:pt x="4" y="25"/>
                      </a:cubicBezTo>
                      <a:cubicBezTo>
                        <a:pt x="4" y="24"/>
                        <a:pt x="4" y="24"/>
                        <a:pt x="4" y="24"/>
                      </a:cubicBezTo>
                      <a:cubicBezTo>
                        <a:pt x="4" y="24"/>
                        <a:pt x="4" y="24"/>
                        <a:pt x="4" y="24"/>
                      </a:cubicBezTo>
                      <a:cubicBezTo>
                        <a:pt x="3" y="24"/>
                        <a:pt x="3" y="24"/>
                        <a:pt x="3" y="24"/>
                      </a:cubicBezTo>
                      <a:cubicBezTo>
                        <a:pt x="3" y="24"/>
                        <a:pt x="3" y="24"/>
                        <a:pt x="3" y="24"/>
                      </a:cubicBezTo>
                      <a:cubicBezTo>
                        <a:pt x="3" y="25"/>
                        <a:pt x="3" y="25"/>
                        <a:pt x="3" y="25"/>
                      </a:cubicBezTo>
                      <a:cubicBezTo>
                        <a:pt x="3" y="25"/>
                        <a:pt x="3" y="25"/>
                        <a:pt x="3" y="25"/>
                      </a:cubicBezTo>
                      <a:cubicBezTo>
                        <a:pt x="4" y="25"/>
                        <a:pt x="4" y="25"/>
                        <a:pt x="4" y="25"/>
                      </a:cubicBezTo>
                      <a:close/>
                      <a:moveTo>
                        <a:pt x="9" y="26"/>
                      </a:moveTo>
                      <a:cubicBezTo>
                        <a:pt x="8" y="25"/>
                        <a:pt x="8" y="25"/>
                        <a:pt x="8" y="25"/>
                      </a:cubicBezTo>
                      <a:cubicBezTo>
                        <a:pt x="7" y="25"/>
                        <a:pt x="7" y="25"/>
                        <a:pt x="7" y="25"/>
                      </a:cubicBezTo>
                      <a:cubicBezTo>
                        <a:pt x="7" y="24"/>
                        <a:pt x="7" y="24"/>
                        <a:pt x="7" y="24"/>
                      </a:cubicBezTo>
                      <a:cubicBezTo>
                        <a:pt x="7" y="24"/>
                        <a:pt x="7" y="24"/>
                        <a:pt x="7" y="24"/>
                      </a:cubicBezTo>
                      <a:cubicBezTo>
                        <a:pt x="6" y="24"/>
                        <a:pt x="6" y="24"/>
                        <a:pt x="6" y="24"/>
                      </a:cubicBezTo>
                      <a:cubicBezTo>
                        <a:pt x="6" y="24"/>
                        <a:pt x="6" y="24"/>
                        <a:pt x="6" y="24"/>
                      </a:cubicBezTo>
                      <a:cubicBezTo>
                        <a:pt x="6" y="23"/>
                        <a:pt x="6" y="23"/>
                        <a:pt x="6" y="23"/>
                      </a:cubicBezTo>
                      <a:cubicBezTo>
                        <a:pt x="6" y="23"/>
                        <a:pt x="6" y="23"/>
                        <a:pt x="6" y="23"/>
                      </a:cubicBezTo>
                      <a:cubicBezTo>
                        <a:pt x="6" y="23"/>
                        <a:pt x="6" y="23"/>
                        <a:pt x="6" y="23"/>
                      </a:cubicBezTo>
                      <a:cubicBezTo>
                        <a:pt x="6" y="23"/>
                        <a:pt x="6" y="23"/>
                        <a:pt x="6" y="23"/>
                      </a:cubicBezTo>
                      <a:cubicBezTo>
                        <a:pt x="7" y="23"/>
                        <a:pt x="7" y="23"/>
                        <a:pt x="7" y="23"/>
                      </a:cubicBezTo>
                      <a:cubicBezTo>
                        <a:pt x="7" y="22"/>
                        <a:pt x="7" y="22"/>
                        <a:pt x="7" y="22"/>
                      </a:cubicBezTo>
                      <a:cubicBezTo>
                        <a:pt x="8" y="22"/>
                        <a:pt x="8" y="22"/>
                        <a:pt x="8" y="22"/>
                      </a:cubicBezTo>
                      <a:cubicBezTo>
                        <a:pt x="8" y="23"/>
                        <a:pt x="8" y="23"/>
                        <a:pt x="8" y="23"/>
                      </a:cubicBezTo>
                      <a:cubicBezTo>
                        <a:pt x="8" y="24"/>
                        <a:pt x="8" y="24"/>
                        <a:pt x="8" y="24"/>
                      </a:cubicBezTo>
                      <a:cubicBezTo>
                        <a:pt x="9" y="25"/>
                        <a:pt x="9" y="25"/>
                        <a:pt x="9" y="25"/>
                      </a:cubicBezTo>
                      <a:cubicBezTo>
                        <a:pt x="9" y="25"/>
                        <a:pt x="9" y="25"/>
                        <a:pt x="9" y="25"/>
                      </a:cubicBezTo>
                      <a:cubicBezTo>
                        <a:pt x="10" y="25"/>
                        <a:pt x="10" y="25"/>
                        <a:pt x="10" y="25"/>
                      </a:cubicBezTo>
                      <a:cubicBezTo>
                        <a:pt x="9" y="25"/>
                        <a:pt x="9" y="25"/>
                        <a:pt x="9" y="25"/>
                      </a:cubicBezTo>
                      <a:cubicBezTo>
                        <a:pt x="9" y="26"/>
                        <a:pt x="9" y="26"/>
                        <a:pt x="9" y="26"/>
                      </a:cubicBezTo>
                      <a:cubicBezTo>
                        <a:pt x="9" y="26"/>
                        <a:pt x="9" y="26"/>
                        <a:pt x="9" y="26"/>
                      </a:cubicBezTo>
                      <a:close/>
                      <a:moveTo>
                        <a:pt x="7" y="31"/>
                      </a:moveTo>
                      <a:cubicBezTo>
                        <a:pt x="9" y="30"/>
                        <a:pt x="9" y="30"/>
                        <a:pt x="9" y="30"/>
                      </a:cubicBezTo>
                      <a:cubicBezTo>
                        <a:pt x="9" y="30"/>
                        <a:pt x="9" y="30"/>
                        <a:pt x="9" y="30"/>
                      </a:cubicBezTo>
                      <a:cubicBezTo>
                        <a:pt x="10" y="30"/>
                        <a:pt x="10" y="30"/>
                        <a:pt x="10" y="30"/>
                      </a:cubicBezTo>
                      <a:cubicBezTo>
                        <a:pt x="9" y="29"/>
                        <a:pt x="9" y="29"/>
                        <a:pt x="9" y="29"/>
                      </a:cubicBezTo>
                      <a:cubicBezTo>
                        <a:pt x="9" y="29"/>
                        <a:pt x="9" y="29"/>
                        <a:pt x="9" y="29"/>
                      </a:cubicBezTo>
                      <a:cubicBezTo>
                        <a:pt x="8" y="28"/>
                        <a:pt x="8" y="28"/>
                        <a:pt x="8" y="28"/>
                      </a:cubicBezTo>
                      <a:cubicBezTo>
                        <a:pt x="7" y="29"/>
                        <a:pt x="7" y="29"/>
                        <a:pt x="7" y="29"/>
                      </a:cubicBezTo>
                      <a:cubicBezTo>
                        <a:pt x="8" y="29"/>
                        <a:pt x="8" y="29"/>
                        <a:pt x="8" y="29"/>
                      </a:cubicBezTo>
                      <a:cubicBezTo>
                        <a:pt x="8" y="30"/>
                        <a:pt x="8" y="30"/>
                        <a:pt x="8" y="30"/>
                      </a:cubicBezTo>
                      <a:cubicBezTo>
                        <a:pt x="8" y="30"/>
                        <a:pt x="8" y="30"/>
                        <a:pt x="8" y="30"/>
                      </a:cubicBezTo>
                      <a:cubicBezTo>
                        <a:pt x="7" y="31"/>
                        <a:pt x="7" y="31"/>
                        <a:pt x="7" y="31"/>
                      </a:cubicBezTo>
                      <a:close/>
                      <a:moveTo>
                        <a:pt x="8" y="34"/>
                      </a:moveTo>
                      <a:cubicBezTo>
                        <a:pt x="8" y="33"/>
                        <a:pt x="8" y="33"/>
                        <a:pt x="8" y="33"/>
                      </a:cubicBezTo>
                      <a:cubicBezTo>
                        <a:pt x="10" y="31"/>
                        <a:pt x="10" y="31"/>
                        <a:pt x="10" y="31"/>
                      </a:cubicBezTo>
                      <a:cubicBezTo>
                        <a:pt x="9" y="33"/>
                        <a:pt x="9" y="33"/>
                        <a:pt x="9" y="33"/>
                      </a:cubicBezTo>
                      <a:cubicBezTo>
                        <a:pt x="8" y="34"/>
                        <a:pt x="8" y="34"/>
                        <a:pt x="8" y="34"/>
                      </a:cubicBezTo>
                      <a:close/>
                      <a:moveTo>
                        <a:pt x="7" y="35"/>
                      </a:moveTo>
                      <a:cubicBezTo>
                        <a:pt x="8" y="34"/>
                        <a:pt x="8" y="34"/>
                        <a:pt x="8" y="34"/>
                      </a:cubicBezTo>
                      <a:cubicBezTo>
                        <a:pt x="8" y="33"/>
                        <a:pt x="8" y="33"/>
                        <a:pt x="8" y="33"/>
                      </a:cubicBezTo>
                      <a:cubicBezTo>
                        <a:pt x="6" y="33"/>
                        <a:pt x="6" y="33"/>
                        <a:pt x="6" y="33"/>
                      </a:cubicBezTo>
                      <a:cubicBezTo>
                        <a:pt x="6" y="34"/>
                        <a:pt x="6" y="34"/>
                        <a:pt x="6" y="34"/>
                      </a:cubicBezTo>
                      <a:cubicBezTo>
                        <a:pt x="7" y="34"/>
                        <a:pt x="7" y="34"/>
                        <a:pt x="7" y="34"/>
                      </a:cubicBezTo>
                      <a:cubicBezTo>
                        <a:pt x="7" y="35"/>
                        <a:pt x="7" y="35"/>
                        <a:pt x="7" y="35"/>
                      </a:cubicBezTo>
                      <a:close/>
                      <a:moveTo>
                        <a:pt x="11" y="35"/>
                      </a:moveTo>
                      <a:cubicBezTo>
                        <a:pt x="11" y="36"/>
                        <a:pt x="11" y="36"/>
                        <a:pt x="11" y="36"/>
                      </a:cubicBezTo>
                      <a:cubicBezTo>
                        <a:pt x="12" y="36"/>
                        <a:pt x="12" y="36"/>
                        <a:pt x="12" y="36"/>
                      </a:cubicBezTo>
                      <a:cubicBezTo>
                        <a:pt x="12" y="35"/>
                        <a:pt x="12" y="35"/>
                        <a:pt x="12" y="35"/>
                      </a:cubicBezTo>
                      <a:cubicBezTo>
                        <a:pt x="11" y="34"/>
                        <a:pt x="11" y="34"/>
                        <a:pt x="11" y="34"/>
                      </a:cubicBezTo>
                      <a:cubicBezTo>
                        <a:pt x="11" y="35"/>
                        <a:pt x="11" y="35"/>
                        <a:pt x="11" y="35"/>
                      </a:cubicBezTo>
                      <a:close/>
                      <a:moveTo>
                        <a:pt x="14" y="49"/>
                      </a:moveTo>
                      <a:cubicBezTo>
                        <a:pt x="15" y="49"/>
                        <a:pt x="15" y="49"/>
                        <a:pt x="15" y="49"/>
                      </a:cubicBezTo>
                      <a:cubicBezTo>
                        <a:pt x="16" y="49"/>
                        <a:pt x="16" y="49"/>
                        <a:pt x="16" y="49"/>
                      </a:cubicBezTo>
                      <a:cubicBezTo>
                        <a:pt x="15" y="49"/>
                        <a:pt x="15" y="49"/>
                        <a:pt x="15" y="49"/>
                      </a:cubicBezTo>
                      <a:cubicBezTo>
                        <a:pt x="15" y="48"/>
                        <a:pt x="15" y="48"/>
                        <a:pt x="15" y="48"/>
                      </a:cubicBezTo>
                      <a:cubicBezTo>
                        <a:pt x="14" y="48"/>
                        <a:pt x="14" y="48"/>
                        <a:pt x="14" y="48"/>
                      </a:cubicBezTo>
                      <a:cubicBezTo>
                        <a:pt x="14" y="48"/>
                        <a:pt x="14" y="49"/>
                        <a:pt x="14" y="49"/>
                      </a:cubicBezTo>
                      <a:close/>
                      <a:moveTo>
                        <a:pt x="13" y="44"/>
                      </a:moveTo>
                      <a:cubicBezTo>
                        <a:pt x="13" y="43"/>
                        <a:pt x="13" y="43"/>
                        <a:pt x="13" y="43"/>
                      </a:cubicBezTo>
                      <a:cubicBezTo>
                        <a:pt x="15" y="42"/>
                        <a:pt x="15" y="42"/>
                        <a:pt x="15" y="42"/>
                      </a:cubicBezTo>
                      <a:cubicBezTo>
                        <a:pt x="15" y="43"/>
                        <a:pt x="15" y="43"/>
                        <a:pt x="15" y="43"/>
                      </a:cubicBezTo>
                      <a:cubicBezTo>
                        <a:pt x="15" y="43"/>
                        <a:pt x="15" y="43"/>
                        <a:pt x="15" y="43"/>
                      </a:cubicBezTo>
                      <a:cubicBezTo>
                        <a:pt x="14" y="44"/>
                        <a:pt x="14" y="44"/>
                        <a:pt x="14" y="44"/>
                      </a:cubicBezTo>
                      <a:cubicBezTo>
                        <a:pt x="13" y="44"/>
                        <a:pt x="13" y="44"/>
                        <a:pt x="13" y="44"/>
                      </a:cubicBezTo>
                      <a:close/>
                      <a:moveTo>
                        <a:pt x="11" y="69"/>
                      </a:moveTo>
                      <a:cubicBezTo>
                        <a:pt x="12" y="68"/>
                        <a:pt x="12" y="68"/>
                        <a:pt x="12" y="68"/>
                      </a:cubicBezTo>
                      <a:cubicBezTo>
                        <a:pt x="11" y="68"/>
                        <a:pt x="11" y="68"/>
                        <a:pt x="11" y="68"/>
                      </a:cubicBezTo>
                      <a:cubicBezTo>
                        <a:pt x="12" y="67"/>
                        <a:pt x="12" y="67"/>
                        <a:pt x="12" y="67"/>
                      </a:cubicBezTo>
                      <a:cubicBezTo>
                        <a:pt x="12" y="68"/>
                        <a:pt x="12" y="68"/>
                        <a:pt x="12" y="68"/>
                      </a:cubicBezTo>
                      <a:cubicBezTo>
                        <a:pt x="13" y="67"/>
                        <a:pt x="13" y="67"/>
                        <a:pt x="13" y="67"/>
                      </a:cubicBezTo>
                      <a:cubicBezTo>
                        <a:pt x="13" y="67"/>
                        <a:pt x="13" y="67"/>
                        <a:pt x="13" y="67"/>
                      </a:cubicBezTo>
                      <a:cubicBezTo>
                        <a:pt x="13" y="67"/>
                        <a:pt x="13" y="67"/>
                        <a:pt x="13" y="67"/>
                      </a:cubicBezTo>
                      <a:cubicBezTo>
                        <a:pt x="14" y="67"/>
                        <a:pt x="14" y="67"/>
                        <a:pt x="14" y="67"/>
                      </a:cubicBezTo>
                      <a:cubicBezTo>
                        <a:pt x="15" y="66"/>
                        <a:pt x="15" y="66"/>
                        <a:pt x="15" y="66"/>
                      </a:cubicBezTo>
                      <a:cubicBezTo>
                        <a:pt x="15" y="67"/>
                        <a:pt x="15" y="67"/>
                        <a:pt x="15" y="67"/>
                      </a:cubicBezTo>
                      <a:cubicBezTo>
                        <a:pt x="16" y="66"/>
                        <a:pt x="16" y="66"/>
                        <a:pt x="16" y="66"/>
                      </a:cubicBezTo>
                      <a:cubicBezTo>
                        <a:pt x="16" y="67"/>
                        <a:pt x="16" y="67"/>
                        <a:pt x="16" y="67"/>
                      </a:cubicBezTo>
                      <a:cubicBezTo>
                        <a:pt x="17" y="67"/>
                        <a:pt x="17" y="67"/>
                        <a:pt x="17" y="67"/>
                      </a:cubicBezTo>
                      <a:cubicBezTo>
                        <a:pt x="17" y="67"/>
                        <a:pt x="17" y="67"/>
                        <a:pt x="17" y="67"/>
                      </a:cubicBezTo>
                      <a:cubicBezTo>
                        <a:pt x="18" y="67"/>
                        <a:pt x="18" y="67"/>
                        <a:pt x="18" y="67"/>
                      </a:cubicBezTo>
                      <a:cubicBezTo>
                        <a:pt x="18" y="67"/>
                        <a:pt x="18" y="67"/>
                        <a:pt x="18" y="67"/>
                      </a:cubicBezTo>
                      <a:cubicBezTo>
                        <a:pt x="19" y="67"/>
                        <a:pt x="19" y="67"/>
                        <a:pt x="19" y="67"/>
                      </a:cubicBezTo>
                      <a:cubicBezTo>
                        <a:pt x="19" y="66"/>
                        <a:pt x="19" y="66"/>
                        <a:pt x="19" y="66"/>
                      </a:cubicBezTo>
                      <a:cubicBezTo>
                        <a:pt x="19" y="65"/>
                        <a:pt x="19" y="65"/>
                        <a:pt x="19" y="65"/>
                      </a:cubicBezTo>
                      <a:cubicBezTo>
                        <a:pt x="19" y="65"/>
                        <a:pt x="19" y="65"/>
                        <a:pt x="19" y="65"/>
                      </a:cubicBezTo>
                      <a:cubicBezTo>
                        <a:pt x="20" y="65"/>
                        <a:pt x="20" y="65"/>
                        <a:pt x="20" y="65"/>
                      </a:cubicBezTo>
                      <a:cubicBezTo>
                        <a:pt x="20" y="65"/>
                        <a:pt x="20" y="65"/>
                        <a:pt x="20" y="65"/>
                      </a:cubicBezTo>
                      <a:cubicBezTo>
                        <a:pt x="21" y="64"/>
                        <a:pt x="21" y="64"/>
                        <a:pt x="21" y="64"/>
                      </a:cubicBezTo>
                      <a:cubicBezTo>
                        <a:pt x="22" y="64"/>
                        <a:pt x="22" y="64"/>
                        <a:pt x="22" y="64"/>
                      </a:cubicBezTo>
                      <a:cubicBezTo>
                        <a:pt x="23" y="65"/>
                        <a:pt x="23" y="65"/>
                        <a:pt x="23" y="65"/>
                      </a:cubicBezTo>
                      <a:cubicBezTo>
                        <a:pt x="24" y="65"/>
                        <a:pt x="24" y="65"/>
                        <a:pt x="24" y="65"/>
                      </a:cubicBezTo>
                      <a:cubicBezTo>
                        <a:pt x="25" y="65"/>
                        <a:pt x="25" y="65"/>
                        <a:pt x="25" y="65"/>
                      </a:cubicBezTo>
                      <a:cubicBezTo>
                        <a:pt x="25" y="65"/>
                        <a:pt x="25" y="65"/>
                        <a:pt x="25" y="65"/>
                      </a:cubicBezTo>
                      <a:cubicBezTo>
                        <a:pt x="26" y="64"/>
                        <a:pt x="26" y="64"/>
                        <a:pt x="26" y="64"/>
                      </a:cubicBezTo>
                      <a:cubicBezTo>
                        <a:pt x="27" y="64"/>
                        <a:pt x="27" y="64"/>
                        <a:pt x="27" y="64"/>
                      </a:cubicBezTo>
                      <a:cubicBezTo>
                        <a:pt x="27" y="64"/>
                        <a:pt x="27" y="64"/>
                        <a:pt x="27" y="64"/>
                      </a:cubicBezTo>
                      <a:cubicBezTo>
                        <a:pt x="28" y="63"/>
                        <a:pt x="28" y="63"/>
                        <a:pt x="28" y="63"/>
                      </a:cubicBezTo>
                      <a:cubicBezTo>
                        <a:pt x="29" y="64"/>
                        <a:pt x="29" y="64"/>
                        <a:pt x="29" y="64"/>
                      </a:cubicBezTo>
                      <a:cubicBezTo>
                        <a:pt x="30" y="64"/>
                        <a:pt x="30" y="64"/>
                        <a:pt x="30" y="64"/>
                      </a:cubicBezTo>
                      <a:cubicBezTo>
                        <a:pt x="30" y="63"/>
                        <a:pt x="30" y="63"/>
                        <a:pt x="30" y="63"/>
                      </a:cubicBezTo>
                      <a:cubicBezTo>
                        <a:pt x="30" y="64"/>
                        <a:pt x="30" y="64"/>
                        <a:pt x="30" y="64"/>
                      </a:cubicBezTo>
                      <a:cubicBezTo>
                        <a:pt x="31" y="64"/>
                        <a:pt x="31" y="64"/>
                        <a:pt x="31" y="64"/>
                      </a:cubicBezTo>
                      <a:cubicBezTo>
                        <a:pt x="31" y="63"/>
                        <a:pt x="31" y="63"/>
                        <a:pt x="31" y="63"/>
                      </a:cubicBezTo>
                      <a:cubicBezTo>
                        <a:pt x="33" y="63"/>
                        <a:pt x="33" y="63"/>
                        <a:pt x="33" y="63"/>
                      </a:cubicBezTo>
                      <a:cubicBezTo>
                        <a:pt x="34" y="63"/>
                        <a:pt x="34" y="63"/>
                        <a:pt x="34" y="63"/>
                      </a:cubicBezTo>
                      <a:cubicBezTo>
                        <a:pt x="35" y="64"/>
                        <a:pt x="35" y="64"/>
                        <a:pt x="35" y="64"/>
                      </a:cubicBezTo>
                      <a:cubicBezTo>
                        <a:pt x="35" y="64"/>
                        <a:pt x="35" y="64"/>
                        <a:pt x="35" y="64"/>
                      </a:cubicBezTo>
                      <a:cubicBezTo>
                        <a:pt x="36" y="63"/>
                        <a:pt x="36" y="63"/>
                        <a:pt x="36" y="63"/>
                      </a:cubicBezTo>
                      <a:cubicBezTo>
                        <a:pt x="37" y="63"/>
                        <a:pt x="37" y="63"/>
                        <a:pt x="37" y="63"/>
                      </a:cubicBezTo>
                      <a:cubicBezTo>
                        <a:pt x="38" y="62"/>
                        <a:pt x="38" y="62"/>
                        <a:pt x="38" y="62"/>
                      </a:cubicBezTo>
                      <a:cubicBezTo>
                        <a:pt x="38" y="62"/>
                        <a:pt x="38" y="62"/>
                        <a:pt x="38" y="62"/>
                      </a:cubicBezTo>
                      <a:cubicBezTo>
                        <a:pt x="39" y="62"/>
                        <a:pt x="39" y="62"/>
                        <a:pt x="39" y="62"/>
                      </a:cubicBezTo>
                      <a:cubicBezTo>
                        <a:pt x="38" y="62"/>
                        <a:pt x="38" y="62"/>
                        <a:pt x="38" y="62"/>
                      </a:cubicBezTo>
                      <a:cubicBezTo>
                        <a:pt x="40" y="61"/>
                        <a:pt x="40" y="61"/>
                        <a:pt x="40" y="61"/>
                      </a:cubicBezTo>
                      <a:cubicBezTo>
                        <a:pt x="40" y="61"/>
                        <a:pt x="40" y="61"/>
                        <a:pt x="40" y="61"/>
                      </a:cubicBezTo>
                      <a:cubicBezTo>
                        <a:pt x="40" y="61"/>
                        <a:pt x="40" y="61"/>
                        <a:pt x="40" y="61"/>
                      </a:cubicBezTo>
                      <a:cubicBezTo>
                        <a:pt x="40" y="60"/>
                        <a:pt x="40" y="60"/>
                        <a:pt x="40" y="60"/>
                      </a:cubicBezTo>
                      <a:cubicBezTo>
                        <a:pt x="40" y="60"/>
                        <a:pt x="40" y="60"/>
                        <a:pt x="40" y="60"/>
                      </a:cubicBezTo>
                      <a:cubicBezTo>
                        <a:pt x="39" y="60"/>
                        <a:pt x="39" y="60"/>
                        <a:pt x="39" y="60"/>
                      </a:cubicBezTo>
                      <a:cubicBezTo>
                        <a:pt x="38" y="60"/>
                        <a:pt x="38" y="60"/>
                        <a:pt x="38" y="60"/>
                      </a:cubicBezTo>
                      <a:cubicBezTo>
                        <a:pt x="38" y="60"/>
                        <a:pt x="38" y="60"/>
                        <a:pt x="38" y="60"/>
                      </a:cubicBezTo>
                      <a:cubicBezTo>
                        <a:pt x="37" y="60"/>
                        <a:pt x="37" y="60"/>
                        <a:pt x="37" y="60"/>
                      </a:cubicBezTo>
                      <a:cubicBezTo>
                        <a:pt x="37" y="60"/>
                        <a:pt x="37" y="60"/>
                        <a:pt x="37" y="60"/>
                      </a:cubicBezTo>
                      <a:cubicBezTo>
                        <a:pt x="37" y="59"/>
                        <a:pt x="37" y="59"/>
                        <a:pt x="37" y="59"/>
                      </a:cubicBezTo>
                      <a:cubicBezTo>
                        <a:pt x="37" y="59"/>
                        <a:pt x="37" y="59"/>
                        <a:pt x="37" y="59"/>
                      </a:cubicBezTo>
                      <a:cubicBezTo>
                        <a:pt x="37" y="59"/>
                        <a:pt x="37" y="59"/>
                        <a:pt x="37" y="59"/>
                      </a:cubicBezTo>
                      <a:cubicBezTo>
                        <a:pt x="36" y="59"/>
                        <a:pt x="36" y="59"/>
                        <a:pt x="36" y="59"/>
                      </a:cubicBezTo>
                      <a:cubicBezTo>
                        <a:pt x="36" y="59"/>
                        <a:pt x="36" y="59"/>
                        <a:pt x="36" y="59"/>
                      </a:cubicBezTo>
                      <a:cubicBezTo>
                        <a:pt x="37" y="59"/>
                        <a:pt x="37" y="59"/>
                        <a:pt x="37" y="59"/>
                      </a:cubicBezTo>
                      <a:cubicBezTo>
                        <a:pt x="37" y="59"/>
                        <a:pt x="37" y="59"/>
                        <a:pt x="37" y="59"/>
                      </a:cubicBezTo>
                      <a:cubicBezTo>
                        <a:pt x="38" y="58"/>
                        <a:pt x="38" y="58"/>
                        <a:pt x="38" y="58"/>
                      </a:cubicBezTo>
                      <a:cubicBezTo>
                        <a:pt x="38" y="58"/>
                        <a:pt x="38" y="58"/>
                        <a:pt x="38" y="58"/>
                      </a:cubicBezTo>
                      <a:cubicBezTo>
                        <a:pt x="37" y="58"/>
                        <a:pt x="37" y="58"/>
                        <a:pt x="37" y="58"/>
                      </a:cubicBezTo>
                      <a:cubicBezTo>
                        <a:pt x="38" y="57"/>
                        <a:pt x="38" y="57"/>
                        <a:pt x="38" y="57"/>
                      </a:cubicBezTo>
                      <a:cubicBezTo>
                        <a:pt x="38" y="57"/>
                        <a:pt x="38" y="57"/>
                        <a:pt x="38" y="57"/>
                      </a:cubicBezTo>
                      <a:cubicBezTo>
                        <a:pt x="38" y="57"/>
                        <a:pt x="38" y="57"/>
                        <a:pt x="38" y="57"/>
                      </a:cubicBezTo>
                      <a:cubicBezTo>
                        <a:pt x="39" y="57"/>
                        <a:pt x="39" y="57"/>
                        <a:pt x="39" y="57"/>
                      </a:cubicBezTo>
                      <a:cubicBezTo>
                        <a:pt x="39" y="57"/>
                        <a:pt x="39" y="57"/>
                        <a:pt x="39" y="57"/>
                      </a:cubicBezTo>
                      <a:cubicBezTo>
                        <a:pt x="39" y="57"/>
                        <a:pt x="39" y="57"/>
                        <a:pt x="39" y="57"/>
                      </a:cubicBezTo>
                      <a:cubicBezTo>
                        <a:pt x="39" y="56"/>
                        <a:pt x="39" y="56"/>
                        <a:pt x="39" y="56"/>
                      </a:cubicBezTo>
                      <a:cubicBezTo>
                        <a:pt x="38" y="56"/>
                        <a:pt x="38" y="56"/>
                        <a:pt x="38" y="56"/>
                      </a:cubicBezTo>
                      <a:cubicBezTo>
                        <a:pt x="39" y="56"/>
                        <a:pt x="39" y="56"/>
                        <a:pt x="39" y="56"/>
                      </a:cubicBezTo>
                      <a:cubicBezTo>
                        <a:pt x="39" y="56"/>
                        <a:pt x="39" y="56"/>
                        <a:pt x="39" y="56"/>
                      </a:cubicBezTo>
                      <a:cubicBezTo>
                        <a:pt x="39" y="56"/>
                        <a:pt x="39" y="56"/>
                        <a:pt x="39" y="56"/>
                      </a:cubicBezTo>
                      <a:cubicBezTo>
                        <a:pt x="40" y="55"/>
                        <a:pt x="40" y="55"/>
                        <a:pt x="40" y="55"/>
                      </a:cubicBezTo>
                      <a:cubicBezTo>
                        <a:pt x="41" y="55"/>
                        <a:pt x="41" y="55"/>
                        <a:pt x="41" y="55"/>
                      </a:cubicBezTo>
                      <a:cubicBezTo>
                        <a:pt x="41" y="54"/>
                        <a:pt x="41" y="54"/>
                        <a:pt x="41" y="54"/>
                      </a:cubicBezTo>
                      <a:cubicBezTo>
                        <a:pt x="41" y="53"/>
                        <a:pt x="41" y="53"/>
                        <a:pt x="41" y="53"/>
                      </a:cubicBezTo>
                      <a:cubicBezTo>
                        <a:pt x="41" y="52"/>
                        <a:pt x="41" y="52"/>
                        <a:pt x="41" y="52"/>
                      </a:cubicBezTo>
                      <a:cubicBezTo>
                        <a:pt x="40" y="51"/>
                        <a:pt x="40" y="51"/>
                        <a:pt x="40" y="51"/>
                      </a:cubicBezTo>
                      <a:cubicBezTo>
                        <a:pt x="39" y="50"/>
                        <a:pt x="39" y="50"/>
                        <a:pt x="39" y="50"/>
                      </a:cubicBezTo>
                      <a:cubicBezTo>
                        <a:pt x="37" y="50"/>
                        <a:pt x="37" y="50"/>
                        <a:pt x="37" y="50"/>
                      </a:cubicBezTo>
                      <a:cubicBezTo>
                        <a:pt x="35" y="50"/>
                        <a:pt x="35" y="50"/>
                        <a:pt x="35" y="50"/>
                      </a:cubicBezTo>
                      <a:cubicBezTo>
                        <a:pt x="35" y="51"/>
                        <a:pt x="35" y="51"/>
                        <a:pt x="35" y="51"/>
                      </a:cubicBezTo>
                      <a:cubicBezTo>
                        <a:pt x="35" y="52"/>
                        <a:pt x="35" y="52"/>
                        <a:pt x="35" y="52"/>
                      </a:cubicBezTo>
                      <a:cubicBezTo>
                        <a:pt x="34" y="51"/>
                        <a:pt x="34" y="51"/>
                        <a:pt x="34" y="51"/>
                      </a:cubicBezTo>
                      <a:cubicBezTo>
                        <a:pt x="33" y="51"/>
                        <a:pt x="33" y="51"/>
                        <a:pt x="33" y="51"/>
                      </a:cubicBezTo>
                      <a:cubicBezTo>
                        <a:pt x="35" y="49"/>
                        <a:pt x="35" y="49"/>
                        <a:pt x="35" y="49"/>
                      </a:cubicBezTo>
                      <a:cubicBezTo>
                        <a:pt x="35" y="49"/>
                        <a:pt x="35" y="49"/>
                        <a:pt x="35" y="49"/>
                      </a:cubicBezTo>
                      <a:cubicBezTo>
                        <a:pt x="34" y="47"/>
                        <a:pt x="34" y="47"/>
                        <a:pt x="34" y="47"/>
                      </a:cubicBezTo>
                      <a:cubicBezTo>
                        <a:pt x="33" y="47"/>
                        <a:pt x="33" y="47"/>
                        <a:pt x="33" y="47"/>
                      </a:cubicBezTo>
                      <a:cubicBezTo>
                        <a:pt x="32" y="46"/>
                        <a:pt x="32" y="46"/>
                        <a:pt x="32" y="46"/>
                      </a:cubicBezTo>
                      <a:cubicBezTo>
                        <a:pt x="32" y="46"/>
                        <a:pt x="32" y="46"/>
                        <a:pt x="32" y="46"/>
                      </a:cubicBezTo>
                      <a:cubicBezTo>
                        <a:pt x="31" y="46"/>
                        <a:pt x="31" y="46"/>
                        <a:pt x="31" y="46"/>
                      </a:cubicBezTo>
                      <a:cubicBezTo>
                        <a:pt x="31" y="46"/>
                        <a:pt x="31" y="46"/>
                        <a:pt x="31" y="46"/>
                      </a:cubicBezTo>
                      <a:cubicBezTo>
                        <a:pt x="30" y="46"/>
                        <a:pt x="30" y="46"/>
                        <a:pt x="30" y="46"/>
                      </a:cubicBezTo>
                      <a:cubicBezTo>
                        <a:pt x="30" y="46"/>
                        <a:pt x="30" y="46"/>
                        <a:pt x="30" y="46"/>
                      </a:cubicBezTo>
                      <a:cubicBezTo>
                        <a:pt x="31" y="46"/>
                        <a:pt x="31" y="46"/>
                        <a:pt x="31" y="46"/>
                      </a:cubicBezTo>
                      <a:cubicBezTo>
                        <a:pt x="31" y="46"/>
                        <a:pt x="31" y="46"/>
                        <a:pt x="31" y="46"/>
                      </a:cubicBezTo>
                      <a:cubicBezTo>
                        <a:pt x="32" y="46"/>
                        <a:pt x="32" y="46"/>
                        <a:pt x="32" y="46"/>
                      </a:cubicBezTo>
                      <a:cubicBezTo>
                        <a:pt x="32" y="46"/>
                        <a:pt x="32" y="46"/>
                        <a:pt x="32" y="46"/>
                      </a:cubicBezTo>
                      <a:cubicBezTo>
                        <a:pt x="33" y="46"/>
                        <a:pt x="33" y="46"/>
                        <a:pt x="33" y="46"/>
                      </a:cubicBezTo>
                      <a:cubicBezTo>
                        <a:pt x="33" y="46"/>
                        <a:pt x="33" y="46"/>
                        <a:pt x="33" y="46"/>
                      </a:cubicBezTo>
                      <a:cubicBezTo>
                        <a:pt x="34" y="46"/>
                        <a:pt x="34" y="46"/>
                        <a:pt x="34" y="46"/>
                      </a:cubicBezTo>
                      <a:cubicBezTo>
                        <a:pt x="32" y="45"/>
                        <a:pt x="32" y="45"/>
                        <a:pt x="32" y="45"/>
                      </a:cubicBezTo>
                      <a:cubicBezTo>
                        <a:pt x="32" y="44"/>
                        <a:pt x="32" y="44"/>
                        <a:pt x="32" y="44"/>
                      </a:cubicBezTo>
                      <a:cubicBezTo>
                        <a:pt x="32" y="44"/>
                        <a:pt x="32" y="44"/>
                        <a:pt x="32" y="44"/>
                      </a:cubicBezTo>
                      <a:cubicBezTo>
                        <a:pt x="32" y="43"/>
                        <a:pt x="32" y="43"/>
                        <a:pt x="32" y="43"/>
                      </a:cubicBezTo>
                      <a:cubicBezTo>
                        <a:pt x="32" y="43"/>
                        <a:pt x="32" y="43"/>
                        <a:pt x="32" y="43"/>
                      </a:cubicBezTo>
                      <a:cubicBezTo>
                        <a:pt x="31" y="43"/>
                        <a:pt x="31" y="43"/>
                        <a:pt x="31" y="43"/>
                      </a:cubicBezTo>
                      <a:cubicBezTo>
                        <a:pt x="31" y="43"/>
                        <a:pt x="31" y="43"/>
                        <a:pt x="31" y="43"/>
                      </a:cubicBezTo>
                      <a:cubicBezTo>
                        <a:pt x="30" y="41"/>
                        <a:pt x="30" y="41"/>
                        <a:pt x="30" y="41"/>
                      </a:cubicBezTo>
                      <a:cubicBezTo>
                        <a:pt x="29" y="41"/>
                        <a:pt x="29" y="41"/>
                        <a:pt x="29" y="41"/>
                      </a:cubicBezTo>
                      <a:cubicBezTo>
                        <a:pt x="28" y="41"/>
                        <a:pt x="28" y="41"/>
                        <a:pt x="28" y="41"/>
                      </a:cubicBezTo>
                      <a:cubicBezTo>
                        <a:pt x="28" y="40"/>
                        <a:pt x="28" y="40"/>
                        <a:pt x="28" y="40"/>
                      </a:cubicBezTo>
                      <a:cubicBezTo>
                        <a:pt x="27" y="40"/>
                        <a:pt x="27" y="40"/>
                        <a:pt x="27" y="40"/>
                      </a:cubicBezTo>
                      <a:cubicBezTo>
                        <a:pt x="27" y="38"/>
                        <a:pt x="27" y="38"/>
                        <a:pt x="27" y="38"/>
                      </a:cubicBezTo>
                      <a:cubicBezTo>
                        <a:pt x="26" y="37"/>
                        <a:pt x="26" y="37"/>
                        <a:pt x="26" y="37"/>
                      </a:cubicBezTo>
                      <a:cubicBezTo>
                        <a:pt x="26" y="35"/>
                        <a:pt x="26" y="35"/>
                        <a:pt x="26" y="35"/>
                      </a:cubicBezTo>
                      <a:cubicBezTo>
                        <a:pt x="25" y="35"/>
                        <a:pt x="25" y="35"/>
                        <a:pt x="25" y="35"/>
                      </a:cubicBezTo>
                      <a:cubicBezTo>
                        <a:pt x="25" y="35"/>
                        <a:pt x="25" y="35"/>
                        <a:pt x="25" y="35"/>
                      </a:cubicBezTo>
                      <a:cubicBezTo>
                        <a:pt x="24" y="33"/>
                        <a:pt x="24" y="33"/>
                        <a:pt x="24" y="33"/>
                      </a:cubicBezTo>
                      <a:cubicBezTo>
                        <a:pt x="23" y="33"/>
                        <a:pt x="23" y="33"/>
                        <a:pt x="23" y="33"/>
                      </a:cubicBezTo>
                      <a:cubicBezTo>
                        <a:pt x="22" y="32"/>
                        <a:pt x="22" y="32"/>
                        <a:pt x="22" y="32"/>
                      </a:cubicBezTo>
                      <a:cubicBezTo>
                        <a:pt x="21" y="32"/>
                        <a:pt x="21" y="32"/>
                        <a:pt x="21" y="32"/>
                      </a:cubicBezTo>
                      <a:cubicBezTo>
                        <a:pt x="21" y="32"/>
                        <a:pt x="21" y="32"/>
                        <a:pt x="21" y="32"/>
                      </a:cubicBezTo>
                      <a:cubicBezTo>
                        <a:pt x="20" y="33"/>
                        <a:pt x="20" y="33"/>
                        <a:pt x="20" y="33"/>
                      </a:cubicBezTo>
                      <a:cubicBezTo>
                        <a:pt x="19" y="32"/>
                        <a:pt x="19" y="32"/>
                        <a:pt x="19" y="32"/>
                      </a:cubicBezTo>
                      <a:cubicBezTo>
                        <a:pt x="18" y="32"/>
                        <a:pt x="18" y="32"/>
                        <a:pt x="18" y="32"/>
                      </a:cubicBezTo>
                      <a:cubicBezTo>
                        <a:pt x="17" y="32"/>
                        <a:pt x="17" y="32"/>
                        <a:pt x="17" y="32"/>
                      </a:cubicBezTo>
                      <a:cubicBezTo>
                        <a:pt x="17" y="32"/>
                        <a:pt x="17" y="32"/>
                        <a:pt x="17" y="32"/>
                      </a:cubicBezTo>
                      <a:cubicBezTo>
                        <a:pt x="18" y="32"/>
                        <a:pt x="18" y="32"/>
                        <a:pt x="18" y="32"/>
                      </a:cubicBezTo>
                      <a:cubicBezTo>
                        <a:pt x="19" y="32"/>
                        <a:pt x="19" y="32"/>
                        <a:pt x="19" y="32"/>
                      </a:cubicBezTo>
                      <a:cubicBezTo>
                        <a:pt x="20" y="32"/>
                        <a:pt x="20" y="32"/>
                        <a:pt x="20" y="32"/>
                      </a:cubicBezTo>
                      <a:cubicBezTo>
                        <a:pt x="20" y="31"/>
                        <a:pt x="20" y="31"/>
                        <a:pt x="20" y="31"/>
                      </a:cubicBezTo>
                      <a:cubicBezTo>
                        <a:pt x="21" y="31"/>
                        <a:pt x="21" y="31"/>
                        <a:pt x="21" y="31"/>
                      </a:cubicBezTo>
                      <a:cubicBezTo>
                        <a:pt x="22" y="31"/>
                        <a:pt x="22" y="31"/>
                        <a:pt x="22" y="31"/>
                      </a:cubicBezTo>
                      <a:cubicBezTo>
                        <a:pt x="21" y="30"/>
                        <a:pt x="21" y="30"/>
                        <a:pt x="21" y="30"/>
                      </a:cubicBezTo>
                      <a:cubicBezTo>
                        <a:pt x="21" y="30"/>
                        <a:pt x="21" y="30"/>
                        <a:pt x="21" y="30"/>
                      </a:cubicBezTo>
                      <a:cubicBezTo>
                        <a:pt x="20" y="30"/>
                        <a:pt x="20" y="30"/>
                        <a:pt x="20" y="30"/>
                      </a:cubicBezTo>
                      <a:cubicBezTo>
                        <a:pt x="19" y="30"/>
                        <a:pt x="19" y="30"/>
                        <a:pt x="19" y="30"/>
                      </a:cubicBezTo>
                      <a:cubicBezTo>
                        <a:pt x="19" y="30"/>
                        <a:pt x="19" y="30"/>
                        <a:pt x="19" y="30"/>
                      </a:cubicBezTo>
                      <a:cubicBezTo>
                        <a:pt x="20" y="29"/>
                        <a:pt x="20" y="29"/>
                        <a:pt x="20" y="29"/>
                      </a:cubicBezTo>
                      <a:cubicBezTo>
                        <a:pt x="21" y="29"/>
                        <a:pt x="21" y="29"/>
                        <a:pt x="21" y="29"/>
                      </a:cubicBezTo>
                      <a:cubicBezTo>
                        <a:pt x="22" y="29"/>
                        <a:pt x="22" y="29"/>
                        <a:pt x="22" y="29"/>
                      </a:cubicBezTo>
                      <a:cubicBezTo>
                        <a:pt x="22" y="28"/>
                        <a:pt x="22" y="28"/>
                        <a:pt x="22" y="28"/>
                      </a:cubicBezTo>
                      <a:cubicBezTo>
                        <a:pt x="22" y="28"/>
                        <a:pt x="22" y="28"/>
                        <a:pt x="22" y="28"/>
                      </a:cubicBezTo>
                      <a:cubicBezTo>
                        <a:pt x="23" y="27"/>
                        <a:pt x="23" y="27"/>
                        <a:pt x="23" y="27"/>
                      </a:cubicBezTo>
                      <a:cubicBezTo>
                        <a:pt x="23" y="27"/>
                        <a:pt x="23" y="27"/>
                        <a:pt x="23" y="27"/>
                      </a:cubicBezTo>
                      <a:cubicBezTo>
                        <a:pt x="23" y="26"/>
                        <a:pt x="23" y="26"/>
                        <a:pt x="23" y="26"/>
                      </a:cubicBezTo>
                      <a:cubicBezTo>
                        <a:pt x="24" y="25"/>
                        <a:pt x="24" y="25"/>
                        <a:pt x="24" y="25"/>
                      </a:cubicBezTo>
                      <a:cubicBezTo>
                        <a:pt x="23" y="25"/>
                        <a:pt x="23" y="25"/>
                        <a:pt x="23" y="25"/>
                      </a:cubicBezTo>
                      <a:cubicBezTo>
                        <a:pt x="24" y="24"/>
                        <a:pt x="24" y="24"/>
                        <a:pt x="24" y="24"/>
                      </a:cubicBezTo>
                      <a:cubicBezTo>
                        <a:pt x="25" y="24"/>
                        <a:pt x="25" y="24"/>
                        <a:pt x="25" y="24"/>
                      </a:cubicBezTo>
                      <a:cubicBezTo>
                        <a:pt x="25" y="23"/>
                        <a:pt x="25" y="23"/>
                        <a:pt x="25" y="23"/>
                      </a:cubicBezTo>
                      <a:cubicBezTo>
                        <a:pt x="23" y="22"/>
                        <a:pt x="23" y="22"/>
                        <a:pt x="23" y="22"/>
                      </a:cubicBezTo>
                      <a:cubicBezTo>
                        <a:pt x="23" y="22"/>
                        <a:pt x="23" y="22"/>
                        <a:pt x="23" y="22"/>
                      </a:cubicBezTo>
                      <a:cubicBezTo>
                        <a:pt x="21" y="22"/>
                        <a:pt x="21" y="22"/>
                        <a:pt x="21" y="22"/>
                      </a:cubicBezTo>
                      <a:cubicBezTo>
                        <a:pt x="20" y="22"/>
                        <a:pt x="20" y="22"/>
                        <a:pt x="20" y="22"/>
                      </a:cubicBezTo>
                      <a:cubicBezTo>
                        <a:pt x="20" y="22"/>
                        <a:pt x="20" y="22"/>
                        <a:pt x="20" y="22"/>
                      </a:cubicBezTo>
                      <a:cubicBezTo>
                        <a:pt x="19" y="22"/>
                        <a:pt x="19" y="22"/>
                        <a:pt x="19" y="22"/>
                      </a:cubicBezTo>
                      <a:cubicBezTo>
                        <a:pt x="19" y="22"/>
                        <a:pt x="19" y="22"/>
                        <a:pt x="19" y="22"/>
                      </a:cubicBezTo>
                      <a:cubicBezTo>
                        <a:pt x="18" y="22"/>
                        <a:pt x="18" y="22"/>
                        <a:pt x="18" y="22"/>
                      </a:cubicBezTo>
                      <a:cubicBezTo>
                        <a:pt x="18" y="22"/>
                        <a:pt x="18" y="22"/>
                        <a:pt x="18" y="22"/>
                      </a:cubicBezTo>
                      <a:cubicBezTo>
                        <a:pt x="17" y="22"/>
                        <a:pt x="17" y="22"/>
                        <a:pt x="17" y="22"/>
                      </a:cubicBezTo>
                      <a:cubicBezTo>
                        <a:pt x="16" y="23"/>
                        <a:pt x="16" y="23"/>
                        <a:pt x="16" y="23"/>
                      </a:cubicBezTo>
                      <a:cubicBezTo>
                        <a:pt x="16" y="23"/>
                        <a:pt x="16" y="23"/>
                        <a:pt x="16" y="23"/>
                      </a:cubicBezTo>
                      <a:cubicBezTo>
                        <a:pt x="16" y="23"/>
                        <a:pt x="16" y="23"/>
                        <a:pt x="16" y="23"/>
                      </a:cubicBezTo>
                      <a:cubicBezTo>
                        <a:pt x="15" y="23"/>
                        <a:pt x="15" y="23"/>
                        <a:pt x="15" y="23"/>
                      </a:cubicBezTo>
                      <a:cubicBezTo>
                        <a:pt x="16" y="22"/>
                        <a:pt x="16" y="22"/>
                        <a:pt x="16" y="22"/>
                      </a:cubicBezTo>
                      <a:cubicBezTo>
                        <a:pt x="17" y="21"/>
                        <a:pt x="17" y="21"/>
                        <a:pt x="17" y="21"/>
                      </a:cubicBezTo>
                      <a:cubicBezTo>
                        <a:pt x="16" y="22"/>
                        <a:pt x="16" y="22"/>
                        <a:pt x="16" y="22"/>
                      </a:cubicBezTo>
                      <a:cubicBezTo>
                        <a:pt x="16" y="21"/>
                        <a:pt x="16" y="21"/>
                        <a:pt x="16" y="21"/>
                      </a:cubicBezTo>
                      <a:cubicBezTo>
                        <a:pt x="16" y="21"/>
                        <a:pt x="16" y="21"/>
                        <a:pt x="16" y="21"/>
                      </a:cubicBezTo>
                      <a:cubicBezTo>
                        <a:pt x="16" y="21"/>
                        <a:pt x="16" y="21"/>
                        <a:pt x="16" y="21"/>
                      </a:cubicBezTo>
                      <a:cubicBezTo>
                        <a:pt x="18" y="19"/>
                        <a:pt x="18" y="19"/>
                        <a:pt x="18" y="19"/>
                      </a:cubicBezTo>
                      <a:cubicBezTo>
                        <a:pt x="19" y="18"/>
                        <a:pt x="19" y="18"/>
                        <a:pt x="19" y="18"/>
                      </a:cubicBezTo>
                      <a:cubicBezTo>
                        <a:pt x="19" y="18"/>
                        <a:pt x="19" y="18"/>
                        <a:pt x="19" y="18"/>
                      </a:cubicBezTo>
                      <a:cubicBezTo>
                        <a:pt x="20" y="18"/>
                        <a:pt x="20" y="18"/>
                        <a:pt x="20" y="18"/>
                      </a:cubicBezTo>
                      <a:cubicBezTo>
                        <a:pt x="19" y="17"/>
                        <a:pt x="19" y="17"/>
                        <a:pt x="19" y="17"/>
                      </a:cubicBezTo>
                      <a:cubicBezTo>
                        <a:pt x="20" y="17"/>
                        <a:pt x="20" y="17"/>
                        <a:pt x="20" y="17"/>
                      </a:cubicBezTo>
                      <a:cubicBezTo>
                        <a:pt x="20" y="16"/>
                        <a:pt x="20" y="16"/>
                        <a:pt x="20" y="16"/>
                      </a:cubicBezTo>
                      <a:cubicBezTo>
                        <a:pt x="19" y="16"/>
                        <a:pt x="19" y="16"/>
                        <a:pt x="19" y="16"/>
                      </a:cubicBezTo>
                      <a:cubicBezTo>
                        <a:pt x="18" y="17"/>
                        <a:pt x="18" y="17"/>
                        <a:pt x="18" y="17"/>
                      </a:cubicBezTo>
                      <a:cubicBezTo>
                        <a:pt x="18" y="17"/>
                        <a:pt x="18" y="17"/>
                        <a:pt x="18" y="17"/>
                      </a:cubicBezTo>
                      <a:cubicBezTo>
                        <a:pt x="17" y="17"/>
                        <a:pt x="17" y="17"/>
                        <a:pt x="17" y="17"/>
                      </a:cubicBezTo>
                      <a:cubicBezTo>
                        <a:pt x="16" y="17"/>
                        <a:pt x="16" y="17"/>
                        <a:pt x="16" y="17"/>
                      </a:cubicBezTo>
                      <a:cubicBezTo>
                        <a:pt x="15" y="17"/>
                        <a:pt x="15" y="17"/>
                        <a:pt x="15" y="17"/>
                      </a:cubicBezTo>
                      <a:cubicBezTo>
                        <a:pt x="15" y="17"/>
                        <a:pt x="15" y="17"/>
                        <a:pt x="15" y="17"/>
                      </a:cubicBezTo>
                      <a:cubicBezTo>
                        <a:pt x="14" y="17"/>
                        <a:pt x="14" y="17"/>
                        <a:pt x="14" y="17"/>
                      </a:cubicBezTo>
                      <a:cubicBezTo>
                        <a:pt x="14" y="17"/>
                        <a:pt x="14" y="17"/>
                        <a:pt x="14" y="17"/>
                      </a:cubicBezTo>
                      <a:cubicBezTo>
                        <a:pt x="14" y="17"/>
                        <a:pt x="14" y="17"/>
                        <a:pt x="14" y="17"/>
                      </a:cubicBezTo>
                      <a:cubicBezTo>
                        <a:pt x="13" y="18"/>
                        <a:pt x="13" y="18"/>
                        <a:pt x="13" y="18"/>
                      </a:cubicBezTo>
                      <a:cubicBezTo>
                        <a:pt x="14" y="17"/>
                        <a:pt x="14" y="17"/>
                        <a:pt x="14" y="17"/>
                      </a:cubicBezTo>
                      <a:cubicBezTo>
                        <a:pt x="13" y="17"/>
                        <a:pt x="13" y="17"/>
                        <a:pt x="13" y="17"/>
                      </a:cubicBezTo>
                      <a:cubicBezTo>
                        <a:pt x="12" y="17"/>
                        <a:pt x="12" y="17"/>
                        <a:pt x="12" y="17"/>
                      </a:cubicBezTo>
                      <a:cubicBezTo>
                        <a:pt x="12" y="17"/>
                        <a:pt x="12" y="17"/>
                        <a:pt x="12" y="17"/>
                      </a:cubicBezTo>
                      <a:cubicBezTo>
                        <a:pt x="12" y="18"/>
                        <a:pt x="12" y="18"/>
                        <a:pt x="12" y="18"/>
                      </a:cubicBezTo>
                      <a:cubicBezTo>
                        <a:pt x="12" y="18"/>
                        <a:pt x="12" y="18"/>
                        <a:pt x="12" y="18"/>
                      </a:cubicBezTo>
                      <a:cubicBezTo>
                        <a:pt x="12" y="19"/>
                        <a:pt x="12" y="19"/>
                        <a:pt x="12" y="19"/>
                      </a:cubicBezTo>
                      <a:cubicBezTo>
                        <a:pt x="11" y="19"/>
                        <a:pt x="11" y="19"/>
                        <a:pt x="11" y="19"/>
                      </a:cubicBezTo>
                      <a:cubicBezTo>
                        <a:pt x="11" y="19"/>
                        <a:pt x="11" y="19"/>
                        <a:pt x="11" y="19"/>
                      </a:cubicBezTo>
                      <a:cubicBezTo>
                        <a:pt x="11" y="20"/>
                        <a:pt x="11" y="20"/>
                        <a:pt x="11" y="20"/>
                      </a:cubicBezTo>
                      <a:cubicBezTo>
                        <a:pt x="11" y="20"/>
                        <a:pt x="11" y="20"/>
                        <a:pt x="11" y="20"/>
                      </a:cubicBezTo>
                      <a:cubicBezTo>
                        <a:pt x="12" y="21"/>
                        <a:pt x="12" y="21"/>
                        <a:pt x="12" y="21"/>
                      </a:cubicBezTo>
                      <a:cubicBezTo>
                        <a:pt x="12" y="21"/>
                        <a:pt x="12" y="21"/>
                        <a:pt x="12" y="21"/>
                      </a:cubicBezTo>
                      <a:cubicBezTo>
                        <a:pt x="11" y="21"/>
                        <a:pt x="11" y="21"/>
                        <a:pt x="11" y="21"/>
                      </a:cubicBezTo>
                      <a:cubicBezTo>
                        <a:pt x="11" y="21"/>
                        <a:pt x="11" y="21"/>
                        <a:pt x="11" y="21"/>
                      </a:cubicBezTo>
                      <a:cubicBezTo>
                        <a:pt x="10" y="21"/>
                        <a:pt x="10" y="21"/>
                        <a:pt x="10" y="21"/>
                      </a:cubicBezTo>
                      <a:cubicBezTo>
                        <a:pt x="10" y="21"/>
                        <a:pt x="10" y="21"/>
                        <a:pt x="10" y="21"/>
                      </a:cubicBezTo>
                      <a:cubicBezTo>
                        <a:pt x="10" y="21"/>
                        <a:pt x="10" y="21"/>
                        <a:pt x="10" y="21"/>
                      </a:cubicBezTo>
                      <a:cubicBezTo>
                        <a:pt x="10" y="22"/>
                        <a:pt x="10" y="22"/>
                        <a:pt x="10" y="22"/>
                      </a:cubicBezTo>
                      <a:cubicBezTo>
                        <a:pt x="10" y="21"/>
                        <a:pt x="10" y="21"/>
                        <a:pt x="10" y="21"/>
                      </a:cubicBezTo>
                      <a:cubicBezTo>
                        <a:pt x="9" y="22"/>
                        <a:pt x="9" y="22"/>
                        <a:pt x="9" y="22"/>
                      </a:cubicBezTo>
                      <a:cubicBezTo>
                        <a:pt x="10" y="22"/>
                        <a:pt x="10" y="22"/>
                        <a:pt x="10" y="22"/>
                      </a:cubicBezTo>
                      <a:cubicBezTo>
                        <a:pt x="9" y="22"/>
                        <a:pt x="9" y="22"/>
                        <a:pt x="9" y="22"/>
                      </a:cubicBezTo>
                      <a:cubicBezTo>
                        <a:pt x="10" y="23"/>
                        <a:pt x="10" y="23"/>
                        <a:pt x="10" y="23"/>
                      </a:cubicBezTo>
                      <a:cubicBezTo>
                        <a:pt x="10" y="23"/>
                        <a:pt x="10" y="23"/>
                        <a:pt x="10" y="23"/>
                      </a:cubicBezTo>
                      <a:cubicBezTo>
                        <a:pt x="10" y="23"/>
                        <a:pt x="10" y="23"/>
                        <a:pt x="10" y="23"/>
                      </a:cubicBezTo>
                      <a:cubicBezTo>
                        <a:pt x="9" y="23"/>
                        <a:pt x="9" y="23"/>
                        <a:pt x="9" y="23"/>
                      </a:cubicBezTo>
                      <a:cubicBezTo>
                        <a:pt x="9" y="24"/>
                        <a:pt x="9" y="24"/>
                        <a:pt x="9" y="24"/>
                      </a:cubicBezTo>
                      <a:cubicBezTo>
                        <a:pt x="9" y="24"/>
                        <a:pt x="9" y="24"/>
                        <a:pt x="9" y="24"/>
                      </a:cubicBezTo>
                      <a:cubicBezTo>
                        <a:pt x="11" y="24"/>
                        <a:pt x="11" y="24"/>
                        <a:pt x="11" y="24"/>
                      </a:cubicBezTo>
                      <a:cubicBezTo>
                        <a:pt x="10" y="24"/>
                        <a:pt x="10" y="24"/>
                        <a:pt x="10" y="24"/>
                      </a:cubicBezTo>
                      <a:cubicBezTo>
                        <a:pt x="10" y="25"/>
                        <a:pt x="10" y="25"/>
                        <a:pt x="10" y="25"/>
                      </a:cubicBezTo>
                      <a:cubicBezTo>
                        <a:pt x="10" y="25"/>
                        <a:pt x="10" y="25"/>
                        <a:pt x="10" y="25"/>
                      </a:cubicBezTo>
                      <a:cubicBezTo>
                        <a:pt x="11" y="24"/>
                        <a:pt x="11" y="24"/>
                        <a:pt x="11" y="24"/>
                      </a:cubicBezTo>
                      <a:cubicBezTo>
                        <a:pt x="10" y="25"/>
                        <a:pt x="10" y="25"/>
                        <a:pt x="10" y="25"/>
                      </a:cubicBezTo>
                      <a:cubicBezTo>
                        <a:pt x="11" y="25"/>
                        <a:pt x="11" y="25"/>
                        <a:pt x="11" y="25"/>
                      </a:cubicBezTo>
                      <a:cubicBezTo>
                        <a:pt x="10" y="25"/>
                        <a:pt x="10" y="25"/>
                        <a:pt x="10" y="25"/>
                      </a:cubicBezTo>
                      <a:cubicBezTo>
                        <a:pt x="10" y="25"/>
                        <a:pt x="10" y="25"/>
                        <a:pt x="10" y="25"/>
                      </a:cubicBezTo>
                      <a:cubicBezTo>
                        <a:pt x="10" y="25"/>
                        <a:pt x="10" y="25"/>
                        <a:pt x="10" y="25"/>
                      </a:cubicBezTo>
                      <a:cubicBezTo>
                        <a:pt x="10" y="26"/>
                        <a:pt x="10" y="26"/>
                        <a:pt x="10" y="26"/>
                      </a:cubicBezTo>
                      <a:cubicBezTo>
                        <a:pt x="10" y="26"/>
                        <a:pt x="10" y="26"/>
                        <a:pt x="10" y="26"/>
                      </a:cubicBezTo>
                      <a:cubicBezTo>
                        <a:pt x="9" y="26"/>
                        <a:pt x="9" y="26"/>
                        <a:pt x="9" y="26"/>
                      </a:cubicBezTo>
                      <a:cubicBezTo>
                        <a:pt x="10" y="26"/>
                        <a:pt x="10" y="26"/>
                        <a:pt x="10" y="26"/>
                      </a:cubicBezTo>
                      <a:cubicBezTo>
                        <a:pt x="10" y="26"/>
                        <a:pt x="10" y="26"/>
                        <a:pt x="10" y="26"/>
                      </a:cubicBezTo>
                      <a:cubicBezTo>
                        <a:pt x="9" y="26"/>
                        <a:pt x="9" y="26"/>
                        <a:pt x="9" y="26"/>
                      </a:cubicBezTo>
                      <a:cubicBezTo>
                        <a:pt x="9" y="27"/>
                        <a:pt x="9" y="27"/>
                        <a:pt x="9" y="27"/>
                      </a:cubicBezTo>
                      <a:cubicBezTo>
                        <a:pt x="9" y="27"/>
                        <a:pt x="9" y="27"/>
                        <a:pt x="9" y="27"/>
                      </a:cubicBezTo>
                      <a:cubicBezTo>
                        <a:pt x="9" y="27"/>
                        <a:pt x="9" y="27"/>
                        <a:pt x="9" y="27"/>
                      </a:cubicBezTo>
                      <a:cubicBezTo>
                        <a:pt x="9" y="28"/>
                        <a:pt x="9" y="28"/>
                        <a:pt x="9" y="28"/>
                      </a:cubicBezTo>
                      <a:cubicBezTo>
                        <a:pt x="8" y="28"/>
                        <a:pt x="8" y="28"/>
                        <a:pt x="8" y="28"/>
                      </a:cubicBezTo>
                      <a:cubicBezTo>
                        <a:pt x="8" y="28"/>
                        <a:pt x="8" y="28"/>
                        <a:pt x="8" y="28"/>
                      </a:cubicBezTo>
                      <a:cubicBezTo>
                        <a:pt x="8" y="28"/>
                        <a:pt x="8" y="28"/>
                        <a:pt x="8" y="28"/>
                      </a:cubicBezTo>
                      <a:cubicBezTo>
                        <a:pt x="9" y="28"/>
                        <a:pt x="9" y="28"/>
                        <a:pt x="9" y="28"/>
                      </a:cubicBezTo>
                      <a:cubicBezTo>
                        <a:pt x="9" y="28"/>
                        <a:pt x="9" y="28"/>
                        <a:pt x="9" y="28"/>
                      </a:cubicBezTo>
                      <a:cubicBezTo>
                        <a:pt x="9" y="28"/>
                        <a:pt x="9" y="28"/>
                        <a:pt x="9" y="28"/>
                      </a:cubicBezTo>
                      <a:cubicBezTo>
                        <a:pt x="8" y="28"/>
                        <a:pt x="8" y="28"/>
                        <a:pt x="8" y="28"/>
                      </a:cubicBezTo>
                      <a:cubicBezTo>
                        <a:pt x="9" y="29"/>
                        <a:pt x="9" y="29"/>
                        <a:pt x="9" y="29"/>
                      </a:cubicBezTo>
                      <a:cubicBezTo>
                        <a:pt x="9" y="29"/>
                        <a:pt x="9" y="29"/>
                        <a:pt x="9" y="29"/>
                      </a:cubicBezTo>
                      <a:cubicBezTo>
                        <a:pt x="10" y="29"/>
                        <a:pt x="10" y="29"/>
                        <a:pt x="10" y="29"/>
                      </a:cubicBezTo>
                      <a:cubicBezTo>
                        <a:pt x="12" y="27"/>
                        <a:pt x="12" y="27"/>
                        <a:pt x="12" y="27"/>
                      </a:cubicBezTo>
                      <a:cubicBezTo>
                        <a:pt x="11" y="28"/>
                        <a:pt x="11" y="28"/>
                        <a:pt x="11" y="28"/>
                      </a:cubicBezTo>
                      <a:cubicBezTo>
                        <a:pt x="12" y="28"/>
                        <a:pt x="12" y="28"/>
                        <a:pt x="12" y="28"/>
                      </a:cubicBezTo>
                      <a:cubicBezTo>
                        <a:pt x="11" y="28"/>
                        <a:pt x="11" y="28"/>
                        <a:pt x="11" y="28"/>
                      </a:cubicBezTo>
                      <a:cubicBezTo>
                        <a:pt x="11" y="29"/>
                        <a:pt x="11" y="29"/>
                        <a:pt x="11" y="29"/>
                      </a:cubicBezTo>
                      <a:cubicBezTo>
                        <a:pt x="11" y="30"/>
                        <a:pt x="11" y="30"/>
                        <a:pt x="11" y="30"/>
                      </a:cubicBezTo>
                      <a:cubicBezTo>
                        <a:pt x="10" y="31"/>
                        <a:pt x="10" y="31"/>
                        <a:pt x="10" y="31"/>
                      </a:cubicBezTo>
                      <a:cubicBezTo>
                        <a:pt x="10" y="31"/>
                        <a:pt x="10" y="31"/>
                        <a:pt x="10" y="31"/>
                      </a:cubicBezTo>
                      <a:cubicBezTo>
                        <a:pt x="10" y="32"/>
                        <a:pt x="10" y="32"/>
                        <a:pt x="10" y="32"/>
                      </a:cubicBezTo>
                      <a:cubicBezTo>
                        <a:pt x="10" y="33"/>
                        <a:pt x="10" y="33"/>
                        <a:pt x="10" y="33"/>
                      </a:cubicBezTo>
                      <a:cubicBezTo>
                        <a:pt x="10" y="33"/>
                        <a:pt x="10" y="33"/>
                        <a:pt x="10" y="33"/>
                      </a:cubicBezTo>
                      <a:cubicBezTo>
                        <a:pt x="10" y="34"/>
                        <a:pt x="10" y="34"/>
                        <a:pt x="10" y="34"/>
                      </a:cubicBezTo>
                      <a:cubicBezTo>
                        <a:pt x="10" y="34"/>
                        <a:pt x="10" y="34"/>
                        <a:pt x="10" y="34"/>
                      </a:cubicBezTo>
                      <a:cubicBezTo>
                        <a:pt x="10" y="34"/>
                        <a:pt x="10" y="34"/>
                        <a:pt x="10" y="34"/>
                      </a:cubicBezTo>
                      <a:cubicBezTo>
                        <a:pt x="10" y="36"/>
                        <a:pt x="10" y="36"/>
                        <a:pt x="10" y="36"/>
                      </a:cubicBezTo>
                      <a:cubicBezTo>
                        <a:pt x="9" y="36"/>
                        <a:pt x="9" y="36"/>
                        <a:pt x="9" y="36"/>
                      </a:cubicBezTo>
                      <a:cubicBezTo>
                        <a:pt x="9" y="36"/>
                        <a:pt x="9" y="36"/>
                        <a:pt x="9" y="36"/>
                      </a:cubicBezTo>
                      <a:cubicBezTo>
                        <a:pt x="10" y="36"/>
                        <a:pt x="10" y="36"/>
                        <a:pt x="10" y="36"/>
                      </a:cubicBezTo>
                      <a:cubicBezTo>
                        <a:pt x="10" y="36"/>
                        <a:pt x="10" y="36"/>
                        <a:pt x="10" y="36"/>
                      </a:cubicBezTo>
                      <a:cubicBezTo>
                        <a:pt x="10" y="35"/>
                        <a:pt x="10" y="35"/>
                        <a:pt x="10" y="35"/>
                      </a:cubicBezTo>
                      <a:cubicBezTo>
                        <a:pt x="10" y="34"/>
                        <a:pt x="10" y="34"/>
                        <a:pt x="10" y="34"/>
                      </a:cubicBezTo>
                      <a:cubicBezTo>
                        <a:pt x="11" y="34"/>
                        <a:pt x="11" y="34"/>
                        <a:pt x="11" y="34"/>
                      </a:cubicBezTo>
                      <a:cubicBezTo>
                        <a:pt x="10" y="32"/>
                        <a:pt x="10" y="32"/>
                        <a:pt x="10" y="32"/>
                      </a:cubicBezTo>
                      <a:cubicBezTo>
                        <a:pt x="11" y="32"/>
                        <a:pt x="11" y="32"/>
                        <a:pt x="11" y="32"/>
                      </a:cubicBezTo>
                      <a:cubicBezTo>
                        <a:pt x="12" y="31"/>
                        <a:pt x="12" y="31"/>
                        <a:pt x="12" y="31"/>
                      </a:cubicBezTo>
                      <a:cubicBezTo>
                        <a:pt x="11" y="32"/>
                        <a:pt x="11" y="32"/>
                        <a:pt x="11" y="32"/>
                      </a:cubicBezTo>
                      <a:cubicBezTo>
                        <a:pt x="11" y="33"/>
                        <a:pt x="11" y="33"/>
                        <a:pt x="11" y="33"/>
                      </a:cubicBezTo>
                      <a:cubicBezTo>
                        <a:pt x="11" y="33"/>
                        <a:pt x="11" y="33"/>
                        <a:pt x="11" y="33"/>
                      </a:cubicBezTo>
                      <a:cubicBezTo>
                        <a:pt x="11" y="33"/>
                        <a:pt x="11" y="33"/>
                        <a:pt x="11" y="33"/>
                      </a:cubicBezTo>
                      <a:cubicBezTo>
                        <a:pt x="12" y="32"/>
                        <a:pt x="12" y="32"/>
                        <a:pt x="12" y="32"/>
                      </a:cubicBezTo>
                      <a:cubicBezTo>
                        <a:pt x="12" y="33"/>
                        <a:pt x="12" y="33"/>
                        <a:pt x="12" y="33"/>
                      </a:cubicBezTo>
                      <a:cubicBezTo>
                        <a:pt x="13" y="32"/>
                        <a:pt x="13" y="32"/>
                        <a:pt x="13" y="32"/>
                      </a:cubicBezTo>
                      <a:cubicBezTo>
                        <a:pt x="13" y="31"/>
                        <a:pt x="13" y="31"/>
                        <a:pt x="13" y="31"/>
                      </a:cubicBezTo>
                      <a:cubicBezTo>
                        <a:pt x="13" y="31"/>
                        <a:pt x="13" y="31"/>
                        <a:pt x="13" y="31"/>
                      </a:cubicBezTo>
                      <a:cubicBezTo>
                        <a:pt x="13" y="32"/>
                        <a:pt x="13" y="32"/>
                        <a:pt x="13" y="32"/>
                      </a:cubicBezTo>
                      <a:cubicBezTo>
                        <a:pt x="14" y="33"/>
                        <a:pt x="14" y="33"/>
                        <a:pt x="14" y="33"/>
                      </a:cubicBezTo>
                      <a:cubicBezTo>
                        <a:pt x="13" y="33"/>
                        <a:pt x="13" y="33"/>
                        <a:pt x="13" y="33"/>
                      </a:cubicBezTo>
                      <a:cubicBezTo>
                        <a:pt x="13" y="34"/>
                        <a:pt x="13" y="34"/>
                        <a:pt x="13" y="34"/>
                      </a:cubicBezTo>
                      <a:cubicBezTo>
                        <a:pt x="13" y="35"/>
                        <a:pt x="13" y="35"/>
                        <a:pt x="13" y="35"/>
                      </a:cubicBezTo>
                      <a:cubicBezTo>
                        <a:pt x="14" y="35"/>
                        <a:pt x="14" y="35"/>
                        <a:pt x="14" y="35"/>
                      </a:cubicBezTo>
                      <a:cubicBezTo>
                        <a:pt x="14" y="35"/>
                        <a:pt x="14" y="35"/>
                        <a:pt x="14" y="35"/>
                      </a:cubicBezTo>
                      <a:cubicBezTo>
                        <a:pt x="13" y="36"/>
                        <a:pt x="13" y="36"/>
                        <a:pt x="13" y="36"/>
                      </a:cubicBezTo>
                      <a:cubicBezTo>
                        <a:pt x="12" y="38"/>
                        <a:pt x="12" y="38"/>
                        <a:pt x="12" y="38"/>
                      </a:cubicBezTo>
                      <a:cubicBezTo>
                        <a:pt x="12" y="39"/>
                        <a:pt x="12" y="39"/>
                        <a:pt x="12" y="39"/>
                      </a:cubicBezTo>
                      <a:cubicBezTo>
                        <a:pt x="12" y="38"/>
                        <a:pt x="12" y="38"/>
                        <a:pt x="12" y="38"/>
                      </a:cubicBezTo>
                      <a:cubicBezTo>
                        <a:pt x="12" y="39"/>
                        <a:pt x="12" y="39"/>
                        <a:pt x="12" y="39"/>
                      </a:cubicBezTo>
                      <a:cubicBezTo>
                        <a:pt x="13" y="40"/>
                        <a:pt x="13" y="40"/>
                        <a:pt x="13" y="40"/>
                      </a:cubicBezTo>
                      <a:cubicBezTo>
                        <a:pt x="12" y="39"/>
                        <a:pt x="12" y="39"/>
                        <a:pt x="12" y="39"/>
                      </a:cubicBezTo>
                      <a:cubicBezTo>
                        <a:pt x="13" y="39"/>
                        <a:pt x="13" y="39"/>
                        <a:pt x="13" y="39"/>
                      </a:cubicBezTo>
                      <a:cubicBezTo>
                        <a:pt x="15" y="40"/>
                        <a:pt x="15" y="40"/>
                        <a:pt x="15" y="40"/>
                      </a:cubicBezTo>
                      <a:cubicBezTo>
                        <a:pt x="15" y="39"/>
                        <a:pt x="15" y="39"/>
                        <a:pt x="15" y="39"/>
                      </a:cubicBezTo>
                      <a:cubicBezTo>
                        <a:pt x="14" y="39"/>
                        <a:pt x="14" y="39"/>
                        <a:pt x="14" y="39"/>
                      </a:cubicBezTo>
                      <a:cubicBezTo>
                        <a:pt x="15" y="39"/>
                        <a:pt x="15" y="39"/>
                        <a:pt x="15" y="39"/>
                      </a:cubicBezTo>
                      <a:cubicBezTo>
                        <a:pt x="16" y="40"/>
                        <a:pt x="16" y="40"/>
                        <a:pt x="16" y="40"/>
                      </a:cubicBezTo>
                      <a:cubicBezTo>
                        <a:pt x="17" y="39"/>
                        <a:pt x="17" y="39"/>
                        <a:pt x="17" y="39"/>
                      </a:cubicBezTo>
                      <a:cubicBezTo>
                        <a:pt x="17" y="39"/>
                        <a:pt x="17" y="39"/>
                        <a:pt x="17" y="39"/>
                      </a:cubicBezTo>
                      <a:cubicBezTo>
                        <a:pt x="18" y="39"/>
                        <a:pt x="18" y="39"/>
                        <a:pt x="18" y="39"/>
                      </a:cubicBezTo>
                      <a:cubicBezTo>
                        <a:pt x="18" y="38"/>
                        <a:pt x="18" y="38"/>
                        <a:pt x="18" y="38"/>
                      </a:cubicBezTo>
                      <a:cubicBezTo>
                        <a:pt x="20" y="38"/>
                        <a:pt x="20" y="38"/>
                        <a:pt x="20" y="38"/>
                      </a:cubicBezTo>
                      <a:cubicBezTo>
                        <a:pt x="19" y="39"/>
                        <a:pt x="19" y="39"/>
                        <a:pt x="19" y="39"/>
                      </a:cubicBezTo>
                      <a:cubicBezTo>
                        <a:pt x="18" y="41"/>
                        <a:pt x="18" y="41"/>
                        <a:pt x="18" y="41"/>
                      </a:cubicBezTo>
                      <a:cubicBezTo>
                        <a:pt x="19" y="43"/>
                        <a:pt x="19" y="43"/>
                        <a:pt x="19" y="43"/>
                      </a:cubicBezTo>
                      <a:cubicBezTo>
                        <a:pt x="20" y="43"/>
                        <a:pt x="20" y="43"/>
                        <a:pt x="20" y="43"/>
                      </a:cubicBezTo>
                      <a:cubicBezTo>
                        <a:pt x="20" y="44"/>
                        <a:pt x="20" y="44"/>
                        <a:pt x="20" y="44"/>
                      </a:cubicBezTo>
                      <a:cubicBezTo>
                        <a:pt x="20" y="43"/>
                        <a:pt x="20" y="43"/>
                        <a:pt x="20" y="43"/>
                      </a:cubicBezTo>
                      <a:cubicBezTo>
                        <a:pt x="21" y="43"/>
                        <a:pt x="21" y="43"/>
                        <a:pt x="21" y="43"/>
                      </a:cubicBezTo>
                      <a:cubicBezTo>
                        <a:pt x="21" y="44"/>
                        <a:pt x="21" y="44"/>
                        <a:pt x="21" y="44"/>
                      </a:cubicBezTo>
                      <a:cubicBezTo>
                        <a:pt x="21" y="44"/>
                        <a:pt x="21" y="44"/>
                        <a:pt x="21" y="44"/>
                      </a:cubicBezTo>
                      <a:cubicBezTo>
                        <a:pt x="20" y="45"/>
                        <a:pt x="20" y="45"/>
                        <a:pt x="20" y="45"/>
                      </a:cubicBezTo>
                      <a:cubicBezTo>
                        <a:pt x="21" y="46"/>
                        <a:pt x="21" y="46"/>
                        <a:pt x="21" y="46"/>
                      </a:cubicBezTo>
                      <a:cubicBezTo>
                        <a:pt x="20" y="47"/>
                        <a:pt x="20" y="47"/>
                        <a:pt x="20" y="47"/>
                      </a:cubicBezTo>
                      <a:cubicBezTo>
                        <a:pt x="21" y="48"/>
                        <a:pt x="21" y="48"/>
                        <a:pt x="21" y="48"/>
                      </a:cubicBezTo>
                      <a:cubicBezTo>
                        <a:pt x="21" y="48"/>
                        <a:pt x="21" y="48"/>
                        <a:pt x="21" y="48"/>
                      </a:cubicBezTo>
                      <a:cubicBezTo>
                        <a:pt x="22" y="48"/>
                        <a:pt x="22" y="48"/>
                        <a:pt x="22" y="48"/>
                      </a:cubicBezTo>
                      <a:cubicBezTo>
                        <a:pt x="21" y="49"/>
                        <a:pt x="21" y="49"/>
                        <a:pt x="21" y="49"/>
                      </a:cubicBezTo>
                      <a:cubicBezTo>
                        <a:pt x="21" y="49"/>
                        <a:pt x="21" y="49"/>
                        <a:pt x="21" y="49"/>
                      </a:cubicBezTo>
                      <a:cubicBezTo>
                        <a:pt x="20" y="48"/>
                        <a:pt x="20" y="48"/>
                        <a:pt x="20" y="48"/>
                      </a:cubicBezTo>
                      <a:cubicBezTo>
                        <a:pt x="20" y="48"/>
                        <a:pt x="20" y="48"/>
                        <a:pt x="20" y="48"/>
                      </a:cubicBezTo>
                      <a:cubicBezTo>
                        <a:pt x="20" y="49"/>
                        <a:pt x="20" y="49"/>
                        <a:pt x="20" y="49"/>
                      </a:cubicBezTo>
                      <a:cubicBezTo>
                        <a:pt x="21" y="49"/>
                        <a:pt x="21" y="49"/>
                        <a:pt x="21" y="49"/>
                      </a:cubicBezTo>
                      <a:cubicBezTo>
                        <a:pt x="20" y="49"/>
                        <a:pt x="20" y="49"/>
                        <a:pt x="20" y="49"/>
                      </a:cubicBezTo>
                      <a:cubicBezTo>
                        <a:pt x="19" y="48"/>
                        <a:pt x="19" y="48"/>
                        <a:pt x="19" y="48"/>
                      </a:cubicBezTo>
                      <a:cubicBezTo>
                        <a:pt x="18" y="49"/>
                        <a:pt x="18" y="49"/>
                        <a:pt x="18" y="49"/>
                      </a:cubicBezTo>
                      <a:cubicBezTo>
                        <a:pt x="17" y="49"/>
                        <a:pt x="17" y="49"/>
                        <a:pt x="17" y="49"/>
                      </a:cubicBezTo>
                      <a:cubicBezTo>
                        <a:pt x="16" y="49"/>
                        <a:pt x="16" y="49"/>
                        <a:pt x="16" y="49"/>
                      </a:cubicBezTo>
                      <a:cubicBezTo>
                        <a:pt x="15" y="50"/>
                        <a:pt x="15" y="50"/>
                        <a:pt x="15" y="50"/>
                      </a:cubicBezTo>
                      <a:cubicBezTo>
                        <a:pt x="14" y="51"/>
                        <a:pt x="14" y="51"/>
                        <a:pt x="14" y="51"/>
                      </a:cubicBezTo>
                      <a:cubicBezTo>
                        <a:pt x="13" y="52"/>
                        <a:pt x="13" y="52"/>
                        <a:pt x="13" y="52"/>
                      </a:cubicBezTo>
                      <a:cubicBezTo>
                        <a:pt x="14" y="52"/>
                        <a:pt x="14" y="52"/>
                        <a:pt x="14" y="52"/>
                      </a:cubicBezTo>
                      <a:cubicBezTo>
                        <a:pt x="14" y="52"/>
                        <a:pt x="14" y="52"/>
                        <a:pt x="14" y="52"/>
                      </a:cubicBezTo>
                      <a:cubicBezTo>
                        <a:pt x="14" y="51"/>
                        <a:pt x="14" y="51"/>
                        <a:pt x="14" y="51"/>
                      </a:cubicBezTo>
                      <a:cubicBezTo>
                        <a:pt x="16" y="51"/>
                        <a:pt x="16" y="51"/>
                        <a:pt x="16" y="51"/>
                      </a:cubicBezTo>
                      <a:cubicBezTo>
                        <a:pt x="16" y="52"/>
                        <a:pt x="16" y="52"/>
                        <a:pt x="16" y="52"/>
                      </a:cubicBezTo>
                      <a:cubicBezTo>
                        <a:pt x="16" y="52"/>
                        <a:pt x="16" y="52"/>
                        <a:pt x="16" y="52"/>
                      </a:cubicBezTo>
                      <a:cubicBezTo>
                        <a:pt x="16" y="53"/>
                        <a:pt x="16" y="53"/>
                        <a:pt x="16" y="53"/>
                      </a:cubicBezTo>
                      <a:cubicBezTo>
                        <a:pt x="16" y="53"/>
                        <a:pt x="16" y="53"/>
                        <a:pt x="16" y="53"/>
                      </a:cubicBezTo>
                      <a:cubicBezTo>
                        <a:pt x="16" y="53"/>
                        <a:pt x="16" y="53"/>
                        <a:pt x="16" y="53"/>
                      </a:cubicBezTo>
                      <a:cubicBezTo>
                        <a:pt x="15" y="55"/>
                        <a:pt x="15" y="55"/>
                        <a:pt x="15" y="55"/>
                      </a:cubicBezTo>
                      <a:cubicBezTo>
                        <a:pt x="15" y="55"/>
                        <a:pt x="15" y="55"/>
                        <a:pt x="15" y="55"/>
                      </a:cubicBezTo>
                      <a:cubicBezTo>
                        <a:pt x="14" y="56"/>
                        <a:pt x="14" y="56"/>
                        <a:pt x="14" y="56"/>
                      </a:cubicBezTo>
                      <a:cubicBezTo>
                        <a:pt x="14" y="56"/>
                        <a:pt x="14" y="56"/>
                        <a:pt x="14" y="56"/>
                      </a:cubicBezTo>
                      <a:cubicBezTo>
                        <a:pt x="13" y="56"/>
                        <a:pt x="13" y="56"/>
                        <a:pt x="13" y="56"/>
                      </a:cubicBezTo>
                      <a:cubicBezTo>
                        <a:pt x="12" y="56"/>
                        <a:pt x="12" y="56"/>
                        <a:pt x="12" y="56"/>
                      </a:cubicBezTo>
                      <a:cubicBezTo>
                        <a:pt x="11" y="57"/>
                        <a:pt x="11" y="57"/>
                        <a:pt x="11" y="57"/>
                      </a:cubicBezTo>
                      <a:cubicBezTo>
                        <a:pt x="12" y="57"/>
                        <a:pt x="12" y="57"/>
                        <a:pt x="12" y="57"/>
                      </a:cubicBezTo>
                      <a:cubicBezTo>
                        <a:pt x="12" y="58"/>
                        <a:pt x="12" y="58"/>
                        <a:pt x="12" y="58"/>
                      </a:cubicBezTo>
                      <a:cubicBezTo>
                        <a:pt x="11" y="58"/>
                        <a:pt x="11" y="58"/>
                        <a:pt x="11" y="58"/>
                      </a:cubicBezTo>
                      <a:cubicBezTo>
                        <a:pt x="12" y="58"/>
                        <a:pt x="12" y="58"/>
                        <a:pt x="12" y="58"/>
                      </a:cubicBezTo>
                      <a:cubicBezTo>
                        <a:pt x="12" y="59"/>
                        <a:pt x="12" y="59"/>
                        <a:pt x="12" y="59"/>
                      </a:cubicBezTo>
                      <a:cubicBezTo>
                        <a:pt x="12" y="59"/>
                        <a:pt x="12" y="59"/>
                        <a:pt x="12" y="59"/>
                      </a:cubicBezTo>
                      <a:cubicBezTo>
                        <a:pt x="13" y="59"/>
                        <a:pt x="13" y="59"/>
                        <a:pt x="13" y="59"/>
                      </a:cubicBezTo>
                      <a:cubicBezTo>
                        <a:pt x="14" y="58"/>
                        <a:pt x="14" y="58"/>
                        <a:pt x="14" y="58"/>
                      </a:cubicBezTo>
                      <a:cubicBezTo>
                        <a:pt x="15" y="58"/>
                        <a:pt x="15" y="58"/>
                        <a:pt x="15" y="58"/>
                      </a:cubicBezTo>
                      <a:cubicBezTo>
                        <a:pt x="15" y="58"/>
                        <a:pt x="15" y="58"/>
                        <a:pt x="15" y="58"/>
                      </a:cubicBezTo>
                      <a:cubicBezTo>
                        <a:pt x="16" y="59"/>
                        <a:pt x="16" y="59"/>
                        <a:pt x="16" y="59"/>
                      </a:cubicBezTo>
                      <a:cubicBezTo>
                        <a:pt x="15" y="59"/>
                        <a:pt x="15" y="59"/>
                        <a:pt x="15" y="59"/>
                      </a:cubicBezTo>
                      <a:cubicBezTo>
                        <a:pt x="15" y="59"/>
                        <a:pt x="15" y="59"/>
                        <a:pt x="15" y="59"/>
                      </a:cubicBezTo>
                      <a:cubicBezTo>
                        <a:pt x="17" y="59"/>
                        <a:pt x="17" y="59"/>
                        <a:pt x="17" y="59"/>
                      </a:cubicBezTo>
                      <a:cubicBezTo>
                        <a:pt x="17" y="59"/>
                        <a:pt x="17" y="59"/>
                        <a:pt x="17" y="59"/>
                      </a:cubicBezTo>
                      <a:cubicBezTo>
                        <a:pt x="17" y="59"/>
                        <a:pt x="17" y="59"/>
                        <a:pt x="17" y="59"/>
                      </a:cubicBezTo>
                      <a:cubicBezTo>
                        <a:pt x="18" y="60"/>
                        <a:pt x="18" y="60"/>
                        <a:pt x="18" y="60"/>
                      </a:cubicBezTo>
                      <a:cubicBezTo>
                        <a:pt x="18" y="60"/>
                        <a:pt x="18" y="60"/>
                        <a:pt x="18" y="60"/>
                      </a:cubicBezTo>
                      <a:cubicBezTo>
                        <a:pt x="20" y="60"/>
                        <a:pt x="20" y="60"/>
                        <a:pt x="20" y="60"/>
                      </a:cubicBezTo>
                      <a:cubicBezTo>
                        <a:pt x="20" y="60"/>
                        <a:pt x="20" y="60"/>
                        <a:pt x="20" y="60"/>
                      </a:cubicBezTo>
                      <a:cubicBezTo>
                        <a:pt x="21" y="59"/>
                        <a:pt x="21" y="59"/>
                        <a:pt x="21" y="59"/>
                      </a:cubicBezTo>
                      <a:cubicBezTo>
                        <a:pt x="22" y="59"/>
                        <a:pt x="22" y="59"/>
                        <a:pt x="22" y="59"/>
                      </a:cubicBezTo>
                      <a:cubicBezTo>
                        <a:pt x="22" y="58"/>
                        <a:pt x="22" y="58"/>
                        <a:pt x="22" y="58"/>
                      </a:cubicBezTo>
                      <a:cubicBezTo>
                        <a:pt x="23" y="58"/>
                        <a:pt x="23" y="58"/>
                        <a:pt x="23" y="58"/>
                      </a:cubicBezTo>
                      <a:cubicBezTo>
                        <a:pt x="22" y="59"/>
                        <a:pt x="22" y="59"/>
                        <a:pt x="22" y="59"/>
                      </a:cubicBezTo>
                      <a:cubicBezTo>
                        <a:pt x="21" y="60"/>
                        <a:pt x="21" y="60"/>
                        <a:pt x="21" y="60"/>
                      </a:cubicBezTo>
                      <a:cubicBezTo>
                        <a:pt x="21" y="61"/>
                        <a:pt x="21" y="61"/>
                        <a:pt x="21" y="61"/>
                      </a:cubicBezTo>
                      <a:cubicBezTo>
                        <a:pt x="20" y="61"/>
                        <a:pt x="20" y="61"/>
                        <a:pt x="20" y="61"/>
                      </a:cubicBezTo>
                      <a:cubicBezTo>
                        <a:pt x="20" y="62"/>
                        <a:pt x="20" y="62"/>
                        <a:pt x="20" y="62"/>
                      </a:cubicBezTo>
                      <a:cubicBezTo>
                        <a:pt x="19" y="61"/>
                        <a:pt x="19" y="61"/>
                        <a:pt x="19" y="61"/>
                      </a:cubicBezTo>
                      <a:cubicBezTo>
                        <a:pt x="17" y="61"/>
                        <a:pt x="17" y="61"/>
                        <a:pt x="17" y="61"/>
                      </a:cubicBezTo>
                      <a:cubicBezTo>
                        <a:pt x="15" y="61"/>
                        <a:pt x="15" y="61"/>
                        <a:pt x="15" y="61"/>
                      </a:cubicBezTo>
                      <a:cubicBezTo>
                        <a:pt x="16" y="62"/>
                        <a:pt x="16" y="62"/>
                        <a:pt x="16" y="62"/>
                      </a:cubicBezTo>
                      <a:cubicBezTo>
                        <a:pt x="15" y="63"/>
                        <a:pt x="15" y="63"/>
                        <a:pt x="15" y="63"/>
                      </a:cubicBezTo>
                      <a:cubicBezTo>
                        <a:pt x="14" y="63"/>
                        <a:pt x="14" y="63"/>
                        <a:pt x="14" y="63"/>
                      </a:cubicBezTo>
                      <a:cubicBezTo>
                        <a:pt x="14" y="64"/>
                        <a:pt x="14" y="64"/>
                        <a:pt x="14" y="64"/>
                      </a:cubicBezTo>
                      <a:cubicBezTo>
                        <a:pt x="13" y="65"/>
                        <a:pt x="13" y="65"/>
                        <a:pt x="13" y="65"/>
                      </a:cubicBezTo>
                      <a:cubicBezTo>
                        <a:pt x="13" y="65"/>
                        <a:pt x="13" y="65"/>
                        <a:pt x="13" y="65"/>
                      </a:cubicBezTo>
                      <a:cubicBezTo>
                        <a:pt x="12" y="65"/>
                        <a:pt x="12" y="65"/>
                        <a:pt x="12" y="65"/>
                      </a:cubicBezTo>
                      <a:cubicBezTo>
                        <a:pt x="12" y="66"/>
                        <a:pt x="12" y="66"/>
                        <a:pt x="12" y="66"/>
                      </a:cubicBezTo>
                      <a:cubicBezTo>
                        <a:pt x="11" y="66"/>
                        <a:pt x="11" y="66"/>
                        <a:pt x="11" y="66"/>
                      </a:cubicBezTo>
                      <a:cubicBezTo>
                        <a:pt x="11" y="67"/>
                        <a:pt x="11" y="67"/>
                        <a:pt x="11" y="67"/>
                      </a:cubicBezTo>
                      <a:cubicBezTo>
                        <a:pt x="10" y="67"/>
                        <a:pt x="10" y="67"/>
                        <a:pt x="10" y="67"/>
                      </a:cubicBezTo>
                      <a:cubicBezTo>
                        <a:pt x="10" y="67"/>
                        <a:pt x="10" y="67"/>
                        <a:pt x="10" y="67"/>
                      </a:cubicBezTo>
                      <a:cubicBezTo>
                        <a:pt x="9" y="68"/>
                        <a:pt x="9" y="68"/>
                        <a:pt x="9" y="68"/>
                      </a:cubicBezTo>
                      <a:cubicBezTo>
                        <a:pt x="9" y="68"/>
                        <a:pt x="9" y="68"/>
                        <a:pt x="9" y="68"/>
                      </a:cubicBezTo>
                      <a:cubicBezTo>
                        <a:pt x="10" y="68"/>
                        <a:pt x="10" y="68"/>
                        <a:pt x="10" y="68"/>
                      </a:cubicBezTo>
                      <a:cubicBezTo>
                        <a:pt x="10" y="68"/>
                        <a:pt x="10" y="68"/>
                        <a:pt x="10" y="68"/>
                      </a:cubicBezTo>
                      <a:cubicBezTo>
                        <a:pt x="11" y="68"/>
                        <a:pt x="11" y="68"/>
                        <a:pt x="11" y="68"/>
                      </a:cubicBezTo>
                      <a:lnTo>
                        <a:pt x="11" y="69"/>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 name="Freeform 76">
                  <a:extLst>
                    <a:ext uri="{FF2B5EF4-FFF2-40B4-BE49-F238E27FC236}">
                      <a16:creationId xmlns:a16="http://schemas.microsoft.com/office/drawing/2014/main" id="{9B9D2369-A2FD-2BFA-CB9B-DB90F0CEB43C}"/>
                    </a:ext>
                  </a:extLst>
                </p:cNvPr>
                <p:cNvSpPr>
                  <a:spLocks/>
                </p:cNvSpPr>
                <p:nvPr/>
              </p:nvSpPr>
              <p:spPr bwMode="auto">
                <a:xfrm>
                  <a:off x="2808" y="2216"/>
                  <a:ext cx="2" cy="4"/>
                </a:xfrm>
                <a:custGeom>
                  <a:avLst/>
                  <a:gdLst>
                    <a:gd name="T0" fmla="*/ 0 w 2"/>
                    <a:gd name="T1" fmla="*/ 0 h 4"/>
                    <a:gd name="T2" fmla="*/ 0 w 2"/>
                    <a:gd name="T3" fmla="*/ 2 h 4"/>
                    <a:gd name="T4" fmla="*/ 2 w 2"/>
                    <a:gd name="T5" fmla="*/ 4 h 4"/>
                    <a:gd name="T6" fmla="*/ 2 w 2"/>
                    <a:gd name="T7" fmla="*/ 2 h 4"/>
                    <a:gd name="T8" fmla="*/ 2 w 2"/>
                    <a:gd name="T9" fmla="*/ 2 h 4"/>
                    <a:gd name="T10" fmla="*/ 0 w 2"/>
                    <a:gd name="T11" fmla="*/ 0 h 4"/>
                  </a:gdLst>
                  <a:ahLst/>
                  <a:cxnLst>
                    <a:cxn ang="0">
                      <a:pos x="T0" y="T1"/>
                    </a:cxn>
                    <a:cxn ang="0">
                      <a:pos x="T2" y="T3"/>
                    </a:cxn>
                    <a:cxn ang="0">
                      <a:pos x="T4" y="T5"/>
                    </a:cxn>
                    <a:cxn ang="0">
                      <a:pos x="T6" y="T7"/>
                    </a:cxn>
                    <a:cxn ang="0">
                      <a:pos x="T8" y="T9"/>
                    </a:cxn>
                    <a:cxn ang="0">
                      <a:pos x="T10" y="T11"/>
                    </a:cxn>
                  </a:cxnLst>
                  <a:rect l="0" t="0" r="r" b="b"/>
                  <a:pathLst>
                    <a:path w="2" h="4">
                      <a:moveTo>
                        <a:pt x="0" y="0"/>
                      </a:moveTo>
                      <a:lnTo>
                        <a:pt x="0" y="2"/>
                      </a:lnTo>
                      <a:lnTo>
                        <a:pt x="2" y="4"/>
                      </a:lnTo>
                      <a:lnTo>
                        <a:pt x="2" y="2"/>
                      </a:lnTo>
                      <a:lnTo>
                        <a:pt x="2" y="2"/>
                      </a:lnTo>
                      <a:lnTo>
                        <a:pt x="0" y="0"/>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 name="Freeform 77">
                  <a:extLst>
                    <a:ext uri="{FF2B5EF4-FFF2-40B4-BE49-F238E27FC236}">
                      <a16:creationId xmlns:a16="http://schemas.microsoft.com/office/drawing/2014/main" id="{917C665F-2D49-82D4-7A77-388AF7A2D53E}"/>
                    </a:ext>
                  </a:extLst>
                </p:cNvPr>
                <p:cNvSpPr>
                  <a:spLocks noEditPoints="1"/>
                </p:cNvSpPr>
                <p:nvPr/>
              </p:nvSpPr>
              <p:spPr bwMode="auto">
                <a:xfrm>
                  <a:off x="2720" y="2078"/>
                  <a:ext cx="128" cy="131"/>
                </a:xfrm>
                <a:custGeom>
                  <a:avLst/>
                  <a:gdLst>
                    <a:gd name="T0" fmla="*/ 3 w 128"/>
                    <a:gd name="T1" fmla="*/ 33 h 131"/>
                    <a:gd name="T2" fmla="*/ 5 w 128"/>
                    <a:gd name="T3" fmla="*/ 19 h 131"/>
                    <a:gd name="T4" fmla="*/ 10 w 128"/>
                    <a:gd name="T5" fmla="*/ 12 h 131"/>
                    <a:gd name="T6" fmla="*/ 24 w 128"/>
                    <a:gd name="T7" fmla="*/ 12 h 131"/>
                    <a:gd name="T8" fmla="*/ 33 w 128"/>
                    <a:gd name="T9" fmla="*/ 10 h 131"/>
                    <a:gd name="T10" fmla="*/ 43 w 128"/>
                    <a:gd name="T11" fmla="*/ 0 h 131"/>
                    <a:gd name="T12" fmla="*/ 57 w 128"/>
                    <a:gd name="T13" fmla="*/ 0 h 131"/>
                    <a:gd name="T14" fmla="*/ 74 w 128"/>
                    <a:gd name="T15" fmla="*/ 10 h 131"/>
                    <a:gd name="T16" fmla="*/ 69 w 128"/>
                    <a:gd name="T17" fmla="*/ 17 h 131"/>
                    <a:gd name="T18" fmla="*/ 59 w 128"/>
                    <a:gd name="T19" fmla="*/ 22 h 131"/>
                    <a:gd name="T20" fmla="*/ 59 w 128"/>
                    <a:gd name="T21" fmla="*/ 31 h 131"/>
                    <a:gd name="T22" fmla="*/ 71 w 128"/>
                    <a:gd name="T23" fmla="*/ 43 h 131"/>
                    <a:gd name="T24" fmla="*/ 81 w 128"/>
                    <a:gd name="T25" fmla="*/ 55 h 131"/>
                    <a:gd name="T26" fmla="*/ 93 w 128"/>
                    <a:gd name="T27" fmla="*/ 64 h 131"/>
                    <a:gd name="T28" fmla="*/ 104 w 128"/>
                    <a:gd name="T29" fmla="*/ 64 h 131"/>
                    <a:gd name="T30" fmla="*/ 104 w 128"/>
                    <a:gd name="T31" fmla="*/ 71 h 131"/>
                    <a:gd name="T32" fmla="*/ 126 w 128"/>
                    <a:gd name="T33" fmla="*/ 81 h 131"/>
                    <a:gd name="T34" fmla="*/ 128 w 128"/>
                    <a:gd name="T35" fmla="*/ 90 h 131"/>
                    <a:gd name="T36" fmla="*/ 123 w 128"/>
                    <a:gd name="T37" fmla="*/ 86 h 131"/>
                    <a:gd name="T38" fmla="*/ 116 w 128"/>
                    <a:gd name="T39" fmla="*/ 83 h 131"/>
                    <a:gd name="T40" fmla="*/ 111 w 128"/>
                    <a:gd name="T41" fmla="*/ 88 h 131"/>
                    <a:gd name="T42" fmla="*/ 111 w 128"/>
                    <a:gd name="T43" fmla="*/ 93 h 131"/>
                    <a:gd name="T44" fmla="*/ 114 w 128"/>
                    <a:gd name="T45" fmla="*/ 102 h 131"/>
                    <a:gd name="T46" fmla="*/ 107 w 128"/>
                    <a:gd name="T47" fmla="*/ 114 h 131"/>
                    <a:gd name="T48" fmla="*/ 100 w 128"/>
                    <a:gd name="T49" fmla="*/ 112 h 131"/>
                    <a:gd name="T50" fmla="*/ 104 w 128"/>
                    <a:gd name="T51" fmla="*/ 105 h 131"/>
                    <a:gd name="T52" fmla="*/ 104 w 128"/>
                    <a:gd name="T53" fmla="*/ 97 h 131"/>
                    <a:gd name="T54" fmla="*/ 97 w 128"/>
                    <a:gd name="T55" fmla="*/ 88 h 131"/>
                    <a:gd name="T56" fmla="*/ 90 w 128"/>
                    <a:gd name="T57" fmla="*/ 83 h 131"/>
                    <a:gd name="T58" fmla="*/ 85 w 128"/>
                    <a:gd name="T59" fmla="*/ 78 h 131"/>
                    <a:gd name="T60" fmla="*/ 76 w 128"/>
                    <a:gd name="T61" fmla="*/ 74 h 131"/>
                    <a:gd name="T62" fmla="*/ 69 w 128"/>
                    <a:gd name="T63" fmla="*/ 71 h 131"/>
                    <a:gd name="T64" fmla="*/ 55 w 128"/>
                    <a:gd name="T65" fmla="*/ 59 h 131"/>
                    <a:gd name="T66" fmla="*/ 45 w 128"/>
                    <a:gd name="T67" fmla="*/ 52 h 131"/>
                    <a:gd name="T68" fmla="*/ 38 w 128"/>
                    <a:gd name="T69" fmla="*/ 41 h 131"/>
                    <a:gd name="T70" fmla="*/ 31 w 128"/>
                    <a:gd name="T71" fmla="*/ 36 h 131"/>
                    <a:gd name="T72" fmla="*/ 10 w 128"/>
                    <a:gd name="T73" fmla="*/ 41 h 131"/>
                    <a:gd name="T74" fmla="*/ 19 w 128"/>
                    <a:gd name="T75" fmla="*/ 74 h 131"/>
                    <a:gd name="T76" fmla="*/ 19 w 128"/>
                    <a:gd name="T77" fmla="*/ 76 h 131"/>
                    <a:gd name="T78" fmla="*/ 48 w 128"/>
                    <a:gd name="T79" fmla="*/ 59 h 131"/>
                    <a:gd name="T80" fmla="*/ 43 w 128"/>
                    <a:gd name="T81" fmla="*/ 55 h 131"/>
                    <a:gd name="T82" fmla="*/ 38 w 128"/>
                    <a:gd name="T83" fmla="*/ 52 h 131"/>
                    <a:gd name="T84" fmla="*/ 29 w 128"/>
                    <a:gd name="T85" fmla="*/ 100 h 131"/>
                    <a:gd name="T86" fmla="*/ 33 w 128"/>
                    <a:gd name="T87" fmla="*/ 100 h 131"/>
                    <a:gd name="T88" fmla="*/ 31 w 128"/>
                    <a:gd name="T89" fmla="*/ 83 h 131"/>
                    <a:gd name="T90" fmla="*/ 31 w 128"/>
                    <a:gd name="T91" fmla="*/ 74 h 131"/>
                    <a:gd name="T92" fmla="*/ 22 w 128"/>
                    <a:gd name="T93" fmla="*/ 78 h 131"/>
                    <a:gd name="T94" fmla="*/ 19 w 128"/>
                    <a:gd name="T95" fmla="*/ 83 h 131"/>
                    <a:gd name="T96" fmla="*/ 22 w 128"/>
                    <a:gd name="T97" fmla="*/ 90 h 131"/>
                    <a:gd name="T98" fmla="*/ 22 w 128"/>
                    <a:gd name="T99" fmla="*/ 102 h 131"/>
                    <a:gd name="T100" fmla="*/ 97 w 128"/>
                    <a:gd name="T101" fmla="*/ 126 h 131"/>
                    <a:gd name="T102" fmla="*/ 100 w 128"/>
                    <a:gd name="T103" fmla="*/ 112 h 131"/>
                    <a:gd name="T104" fmla="*/ 88 w 128"/>
                    <a:gd name="T105" fmla="*/ 114 h 131"/>
                    <a:gd name="T106" fmla="*/ 71 w 128"/>
                    <a:gd name="T107" fmla="*/ 114 h 131"/>
                    <a:gd name="T108" fmla="*/ 69 w 128"/>
                    <a:gd name="T109" fmla="*/ 119 h 131"/>
                    <a:gd name="T110" fmla="*/ 85 w 128"/>
                    <a:gd name="T111" fmla="*/ 126 h 131"/>
                    <a:gd name="T112" fmla="*/ 95 w 128"/>
                    <a:gd name="T113" fmla="*/ 131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8" h="131">
                      <a:moveTo>
                        <a:pt x="10" y="41"/>
                      </a:moveTo>
                      <a:lnTo>
                        <a:pt x="10" y="38"/>
                      </a:lnTo>
                      <a:lnTo>
                        <a:pt x="10" y="36"/>
                      </a:lnTo>
                      <a:lnTo>
                        <a:pt x="7" y="36"/>
                      </a:lnTo>
                      <a:lnTo>
                        <a:pt x="3" y="33"/>
                      </a:lnTo>
                      <a:lnTo>
                        <a:pt x="3" y="29"/>
                      </a:lnTo>
                      <a:lnTo>
                        <a:pt x="0" y="26"/>
                      </a:lnTo>
                      <a:lnTo>
                        <a:pt x="3" y="24"/>
                      </a:lnTo>
                      <a:lnTo>
                        <a:pt x="5" y="24"/>
                      </a:lnTo>
                      <a:lnTo>
                        <a:pt x="5" y="19"/>
                      </a:lnTo>
                      <a:lnTo>
                        <a:pt x="3" y="19"/>
                      </a:lnTo>
                      <a:lnTo>
                        <a:pt x="3" y="17"/>
                      </a:lnTo>
                      <a:lnTo>
                        <a:pt x="3" y="14"/>
                      </a:lnTo>
                      <a:lnTo>
                        <a:pt x="7" y="17"/>
                      </a:lnTo>
                      <a:lnTo>
                        <a:pt x="10" y="12"/>
                      </a:lnTo>
                      <a:lnTo>
                        <a:pt x="14" y="14"/>
                      </a:lnTo>
                      <a:lnTo>
                        <a:pt x="17" y="7"/>
                      </a:lnTo>
                      <a:lnTo>
                        <a:pt x="22" y="10"/>
                      </a:lnTo>
                      <a:lnTo>
                        <a:pt x="19" y="12"/>
                      </a:lnTo>
                      <a:lnTo>
                        <a:pt x="24" y="12"/>
                      </a:lnTo>
                      <a:lnTo>
                        <a:pt x="24" y="14"/>
                      </a:lnTo>
                      <a:lnTo>
                        <a:pt x="26" y="12"/>
                      </a:lnTo>
                      <a:lnTo>
                        <a:pt x="26" y="10"/>
                      </a:lnTo>
                      <a:lnTo>
                        <a:pt x="31" y="10"/>
                      </a:lnTo>
                      <a:lnTo>
                        <a:pt x="33" y="10"/>
                      </a:lnTo>
                      <a:lnTo>
                        <a:pt x="36" y="12"/>
                      </a:lnTo>
                      <a:lnTo>
                        <a:pt x="36" y="7"/>
                      </a:lnTo>
                      <a:lnTo>
                        <a:pt x="41" y="7"/>
                      </a:lnTo>
                      <a:lnTo>
                        <a:pt x="41" y="3"/>
                      </a:lnTo>
                      <a:lnTo>
                        <a:pt x="43" y="0"/>
                      </a:lnTo>
                      <a:lnTo>
                        <a:pt x="45" y="3"/>
                      </a:lnTo>
                      <a:lnTo>
                        <a:pt x="52" y="0"/>
                      </a:lnTo>
                      <a:lnTo>
                        <a:pt x="55" y="0"/>
                      </a:lnTo>
                      <a:lnTo>
                        <a:pt x="57" y="0"/>
                      </a:lnTo>
                      <a:lnTo>
                        <a:pt x="57" y="0"/>
                      </a:lnTo>
                      <a:lnTo>
                        <a:pt x="64" y="5"/>
                      </a:lnTo>
                      <a:lnTo>
                        <a:pt x="69" y="5"/>
                      </a:lnTo>
                      <a:lnTo>
                        <a:pt x="74" y="5"/>
                      </a:lnTo>
                      <a:lnTo>
                        <a:pt x="76" y="7"/>
                      </a:lnTo>
                      <a:lnTo>
                        <a:pt x="74" y="10"/>
                      </a:lnTo>
                      <a:lnTo>
                        <a:pt x="74" y="12"/>
                      </a:lnTo>
                      <a:lnTo>
                        <a:pt x="71" y="14"/>
                      </a:lnTo>
                      <a:lnTo>
                        <a:pt x="74" y="17"/>
                      </a:lnTo>
                      <a:lnTo>
                        <a:pt x="71" y="17"/>
                      </a:lnTo>
                      <a:lnTo>
                        <a:pt x="69" y="17"/>
                      </a:lnTo>
                      <a:lnTo>
                        <a:pt x="67" y="19"/>
                      </a:lnTo>
                      <a:lnTo>
                        <a:pt x="64" y="19"/>
                      </a:lnTo>
                      <a:lnTo>
                        <a:pt x="62" y="22"/>
                      </a:lnTo>
                      <a:lnTo>
                        <a:pt x="59" y="22"/>
                      </a:lnTo>
                      <a:lnTo>
                        <a:pt x="59" y="22"/>
                      </a:lnTo>
                      <a:lnTo>
                        <a:pt x="59" y="24"/>
                      </a:lnTo>
                      <a:lnTo>
                        <a:pt x="62" y="26"/>
                      </a:lnTo>
                      <a:lnTo>
                        <a:pt x="59" y="29"/>
                      </a:lnTo>
                      <a:lnTo>
                        <a:pt x="59" y="29"/>
                      </a:lnTo>
                      <a:lnTo>
                        <a:pt x="59" y="31"/>
                      </a:lnTo>
                      <a:lnTo>
                        <a:pt x="59" y="36"/>
                      </a:lnTo>
                      <a:lnTo>
                        <a:pt x="62" y="36"/>
                      </a:lnTo>
                      <a:lnTo>
                        <a:pt x="67" y="38"/>
                      </a:lnTo>
                      <a:lnTo>
                        <a:pt x="69" y="41"/>
                      </a:lnTo>
                      <a:lnTo>
                        <a:pt x="71" y="43"/>
                      </a:lnTo>
                      <a:lnTo>
                        <a:pt x="78" y="48"/>
                      </a:lnTo>
                      <a:lnTo>
                        <a:pt x="78" y="50"/>
                      </a:lnTo>
                      <a:lnTo>
                        <a:pt x="78" y="50"/>
                      </a:lnTo>
                      <a:lnTo>
                        <a:pt x="78" y="52"/>
                      </a:lnTo>
                      <a:lnTo>
                        <a:pt x="81" y="55"/>
                      </a:lnTo>
                      <a:lnTo>
                        <a:pt x="83" y="57"/>
                      </a:lnTo>
                      <a:lnTo>
                        <a:pt x="85" y="59"/>
                      </a:lnTo>
                      <a:lnTo>
                        <a:pt x="88" y="62"/>
                      </a:lnTo>
                      <a:lnTo>
                        <a:pt x="90" y="64"/>
                      </a:lnTo>
                      <a:lnTo>
                        <a:pt x="93" y="64"/>
                      </a:lnTo>
                      <a:lnTo>
                        <a:pt x="93" y="64"/>
                      </a:lnTo>
                      <a:lnTo>
                        <a:pt x="97" y="64"/>
                      </a:lnTo>
                      <a:lnTo>
                        <a:pt x="100" y="64"/>
                      </a:lnTo>
                      <a:lnTo>
                        <a:pt x="102" y="64"/>
                      </a:lnTo>
                      <a:lnTo>
                        <a:pt x="104" y="64"/>
                      </a:lnTo>
                      <a:lnTo>
                        <a:pt x="104" y="67"/>
                      </a:lnTo>
                      <a:lnTo>
                        <a:pt x="100" y="69"/>
                      </a:lnTo>
                      <a:lnTo>
                        <a:pt x="100" y="69"/>
                      </a:lnTo>
                      <a:lnTo>
                        <a:pt x="102" y="71"/>
                      </a:lnTo>
                      <a:lnTo>
                        <a:pt x="104" y="71"/>
                      </a:lnTo>
                      <a:lnTo>
                        <a:pt x="109" y="71"/>
                      </a:lnTo>
                      <a:lnTo>
                        <a:pt x="116" y="76"/>
                      </a:lnTo>
                      <a:lnTo>
                        <a:pt x="121" y="78"/>
                      </a:lnTo>
                      <a:lnTo>
                        <a:pt x="123" y="81"/>
                      </a:lnTo>
                      <a:lnTo>
                        <a:pt x="126" y="81"/>
                      </a:lnTo>
                      <a:lnTo>
                        <a:pt x="128" y="83"/>
                      </a:lnTo>
                      <a:lnTo>
                        <a:pt x="128" y="83"/>
                      </a:lnTo>
                      <a:lnTo>
                        <a:pt x="128" y="86"/>
                      </a:lnTo>
                      <a:lnTo>
                        <a:pt x="128" y="88"/>
                      </a:lnTo>
                      <a:lnTo>
                        <a:pt x="128" y="90"/>
                      </a:lnTo>
                      <a:lnTo>
                        <a:pt x="128" y="90"/>
                      </a:lnTo>
                      <a:lnTo>
                        <a:pt x="128" y="90"/>
                      </a:lnTo>
                      <a:lnTo>
                        <a:pt x="126" y="90"/>
                      </a:lnTo>
                      <a:lnTo>
                        <a:pt x="123" y="88"/>
                      </a:lnTo>
                      <a:lnTo>
                        <a:pt x="123" y="86"/>
                      </a:lnTo>
                      <a:lnTo>
                        <a:pt x="123" y="86"/>
                      </a:lnTo>
                      <a:lnTo>
                        <a:pt x="121" y="83"/>
                      </a:lnTo>
                      <a:lnTo>
                        <a:pt x="119" y="83"/>
                      </a:lnTo>
                      <a:lnTo>
                        <a:pt x="119" y="83"/>
                      </a:lnTo>
                      <a:lnTo>
                        <a:pt x="116" y="83"/>
                      </a:lnTo>
                      <a:lnTo>
                        <a:pt x="114" y="83"/>
                      </a:lnTo>
                      <a:lnTo>
                        <a:pt x="114" y="83"/>
                      </a:lnTo>
                      <a:lnTo>
                        <a:pt x="111" y="86"/>
                      </a:lnTo>
                      <a:lnTo>
                        <a:pt x="111" y="86"/>
                      </a:lnTo>
                      <a:lnTo>
                        <a:pt x="111" y="88"/>
                      </a:lnTo>
                      <a:lnTo>
                        <a:pt x="111" y="90"/>
                      </a:lnTo>
                      <a:lnTo>
                        <a:pt x="109" y="90"/>
                      </a:lnTo>
                      <a:lnTo>
                        <a:pt x="109" y="93"/>
                      </a:lnTo>
                      <a:lnTo>
                        <a:pt x="109" y="93"/>
                      </a:lnTo>
                      <a:lnTo>
                        <a:pt x="111" y="93"/>
                      </a:lnTo>
                      <a:lnTo>
                        <a:pt x="114" y="95"/>
                      </a:lnTo>
                      <a:lnTo>
                        <a:pt x="116" y="97"/>
                      </a:lnTo>
                      <a:lnTo>
                        <a:pt x="114" y="100"/>
                      </a:lnTo>
                      <a:lnTo>
                        <a:pt x="116" y="100"/>
                      </a:lnTo>
                      <a:lnTo>
                        <a:pt x="114" y="102"/>
                      </a:lnTo>
                      <a:lnTo>
                        <a:pt x="114" y="102"/>
                      </a:lnTo>
                      <a:lnTo>
                        <a:pt x="111" y="105"/>
                      </a:lnTo>
                      <a:lnTo>
                        <a:pt x="111" y="109"/>
                      </a:lnTo>
                      <a:lnTo>
                        <a:pt x="107" y="112"/>
                      </a:lnTo>
                      <a:lnTo>
                        <a:pt x="107" y="114"/>
                      </a:lnTo>
                      <a:lnTo>
                        <a:pt x="104" y="116"/>
                      </a:lnTo>
                      <a:lnTo>
                        <a:pt x="102" y="116"/>
                      </a:lnTo>
                      <a:lnTo>
                        <a:pt x="100" y="114"/>
                      </a:lnTo>
                      <a:lnTo>
                        <a:pt x="100" y="112"/>
                      </a:lnTo>
                      <a:lnTo>
                        <a:pt x="100" y="112"/>
                      </a:lnTo>
                      <a:lnTo>
                        <a:pt x="102" y="112"/>
                      </a:lnTo>
                      <a:lnTo>
                        <a:pt x="102" y="109"/>
                      </a:lnTo>
                      <a:lnTo>
                        <a:pt x="104" y="107"/>
                      </a:lnTo>
                      <a:lnTo>
                        <a:pt x="102" y="105"/>
                      </a:lnTo>
                      <a:lnTo>
                        <a:pt x="104" y="105"/>
                      </a:lnTo>
                      <a:lnTo>
                        <a:pt x="104" y="105"/>
                      </a:lnTo>
                      <a:lnTo>
                        <a:pt x="107" y="105"/>
                      </a:lnTo>
                      <a:lnTo>
                        <a:pt x="107" y="102"/>
                      </a:lnTo>
                      <a:lnTo>
                        <a:pt x="104" y="100"/>
                      </a:lnTo>
                      <a:lnTo>
                        <a:pt x="104" y="97"/>
                      </a:lnTo>
                      <a:lnTo>
                        <a:pt x="102" y="95"/>
                      </a:lnTo>
                      <a:lnTo>
                        <a:pt x="102" y="93"/>
                      </a:lnTo>
                      <a:lnTo>
                        <a:pt x="100" y="88"/>
                      </a:lnTo>
                      <a:lnTo>
                        <a:pt x="100" y="88"/>
                      </a:lnTo>
                      <a:lnTo>
                        <a:pt x="97" y="88"/>
                      </a:lnTo>
                      <a:lnTo>
                        <a:pt x="95" y="88"/>
                      </a:lnTo>
                      <a:lnTo>
                        <a:pt x="95" y="86"/>
                      </a:lnTo>
                      <a:lnTo>
                        <a:pt x="93" y="86"/>
                      </a:lnTo>
                      <a:lnTo>
                        <a:pt x="90" y="86"/>
                      </a:lnTo>
                      <a:lnTo>
                        <a:pt x="90" y="83"/>
                      </a:lnTo>
                      <a:lnTo>
                        <a:pt x="93" y="81"/>
                      </a:lnTo>
                      <a:lnTo>
                        <a:pt x="90" y="81"/>
                      </a:lnTo>
                      <a:lnTo>
                        <a:pt x="88" y="81"/>
                      </a:lnTo>
                      <a:lnTo>
                        <a:pt x="85" y="81"/>
                      </a:lnTo>
                      <a:lnTo>
                        <a:pt x="85" y="78"/>
                      </a:lnTo>
                      <a:lnTo>
                        <a:pt x="83" y="78"/>
                      </a:lnTo>
                      <a:lnTo>
                        <a:pt x="83" y="78"/>
                      </a:lnTo>
                      <a:lnTo>
                        <a:pt x="81" y="78"/>
                      </a:lnTo>
                      <a:lnTo>
                        <a:pt x="78" y="74"/>
                      </a:lnTo>
                      <a:lnTo>
                        <a:pt x="76" y="74"/>
                      </a:lnTo>
                      <a:lnTo>
                        <a:pt x="74" y="74"/>
                      </a:lnTo>
                      <a:lnTo>
                        <a:pt x="74" y="74"/>
                      </a:lnTo>
                      <a:lnTo>
                        <a:pt x="71" y="74"/>
                      </a:lnTo>
                      <a:lnTo>
                        <a:pt x="71" y="71"/>
                      </a:lnTo>
                      <a:lnTo>
                        <a:pt x="69" y="71"/>
                      </a:lnTo>
                      <a:lnTo>
                        <a:pt x="67" y="71"/>
                      </a:lnTo>
                      <a:lnTo>
                        <a:pt x="62" y="67"/>
                      </a:lnTo>
                      <a:lnTo>
                        <a:pt x="57" y="62"/>
                      </a:lnTo>
                      <a:lnTo>
                        <a:pt x="57" y="62"/>
                      </a:lnTo>
                      <a:lnTo>
                        <a:pt x="55" y="59"/>
                      </a:lnTo>
                      <a:lnTo>
                        <a:pt x="55" y="57"/>
                      </a:lnTo>
                      <a:lnTo>
                        <a:pt x="50" y="57"/>
                      </a:lnTo>
                      <a:lnTo>
                        <a:pt x="50" y="55"/>
                      </a:lnTo>
                      <a:lnTo>
                        <a:pt x="48" y="52"/>
                      </a:lnTo>
                      <a:lnTo>
                        <a:pt x="45" y="52"/>
                      </a:lnTo>
                      <a:lnTo>
                        <a:pt x="43" y="50"/>
                      </a:lnTo>
                      <a:lnTo>
                        <a:pt x="43" y="48"/>
                      </a:lnTo>
                      <a:lnTo>
                        <a:pt x="41" y="45"/>
                      </a:lnTo>
                      <a:lnTo>
                        <a:pt x="41" y="45"/>
                      </a:lnTo>
                      <a:lnTo>
                        <a:pt x="38" y="41"/>
                      </a:lnTo>
                      <a:lnTo>
                        <a:pt x="38" y="41"/>
                      </a:lnTo>
                      <a:lnTo>
                        <a:pt x="38" y="38"/>
                      </a:lnTo>
                      <a:lnTo>
                        <a:pt x="36" y="38"/>
                      </a:lnTo>
                      <a:lnTo>
                        <a:pt x="33" y="36"/>
                      </a:lnTo>
                      <a:lnTo>
                        <a:pt x="31" y="36"/>
                      </a:lnTo>
                      <a:lnTo>
                        <a:pt x="24" y="33"/>
                      </a:lnTo>
                      <a:lnTo>
                        <a:pt x="17" y="36"/>
                      </a:lnTo>
                      <a:lnTo>
                        <a:pt x="17" y="38"/>
                      </a:lnTo>
                      <a:lnTo>
                        <a:pt x="14" y="41"/>
                      </a:lnTo>
                      <a:lnTo>
                        <a:pt x="10" y="41"/>
                      </a:lnTo>
                      <a:lnTo>
                        <a:pt x="10" y="41"/>
                      </a:lnTo>
                      <a:close/>
                      <a:moveTo>
                        <a:pt x="19" y="76"/>
                      </a:moveTo>
                      <a:lnTo>
                        <a:pt x="19" y="76"/>
                      </a:lnTo>
                      <a:lnTo>
                        <a:pt x="19" y="74"/>
                      </a:lnTo>
                      <a:lnTo>
                        <a:pt x="19" y="74"/>
                      </a:lnTo>
                      <a:lnTo>
                        <a:pt x="19" y="74"/>
                      </a:lnTo>
                      <a:lnTo>
                        <a:pt x="19" y="74"/>
                      </a:lnTo>
                      <a:lnTo>
                        <a:pt x="19" y="74"/>
                      </a:lnTo>
                      <a:lnTo>
                        <a:pt x="19" y="76"/>
                      </a:lnTo>
                      <a:lnTo>
                        <a:pt x="19" y="76"/>
                      </a:lnTo>
                      <a:close/>
                      <a:moveTo>
                        <a:pt x="48" y="59"/>
                      </a:moveTo>
                      <a:lnTo>
                        <a:pt x="48" y="59"/>
                      </a:lnTo>
                      <a:lnTo>
                        <a:pt x="48" y="59"/>
                      </a:lnTo>
                      <a:lnTo>
                        <a:pt x="48" y="59"/>
                      </a:lnTo>
                      <a:lnTo>
                        <a:pt x="48" y="59"/>
                      </a:lnTo>
                      <a:close/>
                      <a:moveTo>
                        <a:pt x="38" y="52"/>
                      </a:moveTo>
                      <a:lnTo>
                        <a:pt x="38" y="55"/>
                      </a:lnTo>
                      <a:lnTo>
                        <a:pt x="38" y="55"/>
                      </a:lnTo>
                      <a:lnTo>
                        <a:pt x="41" y="55"/>
                      </a:lnTo>
                      <a:lnTo>
                        <a:pt x="43" y="55"/>
                      </a:lnTo>
                      <a:lnTo>
                        <a:pt x="43" y="52"/>
                      </a:lnTo>
                      <a:lnTo>
                        <a:pt x="41" y="52"/>
                      </a:lnTo>
                      <a:lnTo>
                        <a:pt x="41" y="52"/>
                      </a:lnTo>
                      <a:lnTo>
                        <a:pt x="38" y="52"/>
                      </a:lnTo>
                      <a:lnTo>
                        <a:pt x="38" y="52"/>
                      </a:lnTo>
                      <a:close/>
                      <a:moveTo>
                        <a:pt x="24" y="102"/>
                      </a:moveTo>
                      <a:lnTo>
                        <a:pt x="24" y="102"/>
                      </a:lnTo>
                      <a:lnTo>
                        <a:pt x="26" y="102"/>
                      </a:lnTo>
                      <a:lnTo>
                        <a:pt x="29" y="102"/>
                      </a:lnTo>
                      <a:lnTo>
                        <a:pt x="29" y="100"/>
                      </a:lnTo>
                      <a:lnTo>
                        <a:pt x="29" y="100"/>
                      </a:lnTo>
                      <a:lnTo>
                        <a:pt x="31" y="100"/>
                      </a:lnTo>
                      <a:lnTo>
                        <a:pt x="31" y="100"/>
                      </a:lnTo>
                      <a:lnTo>
                        <a:pt x="33" y="100"/>
                      </a:lnTo>
                      <a:lnTo>
                        <a:pt x="33" y="100"/>
                      </a:lnTo>
                      <a:lnTo>
                        <a:pt x="33" y="95"/>
                      </a:lnTo>
                      <a:lnTo>
                        <a:pt x="33" y="93"/>
                      </a:lnTo>
                      <a:lnTo>
                        <a:pt x="33" y="90"/>
                      </a:lnTo>
                      <a:lnTo>
                        <a:pt x="36" y="86"/>
                      </a:lnTo>
                      <a:lnTo>
                        <a:pt x="31" y="83"/>
                      </a:lnTo>
                      <a:lnTo>
                        <a:pt x="33" y="83"/>
                      </a:lnTo>
                      <a:lnTo>
                        <a:pt x="36" y="81"/>
                      </a:lnTo>
                      <a:lnTo>
                        <a:pt x="33" y="78"/>
                      </a:lnTo>
                      <a:lnTo>
                        <a:pt x="33" y="76"/>
                      </a:lnTo>
                      <a:lnTo>
                        <a:pt x="31" y="74"/>
                      </a:lnTo>
                      <a:lnTo>
                        <a:pt x="31" y="74"/>
                      </a:lnTo>
                      <a:lnTo>
                        <a:pt x="29" y="74"/>
                      </a:lnTo>
                      <a:lnTo>
                        <a:pt x="26" y="74"/>
                      </a:lnTo>
                      <a:lnTo>
                        <a:pt x="22" y="78"/>
                      </a:lnTo>
                      <a:lnTo>
                        <a:pt x="22" y="78"/>
                      </a:lnTo>
                      <a:lnTo>
                        <a:pt x="19" y="76"/>
                      </a:lnTo>
                      <a:lnTo>
                        <a:pt x="19" y="78"/>
                      </a:lnTo>
                      <a:lnTo>
                        <a:pt x="17" y="81"/>
                      </a:lnTo>
                      <a:lnTo>
                        <a:pt x="19" y="83"/>
                      </a:lnTo>
                      <a:lnTo>
                        <a:pt x="19" y="83"/>
                      </a:lnTo>
                      <a:lnTo>
                        <a:pt x="22" y="86"/>
                      </a:lnTo>
                      <a:lnTo>
                        <a:pt x="22" y="88"/>
                      </a:lnTo>
                      <a:lnTo>
                        <a:pt x="19" y="88"/>
                      </a:lnTo>
                      <a:lnTo>
                        <a:pt x="22" y="90"/>
                      </a:lnTo>
                      <a:lnTo>
                        <a:pt x="22" y="90"/>
                      </a:lnTo>
                      <a:lnTo>
                        <a:pt x="22" y="90"/>
                      </a:lnTo>
                      <a:lnTo>
                        <a:pt x="22" y="93"/>
                      </a:lnTo>
                      <a:lnTo>
                        <a:pt x="19" y="95"/>
                      </a:lnTo>
                      <a:lnTo>
                        <a:pt x="22" y="97"/>
                      </a:lnTo>
                      <a:lnTo>
                        <a:pt x="22" y="102"/>
                      </a:lnTo>
                      <a:lnTo>
                        <a:pt x="24" y="102"/>
                      </a:lnTo>
                      <a:lnTo>
                        <a:pt x="24" y="102"/>
                      </a:lnTo>
                      <a:close/>
                      <a:moveTo>
                        <a:pt x="95" y="131"/>
                      </a:moveTo>
                      <a:lnTo>
                        <a:pt x="95" y="128"/>
                      </a:lnTo>
                      <a:lnTo>
                        <a:pt x="97" y="126"/>
                      </a:lnTo>
                      <a:lnTo>
                        <a:pt x="97" y="123"/>
                      </a:lnTo>
                      <a:lnTo>
                        <a:pt x="95" y="121"/>
                      </a:lnTo>
                      <a:lnTo>
                        <a:pt x="97" y="116"/>
                      </a:lnTo>
                      <a:lnTo>
                        <a:pt x="97" y="114"/>
                      </a:lnTo>
                      <a:lnTo>
                        <a:pt x="100" y="112"/>
                      </a:lnTo>
                      <a:lnTo>
                        <a:pt x="97" y="109"/>
                      </a:lnTo>
                      <a:lnTo>
                        <a:pt x="95" y="112"/>
                      </a:lnTo>
                      <a:lnTo>
                        <a:pt x="93" y="112"/>
                      </a:lnTo>
                      <a:lnTo>
                        <a:pt x="90" y="112"/>
                      </a:lnTo>
                      <a:lnTo>
                        <a:pt x="88" y="114"/>
                      </a:lnTo>
                      <a:lnTo>
                        <a:pt x="83" y="114"/>
                      </a:lnTo>
                      <a:lnTo>
                        <a:pt x="78" y="114"/>
                      </a:lnTo>
                      <a:lnTo>
                        <a:pt x="76" y="114"/>
                      </a:lnTo>
                      <a:lnTo>
                        <a:pt x="74" y="112"/>
                      </a:lnTo>
                      <a:lnTo>
                        <a:pt x="71" y="114"/>
                      </a:lnTo>
                      <a:lnTo>
                        <a:pt x="69" y="114"/>
                      </a:lnTo>
                      <a:lnTo>
                        <a:pt x="69" y="114"/>
                      </a:lnTo>
                      <a:lnTo>
                        <a:pt x="67" y="114"/>
                      </a:lnTo>
                      <a:lnTo>
                        <a:pt x="67" y="116"/>
                      </a:lnTo>
                      <a:lnTo>
                        <a:pt x="69" y="119"/>
                      </a:lnTo>
                      <a:lnTo>
                        <a:pt x="71" y="119"/>
                      </a:lnTo>
                      <a:lnTo>
                        <a:pt x="76" y="121"/>
                      </a:lnTo>
                      <a:lnTo>
                        <a:pt x="78" y="121"/>
                      </a:lnTo>
                      <a:lnTo>
                        <a:pt x="78" y="123"/>
                      </a:lnTo>
                      <a:lnTo>
                        <a:pt x="85" y="126"/>
                      </a:lnTo>
                      <a:lnTo>
                        <a:pt x="85" y="126"/>
                      </a:lnTo>
                      <a:lnTo>
                        <a:pt x="88" y="126"/>
                      </a:lnTo>
                      <a:lnTo>
                        <a:pt x="88" y="128"/>
                      </a:lnTo>
                      <a:lnTo>
                        <a:pt x="93" y="131"/>
                      </a:lnTo>
                      <a:lnTo>
                        <a:pt x="95" y="131"/>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 name="Freeform 78">
                  <a:extLst>
                    <a:ext uri="{FF2B5EF4-FFF2-40B4-BE49-F238E27FC236}">
                      <a16:creationId xmlns:a16="http://schemas.microsoft.com/office/drawing/2014/main" id="{56ED8A22-95AA-E2AC-B068-2391B20D7F9C}"/>
                    </a:ext>
                  </a:extLst>
                </p:cNvPr>
                <p:cNvSpPr>
                  <a:spLocks noEditPoints="1"/>
                </p:cNvSpPr>
                <p:nvPr/>
              </p:nvSpPr>
              <p:spPr bwMode="auto">
                <a:xfrm>
                  <a:off x="2557" y="2119"/>
                  <a:ext cx="140" cy="97"/>
                </a:xfrm>
                <a:custGeom>
                  <a:avLst/>
                  <a:gdLst>
                    <a:gd name="T0" fmla="*/ 34 w 59"/>
                    <a:gd name="T1" fmla="*/ 3 h 41"/>
                    <a:gd name="T2" fmla="*/ 35 w 59"/>
                    <a:gd name="T3" fmla="*/ 5 h 41"/>
                    <a:gd name="T4" fmla="*/ 39 w 59"/>
                    <a:gd name="T5" fmla="*/ 6 h 41"/>
                    <a:gd name="T6" fmla="*/ 43 w 59"/>
                    <a:gd name="T7" fmla="*/ 6 h 41"/>
                    <a:gd name="T8" fmla="*/ 46 w 59"/>
                    <a:gd name="T9" fmla="*/ 6 h 41"/>
                    <a:gd name="T10" fmla="*/ 50 w 59"/>
                    <a:gd name="T11" fmla="*/ 7 h 41"/>
                    <a:gd name="T12" fmla="*/ 54 w 59"/>
                    <a:gd name="T13" fmla="*/ 8 h 41"/>
                    <a:gd name="T14" fmla="*/ 54 w 59"/>
                    <a:gd name="T15" fmla="*/ 10 h 41"/>
                    <a:gd name="T16" fmla="*/ 51 w 59"/>
                    <a:gd name="T17" fmla="*/ 13 h 41"/>
                    <a:gd name="T18" fmla="*/ 47 w 59"/>
                    <a:gd name="T19" fmla="*/ 14 h 41"/>
                    <a:gd name="T20" fmla="*/ 45 w 59"/>
                    <a:gd name="T21" fmla="*/ 16 h 41"/>
                    <a:gd name="T22" fmla="*/ 44 w 59"/>
                    <a:gd name="T23" fmla="*/ 17 h 41"/>
                    <a:gd name="T24" fmla="*/ 43 w 59"/>
                    <a:gd name="T25" fmla="*/ 19 h 41"/>
                    <a:gd name="T26" fmla="*/ 39 w 59"/>
                    <a:gd name="T27" fmla="*/ 23 h 41"/>
                    <a:gd name="T28" fmla="*/ 41 w 59"/>
                    <a:gd name="T29" fmla="*/ 25 h 41"/>
                    <a:gd name="T30" fmla="*/ 40 w 59"/>
                    <a:gd name="T31" fmla="*/ 28 h 41"/>
                    <a:gd name="T32" fmla="*/ 38 w 59"/>
                    <a:gd name="T33" fmla="*/ 32 h 41"/>
                    <a:gd name="T34" fmla="*/ 36 w 59"/>
                    <a:gd name="T35" fmla="*/ 33 h 41"/>
                    <a:gd name="T36" fmla="*/ 32 w 59"/>
                    <a:gd name="T37" fmla="*/ 37 h 41"/>
                    <a:gd name="T38" fmla="*/ 30 w 59"/>
                    <a:gd name="T39" fmla="*/ 37 h 41"/>
                    <a:gd name="T40" fmla="*/ 28 w 59"/>
                    <a:gd name="T41" fmla="*/ 37 h 41"/>
                    <a:gd name="T42" fmla="*/ 24 w 59"/>
                    <a:gd name="T43" fmla="*/ 36 h 41"/>
                    <a:gd name="T44" fmla="*/ 20 w 59"/>
                    <a:gd name="T45" fmla="*/ 38 h 41"/>
                    <a:gd name="T46" fmla="*/ 18 w 59"/>
                    <a:gd name="T47" fmla="*/ 40 h 41"/>
                    <a:gd name="T48" fmla="*/ 13 w 59"/>
                    <a:gd name="T49" fmla="*/ 39 h 41"/>
                    <a:gd name="T50" fmla="*/ 10 w 59"/>
                    <a:gd name="T51" fmla="*/ 35 h 41"/>
                    <a:gd name="T52" fmla="*/ 8 w 59"/>
                    <a:gd name="T53" fmla="*/ 34 h 41"/>
                    <a:gd name="T54" fmla="*/ 10 w 59"/>
                    <a:gd name="T55" fmla="*/ 30 h 41"/>
                    <a:gd name="T56" fmla="*/ 8 w 59"/>
                    <a:gd name="T57" fmla="*/ 28 h 41"/>
                    <a:gd name="T58" fmla="*/ 8 w 59"/>
                    <a:gd name="T59" fmla="*/ 24 h 41"/>
                    <a:gd name="T60" fmla="*/ 9 w 59"/>
                    <a:gd name="T61" fmla="*/ 22 h 41"/>
                    <a:gd name="T62" fmla="*/ 11 w 59"/>
                    <a:gd name="T63" fmla="*/ 18 h 41"/>
                    <a:gd name="T64" fmla="*/ 12 w 59"/>
                    <a:gd name="T65" fmla="*/ 13 h 41"/>
                    <a:gd name="T66" fmla="*/ 12 w 59"/>
                    <a:gd name="T67" fmla="*/ 11 h 41"/>
                    <a:gd name="T68" fmla="*/ 9 w 59"/>
                    <a:gd name="T69" fmla="*/ 10 h 41"/>
                    <a:gd name="T70" fmla="*/ 4 w 59"/>
                    <a:gd name="T71" fmla="*/ 10 h 41"/>
                    <a:gd name="T72" fmla="*/ 2 w 59"/>
                    <a:gd name="T73" fmla="*/ 9 h 41"/>
                    <a:gd name="T74" fmla="*/ 2 w 59"/>
                    <a:gd name="T75" fmla="*/ 8 h 41"/>
                    <a:gd name="T76" fmla="*/ 2 w 59"/>
                    <a:gd name="T77" fmla="*/ 6 h 41"/>
                    <a:gd name="T78" fmla="*/ 1 w 59"/>
                    <a:gd name="T79" fmla="*/ 6 h 41"/>
                    <a:gd name="T80" fmla="*/ 0 w 59"/>
                    <a:gd name="T81" fmla="*/ 5 h 41"/>
                    <a:gd name="T82" fmla="*/ 2 w 59"/>
                    <a:gd name="T83" fmla="*/ 3 h 41"/>
                    <a:gd name="T84" fmla="*/ 5 w 59"/>
                    <a:gd name="T85" fmla="*/ 2 h 41"/>
                    <a:gd name="T86" fmla="*/ 6 w 59"/>
                    <a:gd name="T87" fmla="*/ 0 h 41"/>
                    <a:gd name="T88" fmla="*/ 8 w 59"/>
                    <a:gd name="T89" fmla="*/ 0 h 41"/>
                    <a:gd name="T90" fmla="*/ 11 w 59"/>
                    <a:gd name="T91" fmla="*/ 1 h 41"/>
                    <a:gd name="T92" fmla="*/ 15 w 59"/>
                    <a:gd name="T93" fmla="*/ 1 h 41"/>
                    <a:gd name="T94" fmla="*/ 20 w 59"/>
                    <a:gd name="T95" fmla="*/ 2 h 41"/>
                    <a:gd name="T96" fmla="*/ 26 w 59"/>
                    <a:gd name="T97" fmla="*/ 2 h 41"/>
                    <a:gd name="T98" fmla="*/ 29 w 59"/>
                    <a:gd name="T99" fmla="*/ 2 h 41"/>
                    <a:gd name="T100" fmla="*/ 32 w 59"/>
                    <a:gd name="T101" fmla="*/ 3 h 41"/>
                    <a:gd name="T102" fmla="*/ 57 w 59"/>
                    <a:gd name="T103" fmla="*/ 21 h 41"/>
                    <a:gd name="T104" fmla="*/ 59 w 59"/>
                    <a:gd name="T105" fmla="*/ 21 h 41"/>
                    <a:gd name="T106" fmla="*/ 57 w 59"/>
                    <a:gd name="T107" fmla="*/ 21 h 41"/>
                    <a:gd name="T108" fmla="*/ 55 w 59"/>
                    <a:gd name="T109" fmla="*/ 22 h 41"/>
                    <a:gd name="T110" fmla="*/ 52 w 59"/>
                    <a:gd name="T111" fmla="*/ 22 h 41"/>
                    <a:gd name="T112" fmla="*/ 54 w 59"/>
                    <a:gd name="T113" fmla="*/ 24 h 41"/>
                    <a:gd name="T114" fmla="*/ 49 w 59"/>
                    <a:gd name="T115" fmla="*/ 26 h 41"/>
                    <a:gd name="T116" fmla="*/ 47 w 59"/>
                    <a:gd name="T117" fmla="*/ 2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9" h="41">
                      <a:moveTo>
                        <a:pt x="34" y="2"/>
                      </a:moveTo>
                      <a:cubicBezTo>
                        <a:pt x="34" y="3"/>
                        <a:pt x="34" y="3"/>
                        <a:pt x="34" y="3"/>
                      </a:cubicBezTo>
                      <a:cubicBezTo>
                        <a:pt x="34" y="3"/>
                        <a:pt x="34" y="3"/>
                        <a:pt x="34" y="3"/>
                      </a:cubicBezTo>
                      <a:cubicBezTo>
                        <a:pt x="35" y="3"/>
                        <a:pt x="35" y="3"/>
                        <a:pt x="35" y="3"/>
                      </a:cubicBezTo>
                      <a:cubicBezTo>
                        <a:pt x="35" y="4"/>
                        <a:pt x="35" y="4"/>
                        <a:pt x="35" y="4"/>
                      </a:cubicBezTo>
                      <a:cubicBezTo>
                        <a:pt x="35" y="5"/>
                        <a:pt x="35" y="5"/>
                        <a:pt x="35" y="5"/>
                      </a:cubicBezTo>
                      <a:cubicBezTo>
                        <a:pt x="36" y="4"/>
                        <a:pt x="36" y="4"/>
                        <a:pt x="36" y="4"/>
                      </a:cubicBezTo>
                      <a:cubicBezTo>
                        <a:pt x="38" y="5"/>
                        <a:pt x="38" y="5"/>
                        <a:pt x="38" y="5"/>
                      </a:cubicBezTo>
                      <a:cubicBezTo>
                        <a:pt x="39" y="6"/>
                        <a:pt x="39" y="6"/>
                        <a:pt x="39" y="6"/>
                      </a:cubicBezTo>
                      <a:cubicBezTo>
                        <a:pt x="40" y="6"/>
                        <a:pt x="40" y="6"/>
                        <a:pt x="40" y="6"/>
                      </a:cubicBezTo>
                      <a:cubicBezTo>
                        <a:pt x="41" y="7"/>
                        <a:pt x="41" y="7"/>
                        <a:pt x="41" y="7"/>
                      </a:cubicBezTo>
                      <a:cubicBezTo>
                        <a:pt x="43" y="6"/>
                        <a:pt x="43" y="6"/>
                        <a:pt x="43" y="6"/>
                      </a:cubicBezTo>
                      <a:cubicBezTo>
                        <a:pt x="43" y="7"/>
                        <a:pt x="43" y="7"/>
                        <a:pt x="43" y="7"/>
                      </a:cubicBezTo>
                      <a:cubicBezTo>
                        <a:pt x="44" y="6"/>
                        <a:pt x="44" y="6"/>
                        <a:pt x="44" y="6"/>
                      </a:cubicBezTo>
                      <a:cubicBezTo>
                        <a:pt x="46" y="6"/>
                        <a:pt x="46" y="6"/>
                        <a:pt x="46" y="6"/>
                      </a:cubicBezTo>
                      <a:cubicBezTo>
                        <a:pt x="47" y="6"/>
                        <a:pt x="47" y="6"/>
                        <a:pt x="47" y="6"/>
                      </a:cubicBezTo>
                      <a:cubicBezTo>
                        <a:pt x="48" y="6"/>
                        <a:pt x="48" y="6"/>
                        <a:pt x="48" y="6"/>
                      </a:cubicBezTo>
                      <a:cubicBezTo>
                        <a:pt x="50" y="7"/>
                        <a:pt x="50" y="7"/>
                        <a:pt x="50" y="7"/>
                      </a:cubicBezTo>
                      <a:cubicBezTo>
                        <a:pt x="52" y="7"/>
                        <a:pt x="52" y="7"/>
                        <a:pt x="52" y="7"/>
                      </a:cubicBezTo>
                      <a:cubicBezTo>
                        <a:pt x="54" y="8"/>
                        <a:pt x="54" y="8"/>
                        <a:pt x="54" y="8"/>
                      </a:cubicBezTo>
                      <a:cubicBezTo>
                        <a:pt x="54" y="8"/>
                        <a:pt x="54" y="8"/>
                        <a:pt x="54" y="8"/>
                      </a:cubicBezTo>
                      <a:cubicBezTo>
                        <a:pt x="54" y="8"/>
                        <a:pt x="54" y="8"/>
                        <a:pt x="54" y="8"/>
                      </a:cubicBezTo>
                      <a:cubicBezTo>
                        <a:pt x="54" y="9"/>
                        <a:pt x="54" y="9"/>
                        <a:pt x="54" y="9"/>
                      </a:cubicBezTo>
                      <a:cubicBezTo>
                        <a:pt x="54" y="10"/>
                        <a:pt x="54" y="10"/>
                        <a:pt x="54" y="10"/>
                      </a:cubicBezTo>
                      <a:cubicBezTo>
                        <a:pt x="54" y="11"/>
                        <a:pt x="54" y="11"/>
                        <a:pt x="54" y="11"/>
                      </a:cubicBezTo>
                      <a:cubicBezTo>
                        <a:pt x="53" y="12"/>
                        <a:pt x="53" y="12"/>
                        <a:pt x="53" y="12"/>
                      </a:cubicBezTo>
                      <a:cubicBezTo>
                        <a:pt x="51" y="13"/>
                        <a:pt x="51" y="13"/>
                        <a:pt x="51" y="13"/>
                      </a:cubicBezTo>
                      <a:cubicBezTo>
                        <a:pt x="51" y="13"/>
                        <a:pt x="51" y="14"/>
                        <a:pt x="51" y="14"/>
                      </a:cubicBezTo>
                      <a:cubicBezTo>
                        <a:pt x="50" y="14"/>
                        <a:pt x="49" y="14"/>
                        <a:pt x="49" y="14"/>
                      </a:cubicBezTo>
                      <a:cubicBezTo>
                        <a:pt x="47" y="14"/>
                        <a:pt x="47" y="14"/>
                        <a:pt x="47" y="14"/>
                      </a:cubicBezTo>
                      <a:cubicBezTo>
                        <a:pt x="46" y="15"/>
                        <a:pt x="46" y="15"/>
                        <a:pt x="46" y="15"/>
                      </a:cubicBezTo>
                      <a:cubicBezTo>
                        <a:pt x="45" y="16"/>
                        <a:pt x="45" y="16"/>
                        <a:pt x="45" y="16"/>
                      </a:cubicBezTo>
                      <a:cubicBezTo>
                        <a:pt x="45" y="16"/>
                        <a:pt x="45" y="16"/>
                        <a:pt x="45" y="16"/>
                      </a:cubicBezTo>
                      <a:cubicBezTo>
                        <a:pt x="45" y="17"/>
                        <a:pt x="45" y="17"/>
                        <a:pt x="45" y="17"/>
                      </a:cubicBezTo>
                      <a:cubicBezTo>
                        <a:pt x="45" y="17"/>
                        <a:pt x="45" y="17"/>
                        <a:pt x="45" y="17"/>
                      </a:cubicBezTo>
                      <a:cubicBezTo>
                        <a:pt x="44" y="17"/>
                        <a:pt x="44" y="17"/>
                        <a:pt x="44" y="17"/>
                      </a:cubicBezTo>
                      <a:cubicBezTo>
                        <a:pt x="45" y="17"/>
                        <a:pt x="45" y="17"/>
                        <a:pt x="45" y="17"/>
                      </a:cubicBezTo>
                      <a:cubicBezTo>
                        <a:pt x="44" y="17"/>
                        <a:pt x="44" y="17"/>
                        <a:pt x="44" y="17"/>
                      </a:cubicBezTo>
                      <a:cubicBezTo>
                        <a:pt x="43" y="19"/>
                        <a:pt x="43" y="19"/>
                        <a:pt x="43" y="19"/>
                      </a:cubicBezTo>
                      <a:cubicBezTo>
                        <a:pt x="42" y="20"/>
                        <a:pt x="42" y="20"/>
                        <a:pt x="42" y="20"/>
                      </a:cubicBezTo>
                      <a:cubicBezTo>
                        <a:pt x="40" y="22"/>
                        <a:pt x="40" y="22"/>
                        <a:pt x="40" y="22"/>
                      </a:cubicBezTo>
                      <a:cubicBezTo>
                        <a:pt x="39" y="23"/>
                        <a:pt x="39" y="23"/>
                        <a:pt x="39" y="23"/>
                      </a:cubicBezTo>
                      <a:cubicBezTo>
                        <a:pt x="40" y="24"/>
                        <a:pt x="40" y="24"/>
                        <a:pt x="40" y="24"/>
                      </a:cubicBezTo>
                      <a:cubicBezTo>
                        <a:pt x="40" y="25"/>
                        <a:pt x="40" y="25"/>
                        <a:pt x="40" y="25"/>
                      </a:cubicBezTo>
                      <a:cubicBezTo>
                        <a:pt x="41" y="25"/>
                        <a:pt x="41" y="25"/>
                        <a:pt x="41" y="25"/>
                      </a:cubicBezTo>
                      <a:cubicBezTo>
                        <a:pt x="42" y="27"/>
                        <a:pt x="42" y="27"/>
                        <a:pt x="42" y="27"/>
                      </a:cubicBezTo>
                      <a:cubicBezTo>
                        <a:pt x="41" y="28"/>
                        <a:pt x="41" y="28"/>
                        <a:pt x="41" y="28"/>
                      </a:cubicBezTo>
                      <a:cubicBezTo>
                        <a:pt x="40" y="28"/>
                        <a:pt x="40" y="28"/>
                        <a:pt x="40" y="28"/>
                      </a:cubicBezTo>
                      <a:cubicBezTo>
                        <a:pt x="40" y="29"/>
                        <a:pt x="40" y="29"/>
                        <a:pt x="40" y="29"/>
                      </a:cubicBezTo>
                      <a:cubicBezTo>
                        <a:pt x="38" y="31"/>
                        <a:pt x="38" y="31"/>
                        <a:pt x="38" y="31"/>
                      </a:cubicBezTo>
                      <a:cubicBezTo>
                        <a:pt x="38" y="32"/>
                        <a:pt x="38" y="32"/>
                        <a:pt x="38" y="32"/>
                      </a:cubicBezTo>
                      <a:cubicBezTo>
                        <a:pt x="38" y="33"/>
                        <a:pt x="38" y="33"/>
                        <a:pt x="38" y="33"/>
                      </a:cubicBezTo>
                      <a:cubicBezTo>
                        <a:pt x="38" y="33"/>
                        <a:pt x="38" y="33"/>
                        <a:pt x="38" y="33"/>
                      </a:cubicBezTo>
                      <a:cubicBezTo>
                        <a:pt x="36" y="33"/>
                        <a:pt x="36" y="33"/>
                        <a:pt x="36" y="33"/>
                      </a:cubicBezTo>
                      <a:cubicBezTo>
                        <a:pt x="33" y="35"/>
                        <a:pt x="33" y="35"/>
                        <a:pt x="33" y="35"/>
                      </a:cubicBezTo>
                      <a:cubicBezTo>
                        <a:pt x="33" y="35"/>
                        <a:pt x="33" y="35"/>
                        <a:pt x="33" y="35"/>
                      </a:cubicBezTo>
                      <a:cubicBezTo>
                        <a:pt x="32" y="37"/>
                        <a:pt x="32" y="37"/>
                        <a:pt x="32" y="37"/>
                      </a:cubicBezTo>
                      <a:cubicBezTo>
                        <a:pt x="31" y="37"/>
                        <a:pt x="31" y="37"/>
                        <a:pt x="31" y="37"/>
                      </a:cubicBezTo>
                      <a:cubicBezTo>
                        <a:pt x="30" y="36"/>
                        <a:pt x="30" y="36"/>
                        <a:pt x="30" y="36"/>
                      </a:cubicBezTo>
                      <a:cubicBezTo>
                        <a:pt x="30" y="37"/>
                        <a:pt x="30" y="37"/>
                        <a:pt x="30" y="37"/>
                      </a:cubicBezTo>
                      <a:cubicBezTo>
                        <a:pt x="29" y="37"/>
                        <a:pt x="29" y="37"/>
                        <a:pt x="29" y="37"/>
                      </a:cubicBezTo>
                      <a:cubicBezTo>
                        <a:pt x="28" y="37"/>
                        <a:pt x="28" y="37"/>
                        <a:pt x="28" y="37"/>
                      </a:cubicBezTo>
                      <a:cubicBezTo>
                        <a:pt x="28" y="37"/>
                        <a:pt x="28" y="37"/>
                        <a:pt x="28" y="37"/>
                      </a:cubicBezTo>
                      <a:cubicBezTo>
                        <a:pt x="27" y="37"/>
                        <a:pt x="27" y="37"/>
                        <a:pt x="27" y="37"/>
                      </a:cubicBezTo>
                      <a:cubicBezTo>
                        <a:pt x="26" y="37"/>
                        <a:pt x="26" y="37"/>
                        <a:pt x="26" y="37"/>
                      </a:cubicBezTo>
                      <a:cubicBezTo>
                        <a:pt x="24" y="36"/>
                        <a:pt x="24" y="36"/>
                        <a:pt x="24" y="36"/>
                      </a:cubicBezTo>
                      <a:cubicBezTo>
                        <a:pt x="23" y="37"/>
                        <a:pt x="23" y="37"/>
                        <a:pt x="23" y="37"/>
                      </a:cubicBezTo>
                      <a:cubicBezTo>
                        <a:pt x="21" y="37"/>
                        <a:pt x="21" y="37"/>
                        <a:pt x="21" y="37"/>
                      </a:cubicBezTo>
                      <a:cubicBezTo>
                        <a:pt x="20" y="38"/>
                        <a:pt x="20" y="38"/>
                        <a:pt x="20" y="38"/>
                      </a:cubicBezTo>
                      <a:cubicBezTo>
                        <a:pt x="18" y="39"/>
                        <a:pt x="18" y="39"/>
                        <a:pt x="18" y="39"/>
                      </a:cubicBezTo>
                      <a:cubicBezTo>
                        <a:pt x="18" y="39"/>
                        <a:pt x="18" y="39"/>
                        <a:pt x="18" y="39"/>
                      </a:cubicBezTo>
                      <a:cubicBezTo>
                        <a:pt x="18" y="40"/>
                        <a:pt x="18" y="40"/>
                        <a:pt x="18" y="40"/>
                      </a:cubicBezTo>
                      <a:cubicBezTo>
                        <a:pt x="16" y="41"/>
                        <a:pt x="16" y="41"/>
                        <a:pt x="16" y="41"/>
                      </a:cubicBezTo>
                      <a:cubicBezTo>
                        <a:pt x="15" y="40"/>
                        <a:pt x="15" y="40"/>
                        <a:pt x="15" y="40"/>
                      </a:cubicBezTo>
                      <a:cubicBezTo>
                        <a:pt x="13" y="39"/>
                        <a:pt x="13" y="39"/>
                        <a:pt x="13" y="39"/>
                      </a:cubicBezTo>
                      <a:cubicBezTo>
                        <a:pt x="12" y="37"/>
                        <a:pt x="12" y="37"/>
                        <a:pt x="12" y="37"/>
                      </a:cubicBezTo>
                      <a:cubicBezTo>
                        <a:pt x="12" y="37"/>
                        <a:pt x="12" y="37"/>
                        <a:pt x="12" y="37"/>
                      </a:cubicBezTo>
                      <a:cubicBezTo>
                        <a:pt x="10" y="35"/>
                        <a:pt x="10" y="35"/>
                        <a:pt x="10" y="35"/>
                      </a:cubicBezTo>
                      <a:cubicBezTo>
                        <a:pt x="9" y="35"/>
                        <a:pt x="9" y="35"/>
                        <a:pt x="9" y="35"/>
                      </a:cubicBezTo>
                      <a:cubicBezTo>
                        <a:pt x="8" y="35"/>
                        <a:pt x="8" y="35"/>
                        <a:pt x="8" y="35"/>
                      </a:cubicBezTo>
                      <a:cubicBezTo>
                        <a:pt x="8" y="34"/>
                        <a:pt x="8" y="34"/>
                        <a:pt x="8" y="34"/>
                      </a:cubicBezTo>
                      <a:cubicBezTo>
                        <a:pt x="7" y="33"/>
                        <a:pt x="7" y="33"/>
                        <a:pt x="7" y="33"/>
                      </a:cubicBezTo>
                      <a:cubicBezTo>
                        <a:pt x="8" y="31"/>
                        <a:pt x="8" y="31"/>
                        <a:pt x="8" y="31"/>
                      </a:cubicBezTo>
                      <a:cubicBezTo>
                        <a:pt x="10" y="30"/>
                        <a:pt x="10" y="30"/>
                        <a:pt x="10" y="30"/>
                      </a:cubicBezTo>
                      <a:cubicBezTo>
                        <a:pt x="10" y="29"/>
                        <a:pt x="10" y="29"/>
                        <a:pt x="10" y="29"/>
                      </a:cubicBezTo>
                      <a:cubicBezTo>
                        <a:pt x="9" y="29"/>
                        <a:pt x="9" y="29"/>
                        <a:pt x="9" y="29"/>
                      </a:cubicBezTo>
                      <a:cubicBezTo>
                        <a:pt x="8" y="28"/>
                        <a:pt x="8" y="28"/>
                        <a:pt x="8" y="28"/>
                      </a:cubicBezTo>
                      <a:cubicBezTo>
                        <a:pt x="10" y="26"/>
                        <a:pt x="10" y="26"/>
                        <a:pt x="10" y="26"/>
                      </a:cubicBezTo>
                      <a:cubicBezTo>
                        <a:pt x="10" y="25"/>
                        <a:pt x="10" y="25"/>
                        <a:pt x="10" y="25"/>
                      </a:cubicBezTo>
                      <a:cubicBezTo>
                        <a:pt x="8" y="24"/>
                        <a:pt x="8" y="24"/>
                        <a:pt x="8" y="24"/>
                      </a:cubicBezTo>
                      <a:cubicBezTo>
                        <a:pt x="7" y="22"/>
                        <a:pt x="7" y="22"/>
                        <a:pt x="7" y="22"/>
                      </a:cubicBezTo>
                      <a:cubicBezTo>
                        <a:pt x="8" y="22"/>
                        <a:pt x="8" y="22"/>
                        <a:pt x="8" y="22"/>
                      </a:cubicBezTo>
                      <a:cubicBezTo>
                        <a:pt x="9" y="22"/>
                        <a:pt x="9" y="22"/>
                        <a:pt x="9" y="22"/>
                      </a:cubicBezTo>
                      <a:cubicBezTo>
                        <a:pt x="10" y="20"/>
                        <a:pt x="10" y="20"/>
                        <a:pt x="10" y="20"/>
                      </a:cubicBezTo>
                      <a:cubicBezTo>
                        <a:pt x="10" y="19"/>
                        <a:pt x="10" y="19"/>
                        <a:pt x="10" y="19"/>
                      </a:cubicBezTo>
                      <a:cubicBezTo>
                        <a:pt x="11" y="18"/>
                        <a:pt x="11" y="18"/>
                        <a:pt x="11" y="18"/>
                      </a:cubicBezTo>
                      <a:cubicBezTo>
                        <a:pt x="11" y="16"/>
                        <a:pt x="11" y="16"/>
                        <a:pt x="11" y="16"/>
                      </a:cubicBezTo>
                      <a:cubicBezTo>
                        <a:pt x="11" y="15"/>
                        <a:pt x="11" y="15"/>
                        <a:pt x="11" y="15"/>
                      </a:cubicBezTo>
                      <a:cubicBezTo>
                        <a:pt x="12" y="13"/>
                        <a:pt x="12" y="13"/>
                        <a:pt x="12" y="13"/>
                      </a:cubicBezTo>
                      <a:cubicBezTo>
                        <a:pt x="13" y="13"/>
                        <a:pt x="13" y="13"/>
                        <a:pt x="13" y="13"/>
                      </a:cubicBezTo>
                      <a:cubicBezTo>
                        <a:pt x="13" y="12"/>
                        <a:pt x="13" y="12"/>
                        <a:pt x="13" y="12"/>
                      </a:cubicBezTo>
                      <a:cubicBezTo>
                        <a:pt x="12" y="11"/>
                        <a:pt x="12" y="11"/>
                        <a:pt x="12" y="11"/>
                      </a:cubicBezTo>
                      <a:cubicBezTo>
                        <a:pt x="12" y="10"/>
                        <a:pt x="12" y="10"/>
                        <a:pt x="12" y="10"/>
                      </a:cubicBezTo>
                      <a:cubicBezTo>
                        <a:pt x="10" y="10"/>
                        <a:pt x="10" y="10"/>
                        <a:pt x="10" y="10"/>
                      </a:cubicBezTo>
                      <a:cubicBezTo>
                        <a:pt x="9" y="10"/>
                        <a:pt x="9" y="10"/>
                        <a:pt x="9" y="10"/>
                      </a:cubicBezTo>
                      <a:cubicBezTo>
                        <a:pt x="6" y="10"/>
                        <a:pt x="6" y="10"/>
                        <a:pt x="6" y="10"/>
                      </a:cubicBezTo>
                      <a:cubicBezTo>
                        <a:pt x="5" y="11"/>
                        <a:pt x="5" y="11"/>
                        <a:pt x="5" y="11"/>
                      </a:cubicBezTo>
                      <a:cubicBezTo>
                        <a:pt x="4" y="10"/>
                        <a:pt x="4" y="10"/>
                        <a:pt x="4" y="10"/>
                      </a:cubicBezTo>
                      <a:cubicBezTo>
                        <a:pt x="5" y="9"/>
                        <a:pt x="5" y="9"/>
                        <a:pt x="5" y="9"/>
                      </a:cubicBezTo>
                      <a:cubicBezTo>
                        <a:pt x="4" y="9"/>
                        <a:pt x="4" y="9"/>
                        <a:pt x="4" y="9"/>
                      </a:cubicBezTo>
                      <a:cubicBezTo>
                        <a:pt x="2" y="9"/>
                        <a:pt x="2" y="9"/>
                        <a:pt x="2" y="9"/>
                      </a:cubicBezTo>
                      <a:cubicBezTo>
                        <a:pt x="2" y="9"/>
                        <a:pt x="2" y="9"/>
                        <a:pt x="2" y="9"/>
                      </a:cubicBezTo>
                      <a:cubicBezTo>
                        <a:pt x="3" y="8"/>
                        <a:pt x="3" y="8"/>
                        <a:pt x="3" y="8"/>
                      </a:cubicBezTo>
                      <a:cubicBezTo>
                        <a:pt x="2" y="8"/>
                        <a:pt x="2" y="8"/>
                        <a:pt x="2" y="8"/>
                      </a:cubicBezTo>
                      <a:cubicBezTo>
                        <a:pt x="2" y="7"/>
                        <a:pt x="2" y="7"/>
                        <a:pt x="2" y="7"/>
                      </a:cubicBezTo>
                      <a:cubicBezTo>
                        <a:pt x="2" y="7"/>
                        <a:pt x="2" y="7"/>
                        <a:pt x="2" y="7"/>
                      </a:cubicBezTo>
                      <a:cubicBezTo>
                        <a:pt x="2" y="6"/>
                        <a:pt x="2" y="6"/>
                        <a:pt x="2" y="6"/>
                      </a:cubicBezTo>
                      <a:cubicBezTo>
                        <a:pt x="2" y="7"/>
                        <a:pt x="2" y="7"/>
                        <a:pt x="2" y="7"/>
                      </a:cubicBezTo>
                      <a:cubicBezTo>
                        <a:pt x="1" y="7"/>
                        <a:pt x="1" y="7"/>
                        <a:pt x="1" y="7"/>
                      </a:cubicBezTo>
                      <a:cubicBezTo>
                        <a:pt x="1" y="6"/>
                        <a:pt x="1" y="6"/>
                        <a:pt x="1" y="6"/>
                      </a:cubicBezTo>
                      <a:cubicBezTo>
                        <a:pt x="1" y="5"/>
                        <a:pt x="1" y="5"/>
                        <a:pt x="1" y="5"/>
                      </a:cubicBezTo>
                      <a:cubicBezTo>
                        <a:pt x="1" y="5"/>
                        <a:pt x="1" y="5"/>
                        <a:pt x="1" y="5"/>
                      </a:cubicBezTo>
                      <a:cubicBezTo>
                        <a:pt x="0" y="5"/>
                        <a:pt x="0" y="5"/>
                        <a:pt x="0" y="5"/>
                      </a:cubicBezTo>
                      <a:cubicBezTo>
                        <a:pt x="0" y="4"/>
                        <a:pt x="0" y="4"/>
                        <a:pt x="0" y="4"/>
                      </a:cubicBezTo>
                      <a:cubicBezTo>
                        <a:pt x="1" y="3"/>
                        <a:pt x="1" y="3"/>
                        <a:pt x="1" y="3"/>
                      </a:cubicBezTo>
                      <a:cubicBezTo>
                        <a:pt x="2" y="3"/>
                        <a:pt x="2" y="3"/>
                        <a:pt x="2" y="3"/>
                      </a:cubicBezTo>
                      <a:cubicBezTo>
                        <a:pt x="3" y="3"/>
                        <a:pt x="3" y="3"/>
                        <a:pt x="3" y="3"/>
                      </a:cubicBezTo>
                      <a:cubicBezTo>
                        <a:pt x="5" y="3"/>
                        <a:pt x="5" y="3"/>
                        <a:pt x="5" y="3"/>
                      </a:cubicBezTo>
                      <a:cubicBezTo>
                        <a:pt x="5" y="2"/>
                        <a:pt x="5" y="2"/>
                        <a:pt x="5" y="2"/>
                      </a:cubicBezTo>
                      <a:cubicBezTo>
                        <a:pt x="5" y="2"/>
                        <a:pt x="5" y="2"/>
                        <a:pt x="5" y="2"/>
                      </a:cubicBezTo>
                      <a:cubicBezTo>
                        <a:pt x="5" y="1"/>
                        <a:pt x="5" y="1"/>
                        <a:pt x="5" y="1"/>
                      </a:cubicBezTo>
                      <a:cubicBezTo>
                        <a:pt x="6" y="0"/>
                        <a:pt x="6" y="0"/>
                        <a:pt x="6" y="0"/>
                      </a:cubicBezTo>
                      <a:cubicBezTo>
                        <a:pt x="7" y="1"/>
                        <a:pt x="7" y="1"/>
                        <a:pt x="7" y="1"/>
                      </a:cubicBezTo>
                      <a:cubicBezTo>
                        <a:pt x="7" y="0"/>
                        <a:pt x="7" y="0"/>
                        <a:pt x="7" y="0"/>
                      </a:cubicBezTo>
                      <a:cubicBezTo>
                        <a:pt x="8" y="0"/>
                        <a:pt x="8" y="0"/>
                        <a:pt x="8" y="0"/>
                      </a:cubicBezTo>
                      <a:cubicBezTo>
                        <a:pt x="9" y="2"/>
                        <a:pt x="9" y="2"/>
                        <a:pt x="9" y="2"/>
                      </a:cubicBezTo>
                      <a:cubicBezTo>
                        <a:pt x="10" y="1"/>
                        <a:pt x="10" y="1"/>
                        <a:pt x="10" y="1"/>
                      </a:cubicBezTo>
                      <a:cubicBezTo>
                        <a:pt x="11" y="1"/>
                        <a:pt x="11" y="1"/>
                        <a:pt x="11" y="1"/>
                      </a:cubicBezTo>
                      <a:cubicBezTo>
                        <a:pt x="12" y="1"/>
                        <a:pt x="12" y="1"/>
                        <a:pt x="12" y="1"/>
                      </a:cubicBezTo>
                      <a:cubicBezTo>
                        <a:pt x="14" y="1"/>
                        <a:pt x="14" y="1"/>
                        <a:pt x="14" y="1"/>
                      </a:cubicBezTo>
                      <a:cubicBezTo>
                        <a:pt x="15" y="1"/>
                        <a:pt x="15" y="1"/>
                        <a:pt x="15" y="1"/>
                      </a:cubicBezTo>
                      <a:cubicBezTo>
                        <a:pt x="15" y="1"/>
                        <a:pt x="15" y="1"/>
                        <a:pt x="15" y="1"/>
                      </a:cubicBezTo>
                      <a:cubicBezTo>
                        <a:pt x="17" y="2"/>
                        <a:pt x="17" y="2"/>
                        <a:pt x="17" y="2"/>
                      </a:cubicBezTo>
                      <a:cubicBezTo>
                        <a:pt x="20" y="2"/>
                        <a:pt x="20" y="2"/>
                        <a:pt x="20" y="2"/>
                      </a:cubicBezTo>
                      <a:cubicBezTo>
                        <a:pt x="22" y="2"/>
                        <a:pt x="22" y="2"/>
                        <a:pt x="22" y="2"/>
                      </a:cubicBezTo>
                      <a:cubicBezTo>
                        <a:pt x="24" y="1"/>
                        <a:pt x="24" y="1"/>
                        <a:pt x="24" y="1"/>
                      </a:cubicBezTo>
                      <a:cubicBezTo>
                        <a:pt x="26" y="2"/>
                        <a:pt x="26" y="2"/>
                        <a:pt x="26" y="2"/>
                      </a:cubicBezTo>
                      <a:cubicBezTo>
                        <a:pt x="26" y="2"/>
                        <a:pt x="26" y="2"/>
                        <a:pt x="26" y="2"/>
                      </a:cubicBezTo>
                      <a:cubicBezTo>
                        <a:pt x="28" y="3"/>
                        <a:pt x="28" y="3"/>
                        <a:pt x="28" y="3"/>
                      </a:cubicBezTo>
                      <a:cubicBezTo>
                        <a:pt x="29" y="2"/>
                        <a:pt x="29" y="2"/>
                        <a:pt x="29" y="2"/>
                      </a:cubicBezTo>
                      <a:cubicBezTo>
                        <a:pt x="29" y="2"/>
                        <a:pt x="29" y="2"/>
                        <a:pt x="29" y="2"/>
                      </a:cubicBezTo>
                      <a:cubicBezTo>
                        <a:pt x="32" y="3"/>
                        <a:pt x="32" y="3"/>
                        <a:pt x="32" y="3"/>
                      </a:cubicBezTo>
                      <a:cubicBezTo>
                        <a:pt x="32" y="3"/>
                        <a:pt x="32" y="3"/>
                        <a:pt x="32" y="3"/>
                      </a:cubicBezTo>
                      <a:cubicBezTo>
                        <a:pt x="33" y="2"/>
                        <a:pt x="33" y="2"/>
                        <a:pt x="33" y="2"/>
                      </a:cubicBezTo>
                      <a:cubicBezTo>
                        <a:pt x="34" y="2"/>
                        <a:pt x="34" y="2"/>
                        <a:pt x="34" y="2"/>
                      </a:cubicBezTo>
                      <a:close/>
                      <a:moveTo>
                        <a:pt x="57" y="21"/>
                      </a:moveTo>
                      <a:cubicBezTo>
                        <a:pt x="58" y="21"/>
                        <a:pt x="58" y="21"/>
                        <a:pt x="58" y="21"/>
                      </a:cubicBezTo>
                      <a:cubicBezTo>
                        <a:pt x="59" y="22"/>
                        <a:pt x="59" y="22"/>
                        <a:pt x="59" y="22"/>
                      </a:cubicBezTo>
                      <a:cubicBezTo>
                        <a:pt x="59" y="21"/>
                        <a:pt x="59" y="21"/>
                        <a:pt x="59" y="21"/>
                      </a:cubicBezTo>
                      <a:cubicBezTo>
                        <a:pt x="58" y="20"/>
                        <a:pt x="58" y="20"/>
                        <a:pt x="58" y="20"/>
                      </a:cubicBezTo>
                      <a:cubicBezTo>
                        <a:pt x="57" y="21"/>
                        <a:pt x="57" y="21"/>
                        <a:pt x="57" y="21"/>
                      </a:cubicBezTo>
                      <a:cubicBezTo>
                        <a:pt x="57" y="21"/>
                        <a:pt x="57" y="21"/>
                        <a:pt x="57" y="21"/>
                      </a:cubicBezTo>
                      <a:close/>
                      <a:moveTo>
                        <a:pt x="54" y="24"/>
                      </a:moveTo>
                      <a:cubicBezTo>
                        <a:pt x="54" y="23"/>
                        <a:pt x="54" y="23"/>
                        <a:pt x="54" y="23"/>
                      </a:cubicBezTo>
                      <a:cubicBezTo>
                        <a:pt x="55" y="22"/>
                        <a:pt x="55" y="22"/>
                        <a:pt x="55" y="22"/>
                      </a:cubicBezTo>
                      <a:cubicBezTo>
                        <a:pt x="54" y="22"/>
                        <a:pt x="54" y="22"/>
                        <a:pt x="54" y="22"/>
                      </a:cubicBezTo>
                      <a:cubicBezTo>
                        <a:pt x="53" y="22"/>
                        <a:pt x="53" y="22"/>
                        <a:pt x="53" y="22"/>
                      </a:cubicBezTo>
                      <a:cubicBezTo>
                        <a:pt x="52" y="22"/>
                        <a:pt x="52" y="22"/>
                        <a:pt x="52" y="22"/>
                      </a:cubicBezTo>
                      <a:cubicBezTo>
                        <a:pt x="52" y="23"/>
                        <a:pt x="52" y="23"/>
                        <a:pt x="52" y="23"/>
                      </a:cubicBezTo>
                      <a:cubicBezTo>
                        <a:pt x="53" y="23"/>
                        <a:pt x="53" y="23"/>
                        <a:pt x="53" y="23"/>
                      </a:cubicBezTo>
                      <a:cubicBezTo>
                        <a:pt x="54" y="24"/>
                        <a:pt x="54" y="24"/>
                        <a:pt x="54" y="24"/>
                      </a:cubicBezTo>
                      <a:close/>
                      <a:moveTo>
                        <a:pt x="48" y="27"/>
                      </a:moveTo>
                      <a:cubicBezTo>
                        <a:pt x="49" y="26"/>
                        <a:pt x="49" y="26"/>
                        <a:pt x="49" y="26"/>
                      </a:cubicBezTo>
                      <a:cubicBezTo>
                        <a:pt x="49" y="26"/>
                        <a:pt x="49" y="26"/>
                        <a:pt x="49" y="26"/>
                      </a:cubicBezTo>
                      <a:cubicBezTo>
                        <a:pt x="49" y="25"/>
                        <a:pt x="49" y="25"/>
                        <a:pt x="49" y="25"/>
                      </a:cubicBezTo>
                      <a:cubicBezTo>
                        <a:pt x="47" y="26"/>
                        <a:pt x="47" y="26"/>
                        <a:pt x="47" y="26"/>
                      </a:cubicBezTo>
                      <a:cubicBezTo>
                        <a:pt x="47" y="26"/>
                        <a:pt x="47" y="26"/>
                        <a:pt x="47" y="26"/>
                      </a:cubicBezTo>
                      <a:lnTo>
                        <a:pt x="48" y="27"/>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 name="Freeform 79">
                  <a:extLst>
                    <a:ext uri="{FF2B5EF4-FFF2-40B4-BE49-F238E27FC236}">
                      <a16:creationId xmlns:a16="http://schemas.microsoft.com/office/drawing/2014/main" id="{BBF58297-5804-67B1-7182-2E6B27E23C82}"/>
                    </a:ext>
                  </a:extLst>
                </p:cNvPr>
                <p:cNvSpPr>
                  <a:spLocks/>
                </p:cNvSpPr>
                <p:nvPr/>
              </p:nvSpPr>
              <p:spPr bwMode="auto">
                <a:xfrm>
                  <a:off x="2552" y="2140"/>
                  <a:ext cx="36" cy="64"/>
                </a:xfrm>
                <a:custGeom>
                  <a:avLst/>
                  <a:gdLst>
                    <a:gd name="T0" fmla="*/ 24 w 36"/>
                    <a:gd name="T1" fmla="*/ 59 h 64"/>
                    <a:gd name="T2" fmla="*/ 24 w 36"/>
                    <a:gd name="T3" fmla="*/ 52 h 64"/>
                    <a:gd name="T4" fmla="*/ 29 w 36"/>
                    <a:gd name="T5" fmla="*/ 47 h 64"/>
                    <a:gd name="T6" fmla="*/ 24 w 36"/>
                    <a:gd name="T7" fmla="*/ 45 h 64"/>
                    <a:gd name="T8" fmla="*/ 29 w 36"/>
                    <a:gd name="T9" fmla="*/ 38 h 64"/>
                    <a:gd name="T10" fmla="*/ 22 w 36"/>
                    <a:gd name="T11" fmla="*/ 31 h 64"/>
                    <a:gd name="T12" fmla="*/ 26 w 36"/>
                    <a:gd name="T13" fmla="*/ 31 h 64"/>
                    <a:gd name="T14" fmla="*/ 29 w 36"/>
                    <a:gd name="T15" fmla="*/ 24 h 64"/>
                    <a:gd name="T16" fmla="*/ 31 w 36"/>
                    <a:gd name="T17" fmla="*/ 16 h 64"/>
                    <a:gd name="T18" fmla="*/ 33 w 36"/>
                    <a:gd name="T19" fmla="*/ 9 h 64"/>
                    <a:gd name="T20" fmla="*/ 36 w 36"/>
                    <a:gd name="T21" fmla="*/ 7 h 64"/>
                    <a:gd name="T22" fmla="*/ 33 w 36"/>
                    <a:gd name="T23" fmla="*/ 2 h 64"/>
                    <a:gd name="T24" fmla="*/ 26 w 36"/>
                    <a:gd name="T25" fmla="*/ 2 h 64"/>
                    <a:gd name="T26" fmla="*/ 17 w 36"/>
                    <a:gd name="T27" fmla="*/ 5 h 64"/>
                    <a:gd name="T28" fmla="*/ 17 w 36"/>
                    <a:gd name="T29" fmla="*/ 0 h 64"/>
                    <a:gd name="T30" fmla="*/ 10 w 36"/>
                    <a:gd name="T31" fmla="*/ 0 h 64"/>
                    <a:gd name="T32" fmla="*/ 10 w 36"/>
                    <a:gd name="T33" fmla="*/ 7 h 64"/>
                    <a:gd name="T34" fmla="*/ 10 w 36"/>
                    <a:gd name="T35" fmla="*/ 14 h 64"/>
                    <a:gd name="T36" fmla="*/ 12 w 36"/>
                    <a:gd name="T37" fmla="*/ 19 h 64"/>
                    <a:gd name="T38" fmla="*/ 10 w 36"/>
                    <a:gd name="T39" fmla="*/ 21 h 64"/>
                    <a:gd name="T40" fmla="*/ 5 w 36"/>
                    <a:gd name="T41" fmla="*/ 28 h 64"/>
                    <a:gd name="T42" fmla="*/ 3 w 36"/>
                    <a:gd name="T43" fmla="*/ 35 h 64"/>
                    <a:gd name="T44" fmla="*/ 3 w 36"/>
                    <a:gd name="T45" fmla="*/ 43 h 64"/>
                    <a:gd name="T46" fmla="*/ 5 w 36"/>
                    <a:gd name="T47" fmla="*/ 40 h 64"/>
                    <a:gd name="T48" fmla="*/ 7 w 36"/>
                    <a:gd name="T49" fmla="*/ 40 h 64"/>
                    <a:gd name="T50" fmla="*/ 5 w 36"/>
                    <a:gd name="T51" fmla="*/ 43 h 64"/>
                    <a:gd name="T52" fmla="*/ 5 w 36"/>
                    <a:gd name="T53" fmla="*/ 47 h 64"/>
                    <a:gd name="T54" fmla="*/ 10 w 36"/>
                    <a:gd name="T55" fmla="*/ 45 h 64"/>
                    <a:gd name="T56" fmla="*/ 10 w 36"/>
                    <a:gd name="T57" fmla="*/ 50 h 64"/>
                    <a:gd name="T58" fmla="*/ 7 w 36"/>
                    <a:gd name="T59" fmla="*/ 57 h 64"/>
                    <a:gd name="T60" fmla="*/ 7 w 36"/>
                    <a:gd name="T61" fmla="*/ 61 h 64"/>
                    <a:gd name="T62" fmla="*/ 10 w 36"/>
                    <a:gd name="T63" fmla="*/ 61 h 64"/>
                    <a:gd name="T64" fmla="*/ 17 w 36"/>
                    <a:gd name="T65" fmla="*/ 64 h 64"/>
                    <a:gd name="T66" fmla="*/ 24 w 36"/>
                    <a:gd name="T67" fmla="*/ 61 h 64"/>
                    <a:gd name="T68" fmla="*/ 24 w 36"/>
                    <a:gd name="T69"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6" h="64">
                      <a:moveTo>
                        <a:pt x="24" y="61"/>
                      </a:moveTo>
                      <a:lnTo>
                        <a:pt x="24" y="59"/>
                      </a:lnTo>
                      <a:lnTo>
                        <a:pt x="22" y="57"/>
                      </a:lnTo>
                      <a:lnTo>
                        <a:pt x="24" y="52"/>
                      </a:lnTo>
                      <a:lnTo>
                        <a:pt x="29" y="50"/>
                      </a:lnTo>
                      <a:lnTo>
                        <a:pt x="29" y="47"/>
                      </a:lnTo>
                      <a:lnTo>
                        <a:pt x="26" y="47"/>
                      </a:lnTo>
                      <a:lnTo>
                        <a:pt x="24" y="45"/>
                      </a:lnTo>
                      <a:lnTo>
                        <a:pt x="29" y="40"/>
                      </a:lnTo>
                      <a:lnTo>
                        <a:pt x="29" y="38"/>
                      </a:lnTo>
                      <a:lnTo>
                        <a:pt x="24" y="35"/>
                      </a:lnTo>
                      <a:lnTo>
                        <a:pt x="22" y="31"/>
                      </a:lnTo>
                      <a:lnTo>
                        <a:pt x="24" y="31"/>
                      </a:lnTo>
                      <a:lnTo>
                        <a:pt x="26" y="31"/>
                      </a:lnTo>
                      <a:lnTo>
                        <a:pt x="29" y="26"/>
                      </a:lnTo>
                      <a:lnTo>
                        <a:pt x="29" y="24"/>
                      </a:lnTo>
                      <a:lnTo>
                        <a:pt x="31" y="21"/>
                      </a:lnTo>
                      <a:lnTo>
                        <a:pt x="31" y="16"/>
                      </a:lnTo>
                      <a:lnTo>
                        <a:pt x="31" y="14"/>
                      </a:lnTo>
                      <a:lnTo>
                        <a:pt x="33" y="9"/>
                      </a:lnTo>
                      <a:lnTo>
                        <a:pt x="36" y="9"/>
                      </a:lnTo>
                      <a:lnTo>
                        <a:pt x="36" y="7"/>
                      </a:lnTo>
                      <a:lnTo>
                        <a:pt x="33" y="5"/>
                      </a:lnTo>
                      <a:lnTo>
                        <a:pt x="33" y="2"/>
                      </a:lnTo>
                      <a:lnTo>
                        <a:pt x="29" y="2"/>
                      </a:lnTo>
                      <a:lnTo>
                        <a:pt x="26" y="2"/>
                      </a:lnTo>
                      <a:lnTo>
                        <a:pt x="19" y="2"/>
                      </a:lnTo>
                      <a:lnTo>
                        <a:pt x="17" y="5"/>
                      </a:lnTo>
                      <a:lnTo>
                        <a:pt x="14" y="2"/>
                      </a:lnTo>
                      <a:lnTo>
                        <a:pt x="17" y="0"/>
                      </a:lnTo>
                      <a:lnTo>
                        <a:pt x="14" y="0"/>
                      </a:lnTo>
                      <a:lnTo>
                        <a:pt x="10" y="0"/>
                      </a:lnTo>
                      <a:lnTo>
                        <a:pt x="10" y="2"/>
                      </a:lnTo>
                      <a:lnTo>
                        <a:pt x="10" y="7"/>
                      </a:lnTo>
                      <a:lnTo>
                        <a:pt x="10" y="12"/>
                      </a:lnTo>
                      <a:lnTo>
                        <a:pt x="10" y="14"/>
                      </a:lnTo>
                      <a:lnTo>
                        <a:pt x="10" y="16"/>
                      </a:lnTo>
                      <a:lnTo>
                        <a:pt x="12" y="19"/>
                      </a:lnTo>
                      <a:lnTo>
                        <a:pt x="10" y="19"/>
                      </a:lnTo>
                      <a:lnTo>
                        <a:pt x="10" y="21"/>
                      </a:lnTo>
                      <a:lnTo>
                        <a:pt x="7" y="26"/>
                      </a:lnTo>
                      <a:lnTo>
                        <a:pt x="5" y="28"/>
                      </a:lnTo>
                      <a:lnTo>
                        <a:pt x="5" y="31"/>
                      </a:lnTo>
                      <a:lnTo>
                        <a:pt x="3" y="35"/>
                      </a:lnTo>
                      <a:lnTo>
                        <a:pt x="0" y="40"/>
                      </a:lnTo>
                      <a:lnTo>
                        <a:pt x="3" y="43"/>
                      </a:lnTo>
                      <a:lnTo>
                        <a:pt x="3" y="43"/>
                      </a:lnTo>
                      <a:lnTo>
                        <a:pt x="5" y="40"/>
                      </a:lnTo>
                      <a:lnTo>
                        <a:pt x="7" y="40"/>
                      </a:lnTo>
                      <a:lnTo>
                        <a:pt x="7" y="40"/>
                      </a:lnTo>
                      <a:lnTo>
                        <a:pt x="7" y="43"/>
                      </a:lnTo>
                      <a:lnTo>
                        <a:pt x="5" y="43"/>
                      </a:lnTo>
                      <a:lnTo>
                        <a:pt x="5" y="45"/>
                      </a:lnTo>
                      <a:lnTo>
                        <a:pt x="5" y="47"/>
                      </a:lnTo>
                      <a:lnTo>
                        <a:pt x="7" y="45"/>
                      </a:lnTo>
                      <a:lnTo>
                        <a:pt x="10" y="45"/>
                      </a:lnTo>
                      <a:lnTo>
                        <a:pt x="7" y="47"/>
                      </a:lnTo>
                      <a:lnTo>
                        <a:pt x="10" y="50"/>
                      </a:lnTo>
                      <a:lnTo>
                        <a:pt x="7" y="52"/>
                      </a:lnTo>
                      <a:lnTo>
                        <a:pt x="7" y="57"/>
                      </a:lnTo>
                      <a:lnTo>
                        <a:pt x="7" y="61"/>
                      </a:lnTo>
                      <a:lnTo>
                        <a:pt x="7" y="61"/>
                      </a:lnTo>
                      <a:lnTo>
                        <a:pt x="7" y="61"/>
                      </a:lnTo>
                      <a:lnTo>
                        <a:pt x="10" y="61"/>
                      </a:lnTo>
                      <a:lnTo>
                        <a:pt x="14" y="61"/>
                      </a:lnTo>
                      <a:lnTo>
                        <a:pt x="17" y="64"/>
                      </a:lnTo>
                      <a:lnTo>
                        <a:pt x="22" y="61"/>
                      </a:lnTo>
                      <a:lnTo>
                        <a:pt x="24" y="61"/>
                      </a:lnTo>
                      <a:lnTo>
                        <a:pt x="24" y="61"/>
                      </a:lnTo>
                      <a:lnTo>
                        <a:pt x="24" y="61"/>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 name="Freeform 80">
                  <a:extLst>
                    <a:ext uri="{FF2B5EF4-FFF2-40B4-BE49-F238E27FC236}">
                      <a16:creationId xmlns:a16="http://schemas.microsoft.com/office/drawing/2014/main" id="{64393AD9-4C24-2D86-BB46-FB83844F238D}"/>
                    </a:ext>
                  </a:extLst>
                </p:cNvPr>
                <p:cNvSpPr>
                  <a:spLocks noEditPoints="1"/>
                </p:cNvSpPr>
                <p:nvPr/>
              </p:nvSpPr>
              <p:spPr bwMode="auto">
                <a:xfrm>
                  <a:off x="2862" y="2142"/>
                  <a:ext cx="97" cy="86"/>
                </a:xfrm>
                <a:custGeom>
                  <a:avLst/>
                  <a:gdLst>
                    <a:gd name="T0" fmla="*/ 25 w 41"/>
                    <a:gd name="T1" fmla="*/ 3 h 36"/>
                    <a:gd name="T2" fmla="*/ 16 w 41"/>
                    <a:gd name="T3" fmla="*/ 3 h 36"/>
                    <a:gd name="T4" fmla="*/ 6 w 41"/>
                    <a:gd name="T5" fmla="*/ 6 h 36"/>
                    <a:gd name="T6" fmla="*/ 4 w 41"/>
                    <a:gd name="T7" fmla="*/ 15 h 36"/>
                    <a:gd name="T8" fmla="*/ 10 w 41"/>
                    <a:gd name="T9" fmla="*/ 19 h 36"/>
                    <a:gd name="T10" fmla="*/ 15 w 41"/>
                    <a:gd name="T11" fmla="*/ 21 h 36"/>
                    <a:gd name="T12" fmla="*/ 8 w 41"/>
                    <a:gd name="T13" fmla="*/ 21 h 36"/>
                    <a:gd name="T14" fmla="*/ 12 w 41"/>
                    <a:gd name="T15" fmla="*/ 27 h 36"/>
                    <a:gd name="T16" fmla="*/ 14 w 41"/>
                    <a:gd name="T17" fmla="*/ 28 h 36"/>
                    <a:gd name="T18" fmla="*/ 15 w 41"/>
                    <a:gd name="T19" fmla="*/ 24 h 36"/>
                    <a:gd name="T20" fmla="*/ 18 w 41"/>
                    <a:gd name="T21" fmla="*/ 24 h 36"/>
                    <a:gd name="T22" fmla="*/ 19 w 41"/>
                    <a:gd name="T23" fmla="*/ 22 h 36"/>
                    <a:gd name="T24" fmla="*/ 17 w 41"/>
                    <a:gd name="T25" fmla="*/ 17 h 36"/>
                    <a:gd name="T26" fmla="*/ 15 w 41"/>
                    <a:gd name="T27" fmla="*/ 14 h 36"/>
                    <a:gd name="T28" fmla="*/ 15 w 41"/>
                    <a:gd name="T29" fmla="*/ 12 h 36"/>
                    <a:gd name="T30" fmla="*/ 14 w 41"/>
                    <a:gd name="T31" fmla="*/ 8 h 36"/>
                    <a:gd name="T32" fmla="*/ 18 w 41"/>
                    <a:gd name="T33" fmla="*/ 9 h 36"/>
                    <a:gd name="T34" fmla="*/ 21 w 41"/>
                    <a:gd name="T35" fmla="*/ 9 h 36"/>
                    <a:gd name="T36" fmla="*/ 23 w 41"/>
                    <a:gd name="T37" fmla="*/ 5 h 36"/>
                    <a:gd name="T38" fmla="*/ 30 w 41"/>
                    <a:gd name="T39" fmla="*/ 4 h 36"/>
                    <a:gd name="T40" fmla="*/ 19 w 41"/>
                    <a:gd name="T41" fmla="*/ 34 h 36"/>
                    <a:gd name="T42" fmla="*/ 26 w 41"/>
                    <a:gd name="T43" fmla="*/ 36 h 36"/>
                    <a:gd name="T44" fmla="*/ 32 w 41"/>
                    <a:gd name="T45" fmla="*/ 34 h 36"/>
                    <a:gd name="T46" fmla="*/ 28 w 41"/>
                    <a:gd name="T47" fmla="*/ 33 h 36"/>
                    <a:gd name="T48" fmla="*/ 22 w 41"/>
                    <a:gd name="T49" fmla="*/ 33 h 36"/>
                    <a:gd name="T50" fmla="*/ 20 w 41"/>
                    <a:gd name="T51" fmla="*/ 33 h 36"/>
                    <a:gd name="T52" fmla="*/ 0 w 41"/>
                    <a:gd name="T53" fmla="*/ 13 h 36"/>
                    <a:gd name="T54" fmla="*/ 5 w 41"/>
                    <a:gd name="T55" fmla="*/ 17 h 36"/>
                    <a:gd name="T56" fmla="*/ 5 w 41"/>
                    <a:gd name="T57" fmla="*/ 19 h 36"/>
                    <a:gd name="T58" fmla="*/ 4 w 41"/>
                    <a:gd name="T59" fmla="*/ 20 h 36"/>
                    <a:gd name="T60" fmla="*/ 6 w 41"/>
                    <a:gd name="T61" fmla="*/ 23 h 36"/>
                    <a:gd name="T62" fmla="*/ 36 w 41"/>
                    <a:gd name="T63" fmla="*/ 31 h 36"/>
                    <a:gd name="T64" fmla="*/ 36 w 41"/>
                    <a:gd name="T65" fmla="*/ 34 h 36"/>
                    <a:gd name="T66" fmla="*/ 41 w 41"/>
                    <a:gd name="T67" fmla="*/ 29 h 36"/>
                    <a:gd name="T68" fmla="*/ 38 w 41"/>
                    <a:gd name="T69" fmla="*/ 31 h 36"/>
                    <a:gd name="T70" fmla="*/ 33 w 41"/>
                    <a:gd name="T71" fmla="*/ 22 h 36"/>
                    <a:gd name="T72" fmla="*/ 33 w 41"/>
                    <a:gd name="T73" fmla="*/ 23 h 36"/>
                    <a:gd name="T74" fmla="*/ 29 w 41"/>
                    <a:gd name="T75" fmla="*/ 19 h 36"/>
                    <a:gd name="T76" fmla="*/ 28 w 41"/>
                    <a:gd name="T77" fmla="*/ 15 h 36"/>
                    <a:gd name="T78" fmla="*/ 32 w 41"/>
                    <a:gd name="T79" fmla="*/ 16 h 36"/>
                    <a:gd name="T80" fmla="*/ 29 w 41"/>
                    <a:gd name="T81" fmla="*/ 15 h 36"/>
                    <a:gd name="T82" fmla="*/ 25 w 41"/>
                    <a:gd name="T83" fmla="*/ 10 h 36"/>
                    <a:gd name="T84" fmla="*/ 25 w 41"/>
                    <a:gd name="T85" fmla="*/ 11 h 36"/>
                    <a:gd name="T86" fmla="*/ 22 w 41"/>
                    <a:gd name="T87" fmla="*/ 7 h 36"/>
                    <a:gd name="T88" fmla="*/ 17 w 41"/>
                    <a:gd name="T89" fmla="*/ 14 h 36"/>
                    <a:gd name="T90" fmla="*/ 23 w 41"/>
                    <a:gd name="T91" fmla="*/ 17 h 36"/>
                    <a:gd name="T92" fmla="*/ 30 w 41"/>
                    <a:gd name="T93" fmla="*/ 24 h 36"/>
                    <a:gd name="T94" fmla="*/ 23 w 41"/>
                    <a:gd name="T95" fmla="*/ 26 h 36"/>
                    <a:gd name="T96" fmla="*/ 22 w 41"/>
                    <a:gd name="T97" fmla="*/ 23 h 36"/>
                    <a:gd name="T98" fmla="*/ 28 w 41"/>
                    <a:gd name="T99" fmla="*/ 26 h 36"/>
                    <a:gd name="T100" fmla="*/ 28 w 41"/>
                    <a:gd name="T101" fmla="*/ 24 h 36"/>
                    <a:gd name="T102" fmla="*/ 24 w 41"/>
                    <a:gd name="T103" fmla="*/ 21 h 36"/>
                    <a:gd name="T104" fmla="*/ 16 w 41"/>
                    <a:gd name="T105" fmla="*/ 16 h 36"/>
                    <a:gd name="T106" fmla="*/ 22 w 41"/>
                    <a:gd name="T107" fmla="*/ 19 h 36"/>
                    <a:gd name="T108" fmla="*/ 22 w 41"/>
                    <a:gd name="T109" fmla="*/ 21 h 36"/>
                    <a:gd name="T110" fmla="*/ 18 w 41"/>
                    <a:gd name="T111" fmla="*/ 18 h 36"/>
                    <a:gd name="T112" fmla="*/ 16 w 41"/>
                    <a:gd name="T113" fmla="*/ 29 h 36"/>
                    <a:gd name="T114" fmla="*/ 16 w 41"/>
                    <a:gd name="T115" fmla="*/ 29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1" h="36">
                      <a:moveTo>
                        <a:pt x="31" y="0"/>
                      </a:moveTo>
                      <a:cubicBezTo>
                        <a:pt x="30" y="0"/>
                        <a:pt x="30" y="0"/>
                        <a:pt x="30" y="0"/>
                      </a:cubicBezTo>
                      <a:cubicBezTo>
                        <a:pt x="29" y="1"/>
                        <a:pt x="29" y="1"/>
                        <a:pt x="29" y="1"/>
                      </a:cubicBezTo>
                      <a:cubicBezTo>
                        <a:pt x="29" y="2"/>
                        <a:pt x="29" y="2"/>
                        <a:pt x="29" y="2"/>
                      </a:cubicBezTo>
                      <a:cubicBezTo>
                        <a:pt x="29" y="2"/>
                        <a:pt x="29" y="2"/>
                        <a:pt x="29" y="2"/>
                      </a:cubicBezTo>
                      <a:cubicBezTo>
                        <a:pt x="29" y="3"/>
                        <a:pt x="29" y="3"/>
                        <a:pt x="29" y="3"/>
                      </a:cubicBezTo>
                      <a:cubicBezTo>
                        <a:pt x="27" y="3"/>
                        <a:pt x="27" y="3"/>
                        <a:pt x="27" y="3"/>
                      </a:cubicBezTo>
                      <a:cubicBezTo>
                        <a:pt x="26" y="3"/>
                        <a:pt x="26" y="3"/>
                        <a:pt x="26" y="3"/>
                      </a:cubicBezTo>
                      <a:cubicBezTo>
                        <a:pt x="25" y="3"/>
                        <a:pt x="25" y="3"/>
                        <a:pt x="25" y="3"/>
                      </a:cubicBezTo>
                      <a:cubicBezTo>
                        <a:pt x="24" y="3"/>
                        <a:pt x="24" y="3"/>
                        <a:pt x="24" y="3"/>
                      </a:cubicBezTo>
                      <a:cubicBezTo>
                        <a:pt x="23" y="3"/>
                        <a:pt x="23" y="3"/>
                        <a:pt x="23" y="3"/>
                      </a:cubicBezTo>
                      <a:cubicBezTo>
                        <a:pt x="22" y="3"/>
                        <a:pt x="22" y="3"/>
                        <a:pt x="22" y="3"/>
                      </a:cubicBezTo>
                      <a:cubicBezTo>
                        <a:pt x="22" y="2"/>
                        <a:pt x="22" y="2"/>
                        <a:pt x="22" y="2"/>
                      </a:cubicBezTo>
                      <a:cubicBezTo>
                        <a:pt x="21" y="2"/>
                        <a:pt x="21" y="2"/>
                        <a:pt x="21" y="2"/>
                      </a:cubicBezTo>
                      <a:cubicBezTo>
                        <a:pt x="20" y="2"/>
                        <a:pt x="20" y="2"/>
                        <a:pt x="20" y="2"/>
                      </a:cubicBezTo>
                      <a:cubicBezTo>
                        <a:pt x="19" y="3"/>
                        <a:pt x="19" y="3"/>
                        <a:pt x="19" y="3"/>
                      </a:cubicBezTo>
                      <a:cubicBezTo>
                        <a:pt x="18" y="3"/>
                        <a:pt x="18" y="3"/>
                        <a:pt x="18" y="3"/>
                      </a:cubicBezTo>
                      <a:cubicBezTo>
                        <a:pt x="16" y="3"/>
                        <a:pt x="16" y="3"/>
                        <a:pt x="16" y="3"/>
                      </a:cubicBezTo>
                      <a:cubicBezTo>
                        <a:pt x="16" y="3"/>
                        <a:pt x="16" y="3"/>
                        <a:pt x="16" y="3"/>
                      </a:cubicBezTo>
                      <a:cubicBezTo>
                        <a:pt x="15" y="4"/>
                        <a:pt x="15" y="4"/>
                        <a:pt x="15" y="4"/>
                      </a:cubicBezTo>
                      <a:cubicBezTo>
                        <a:pt x="14" y="4"/>
                        <a:pt x="14" y="4"/>
                        <a:pt x="14" y="4"/>
                      </a:cubicBezTo>
                      <a:cubicBezTo>
                        <a:pt x="13" y="4"/>
                        <a:pt x="13" y="4"/>
                        <a:pt x="13" y="4"/>
                      </a:cubicBezTo>
                      <a:cubicBezTo>
                        <a:pt x="11" y="4"/>
                        <a:pt x="11" y="4"/>
                        <a:pt x="11" y="4"/>
                      </a:cubicBezTo>
                      <a:cubicBezTo>
                        <a:pt x="10" y="5"/>
                        <a:pt x="10" y="5"/>
                        <a:pt x="10" y="5"/>
                      </a:cubicBezTo>
                      <a:cubicBezTo>
                        <a:pt x="10" y="5"/>
                        <a:pt x="10" y="5"/>
                        <a:pt x="10" y="5"/>
                      </a:cubicBezTo>
                      <a:cubicBezTo>
                        <a:pt x="8" y="5"/>
                        <a:pt x="8" y="5"/>
                        <a:pt x="8" y="5"/>
                      </a:cubicBezTo>
                      <a:cubicBezTo>
                        <a:pt x="6" y="6"/>
                        <a:pt x="6" y="6"/>
                        <a:pt x="6" y="6"/>
                      </a:cubicBezTo>
                      <a:cubicBezTo>
                        <a:pt x="6" y="8"/>
                        <a:pt x="6" y="8"/>
                        <a:pt x="6" y="8"/>
                      </a:cubicBezTo>
                      <a:cubicBezTo>
                        <a:pt x="6" y="9"/>
                        <a:pt x="6" y="9"/>
                        <a:pt x="6" y="9"/>
                      </a:cubicBezTo>
                      <a:cubicBezTo>
                        <a:pt x="4" y="9"/>
                        <a:pt x="4" y="9"/>
                        <a:pt x="4" y="9"/>
                      </a:cubicBezTo>
                      <a:cubicBezTo>
                        <a:pt x="4" y="10"/>
                        <a:pt x="4" y="10"/>
                        <a:pt x="4" y="10"/>
                      </a:cubicBezTo>
                      <a:cubicBezTo>
                        <a:pt x="3" y="12"/>
                        <a:pt x="3" y="12"/>
                        <a:pt x="3" y="12"/>
                      </a:cubicBezTo>
                      <a:cubicBezTo>
                        <a:pt x="2" y="12"/>
                        <a:pt x="2" y="12"/>
                        <a:pt x="2" y="12"/>
                      </a:cubicBezTo>
                      <a:cubicBezTo>
                        <a:pt x="2" y="12"/>
                        <a:pt x="2" y="12"/>
                        <a:pt x="2" y="12"/>
                      </a:cubicBezTo>
                      <a:cubicBezTo>
                        <a:pt x="2" y="13"/>
                        <a:pt x="2" y="13"/>
                        <a:pt x="2" y="13"/>
                      </a:cubicBezTo>
                      <a:cubicBezTo>
                        <a:pt x="4" y="15"/>
                        <a:pt x="4" y="15"/>
                        <a:pt x="4" y="15"/>
                      </a:cubicBezTo>
                      <a:cubicBezTo>
                        <a:pt x="5" y="16"/>
                        <a:pt x="5" y="16"/>
                        <a:pt x="5" y="16"/>
                      </a:cubicBezTo>
                      <a:cubicBezTo>
                        <a:pt x="6" y="16"/>
                        <a:pt x="6" y="16"/>
                        <a:pt x="6" y="16"/>
                      </a:cubicBezTo>
                      <a:cubicBezTo>
                        <a:pt x="6" y="16"/>
                        <a:pt x="6" y="16"/>
                        <a:pt x="6" y="16"/>
                      </a:cubicBezTo>
                      <a:cubicBezTo>
                        <a:pt x="7" y="18"/>
                        <a:pt x="7" y="18"/>
                        <a:pt x="7" y="18"/>
                      </a:cubicBezTo>
                      <a:cubicBezTo>
                        <a:pt x="7" y="19"/>
                        <a:pt x="7" y="19"/>
                        <a:pt x="7" y="19"/>
                      </a:cubicBezTo>
                      <a:cubicBezTo>
                        <a:pt x="8" y="19"/>
                        <a:pt x="8" y="19"/>
                        <a:pt x="8" y="19"/>
                      </a:cubicBezTo>
                      <a:cubicBezTo>
                        <a:pt x="9" y="19"/>
                        <a:pt x="9" y="19"/>
                        <a:pt x="9" y="19"/>
                      </a:cubicBezTo>
                      <a:cubicBezTo>
                        <a:pt x="9" y="19"/>
                        <a:pt x="9" y="19"/>
                        <a:pt x="9" y="19"/>
                      </a:cubicBezTo>
                      <a:cubicBezTo>
                        <a:pt x="10" y="19"/>
                        <a:pt x="10" y="19"/>
                        <a:pt x="10" y="19"/>
                      </a:cubicBezTo>
                      <a:cubicBezTo>
                        <a:pt x="11" y="19"/>
                        <a:pt x="11" y="19"/>
                        <a:pt x="11" y="19"/>
                      </a:cubicBezTo>
                      <a:cubicBezTo>
                        <a:pt x="12" y="19"/>
                        <a:pt x="12" y="19"/>
                        <a:pt x="12" y="19"/>
                      </a:cubicBezTo>
                      <a:cubicBezTo>
                        <a:pt x="13" y="20"/>
                        <a:pt x="13" y="20"/>
                        <a:pt x="13" y="20"/>
                      </a:cubicBezTo>
                      <a:cubicBezTo>
                        <a:pt x="14" y="19"/>
                        <a:pt x="14" y="19"/>
                        <a:pt x="14" y="19"/>
                      </a:cubicBezTo>
                      <a:cubicBezTo>
                        <a:pt x="14" y="20"/>
                        <a:pt x="14" y="20"/>
                        <a:pt x="14" y="20"/>
                      </a:cubicBezTo>
                      <a:cubicBezTo>
                        <a:pt x="15" y="20"/>
                        <a:pt x="15" y="20"/>
                        <a:pt x="15" y="20"/>
                      </a:cubicBezTo>
                      <a:cubicBezTo>
                        <a:pt x="15" y="20"/>
                        <a:pt x="15" y="20"/>
                        <a:pt x="15" y="20"/>
                      </a:cubicBezTo>
                      <a:cubicBezTo>
                        <a:pt x="16" y="20"/>
                        <a:pt x="16" y="20"/>
                        <a:pt x="16" y="20"/>
                      </a:cubicBezTo>
                      <a:cubicBezTo>
                        <a:pt x="15" y="21"/>
                        <a:pt x="15" y="21"/>
                        <a:pt x="15" y="21"/>
                      </a:cubicBezTo>
                      <a:cubicBezTo>
                        <a:pt x="15" y="21"/>
                        <a:pt x="15" y="21"/>
                        <a:pt x="15" y="21"/>
                      </a:cubicBezTo>
                      <a:cubicBezTo>
                        <a:pt x="14" y="21"/>
                        <a:pt x="14" y="21"/>
                        <a:pt x="14" y="21"/>
                      </a:cubicBezTo>
                      <a:cubicBezTo>
                        <a:pt x="13" y="21"/>
                        <a:pt x="13" y="21"/>
                        <a:pt x="13" y="21"/>
                      </a:cubicBezTo>
                      <a:cubicBezTo>
                        <a:pt x="11" y="19"/>
                        <a:pt x="11" y="19"/>
                        <a:pt x="11" y="19"/>
                      </a:cubicBezTo>
                      <a:cubicBezTo>
                        <a:pt x="10" y="20"/>
                        <a:pt x="10" y="20"/>
                        <a:pt x="10" y="20"/>
                      </a:cubicBezTo>
                      <a:cubicBezTo>
                        <a:pt x="10" y="20"/>
                        <a:pt x="10" y="20"/>
                        <a:pt x="10" y="20"/>
                      </a:cubicBezTo>
                      <a:cubicBezTo>
                        <a:pt x="9" y="20"/>
                        <a:pt x="9" y="20"/>
                        <a:pt x="9" y="20"/>
                      </a:cubicBezTo>
                      <a:cubicBezTo>
                        <a:pt x="8" y="21"/>
                        <a:pt x="8" y="21"/>
                        <a:pt x="8" y="21"/>
                      </a:cubicBezTo>
                      <a:cubicBezTo>
                        <a:pt x="8" y="21"/>
                        <a:pt x="8" y="21"/>
                        <a:pt x="8" y="21"/>
                      </a:cubicBezTo>
                      <a:cubicBezTo>
                        <a:pt x="7" y="21"/>
                        <a:pt x="7" y="21"/>
                        <a:pt x="7" y="21"/>
                      </a:cubicBezTo>
                      <a:cubicBezTo>
                        <a:pt x="8" y="23"/>
                        <a:pt x="8" y="23"/>
                        <a:pt x="8" y="23"/>
                      </a:cubicBezTo>
                      <a:cubicBezTo>
                        <a:pt x="9" y="23"/>
                        <a:pt x="9" y="23"/>
                        <a:pt x="9" y="23"/>
                      </a:cubicBezTo>
                      <a:cubicBezTo>
                        <a:pt x="10" y="24"/>
                        <a:pt x="10" y="24"/>
                        <a:pt x="10" y="24"/>
                      </a:cubicBezTo>
                      <a:cubicBezTo>
                        <a:pt x="10" y="24"/>
                        <a:pt x="10" y="24"/>
                        <a:pt x="10" y="24"/>
                      </a:cubicBezTo>
                      <a:cubicBezTo>
                        <a:pt x="10" y="25"/>
                        <a:pt x="10" y="25"/>
                        <a:pt x="10" y="25"/>
                      </a:cubicBezTo>
                      <a:cubicBezTo>
                        <a:pt x="10" y="26"/>
                        <a:pt x="10" y="26"/>
                        <a:pt x="10" y="26"/>
                      </a:cubicBezTo>
                      <a:cubicBezTo>
                        <a:pt x="11" y="27"/>
                        <a:pt x="11" y="27"/>
                        <a:pt x="11" y="27"/>
                      </a:cubicBezTo>
                      <a:cubicBezTo>
                        <a:pt x="12" y="27"/>
                        <a:pt x="12" y="27"/>
                        <a:pt x="12" y="27"/>
                      </a:cubicBezTo>
                      <a:cubicBezTo>
                        <a:pt x="12" y="27"/>
                        <a:pt x="12" y="27"/>
                        <a:pt x="12" y="27"/>
                      </a:cubicBezTo>
                      <a:cubicBezTo>
                        <a:pt x="12" y="26"/>
                        <a:pt x="12" y="26"/>
                        <a:pt x="12" y="26"/>
                      </a:cubicBezTo>
                      <a:cubicBezTo>
                        <a:pt x="12" y="26"/>
                        <a:pt x="12" y="26"/>
                        <a:pt x="12" y="26"/>
                      </a:cubicBezTo>
                      <a:cubicBezTo>
                        <a:pt x="12" y="27"/>
                        <a:pt x="12" y="27"/>
                        <a:pt x="12" y="27"/>
                      </a:cubicBezTo>
                      <a:cubicBezTo>
                        <a:pt x="14" y="27"/>
                        <a:pt x="14" y="27"/>
                        <a:pt x="14" y="27"/>
                      </a:cubicBezTo>
                      <a:cubicBezTo>
                        <a:pt x="14" y="28"/>
                        <a:pt x="14" y="28"/>
                        <a:pt x="14" y="28"/>
                      </a:cubicBezTo>
                      <a:cubicBezTo>
                        <a:pt x="14" y="28"/>
                        <a:pt x="14" y="28"/>
                        <a:pt x="14" y="28"/>
                      </a:cubicBezTo>
                      <a:cubicBezTo>
                        <a:pt x="14" y="29"/>
                        <a:pt x="14" y="29"/>
                        <a:pt x="14" y="29"/>
                      </a:cubicBezTo>
                      <a:cubicBezTo>
                        <a:pt x="14" y="28"/>
                        <a:pt x="14" y="28"/>
                        <a:pt x="14" y="28"/>
                      </a:cubicBezTo>
                      <a:cubicBezTo>
                        <a:pt x="15" y="27"/>
                        <a:pt x="15" y="27"/>
                        <a:pt x="15" y="27"/>
                      </a:cubicBezTo>
                      <a:cubicBezTo>
                        <a:pt x="15" y="27"/>
                        <a:pt x="15" y="27"/>
                        <a:pt x="15" y="27"/>
                      </a:cubicBezTo>
                      <a:cubicBezTo>
                        <a:pt x="16" y="28"/>
                        <a:pt x="16" y="28"/>
                        <a:pt x="16" y="28"/>
                      </a:cubicBezTo>
                      <a:cubicBezTo>
                        <a:pt x="17" y="28"/>
                        <a:pt x="17" y="28"/>
                        <a:pt x="17" y="28"/>
                      </a:cubicBezTo>
                      <a:cubicBezTo>
                        <a:pt x="17" y="27"/>
                        <a:pt x="17" y="27"/>
                        <a:pt x="17" y="27"/>
                      </a:cubicBezTo>
                      <a:cubicBezTo>
                        <a:pt x="17" y="27"/>
                        <a:pt x="17" y="27"/>
                        <a:pt x="17" y="27"/>
                      </a:cubicBezTo>
                      <a:cubicBezTo>
                        <a:pt x="16" y="26"/>
                        <a:pt x="16" y="26"/>
                        <a:pt x="16" y="26"/>
                      </a:cubicBezTo>
                      <a:cubicBezTo>
                        <a:pt x="16" y="25"/>
                        <a:pt x="16" y="25"/>
                        <a:pt x="16" y="25"/>
                      </a:cubicBezTo>
                      <a:cubicBezTo>
                        <a:pt x="15" y="24"/>
                        <a:pt x="15" y="24"/>
                        <a:pt x="15" y="24"/>
                      </a:cubicBezTo>
                      <a:cubicBezTo>
                        <a:pt x="15" y="24"/>
                        <a:pt x="15" y="24"/>
                        <a:pt x="15" y="24"/>
                      </a:cubicBezTo>
                      <a:cubicBezTo>
                        <a:pt x="16" y="23"/>
                        <a:pt x="16" y="23"/>
                        <a:pt x="16" y="23"/>
                      </a:cubicBezTo>
                      <a:cubicBezTo>
                        <a:pt x="17" y="24"/>
                        <a:pt x="17" y="24"/>
                        <a:pt x="17" y="24"/>
                      </a:cubicBezTo>
                      <a:cubicBezTo>
                        <a:pt x="16" y="24"/>
                        <a:pt x="16" y="24"/>
                        <a:pt x="16" y="24"/>
                      </a:cubicBezTo>
                      <a:cubicBezTo>
                        <a:pt x="17" y="25"/>
                        <a:pt x="17" y="25"/>
                        <a:pt x="17" y="25"/>
                      </a:cubicBezTo>
                      <a:cubicBezTo>
                        <a:pt x="17" y="24"/>
                        <a:pt x="17" y="24"/>
                        <a:pt x="17" y="24"/>
                      </a:cubicBezTo>
                      <a:cubicBezTo>
                        <a:pt x="18" y="24"/>
                        <a:pt x="18" y="24"/>
                        <a:pt x="18" y="24"/>
                      </a:cubicBezTo>
                      <a:cubicBezTo>
                        <a:pt x="18" y="24"/>
                        <a:pt x="18" y="24"/>
                        <a:pt x="18" y="24"/>
                      </a:cubicBezTo>
                      <a:cubicBezTo>
                        <a:pt x="18" y="24"/>
                        <a:pt x="18" y="24"/>
                        <a:pt x="18" y="24"/>
                      </a:cubicBezTo>
                      <a:cubicBezTo>
                        <a:pt x="18" y="23"/>
                        <a:pt x="18" y="23"/>
                        <a:pt x="18" y="23"/>
                      </a:cubicBezTo>
                      <a:cubicBezTo>
                        <a:pt x="18" y="23"/>
                        <a:pt x="18" y="23"/>
                        <a:pt x="18" y="23"/>
                      </a:cubicBezTo>
                      <a:cubicBezTo>
                        <a:pt x="17" y="23"/>
                        <a:pt x="17" y="23"/>
                        <a:pt x="17" y="23"/>
                      </a:cubicBezTo>
                      <a:cubicBezTo>
                        <a:pt x="17" y="22"/>
                        <a:pt x="17" y="22"/>
                        <a:pt x="17" y="22"/>
                      </a:cubicBezTo>
                      <a:cubicBezTo>
                        <a:pt x="16" y="22"/>
                        <a:pt x="16" y="22"/>
                        <a:pt x="16" y="22"/>
                      </a:cubicBezTo>
                      <a:cubicBezTo>
                        <a:pt x="17" y="21"/>
                        <a:pt x="17" y="21"/>
                        <a:pt x="17" y="21"/>
                      </a:cubicBezTo>
                      <a:cubicBezTo>
                        <a:pt x="18" y="21"/>
                        <a:pt x="18" y="21"/>
                        <a:pt x="18" y="21"/>
                      </a:cubicBezTo>
                      <a:cubicBezTo>
                        <a:pt x="18" y="21"/>
                        <a:pt x="18" y="21"/>
                        <a:pt x="18" y="21"/>
                      </a:cubicBezTo>
                      <a:cubicBezTo>
                        <a:pt x="19" y="22"/>
                        <a:pt x="19" y="22"/>
                        <a:pt x="19" y="22"/>
                      </a:cubicBezTo>
                      <a:cubicBezTo>
                        <a:pt x="20" y="22"/>
                        <a:pt x="20" y="22"/>
                        <a:pt x="20" y="22"/>
                      </a:cubicBezTo>
                      <a:cubicBezTo>
                        <a:pt x="20" y="22"/>
                        <a:pt x="20" y="22"/>
                        <a:pt x="20" y="22"/>
                      </a:cubicBezTo>
                      <a:cubicBezTo>
                        <a:pt x="21" y="22"/>
                        <a:pt x="21" y="22"/>
                        <a:pt x="21" y="22"/>
                      </a:cubicBezTo>
                      <a:cubicBezTo>
                        <a:pt x="20" y="21"/>
                        <a:pt x="20" y="21"/>
                        <a:pt x="20" y="21"/>
                      </a:cubicBezTo>
                      <a:cubicBezTo>
                        <a:pt x="20" y="20"/>
                        <a:pt x="20" y="20"/>
                        <a:pt x="20" y="20"/>
                      </a:cubicBezTo>
                      <a:cubicBezTo>
                        <a:pt x="20" y="19"/>
                        <a:pt x="20" y="19"/>
                        <a:pt x="20" y="19"/>
                      </a:cubicBezTo>
                      <a:cubicBezTo>
                        <a:pt x="18" y="18"/>
                        <a:pt x="18" y="18"/>
                        <a:pt x="18" y="18"/>
                      </a:cubicBezTo>
                      <a:cubicBezTo>
                        <a:pt x="17" y="18"/>
                        <a:pt x="17" y="18"/>
                        <a:pt x="17" y="18"/>
                      </a:cubicBezTo>
                      <a:cubicBezTo>
                        <a:pt x="17" y="17"/>
                        <a:pt x="17" y="17"/>
                        <a:pt x="17" y="17"/>
                      </a:cubicBezTo>
                      <a:cubicBezTo>
                        <a:pt x="16" y="17"/>
                        <a:pt x="16" y="17"/>
                        <a:pt x="16" y="17"/>
                      </a:cubicBezTo>
                      <a:cubicBezTo>
                        <a:pt x="16" y="17"/>
                        <a:pt x="16" y="17"/>
                        <a:pt x="16" y="17"/>
                      </a:cubicBezTo>
                      <a:cubicBezTo>
                        <a:pt x="15" y="17"/>
                        <a:pt x="15" y="17"/>
                        <a:pt x="15" y="17"/>
                      </a:cubicBezTo>
                      <a:cubicBezTo>
                        <a:pt x="14" y="16"/>
                        <a:pt x="14" y="16"/>
                        <a:pt x="14" y="16"/>
                      </a:cubicBezTo>
                      <a:cubicBezTo>
                        <a:pt x="15" y="16"/>
                        <a:pt x="15" y="16"/>
                        <a:pt x="15" y="16"/>
                      </a:cubicBezTo>
                      <a:cubicBezTo>
                        <a:pt x="15" y="15"/>
                        <a:pt x="15" y="15"/>
                        <a:pt x="15" y="15"/>
                      </a:cubicBezTo>
                      <a:cubicBezTo>
                        <a:pt x="15" y="15"/>
                        <a:pt x="15" y="15"/>
                        <a:pt x="15" y="15"/>
                      </a:cubicBezTo>
                      <a:cubicBezTo>
                        <a:pt x="14" y="15"/>
                        <a:pt x="14" y="15"/>
                        <a:pt x="14" y="15"/>
                      </a:cubicBezTo>
                      <a:cubicBezTo>
                        <a:pt x="15" y="14"/>
                        <a:pt x="15" y="14"/>
                        <a:pt x="15" y="14"/>
                      </a:cubicBezTo>
                      <a:cubicBezTo>
                        <a:pt x="15" y="14"/>
                        <a:pt x="15" y="14"/>
                        <a:pt x="15" y="14"/>
                      </a:cubicBezTo>
                      <a:cubicBezTo>
                        <a:pt x="15" y="14"/>
                        <a:pt x="15" y="14"/>
                        <a:pt x="15" y="14"/>
                      </a:cubicBezTo>
                      <a:cubicBezTo>
                        <a:pt x="16" y="14"/>
                        <a:pt x="16" y="14"/>
                        <a:pt x="16" y="14"/>
                      </a:cubicBezTo>
                      <a:cubicBezTo>
                        <a:pt x="16" y="15"/>
                        <a:pt x="16" y="15"/>
                        <a:pt x="16" y="15"/>
                      </a:cubicBezTo>
                      <a:cubicBezTo>
                        <a:pt x="16" y="15"/>
                        <a:pt x="16" y="15"/>
                        <a:pt x="16" y="15"/>
                      </a:cubicBezTo>
                      <a:cubicBezTo>
                        <a:pt x="16" y="15"/>
                        <a:pt x="16" y="15"/>
                        <a:pt x="16" y="15"/>
                      </a:cubicBezTo>
                      <a:cubicBezTo>
                        <a:pt x="17" y="14"/>
                        <a:pt x="17" y="14"/>
                        <a:pt x="17" y="14"/>
                      </a:cubicBezTo>
                      <a:cubicBezTo>
                        <a:pt x="16" y="13"/>
                        <a:pt x="16" y="13"/>
                        <a:pt x="16" y="13"/>
                      </a:cubicBezTo>
                      <a:cubicBezTo>
                        <a:pt x="15" y="12"/>
                        <a:pt x="15" y="12"/>
                        <a:pt x="15" y="12"/>
                      </a:cubicBezTo>
                      <a:cubicBezTo>
                        <a:pt x="14" y="11"/>
                        <a:pt x="14" y="11"/>
                        <a:pt x="14" y="11"/>
                      </a:cubicBezTo>
                      <a:cubicBezTo>
                        <a:pt x="14" y="11"/>
                        <a:pt x="14" y="11"/>
                        <a:pt x="14" y="11"/>
                      </a:cubicBezTo>
                      <a:cubicBezTo>
                        <a:pt x="13" y="10"/>
                        <a:pt x="13" y="10"/>
                        <a:pt x="13" y="10"/>
                      </a:cubicBezTo>
                      <a:cubicBezTo>
                        <a:pt x="13" y="9"/>
                        <a:pt x="13" y="9"/>
                        <a:pt x="13" y="9"/>
                      </a:cubicBezTo>
                      <a:cubicBezTo>
                        <a:pt x="13" y="8"/>
                        <a:pt x="13" y="8"/>
                        <a:pt x="13" y="8"/>
                      </a:cubicBezTo>
                      <a:cubicBezTo>
                        <a:pt x="14" y="7"/>
                        <a:pt x="14" y="7"/>
                        <a:pt x="14" y="7"/>
                      </a:cubicBezTo>
                      <a:cubicBezTo>
                        <a:pt x="15" y="7"/>
                        <a:pt x="15" y="7"/>
                        <a:pt x="15" y="7"/>
                      </a:cubicBezTo>
                      <a:cubicBezTo>
                        <a:pt x="15" y="8"/>
                        <a:pt x="15" y="8"/>
                        <a:pt x="15" y="8"/>
                      </a:cubicBezTo>
                      <a:cubicBezTo>
                        <a:pt x="14" y="8"/>
                        <a:pt x="14" y="8"/>
                        <a:pt x="14" y="8"/>
                      </a:cubicBezTo>
                      <a:cubicBezTo>
                        <a:pt x="15" y="8"/>
                        <a:pt x="15" y="8"/>
                        <a:pt x="15" y="8"/>
                      </a:cubicBezTo>
                      <a:cubicBezTo>
                        <a:pt x="16" y="9"/>
                        <a:pt x="16" y="9"/>
                        <a:pt x="16" y="9"/>
                      </a:cubicBezTo>
                      <a:cubicBezTo>
                        <a:pt x="16" y="10"/>
                        <a:pt x="16" y="10"/>
                        <a:pt x="16" y="10"/>
                      </a:cubicBezTo>
                      <a:cubicBezTo>
                        <a:pt x="17" y="10"/>
                        <a:pt x="17" y="10"/>
                        <a:pt x="17" y="10"/>
                      </a:cubicBezTo>
                      <a:cubicBezTo>
                        <a:pt x="18" y="10"/>
                        <a:pt x="18" y="10"/>
                        <a:pt x="18" y="10"/>
                      </a:cubicBezTo>
                      <a:cubicBezTo>
                        <a:pt x="17" y="10"/>
                        <a:pt x="17" y="10"/>
                        <a:pt x="17" y="10"/>
                      </a:cubicBezTo>
                      <a:cubicBezTo>
                        <a:pt x="17" y="9"/>
                        <a:pt x="17" y="9"/>
                        <a:pt x="17" y="9"/>
                      </a:cubicBezTo>
                      <a:cubicBezTo>
                        <a:pt x="17" y="9"/>
                        <a:pt x="17" y="9"/>
                        <a:pt x="17" y="9"/>
                      </a:cubicBezTo>
                      <a:cubicBezTo>
                        <a:pt x="18" y="9"/>
                        <a:pt x="18" y="9"/>
                        <a:pt x="18" y="9"/>
                      </a:cubicBezTo>
                      <a:cubicBezTo>
                        <a:pt x="19" y="10"/>
                        <a:pt x="19" y="10"/>
                        <a:pt x="19" y="10"/>
                      </a:cubicBezTo>
                      <a:cubicBezTo>
                        <a:pt x="19" y="10"/>
                        <a:pt x="19" y="10"/>
                        <a:pt x="19" y="10"/>
                      </a:cubicBezTo>
                      <a:cubicBezTo>
                        <a:pt x="20" y="10"/>
                        <a:pt x="20" y="10"/>
                        <a:pt x="20" y="10"/>
                      </a:cubicBezTo>
                      <a:cubicBezTo>
                        <a:pt x="19" y="9"/>
                        <a:pt x="19" y="9"/>
                        <a:pt x="19" y="9"/>
                      </a:cubicBezTo>
                      <a:cubicBezTo>
                        <a:pt x="18" y="9"/>
                        <a:pt x="18" y="9"/>
                        <a:pt x="18" y="9"/>
                      </a:cubicBezTo>
                      <a:cubicBezTo>
                        <a:pt x="19" y="8"/>
                        <a:pt x="19" y="8"/>
                        <a:pt x="19" y="8"/>
                      </a:cubicBezTo>
                      <a:cubicBezTo>
                        <a:pt x="20" y="8"/>
                        <a:pt x="20" y="8"/>
                        <a:pt x="20" y="8"/>
                      </a:cubicBezTo>
                      <a:cubicBezTo>
                        <a:pt x="21" y="9"/>
                        <a:pt x="21" y="9"/>
                        <a:pt x="21" y="9"/>
                      </a:cubicBezTo>
                      <a:cubicBezTo>
                        <a:pt x="21" y="9"/>
                        <a:pt x="21" y="9"/>
                        <a:pt x="21" y="9"/>
                      </a:cubicBezTo>
                      <a:cubicBezTo>
                        <a:pt x="20" y="8"/>
                        <a:pt x="20" y="8"/>
                        <a:pt x="20" y="8"/>
                      </a:cubicBezTo>
                      <a:cubicBezTo>
                        <a:pt x="19" y="8"/>
                        <a:pt x="19" y="8"/>
                        <a:pt x="19" y="8"/>
                      </a:cubicBezTo>
                      <a:cubicBezTo>
                        <a:pt x="18" y="7"/>
                        <a:pt x="18" y="7"/>
                        <a:pt x="18" y="7"/>
                      </a:cubicBezTo>
                      <a:cubicBezTo>
                        <a:pt x="19" y="6"/>
                        <a:pt x="19" y="6"/>
                        <a:pt x="19" y="6"/>
                      </a:cubicBezTo>
                      <a:cubicBezTo>
                        <a:pt x="20" y="7"/>
                        <a:pt x="20" y="7"/>
                        <a:pt x="20" y="7"/>
                      </a:cubicBezTo>
                      <a:cubicBezTo>
                        <a:pt x="21" y="6"/>
                        <a:pt x="21" y="6"/>
                        <a:pt x="21" y="6"/>
                      </a:cubicBezTo>
                      <a:cubicBezTo>
                        <a:pt x="21" y="5"/>
                        <a:pt x="21" y="5"/>
                        <a:pt x="21" y="5"/>
                      </a:cubicBezTo>
                      <a:cubicBezTo>
                        <a:pt x="22" y="5"/>
                        <a:pt x="22" y="5"/>
                        <a:pt x="22" y="5"/>
                      </a:cubicBezTo>
                      <a:cubicBezTo>
                        <a:pt x="23" y="5"/>
                        <a:pt x="23" y="5"/>
                        <a:pt x="23" y="5"/>
                      </a:cubicBezTo>
                      <a:cubicBezTo>
                        <a:pt x="23" y="6"/>
                        <a:pt x="23" y="6"/>
                        <a:pt x="23" y="6"/>
                      </a:cubicBezTo>
                      <a:cubicBezTo>
                        <a:pt x="24" y="5"/>
                        <a:pt x="24" y="5"/>
                        <a:pt x="24" y="5"/>
                      </a:cubicBezTo>
                      <a:cubicBezTo>
                        <a:pt x="24" y="4"/>
                        <a:pt x="24" y="4"/>
                        <a:pt x="24" y="4"/>
                      </a:cubicBezTo>
                      <a:cubicBezTo>
                        <a:pt x="25" y="4"/>
                        <a:pt x="25" y="4"/>
                        <a:pt x="25" y="4"/>
                      </a:cubicBezTo>
                      <a:cubicBezTo>
                        <a:pt x="25" y="5"/>
                        <a:pt x="25" y="5"/>
                        <a:pt x="25" y="5"/>
                      </a:cubicBezTo>
                      <a:cubicBezTo>
                        <a:pt x="27" y="5"/>
                        <a:pt x="27" y="5"/>
                        <a:pt x="27" y="5"/>
                      </a:cubicBezTo>
                      <a:cubicBezTo>
                        <a:pt x="29" y="5"/>
                        <a:pt x="29" y="5"/>
                        <a:pt x="29" y="5"/>
                      </a:cubicBezTo>
                      <a:cubicBezTo>
                        <a:pt x="30" y="5"/>
                        <a:pt x="30" y="5"/>
                        <a:pt x="30" y="5"/>
                      </a:cubicBezTo>
                      <a:cubicBezTo>
                        <a:pt x="30" y="4"/>
                        <a:pt x="30" y="4"/>
                        <a:pt x="30" y="4"/>
                      </a:cubicBezTo>
                      <a:cubicBezTo>
                        <a:pt x="30" y="3"/>
                        <a:pt x="30" y="3"/>
                        <a:pt x="30" y="3"/>
                      </a:cubicBezTo>
                      <a:cubicBezTo>
                        <a:pt x="31" y="2"/>
                        <a:pt x="31" y="2"/>
                        <a:pt x="31" y="2"/>
                      </a:cubicBezTo>
                      <a:cubicBezTo>
                        <a:pt x="31" y="1"/>
                        <a:pt x="31" y="1"/>
                        <a:pt x="31" y="1"/>
                      </a:cubicBezTo>
                      <a:cubicBezTo>
                        <a:pt x="30" y="1"/>
                        <a:pt x="30" y="1"/>
                        <a:pt x="30" y="1"/>
                      </a:cubicBezTo>
                      <a:cubicBezTo>
                        <a:pt x="31" y="0"/>
                        <a:pt x="31" y="0"/>
                        <a:pt x="31" y="0"/>
                      </a:cubicBezTo>
                      <a:close/>
                      <a:moveTo>
                        <a:pt x="20" y="33"/>
                      </a:moveTo>
                      <a:cubicBezTo>
                        <a:pt x="20" y="33"/>
                        <a:pt x="20" y="33"/>
                        <a:pt x="20" y="33"/>
                      </a:cubicBezTo>
                      <a:cubicBezTo>
                        <a:pt x="20" y="33"/>
                        <a:pt x="20" y="33"/>
                        <a:pt x="20" y="33"/>
                      </a:cubicBezTo>
                      <a:cubicBezTo>
                        <a:pt x="19" y="34"/>
                        <a:pt x="19" y="34"/>
                        <a:pt x="19" y="34"/>
                      </a:cubicBezTo>
                      <a:cubicBezTo>
                        <a:pt x="19" y="35"/>
                        <a:pt x="19" y="35"/>
                        <a:pt x="19" y="35"/>
                      </a:cubicBezTo>
                      <a:cubicBezTo>
                        <a:pt x="20" y="35"/>
                        <a:pt x="20" y="35"/>
                        <a:pt x="20" y="35"/>
                      </a:cubicBezTo>
                      <a:cubicBezTo>
                        <a:pt x="22" y="35"/>
                        <a:pt x="22" y="35"/>
                        <a:pt x="22" y="35"/>
                      </a:cubicBezTo>
                      <a:cubicBezTo>
                        <a:pt x="22" y="35"/>
                        <a:pt x="22" y="35"/>
                        <a:pt x="22" y="35"/>
                      </a:cubicBezTo>
                      <a:cubicBezTo>
                        <a:pt x="23" y="35"/>
                        <a:pt x="23" y="35"/>
                        <a:pt x="23" y="35"/>
                      </a:cubicBezTo>
                      <a:cubicBezTo>
                        <a:pt x="24" y="35"/>
                        <a:pt x="24" y="35"/>
                        <a:pt x="24" y="35"/>
                      </a:cubicBezTo>
                      <a:cubicBezTo>
                        <a:pt x="25" y="36"/>
                        <a:pt x="25" y="36"/>
                        <a:pt x="25" y="36"/>
                      </a:cubicBezTo>
                      <a:cubicBezTo>
                        <a:pt x="25" y="36"/>
                        <a:pt x="25" y="36"/>
                        <a:pt x="25" y="36"/>
                      </a:cubicBezTo>
                      <a:cubicBezTo>
                        <a:pt x="26" y="36"/>
                        <a:pt x="26" y="36"/>
                        <a:pt x="26" y="36"/>
                      </a:cubicBezTo>
                      <a:cubicBezTo>
                        <a:pt x="27" y="35"/>
                        <a:pt x="27" y="35"/>
                        <a:pt x="27" y="35"/>
                      </a:cubicBezTo>
                      <a:cubicBezTo>
                        <a:pt x="28" y="36"/>
                        <a:pt x="28" y="36"/>
                        <a:pt x="28" y="36"/>
                      </a:cubicBezTo>
                      <a:cubicBezTo>
                        <a:pt x="30" y="36"/>
                        <a:pt x="30" y="36"/>
                        <a:pt x="30" y="36"/>
                      </a:cubicBezTo>
                      <a:cubicBezTo>
                        <a:pt x="31" y="36"/>
                        <a:pt x="31" y="36"/>
                        <a:pt x="31" y="36"/>
                      </a:cubicBezTo>
                      <a:cubicBezTo>
                        <a:pt x="32" y="35"/>
                        <a:pt x="32" y="35"/>
                        <a:pt x="32" y="35"/>
                      </a:cubicBezTo>
                      <a:cubicBezTo>
                        <a:pt x="32" y="35"/>
                        <a:pt x="32" y="35"/>
                        <a:pt x="32" y="35"/>
                      </a:cubicBezTo>
                      <a:cubicBezTo>
                        <a:pt x="32" y="34"/>
                        <a:pt x="32" y="34"/>
                        <a:pt x="32" y="34"/>
                      </a:cubicBezTo>
                      <a:cubicBezTo>
                        <a:pt x="32" y="34"/>
                        <a:pt x="32" y="34"/>
                        <a:pt x="32" y="34"/>
                      </a:cubicBezTo>
                      <a:cubicBezTo>
                        <a:pt x="32" y="34"/>
                        <a:pt x="32" y="34"/>
                        <a:pt x="32" y="34"/>
                      </a:cubicBezTo>
                      <a:cubicBezTo>
                        <a:pt x="32" y="34"/>
                        <a:pt x="32" y="34"/>
                        <a:pt x="32" y="34"/>
                      </a:cubicBezTo>
                      <a:cubicBezTo>
                        <a:pt x="31" y="35"/>
                        <a:pt x="31" y="35"/>
                        <a:pt x="31" y="35"/>
                      </a:cubicBezTo>
                      <a:cubicBezTo>
                        <a:pt x="31" y="34"/>
                        <a:pt x="31" y="34"/>
                        <a:pt x="31" y="34"/>
                      </a:cubicBezTo>
                      <a:cubicBezTo>
                        <a:pt x="30" y="35"/>
                        <a:pt x="30" y="35"/>
                        <a:pt x="30" y="35"/>
                      </a:cubicBezTo>
                      <a:cubicBezTo>
                        <a:pt x="30" y="35"/>
                        <a:pt x="30" y="35"/>
                        <a:pt x="30" y="35"/>
                      </a:cubicBezTo>
                      <a:cubicBezTo>
                        <a:pt x="30" y="34"/>
                        <a:pt x="30" y="34"/>
                        <a:pt x="30" y="34"/>
                      </a:cubicBezTo>
                      <a:cubicBezTo>
                        <a:pt x="30" y="34"/>
                        <a:pt x="30" y="34"/>
                        <a:pt x="30" y="34"/>
                      </a:cubicBezTo>
                      <a:cubicBezTo>
                        <a:pt x="29" y="34"/>
                        <a:pt x="29" y="34"/>
                        <a:pt x="29" y="34"/>
                      </a:cubicBezTo>
                      <a:cubicBezTo>
                        <a:pt x="28" y="33"/>
                        <a:pt x="28" y="33"/>
                        <a:pt x="28" y="33"/>
                      </a:cubicBezTo>
                      <a:cubicBezTo>
                        <a:pt x="27" y="33"/>
                        <a:pt x="27" y="33"/>
                        <a:pt x="27" y="33"/>
                      </a:cubicBezTo>
                      <a:cubicBezTo>
                        <a:pt x="26" y="33"/>
                        <a:pt x="26" y="33"/>
                        <a:pt x="26" y="33"/>
                      </a:cubicBezTo>
                      <a:cubicBezTo>
                        <a:pt x="25" y="34"/>
                        <a:pt x="25" y="34"/>
                        <a:pt x="25" y="34"/>
                      </a:cubicBezTo>
                      <a:cubicBezTo>
                        <a:pt x="24" y="34"/>
                        <a:pt x="24" y="34"/>
                        <a:pt x="24" y="34"/>
                      </a:cubicBezTo>
                      <a:cubicBezTo>
                        <a:pt x="23" y="34"/>
                        <a:pt x="23" y="34"/>
                        <a:pt x="23" y="34"/>
                      </a:cubicBezTo>
                      <a:cubicBezTo>
                        <a:pt x="23" y="33"/>
                        <a:pt x="23" y="33"/>
                        <a:pt x="23" y="33"/>
                      </a:cubicBezTo>
                      <a:cubicBezTo>
                        <a:pt x="22" y="33"/>
                        <a:pt x="22" y="33"/>
                        <a:pt x="22" y="33"/>
                      </a:cubicBezTo>
                      <a:cubicBezTo>
                        <a:pt x="22" y="33"/>
                        <a:pt x="22" y="33"/>
                        <a:pt x="22" y="33"/>
                      </a:cubicBezTo>
                      <a:cubicBezTo>
                        <a:pt x="22" y="33"/>
                        <a:pt x="22" y="33"/>
                        <a:pt x="22" y="33"/>
                      </a:cubicBezTo>
                      <a:cubicBezTo>
                        <a:pt x="21" y="33"/>
                        <a:pt x="21" y="33"/>
                        <a:pt x="21" y="33"/>
                      </a:cubicBezTo>
                      <a:cubicBezTo>
                        <a:pt x="21" y="33"/>
                        <a:pt x="21" y="33"/>
                        <a:pt x="21" y="33"/>
                      </a:cubicBezTo>
                      <a:cubicBezTo>
                        <a:pt x="22" y="33"/>
                        <a:pt x="22" y="33"/>
                        <a:pt x="22" y="33"/>
                      </a:cubicBezTo>
                      <a:cubicBezTo>
                        <a:pt x="21" y="33"/>
                        <a:pt x="21" y="33"/>
                        <a:pt x="21" y="33"/>
                      </a:cubicBezTo>
                      <a:cubicBezTo>
                        <a:pt x="21" y="33"/>
                        <a:pt x="21" y="33"/>
                        <a:pt x="21" y="33"/>
                      </a:cubicBezTo>
                      <a:cubicBezTo>
                        <a:pt x="21" y="33"/>
                        <a:pt x="21" y="33"/>
                        <a:pt x="21" y="33"/>
                      </a:cubicBezTo>
                      <a:cubicBezTo>
                        <a:pt x="20" y="33"/>
                        <a:pt x="20" y="33"/>
                        <a:pt x="20" y="33"/>
                      </a:cubicBezTo>
                      <a:cubicBezTo>
                        <a:pt x="20" y="33"/>
                        <a:pt x="20" y="33"/>
                        <a:pt x="20" y="33"/>
                      </a:cubicBezTo>
                      <a:cubicBezTo>
                        <a:pt x="20" y="33"/>
                        <a:pt x="20" y="33"/>
                        <a:pt x="20" y="33"/>
                      </a:cubicBezTo>
                      <a:cubicBezTo>
                        <a:pt x="20" y="33"/>
                        <a:pt x="20" y="33"/>
                        <a:pt x="20" y="33"/>
                      </a:cubicBezTo>
                      <a:close/>
                      <a:moveTo>
                        <a:pt x="1" y="12"/>
                      </a:moveTo>
                      <a:cubicBezTo>
                        <a:pt x="1" y="12"/>
                        <a:pt x="1" y="12"/>
                        <a:pt x="1" y="12"/>
                      </a:cubicBezTo>
                      <a:cubicBezTo>
                        <a:pt x="1" y="13"/>
                        <a:pt x="1" y="13"/>
                        <a:pt x="1" y="13"/>
                      </a:cubicBezTo>
                      <a:cubicBezTo>
                        <a:pt x="2" y="13"/>
                        <a:pt x="2" y="13"/>
                        <a:pt x="2" y="13"/>
                      </a:cubicBezTo>
                      <a:cubicBezTo>
                        <a:pt x="2" y="14"/>
                        <a:pt x="2" y="14"/>
                        <a:pt x="2" y="14"/>
                      </a:cubicBezTo>
                      <a:cubicBezTo>
                        <a:pt x="2" y="14"/>
                        <a:pt x="2" y="14"/>
                        <a:pt x="2" y="14"/>
                      </a:cubicBezTo>
                      <a:cubicBezTo>
                        <a:pt x="1" y="13"/>
                        <a:pt x="1" y="13"/>
                        <a:pt x="1" y="13"/>
                      </a:cubicBezTo>
                      <a:cubicBezTo>
                        <a:pt x="0" y="13"/>
                        <a:pt x="0" y="13"/>
                        <a:pt x="0" y="13"/>
                      </a:cubicBezTo>
                      <a:cubicBezTo>
                        <a:pt x="0" y="12"/>
                        <a:pt x="0" y="12"/>
                        <a:pt x="0" y="12"/>
                      </a:cubicBezTo>
                      <a:cubicBezTo>
                        <a:pt x="0" y="12"/>
                        <a:pt x="0" y="12"/>
                        <a:pt x="0" y="12"/>
                      </a:cubicBezTo>
                      <a:cubicBezTo>
                        <a:pt x="0" y="12"/>
                        <a:pt x="0" y="12"/>
                        <a:pt x="0" y="12"/>
                      </a:cubicBezTo>
                      <a:cubicBezTo>
                        <a:pt x="0" y="11"/>
                        <a:pt x="0" y="11"/>
                        <a:pt x="0" y="11"/>
                      </a:cubicBezTo>
                      <a:cubicBezTo>
                        <a:pt x="1" y="12"/>
                        <a:pt x="1" y="12"/>
                        <a:pt x="1" y="12"/>
                      </a:cubicBezTo>
                      <a:close/>
                      <a:moveTo>
                        <a:pt x="5" y="18"/>
                      </a:moveTo>
                      <a:cubicBezTo>
                        <a:pt x="5" y="17"/>
                        <a:pt x="5" y="17"/>
                        <a:pt x="5" y="17"/>
                      </a:cubicBezTo>
                      <a:cubicBezTo>
                        <a:pt x="5" y="17"/>
                        <a:pt x="5" y="17"/>
                        <a:pt x="5" y="17"/>
                      </a:cubicBezTo>
                      <a:cubicBezTo>
                        <a:pt x="5" y="17"/>
                        <a:pt x="5" y="17"/>
                        <a:pt x="5" y="17"/>
                      </a:cubicBezTo>
                      <a:cubicBezTo>
                        <a:pt x="5" y="17"/>
                        <a:pt x="5" y="17"/>
                        <a:pt x="5" y="17"/>
                      </a:cubicBezTo>
                      <a:cubicBezTo>
                        <a:pt x="5" y="18"/>
                        <a:pt x="5" y="18"/>
                        <a:pt x="5" y="18"/>
                      </a:cubicBezTo>
                      <a:cubicBezTo>
                        <a:pt x="5" y="18"/>
                        <a:pt x="5" y="18"/>
                        <a:pt x="5" y="18"/>
                      </a:cubicBezTo>
                      <a:cubicBezTo>
                        <a:pt x="5" y="18"/>
                        <a:pt x="5" y="18"/>
                        <a:pt x="5" y="18"/>
                      </a:cubicBezTo>
                      <a:close/>
                      <a:moveTo>
                        <a:pt x="5" y="19"/>
                      </a:moveTo>
                      <a:cubicBezTo>
                        <a:pt x="5" y="18"/>
                        <a:pt x="5" y="18"/>
                        <a:pt x="5" y="18"/>
                      </a:cubicBezTo>
                      <a:cubicBezTo>
                        <a:pt x="5" y="19"/>
                        <a:pt x="5" y="19"/>
                        <a:pt x="5" y="19"/>
                      </a:cubicBezTo>
                      <a:cubicBezTo>
                        <a:pt x="6" y="19"/>
                        <a:pt x="6" y="19"/>
                        <a:pt x="6" y="19"/>
                      </a:cubicBezTo>
                      <a:cubicBezTo>
                        <a:pt x="5" y="19"/>
                        <a:pt x="5" y="19"/>
                        <a:pt x="5" y="19"/>
                      </a:cubicBezTo>
                      <a:cubicBezTo>
                        <a:pt x="6" y="20"/>
                        <a:pt x="6" y="20"/>
                        <a:pt x="6" y="20"/>
                      </a:cubicBezTo>
                      <a:cubicBezTo>
                        <a:pt x="6" y="20"/>
                        <a:pt x="6" y="20"/>
                        <a:pt x="6" y="20"/>
                      </a:cubicBezTo>
                      <a:cubicBezTo>
                        <a:pt x="6" y="21"/>
                        <a:pt x="6" y="21"/>
                        <a:pt x="6" y="21"/>
                      </a:cubicBezTo>
                      <a:cubicBezTo>
                        <a:pt x="6" y="21"/>
                        <a:pt x="6" y="21"/>
                        <a:pt x="6" y="21"/>
                      </a:cubicBezTo>
                      <a:cubicBezTo>
                        <a:pt x="5" y="21"/>
                        <a:pt x="5" y="21"/>
                        <a:pt x="5" y="21"/>
                      </a:cubicBezTo>
                      <a:cubicBezTo>
                        <a:pt x="5" y="21"/>
                        <a:pt x="5" y="21"/>
                        <a:pt x="5" y="21"/>
                      </a:cubicBezTo>
                      <a:cubicBezTo>
                        <a:pt x="5" y="20"/>
                        <a:pt x="5" y="20"/>
                        <a:pt x="5" y="20"/>
                      </a:cubicBezTo>
                      <a:cubicBezTo>
                        <a:pt x="4" y="20"/>
                        <a:pt x="4" y="20"/>
                        <a:pt x="4" y="20"/>
                      </a:cubicBezTo>
                      <a:cubicBezTo>
                        <a:pt x="4" y="20"/>
                        <a:pt x="4" y="20"/>
                        <a:pt x="4" y="20"/>
                      </a:cubicBezTo>
                      <a:cubicBezTo>
                        <a:pt x="4" y="21"/>
                        <a:pt x="4" y="21"/>
                        <a:pt x="4" y="21"/>
                      </a:cubicBezTo>
                      <a:cubicBezTo>
                        <a:pt x="4" y="20"/>
                        <a:pt x="4" y="20"/>
                        <a:pt x="4" y="20"/>
                      </a:cubicBezTo>
                      <a:cubicBezTo>
                        <a:pt x="4" y="19"/>
                        <a:pt x="4" y="19"/>
                        <a:pt x="4" y="19"/>
                      </a:cubicBezTo>
                      <a:cubicBezTo>
                        <a:pt x="4" y="19"/>
                        <a:pt x="4" y="19"/>
                        <a:pt x="4" y="19"/>
                      </a:cubicBezTo>
                      <a:cubicBezTo>
                        <a:pt x="5" y="19"/>
                        <a:pt x="5" y="19"/>
                        <a:pt x="5" y="19"/>
                      </a:cubicBezTo>
                      <a:close/>
                      <a:moveTo>
                        <a:pt x="6" y="22"/>
                      </a:moveTo>
                      <a:cubicBezTo>
                        <a:pt x="7" y="23"/>
                        <a:pt x="7" y="23"/>
                        <a:pt x="7" y="23"/>
                      </a:cubicBezTo>
                      <a:cubicBezTo>
                        <a:pt x="6" y="23"/>
                        <a:pt x="6" y="23"/>
                        <a:pt x="6" y="23"/>
                      </a:cubicBezTo>
                      <a:cubicBezTo>
                        <a:pt x="6" y="23"/>
                        <a:pt x="6" y="23"/>
                        <a:pt x="6" y="23"/>
                      </a:cubicBezTo>
                      <a:cubicBezTo>
                        <a:pt x="6" y="23"/>
                        <a:pt x="6" y="23"/>
                        <a:pt x="6" y="23"/>
                      </a:cubicBezTo>
                      <a:cubicBezTo>
                        <a:pt x="5" y="22"/>
                        <a:pt x="5" y="22"/>
                        <a:pt x="5" y="22"/>
                      </a:cubicBezTo>
                      <a:cubicBezTo>
                        <a:pt x="5" y="22"/>
                        <a:pt x="5" y="22"/>
                        <a:pt x="5" y="22"/>
                      </a:cubicBezTo>
                      <a:cubicBezTo>
                        <a:pt x="5" y="21"/>
                        <a:pt x="5" y="21"/>
                        <a:pt x="5" y="21"/>
                      </a:cubicBezTo>
                      <a:cubicBezTo>
                        <a:pt x="6" y="22"/>
                        <a:pt x="6" y="22"/>
                        <a:pt x="6" y="22"/>
                      </a:cubicBezTo>
                      <a:cubicBezTo>
                        <a:pt x="6" y="22"/>
                        <a:pt x="6" y="22"/>
                        <a:pt x="6" y="22"/>
                      </a:cubicBezTo>
                      <a:close/>
                      <a:moveTo>
                        <a:pt x="36" y="32"/>
                      </a:moveTo>
                      <a:cubicBezTo>
                        <a:pt x="36" y="32"/>
                        <a:pt x="36" y="32"/>
                        <a:pt x="36" y="32"/>
                      </a:cubicBezTo>
                      <a:cubicBezTo>
                        <a:pt x="36" y="31"/>
                        <a:pt x="36" y="31"/>
                        <a:pt x="36" y="31"/>
                      </a:cubicBezTo>
                      <a:cubicBezTo>
                        <a:pt x="36" y="32"/>
                        <a:pt x="36" y="32"/>
                        <a:pt x="36" y="32"/>
                      </a:cubicBezTo>
                      <a:cubicBezTo>
                        <a:pt x="36" y="32"/>
                        <a:pt x="36" y="32"/>
                        <a:pt x="36" y="32"/>
                      </a:cubicBezTo>
                      <a:close/>
                      <a:moveTo>
                        <a:pt x="36" y="34"/>
                      </a:moveTo>
                      <a:cubicBezTo>
                        <a:pt x="36" y="33"/>
                        <a:pt x="36" y="33"/>
                        <a:pt x="36" y="33"/>
                      </a:cubicBezTo>
                      <a:cubicBezTo>
                        <a:pt x="35" y="33"/>
                        <a:pt x="35" y="33"/>
                        <a:pt x="35" y="33"/>
                      </a:cubicBezTo>
                      <a:cubicBezTo>
                        <a:pt x="36" y="32"/>
                        <a:pt x="36" y="32"/>
                        <a:pt x="36" y="32"/>
                      </a:cubicBezTo>
                      <a:cubicBezTo>
                        <a:pt x="36" y="32"/>
                        <a:pt x="36" y="32"/>
                        <a:pt x="36" y="32"/>
                      </a:cubicBezTo>
                      <a:cubicBezTo>
                        <a:pt x="37" y="33"/>
                        <a:pt x="37" y="33"/>
                        <a:pt x="37" y="33"/>
                      </a:cubicBezTo>
                      <a:cubicBezTo>
                        <a:pt x="36" y="34"/>
                        <a:pt x="36" y="34"/>
                        <a:pt x="36" y="34"/>
                      </a:cubicBezTo>
                      <a:cubicBezTo>
                        <a:pt x="36" y="34"/>
                        <a:pt x="36" y="34"/>
                        <a:pt x="36" y="34"/>
                      </a:cubicBezTo>
                      <a:close/>
                      <a:moveTo>
                        <a:pt x="38" y="31"/>
                      </a:moveTo>
                      <a:cubicBezTo>
                        <a:pt x="38" y="31"/>
                        <a:pt x="38" y="31"/>
                        <a:pt x="38" y="31"/>
                      </a:cubicBezTo>
                      <a:cubicBezTo>
                        <a:pt x="38" y="31"/>
                        <a:pt x="38" y="31"/>
                        <a:pt x="38" y="31"/>
                      </a:cubicBezTo>
                      <a:cubicBezTo>
                        <a:pt x="38" y="30"/>
                        <a:pt x="38" y="30"/>
                        <a:pt x="38" y="30"/>
                      </a:cubicBezTo>
                      <a:cubicBezTo>
                        <a:pt x="38" y="30"/>
                        <a:pt x="38" y="30"/>
                        <a:pt x="38" y="30"/>
                      </a:cubicBezTo>
                      <a:cubicBezTo>
                        <a:pt x="39" y="29"/>
                        <a:pt x="39" y="29"/>
                        <a:pt x="39" y="29"/>
                      </a:cubicBezTo>
                      <a:cubicBezTo>
                        <a:pt x="40" y="29"/>
                        <a:pt x="40" y="29"/>
                        <a:pt x="40" y="29"/>
                      </a:cubicBezTo>
                      <a:cubicBezTo>
                        <a:pt x="41" y="29"/>
                        <a:pt x="41" y="29"/>
                        <a:pt x="41" y="29"/>
                      </a:cubicBezTo>
                      <a:cubicBezTo>
                        <a:pt x="41" y="29"/>
                        <a:pt x="41" y="29"/>
                        <a:pt x="41" y="29"/>
                      </a:cubicBezTo>
                      <a:cubicBezTo>
                        <a:pt x="41" y="29"/>
                        <a:pt x="41" y="29"/>
                        <a:pt x="41" y="29"/>
                      </a:cubicBezTo>
                      <a:cubicBezTo>
                        <a:pt x="40" y="30"/>
                        <a:pt x="40" y="30"/>
                        <a:pt x="40" y="30"/>
                      </a:cubicBezTo>
                      <a:cubicBezTo>
                        <a:pt x="40" y="30"/>
                        <a:pt x="40" y="30"/>
                        <a:pt x="40" y="30"/>
                      </a:cubicBezTo>
                      <a:cubicBezTo>
                        <a:pt x="40" y="30"/>
                        <a:pt x="40" y="30"/>
                        <a:pt x="40" y="30"/>
                      </a:cubicBezTo>
                      <a:cubicBezTo>
                        <a:pt x="40" y="30"/>
                        <a:pt x="40" y="30"/>
                        <a:pt x="40" y="30"/>
                      </a:cubicBezTo>
                      <a:cubicBezTo>
                        <a:pt x="39" y="31"/>
                        <a:pt x="39" y="31"/>
                        <a:pt x="39" y="31"/>
                      </a:cubicBezTo>
                      <a:cubicBezTo>
                        <a:pt x="39" y="31"/>
                        <a:pt x="39" y="31"/>
                        <a:pt x="39" y="31"/>
                      </a:cubicBezTo>
                      <a:cubicBezTo>
                        <a:pt x="38" y="31"/>
                        <a:pt x="38" y="31"/>
                        <a:pt x="38" y="31"/>
                      </a:cubicBezTo>
                      <a:close/>
                      <a:moveTo>
                        <a:pt x="32" y="29"/>
                      </a:moveTo>
                      <a:cubicBezTo>
                        <a:pt x="32" y="28"/>
                        <a:pt x="32" y="28"/>
                        <a:pt x="32" y="28"/>
                      </a:cubicBezTo>
                      <a:cubicBezTo>
                        <a:pt x="32" y="28"/>
                        <a:pt x="32" y="28"/>
                        <a:pt x="32" y="28"/>
                      </a:cubicBezTo>
                      <a:cubicBezTo>
                        <a:pt x="33" y="28"/>
                        <a:pt x="33" y="28"/>
                        <a:pt x="33" y="28"/>
                      </a:cubicBezTo>
                      <a:cubicBezTo>
                        <a:pt x="33" y="28"/>
                        <a:pt x="33" y="28"/>
                        <a:pt x="33" y="28"/>
                      </a:cubicBezTo>
                      <a:cubicBezTo>
                        <a:pt x="33" y="28"/>
                        <a:pt x="33" y="28"/>
                        <a:pt x="33" y="28"/>
                      </a:cubicBezTo>
                      <a:cubicBezTo>
                        <a:pt x="33" y="28"/>
                        <a:pt x="32" y="28"/>
                        <a:pt x="32" y="29"/>
                      </a:cubicBezTo>
                      <a:close/>
                      <a:moveTo>
                        <a:pt x="32" y="22"/>
                      </a:moveTo>
                      <a:cubicBezTo>
                        <a:pt x="33" y="22"/>
                        <a:pt x="33" y="22"/>
                        <a:pt x="33" y="22"/>
                      </a:cubicBezTo>
                      <a:cubicBezTo>
                        <a:pt x="33" y="22"/>
                        <a:pt x="33" y="22"/>
                        <a:pt x="33" y="22"/>
                      </a:cubicBezTo>
                      <a:cubicBezTo>
                        <a:pt x="34" y="22"/>
                        <a:pt x="34" y="22"/>
                        <a:pt x="34" y="22"/>
                      </a:cubicBezTo>
                      <a:cubicBezTo>
                        <a:pt x="34" y="22"/>
                        <a:pt x="34" y="22"/>
                        <a:pt x="34" y="22"/>
                      </a:cubicBezTo>
                      <a:cubicBezTo>
                        <a:pt x="34" y="22"/>
                        <a:pt x="34" y="22"/>
                        <a:pt x="34" y="22"/>
                      </a:cubicBezTo>
                      <a:cubicBezTo>
                        <a:pt x="34" y="22"/>
                        <a:pt x="34" y="22"/>
                        <a:pt x="34" y="22"/>
                      </a:cubicBezTo>
                      <a:cubicBezTo>
                        <a:pt x="34" y="23"/>
                        <a:pt x="34" y="23"/>
                        <a:pt x="34" y="23"/>
                      </a:cubicBezTo>
                      <a:cubicBezTo>
                        <a:pt x="34" y="23"/>
                        <a:pt x="34" y="23"/>
                        <a:pt x="34" y="23"/>
                      </a:cubicBezTo>
                      <a:cubicBezTo>
                        <a:pt x="33" y="23"/>
                        <a:pt x="33" y="23"/>
                        <a:pt x="33" y="23"/>
                      </a:cubicBezTo>
                      <a:cubicBezTo>
                        <a:pt x="33" y="23"/>
                        <a:pt x="33" y="23"/>
                        <a:pt x="33" y="23"/>
                      </a:cubicBezTo>
                      <a:cubicBezTo>
                        <a:pt x="32" y="23"/>
                        <a:pt x="32" y="23"/>
                        <a:pt x="32" y="23"/>
                      </a:cubicBezTo>
                      <a:cubicBezTo>
                        <a:pt x="32" y="23"/>
                        <a:pt x="32" y="23"/>
                        <a:pt x="32" y="23"/>
                      </a:cubicBezTo>
                      <a:cubicBezTo>
                        <a:pt x="32" y="22"/>
                        <a:pt x="32" y="22"/>
                        <a:pt x="32" y="22"/>
                      </a:cubicBezTo>
                      <a:close/>
                      <a:moveTo>
                        <a:pt x="30" y="18"/>
                      </a:moveTo>
                      <a:cubicBezTo>
                        <a:pt x="31" y="19"/>
                        <a:pt x="31" y="19"/>
                        <a:pt x="31" y="19"/>
                      </a:cubicBezTo>
                      <a:cubicBezTo>
                        <a:pt x="30" y="20"/>
                        <a:pt x="30" y="20"/>
                        <a:pt x="30" y="20"/>
                      </a:cubicBezTo>
                      <a:cubicBezTo>
                        <a:pt x="30" y="20"/>
                        <a:pt x="30" y="20"/>
                        <a:pt x="30" y="20"/>
                      </a:cubicBezTo>
                      <a:cubicBezTo>
                        <a:pt x="29" y="19"/>
                        <a:pt x="29" y="19"/>
                        <a:pt x="29" y="19"/>
                      </a:cubicBezTo>
                      <a:cubicBezTo>
                        <a:pt x="29" y="19"/>
                        <a:pt x="29" y="19"/>
                        <a:pt x="29" y="19"/>
                      </a:cubicBezTo>
                      <a:cubicBezTo>
                        <a:pt x="30" y="19"/>
                        <a:pt x="30" y="19"/>
                        <a:pt x="30" y="19"/>
                      </a:cubicBezTo>
                      <a:cubicBezTo>
                        <a:pt x="30" y="18"/>
                        <a:pt x="30" y="18"/>
                        <a:pt x="30" y="18"/>
                      </a:cubicBezTo>
                      <a:cubicBezTo>
                        <a:pt x="29" y="18"/>
                        <a:pt x="29" y="18"/>
                        <a:pt x="29" y="18"/>
                      </a:cubicBezTo>
                      <a:cubicBezTo>
                        <a:pt x="29" y="18"/>
                        <a:pt x="29" y="18"/>
                        <a:pt x="29" y="18"/>
                      </a:cubicBezTo>
                      <a:cubicBezTo>
                        <a:pt x="30" y="17"/>
                        <a:pt x="30" y="17"/>
                        <a:pt x="30" y="17"/>
                      </a:cubicBezTo>
                      <a:cubicBezTo>
                        <a:pt x="30" y="18"/>
                        <a:pt x="30" y="18"/>
                        <a:pt x="30" y="18"/>
                      </a:cubicBezTo>
                      <a:cubicBezTo>
                        <a:pt x="30" y="18"/>
                        <a:pt x="30" y="18"/>
                        <a:pt x="30" y="18"/>
                      </a:cubicBezTo>
                      <a:close/>
                      <a:moveTo>
                        <a:pt x="29" y="15"/>
                      </a:moveTo>
                      <a:cubicBezTo>
                        <a:pt x="28" y="15"/>
                        <a:pt x="28" y="15"/>
                        <a:pt x="28" y="15"/>
                      </a:cubicBezTo>
                      <a:cubicBezTo>
                        <a:pt x="29" y="14"/>
                        <a:pt x="29" y="14"/>
                        <a:pt x="29" y="14"/>
                      </a:cubicBezTo>
                      <a:cubicBezTo>
                        <a:pt x="30" y="14"/>
                        <a:pt x="30" y="14"/>
                        <a:pt x="30" y="14"/>
                      </a:cubicBezTo>
                      <a:cubicBezTo>
                        <a:pt x="30" y="13"/>
                        <a:pt x="30" y="13"/>
                        <a:pt x="30" y="13"/>
                      </a:cubicBezTo>
                      <a:cubicBezTo>
                        <a:pt x="31" y="13"/>
                        <a:pt x="31" y="13"/>
                        <a:pt x="31" y="13"/>
                      </a:cubicBezTo>
                      <a:cubicBezTo>
                        <a:pt x="31" y="14"/>
                        <a:pt x="31" y="14"/>
                        <a:pt x="31" y="14"/>
                      </a:cubicBezTo>
                      <a:cubicBezTo>
                        <a:pt x="31" y="14"/>
                        <a:pt x="31" y="14"/>
                        <a:pt x="31" y="14"/>
                      </a:cubicBezTo>
                      <a:cubicBezTo>
                        <a:pt x="32" y="14"/>
                        <a:pt x="32" y="14"/>
                        <a:pt x="32" y="14"/>
                      </a:cubicBezTo>
                      <a:cubicBezTo>
                        <a:pt x="32" y="15"/>
                        <a:pt x="32" y="15"/>
                        <a:pt x="32" y="15"/>
                      </a:cubicBezTo>
                      <a:cubicBezTo>
                        <a:pt x="32" y="16"/>
                        <a:pt x="32" y="16"/>
                        <a:pt x="32" y="16"/>
                      </a:cubicBezTo>
                      <a:cubicBezTo>
                        <a:pt x="31" y="16"/>
                        <a:pt x="31" y="16"/>
                        <a:pt x="31" y="16"/>
                      </a:cubicBezTo>
                      <a:cubicBezTo>
                        <a:pt x="30" y="15"/>
                        <a:pt x="30" y="15"/>
                        <a:pt x="30" y="15"/>
                      </a:cubicBezTo>
                      <a:cubicBezTo>
                        <a:pt x="30" y="15"/>
                        <a:pt x="30" y="15"/>
                        <a:pt x="30" y="15"/>
                      </a:cubicBezTo>
                      <a:cubicBezTo>
                        <a:pt x="31" y="15"/>
                        <a:pt x="31" y="15"/>
                        <a:pt x="31" y="15"/>
                      </a:cubicBezTo>
                      <a:cubicBezTo>
                        <a:pt x="31" y="14"/>
                        <a:pt x="31" y="14"/>
                        <a:pt x="31" y="14"/>
                      </a:cubicBezTo>
                      <a:cubicBezTo>
                        <a:pt x="30" y="14"/>
                        <a:pt x="30" y="14"/>
                        <a:pt x="30" y="14"/>
                      </a:cubicBezTo>
                      <a:cubicBezTo>
                        <a:pt x="30" y="15"/>
                        <a:pt x="30" y="15"/>
                        <a:pt x="30" y="15"/>
                      </a:cubicBezTo>
                      <a:cubicBezTo>
                        <a:pt x="30" y="15"/>
                        <a:pt x="30" y="15"/>
                        <a:pt x="30" y="15"/>
                      </a:cubicBezTo>
                      <a:cubicBezTo>
                        <a:pt x="29" y="15"/>
                        <a:pt x="29" y="15"/>
                        <a:pt x="29" y="15"/>
                      </a:cubicBezTo>
                      <a:cubicBezTo>
                        <a:pt x="29" y="15"/>
                        <a:pt x="29" y="15"/>
                        <a:pt x="29" y="15"/>
                      </a:cubicBezTo>
                      <a:close/>
                      <a:moveTo>
                        <a:pt x="27" y="7"/>
                      </a:moveTo>
                      <a:cubicBezTo>
                        <a:pt x="27" y="7"/>
                        <a:pt x="27" y="7"/>
                        <a:pt x="27" y="7"/>
                      </a:cubicBezTo>
                      <a:cubicBezTo>
                        <a:pt x="27" y="7"/>
                        <a:pt x="27" y="7"/>
                        <a:pt x="27" y="7"/>
                      </a:cubicBezTo>
                      <a:cubicBezTo>
                        <a:pt x="28" y="7"/>
                        <a:pt x="28" y="7"/>
                        <a:pt x="28" y="7"/>
                      </a:cubicBezTo>
                      <a:cubicBezTo>
                        <a:pt x="28" y="8"/>
                        <a:pt x="28" y="8"/>
                        <a:pt x="28" y="8"/>
                      </a:cubicBezTo>
                      <a:cubicBezTo>
                        <a:pt x="28" y="8"/>
                        <a:pt x="28" y="8"/>
                        <a:pt x="28" y="8"/>
                      </a:cubicBezTo>
                      <a:cubicBezTo>
                        <a:pt x="27" y="7"/>
                        <a:pt x="27" y="7"/>
                        <a:pt x="27" y="7"/>
                      </a:cubicBezTo>
                      <a:close/>
                      <a:moveTo>
                        <a:pt x="25" y="10"/>
                      </a:moveTo>
                      <a:cubicBezTo>
                        <a:pt x="25" y="10"/>
                        <a:pt x="25" y="10"/>
                        <a:pt x="25" y="10"/>
                      </a:cubicBezTo>
                      <a:cubicBezTo>
                        <a:pt x="26" y="10"/>
                        <a:pt x="26" y="10"/>
                        <a:pt x="26" y="10"/>
                      </a:cubicBezTo>
                      <a:cubicBezTo>
                        <a:pt x="26" y="10"/>
                        <a:pt x="26" y="10"/>
                        <a:pt x="26" y="10"/>
                      </a:cubicBezTo>
                      <a:cubicBezTo>
                        <a:pt x="27" y="10"/>
                        <a:pt x="27" y="10"/>
                        <a:pt x="27" y="10"/>
                      </a:cubicBezTo>
                      <a:cubicBezTo>
                        <a:pt x="26" y="10"/>
                        <a:pt x="26" y="10"/>
                        <a:pt x="26" y="10"/>
                      </a:cubicBezTo>
                      <a:cubicBezTo>
                        <a:pt x="26" y="11"/>
                        <a:pt x="26" y="11"/>
                        <a:pt x="26" y="11"/>
                      </a:cubicBezTo>
                      <a:cubicBezTo>
                        <a:pt x="25" y="11"/>
                        <a:pt x="25" y="11"/>
                        <a:pt x="25" y="11"/>
                      </a:cubicBezTo>
                      <a:cubicBezTo>
                        <a:pt x="25" y="11"/>
                        <a:pt x="25" y="11"/>
                        <a:pt x="25" y="11"/>
                      </a:cubicBezTo>
                      <a:cubicBezTo>
                        <a:pt x="25" y="11"/>
                        <a:pt x="25" y="11"/>
                        <a:pt x="25" y="11"/>
                      </a:cubicBezTo>
                      <a:cubicBezTo>
                        <a:pt x="24" y="10"/>
                        <a:pt x="24" y="10"/>
                        <a:pt x="24" y="10"/>
                      </a:cubicBezTo>
                      <a:cubicBezTo>
                        <a:pt x="25" y="10"/>
                        <a:pt x="25" y="10"/>
                        <a:pt x="25" y="10"/>
                      </a:cubicBezTo>
                      <a:close/>
                      <a:moveTo>
                        <a:pt x="22" y="6"/>
                      </a:moveTo>
                      <a:cubicBezTo>
                        <a:pt x="23" y="6"/>
                        <a:pt x="23" y="6"/>
                        <a:pt x="23" y="6"/>
                      </a:cubicBezTo>
                      <a:cubicBezTo>
                        <a:pt x="23" y="6"/>
                        <a:pt x="23" y="6"/>
                        <a:pt x="23" y="6"/>
                      </a:cubicBezTo>
                      <a:cubicBezTo>
                        <a:pt x="23" y="7"/>
                        <a:pt x="23" y="7"/>
                        <a:pt x="23" y="7"/>
                      </a:cubicBezTo>
                      <a:cubicBezTo>
                        <a:pt x="23" y="7"/>
                        <a:pt x="23" y="7"/>
                        <a:pt x="23" y="7"/>
                      </a:cubicBezTo>
                      <a:cubicBezTo>
                        <a:pt x="23" y="7"/>
                        <a:pt x="23" y="7"/>
                        <a:pt x="23" y="7"/>
                      </a:cubicBezTo>
                      <a:cubicBezTo>
                        <a:pt x="22" y="7"/>
                        <a:pt x="22" y="7"/>
                        <a:pt x="22" y="7"/>
                      </a:cubicBezTo>
                      <a:cubicBezTo>
                        <a:pt x="22" y="6"/>
                        <a:pt x="22" y="6"/>
                        <a:pt x="22" y="6"/>
                      </a:cubicBezTo>
                      <a:close/>
                      <a:moveTo>
                        <a:pt x="18" y="15"/>
                      </a:moveTo>
                      <a:cubicBezTo>
                        <a:pt x="18" y="15"/>
                        <a:pt x="18" y="15"/>
                        <a:pt x="18" y="15"/>
                      </a:cubicBezTo>
                      <a:cubicBezTo>
                        <a:pt x="19" y="15"/>
                        <a:pt x="19" y="15"/>
                        <a:pt x="19" y="15"/>
                      </a:cubicBezTo>
                      <a:cubicBezTo>
                        <a:pt x="19" y="15"/>
                        <a:pt x="19" y="15"/>
                        <a:pt x="19" y="15"/>
                      </a:cubicBezTo>
                      <a:cubicBezTo>
                        <a:pt x="19" y="16"/>
                        <a:pt x="19" y="16"/>
                        <a:pt x="19" y="16"/>
                      </a:cubicBezTo>
                      <a:cubicBezTo>
                        <a:pt x="18" y="15"/>
                        <a:pt x="18" y="15"/>
                        <a:pt x="18" y="15"/>
                      </a:cubicBezTo>
                      <a:close/>
                      <a:moveTo>
                        <a:pt x="17" y="15"/>
                      </a:moveTo>
                      <a:cubicBezTo>
                        <a:pt x="17" y="14"/>
                        <a:pt x="17" y="14"/>
                        <a:pt x="17" y="14"/>
                      </a:cubicBezTo>
                      <a:cubicBezTo>
                        <a:pt x="18" y="15"/>
                        <a:pt x="18" y="15"/>
                        <a:pt x="18" y="15"/>
                      </a:cubicBezTo>
                      <a:cubicBezTo>
                        <a:pt x="17" y="15"/>
                        <a:pt x="17" y="15"/>
                        <a:pt x="17" y="15"/>
                      </a:cubicBezTo>
                      <a:cubicBezTo>
                        <a:pt x="17" y="15"/>
                        <a:pt x="17" y="15"/>
                        <a:pt x="17" y="15"/>
                      </a:cubicBezTo>
                      <a:close/>
                      <a:moveTo>
                        <a:pt x="22" y="16"/>
                      </a:moveTo>
                      <a:cubicBezTo>
                        <a:pt x="23" y="16"/>
                        <a:pt x="23" y="16"/>
                        <a:pt x="23" y="16"/>
                      </a:cubicBezTo>
                      <a:cubicBezTo>
                        <a:pt x="23" y="16"/>
                        <a:pt x="23" y="16"/>
                        <a:pt x="23" y="16"/>
                      </a:cubicBezTo>
                      <a:cubicBezTo>
                        <a:pt x="24" y="16"/>
                        <a:pt x="24" y="16"/>
                        <a:pt x="24" y="16"/>
                      </a:cubicBezTo>
                      <a:cubicBezTo>
                        <a:pt x="24" y="17"/>
                        <a:pt x="24" y="17"/>
                        <a:pt x="24" y="17"/>
                      </a:cubicBezTo>
                      <a:cubicBezTo>
                        <a:pt x="23" y="17"/>
                        <a:pt x="23" y="17"/>
                        <a:pt x="23" y="17"/>
                      </a:cubicBezTo>
                      <a:cubicBezTo>
                        <a:pt x="23" y="16"/>
                        <a:pt x="23" y="16"/>
                        <a:pt x="23" y="16"/>
                      </a:cubicBezTo>
                      <a:cubicBezTo>
                        <a:pt x="23" y="16"/>
                        <a:pt x="23" y="16"/>
                        <a:pt x="23" y="16"/>
                      </a:cubicBezTo>
                      <a:cubicBezTo>
                        <a:pt x="22" y="16"/>
                        <a:pt x="22" y="16"/>
                        <a:pt x="22" y="16"/>
                      </a:cubicBezTo>
                      <a:close/>
                      <a:moveTo>
                        <a:pt x="30" y="24"/>
                      </a:moveTo>
                      <a:cubicBezTo>
                        <a:pt x="30" y="24"/>
                        <a:pt x="30" y="24"/>
                        <a:pt x="30" y="24"/>
                      </a:cubicBezTo>
                      <a:cubicBezTo>
                        <a:pt x="30" y="23"/>
                        <a:pt x="30" y="23"/>
                        <a:pt x="30" y="23"/>
                      </a:cubicBezTo>
                      <a:cubicBezTo>
                        <a:pt x="31" y="23"/>
                        <a:pt x="31" y="23"/>
                        <a:pt x="31" y="23"/>
                      </a:cubicBezTo>
                      <a:cubicBezTo>
                        <a:pt x="31" y="23"/>
                        <a:pt x="31" y="23"/>
                        <a:pt x="31" y="23"/>
                      </a:cubicBezTo>
                      <a:cubicBezTo>
                        <a:pt x="30" y="24"/>
                        <a:pt x="30" y="24"/>
                        <a:pt x="30" y="24"/>
                      </a:cubicBezTo>
                      <a:close/>
                      <a:moveTo>
                        <a:pt x="22" y="28"/>
                      </a:moveTo>
                      <a:cubicBezTo>
                        <a:pt x="23" y="28"/>
                        <a:pt x="23" y="28"/>
                        <a:pt x="23" y="28"/>
                      </a:cubicBezTo>
                      <a:cubicBezTo>
                        <a:pt x="23" y="28"/>
                        <a:pt x="23" y="28"/>
                        <a:pt x="23" y="28"/>
                      </a:cubicBezTo>
                      <a:cubicBezTo>
                        <a:pt x="23" y="28"/>
                        <a:pt x="23" y="28"/>
                        <a:pt x="23" y="28"/>
                      </a:cubicBezTo>
                      <a:cubicBezTo>
                        <a:pt x="23" y="28"/>
                        <a:pt x="23" y="28"/>
                        <a:pt x="23" y="28"/>
                      </a:cubicBezTo>
                      <a:cubicBezTo>
                        <a:pt x="22" y="28"/>
                        <a:pt x="22" y="28"/>
                        <a:pt x="22" y="28"/>
                      </a:cubicBezTo>
                      <a:close/>
                      <a:moveTo>
                        <a:pt x="23" y="26"/>
                      </a:moveTo>
                      <a:cubicBezTo>
                        <a:pt x="23" y="25"/>
                        <a:pt x="23" y="25"/>
                        <a:pt x="23" y="25"/>
                      </a:cubicBezTo>
                      <a:cubicBezTo>
                        <a:pt x="23" y="26"/>
                        <a:pt x="23" y="26"/>
                        <a:pt x="23" y="26"/>
                      </a:cubicBezTo>
                      <a:cubicBezTo>
                        <a:pt x="23" y="26"/>
                        <a:pt x="23" y="26"/>
                        <a:pt x="23" y="26"/>
                      </a:cubicBezTo>
                      <a:close/>
                      <a:moveTo>
                        <a:pt x="23" y="25"/>
                      </a:moveTo>
                      <a:cubicBezTo>
                        <a:pt x="23" y="24"/>
                        <a:pt x="23" y="24"/>
                        <a:pt x="23" y="24"/>
                      </a:cubicBezTo>
                      <a:cubicBezTo>
                        <a:pt x="23" y="24"/>
                        <a:pt x="23" y="24"/>
                        <a:pt x="23" y="24"/>
                      </a:cubicBezTo>
                      <a:cubicBezTo>
                        <a:pt x="23" y="25"/>
                        <a:pt x="23" y="25"/>
                        <a:pt x="23" y="25"/>
                      </a:cubicBezTo>
                      <a:cubicBezTo>
                        <a:pt x="23" y="25"/>
                        <a:pt x="23" y="25"/>
                        <a:pt x="23" y="25"/>
                      </a:cubicBezTo>
                      <a:close/>
                      <a:moveTo>
                        <a:pt x="22" y="24"/>
                      </a:moveTo>
                      <a:cubicBezTo>
                        <a:pt x="22" y="23"/>
                        <a:pt x="22" y="23"/>
                        <a:pt x="22" y="23"/>
                      </a:cubicBezTo>
                      <a:cubicBezTo>
                        <a:pt x="22" y="23"/>
                        <a:pt x="22" y="23"/>
                        <a:pt x="22" y="23"/>
                      </a:cubicBezTo>
                      <a:cubicBezTo>
                        <a:pt x="23" y="24"/>
                        <a:pt x="23" y="24"/>
                        <a:pt x="23" y="24"/>
                      </a:cubicBezTo>
                      <a:cubicBezTo>
                        <a:pt x="22" y="24"/>
                        <a:pt x="22" y="24"/>
                        <a:pt x="22" y="24"/>
                      </a:cubicBezTo>
                      <a:close/>
                      <a:moveTo>
                        <a:pt x="26" y="26"/>
                      </a:moveTo>
                      <a:cubicBezTo>
                        <a:pt x="26" y="26"/>
                        <a:pt x="26" y="26"/>
                        <a:pt x="26" y="26"/>
                      </a:cubicBezTo>
                      <a:cubicBezTo>
                        <a:pt x="26" y="25"/>
                        <a:pt x="26" y="25"/>
                        <a:pt x="26" y="25"/>
                      </a:cubicBezTo>
                      <a:cubicBezTo>
                        <a:pt x="27" y="25"/>
                        <a:pt x="27" y="25"/>
                        <a:pt x="27" y="25"/>
                      </a:cubicBezTo>
                      <a:cubicBezTo>
                        <a:pt x="27" y="26"/>
                        <a:pt x="27" y="26"/>
                        <a:pt x="27" y="26"/>
                      </a:cubicBezTo>
                      <a:cubicBezTo>
                        <a:pt x="26" y="26"/>
                        <a:pt x="26" y="26"/>
                        <a:pt x="26" y="26"/>
                      </a:cubicBezTo>
                      <a:close/>
                      <a:moveTo>
                        <a:pt x="28" y="26"/>
                      </a:moveTo>
                      <a:cubicBezTo>
                        <a:pt x="27" y="26"/>
                        <a:pt x="27" y="26"/>
                        <a:pt x="27" y="26"/>
                      </a:cubicBezTo>
                      <a:cubicBezTo>
                        <a:pt x="28" y="25"/>
                        <a:pt x="28" y="25"/>
                        <a:pt x="28" y="25"/>
                      </a:cubicBezTo>
                      <a:cubicBezTo>
                        <a:pt x="28" y="25"/>
                        <a:pt x="28" y="25"/>
                        <a:pt x="28" y="25"/>
                      </a:cubicBezTo>
                      <a:cubicBezTo>
                        <a:pt x="28" y="26"/>
                        <a:pt x="28" y="26"/>
                        <a:pt x="28" y="26"/>
                      </a:cubicBezTo>
                      <a:cubicBezTo>
                        <a:pt x="28" y="26"/>
                        <a:pt x="28" y="26"/>
                        <a:pt x="28" y="26"/>
                      </a:cubicBezTo>
                      <a:cubicBezTo>
                        <a:pt x="28" y="26"/>
                        <a:pt x="28" y="26"/>
                        <a:pt x="28" y="26"/>
                      </a:cubicBezTo>
                      <a:close/>
                      <a:moveTo>
                        <a:pt x="27" y="24"/>
                      </a:moveTo>
                      <a:cubicBezTo>
                        <a:pt x="27" y="24"/>
                        <a:pt x="27" y="24"/>
                        <a:pt x="27" y="24"/>
                      </a:cubicBezTo>
                      <a:cubicBezTo>
                        <a:pt x="28" y="24"/>
                        <a:pt x="28" y="24"/>
                        <a:pt x="28" y="24"/>
                      </a:cubicBezTo>
                      <a:cubicBezTo>
                        <a:pt x="27" y="24"/>
                        <a:pt x="27" y="24"/>
                        <a:pt x="27" y="24"/>
                      </a:cubicBezTo>
                      <a:close/>
                      <a:moveTo>
                        <a:pt x="26" y="23"/>
                      </a:moveTo>
                      <a:cubicBezTo>
                        <a:pt x="26" y="23"/>
                        <a:pt x="26" y="23"/>
                        <a:pt x="26" y="23"/>
                      </a:cubicBezTo>
                      <a:cubicBezTo>
                        <a:pt x="27" y="23"/>
                        <a:pt x="27" y="23"/>
                        <a:pt x="27" y="23"/>
                      </a:cubicBezTo>
                      <a:cubicBezTo>
                        <a:pt x="27" y="24"/>
                        <a:pt x="27" y="24"/>
                        <a:pt x="27" y="24"/>
                      </a:cubicBezTo>
                      <a:cubicBezTo>
                        <a:pt x="26" y="24"/>
                        <a:pt x="26" y="24"/>
                        <a:pt x="26" y="24"/>
                      </a:cubicBezTo>
                      <a:cubicBezTo>
                        <a:pt x="26" y="23"/>
                        <a:pt x="26" y="23"/>
                        <a:pt x="26" y="23"/>
                      </a:cubicBezTo>
                      <a:close/>
                      <a:moveTo>
                        <a:pt x="24" y="21"/>
                      </a:moveTo>
                      <a:cubicBezTo>
                        <a:pt x="24" y="21"/>
                        <a:pt x="24" y="21"/>
                        <a:pt x="24" y="21"/>
                      </a:cubicBezTo>
                      <a:cubicBezTo>
                        <a:pt x="25" y="22"/>
                        <a:pt x="25" y="22"/>
                        <a:pt x="25" y="22"/>
                      </a:cubicBezTo>
                      <a:cubicBezTo>
                        <a:pt x="25" y="23"/>
                        <a:pt x="25" y="23"/>
                        <a:pt x="25" y="23"/>
                      </a:cubicBezTo>
                      <a:cubicBezTo>
                        <a:pt x="25" y="23"/>
                        <a:pt x="25" y="23"/>
                        <a:pt x="25" y="23"/>
                      </a:cubicBezTo>
                      <a:cubicBezTo>
                        <a:pt x="25" y="23"/>
                        <a:pt x="25" y="23"/>
                        <a:pt x="25" y="23"/>
                      </a:cubicBezTo>
                      <a:cubicBezTo>
                        <a:pt x="24" y="22"/>
                        <a:pt x="24" y="22"/>
                        <a:pt x="24" y="22"/>
                      </a:cubicBezTo>
                      <a:cubicBezTo>
                        <a:pt x="24" y="22"/>
                        <a:pt x="24" y="22"/>
                        <a:pt x="24" y="22"/>
                      </a:cubicBezTo>
                      <a:cubicBezTo>
                        <a:pt x="24" y="21"/>
                        <a:pt x="24" y="21"/>
                        <a:pt x="24" y="21"/>
                      </a:cubicBezTo>
                      <a:close/>
                      <a:moveTo>
                        <a:pt x="15" y="16"/>
                      </a:moveTo>
                      <a:cubicBezTo>
                        <a:pt x="16" y="16"/>
                        <a:pt x="16" y="16"/>
                        <a:pt x="16" y="16"/>
                      </a:cubicBezTo>
                      <a:cubicBezTo>
                        <a:pt x="17" y="16"/>
                        <a:pt x="17" y="16"/>
                        <a:pt x="17" y="16"/>
                      </a:cubicBezTo>
                      <a:cubicBezTo>
                        <a:pt x="18" y="16"/>
                        <a:pt x="18" y="16"/>
                        <a:pt x="18" y="16"/>
                      </a:cubicBezTo>
                      <a:cubicBezTo>
                        <a:pt x="18" y="17"/>
                        <a:pt x="18" y="17"/>
                        <a:pt x="18" y="17"/>
                      </a:cubicBezTo>
                      <a:cubicBezTo>
                        <a:pt x="19" y="17"/>
                        <a:pt x="19" y="17"/>
                        <a:pt x="19" y="17"/>
                      </a:cubicBezTo>
                      <a:cubicBezTo>
                        <a:pt x="19" y="17"/>
                        <a:pt x="19" y="17"/>
                        <a:pt x="19" y="17"/>
                      </a:cubicBezTo>
                      <a:cubicBezTo>
                        <a:pt x="20" y="17"/>
                        <a:pt x="20" y="17"/>
                        <a:pt x="20" y="17"/>
                      </a:cubicBezTo>
                      <a:cubicBezTo>
                        <a:pt x="20" y="17"/>
                        <a:pt x="20" y="17"/>
                        <a:pt x="20" y="17"/>
                      </a:cubicBezTo>
                      <a:cubicBezTo>
                        <a:pt x="21" y="18"/>
                        <a:pt x="21" y="18"/>
                        <a:pt x="21" y="18"/>
                      </a:cubicBezTo>
                      <a:cubicBezTo>
                        <a:pt x="22" y="19"/>
                        <a:pt x="22" y="19"/>
                        <a:pt x="22" y="19"/>
                      </a:cubicBezTo>
                      <a:cubicBezTo>
                        <a:pt x="22" y="19"/>
                        <a:pt x="22" y="19"/>
                        <a:pt x="22" y="19"/>
                      </a:cubicBezTo>
                      <a:cubicBezTo>
                        <a:pt x="22" y="19"/>
                        <a:pt x="22" y="19"/>
                        <a:pt x="22" y="19"/>
                      </a:cubicBezTo>
                      <a:cubicBezTo>
                        <a:pt x="22" y="20"/>
                        <a:pt x="22" y="20"/>
                        <a:pt x="22" y="20"/>
                      </a:cubicBezTo>
                      <a:cubicBezTo>
                        <a:pt x="22" y="21"/>
                        <a:pt x="22" y="21"/>
                        <a:pt x="22" y="21"/>
                      </a:cubicBezTo>
                      <a:cubicBezTo>
                        <a:pt x="23" y="20"/>
                        <a:pt x="23" y="20"/>
                        <a:pt x="23" y="20"/>
                      </a:cubicBezTo>
                      <a:cubicBezTo>
                        <a:pt x="23" y="21"/>
                        <a:pt x="23" y="21"/>
                        <a:pt x="23" y="21"/>
                      </a:cubicBezTo>
                      <a:cubicBezTo>
                        <a:pt x="23" y="21"/>
                        <a:pt x="23" y="21"/>
                        <a:pt x="23" y="21"/>
                      </a:cubicBezTo>
                      <a:cubicBezTo>
                        <a:pt x="23" y="21"/>
                        <a:pt x="23" y="21"/>
                        <a:pt x="23" y="21"/>
                      </a:cubicBezTo>
                      <a:cubicBezTo>
                        <a:pt x="22" y="21"/>
                        <a:pt x="22" y="21"/>
                        <a:pt x="22" y="21"/>
                      </a:cubicBezTo>
                      <a:cubicBezTo>
                        <a:pt x="21" y="21"/>
                        <a:pt x="21" y="21"/>
                        <a:pt x="21" y="21"/>
                      </a:cubicBezTo>
                      <a:cubicBezTo>
                        <a:pt x="21" y="21"/>
                        <a:pt x="21" y="21"/>
                        <a:pt x="21" y="21"/>
                      </a:cubicBezTo>
                      <a:cubicBezTo>
                        <a:pt x="21" y="20"/>
                        <a:pt x="21" y="20"/>
                        <a:pt x="21" y="20"/>
                      </a:cubicBezTo>
                      <a:cubicBezTo>
                        <a:pt x="21" y="20"/>
                        <a:pt x="21" y="20"/>
                        <a:pt x="21" y="20"/>
                      </a:cubicBezTo>
                      <a:cubicBezTo>
                        <a:pt x="20" y="19"/>
                        <a:pt x="20" y="19"/>
                        <a:pt x="20" y="19"/>
                      </a:cubicBezTo>
                      <a:cubicBezTo>
                        <a:pt x="20" y="19"/>
                        <a:pt x="20" y="19"/>
                        <a:pt x="20" y="19"/>
                      </a:cubicBezTo>
                      <a:cubicBezTo>
                        <a:pt x="19" y="19"/>
                        <a:pt x="19" y="19"/>
                        <a:pt x="19" y="19"/>
                      </a:cubicBezTo>
                      <a:cubicBezTo>
                        <a:pt x="19" y="18"/>
                        <a:pt x="19" y="18"/>
                        <a:pt x="19" y="18"/>
                      </a:cubicBezTo>
                      <a:cubicBezTo>
                        <a:pt x="18" y="18"/>
                        <a:pt x="18" y="18"/>
                        <a:pt x="18" y="18"/>
                      </a:cubicBezTo>
                      <a:cubicBezTo>
                        <a:pt x="18" y="18"/>
                        <a:pt x="18" y="18"/>
                        <a:pt x="18" y="18"/>
                      </a:cubicBezTo>
                      <a:cubicBezTo>
                        <a:pt x="17" y="17"/>
                        <a:pt x="17" y="17"/>
                        <a:pt x="17" y="17"/>
                      </a:cubicBezTo>
                      <a:cubicBezTo>
                        <a:pt x="17" y="17"/>
                        <a:pt x="17" y="17"/>
                        <a:pt x="17" y="17"/>
                      </a:cubicBezTo>
                      <a:cubicBezTo>
                        <a:pt x="17" y="17"/>
                        <a:pt x="17" y="17"/>
                        <a:pt x="17" y="17"/>
                      </a:cubicBezTo>
                      <a:cubicBezTo>
                        <a:pt x="16" y="16"/>
                        <a:pt x="16" y="16"/>
                        <a:pt x="16" y="16"/>
                      </a:cubicBezTo>
                      <a:cubicBezTo>
                        <a:pt x="15" y="16"/>
                        <a:pt x="15" y="16"/>
                        <a:pt x="15" y="16"/>
                      </a:cubicBezTo>
                      <a:cubicBezTo>
                        <a:pt x="15" y="16"/>
                        <a:pt x="15" y="16"/>
                        <a:pt x="15" y="16"/>
                      </a:cubicBezTo>
                      <a:close/>
                      <a:moveTo>
                        <a:pt x="16" y="29"/>
                      </a:moveTo>
                      <a:cubicBezTo>
                        <a:pt x="16" y="29"/>
                        <a:pt x="16" y="29"/>
                        <a:pt x="16" y="29"/>
                      </a:cubicBezTo>
                      <a:cubicBezTo>
                        <a:pt x="17" y="29"/>
                        <a:pt x="17" y="29"/>
                        <a:pt x="17" y="29"/>
                      </a:cubicBezTo>
                      <a:cubicBezTo>
                        <a:pt x="17" y="30"/>
                        <a:pt x="17" y="30"/>
                        <a:pt x="17" y="30"/>
                      </a:cubicBezTo>
                      <a:cubicBezTo>
                        <a:pt x="17" y="31"/>
                        <a:pt x="17" y="31"/>
                        <a:pt x="17" y="31"/>
                      </a:cubicBezTo>
                      <a:cubicBezTo>
                        <a:pt x="16" y="30"/>
                        <a:pt x="16" y="30"/>
                        <a:pt x="16" y="30"/>
                      </a:cubicBezTo>
                      <a:cubicBezTo>
                        <a:pt x="16" y="30"/>
                        <a:pt x="16" y="30"/>
                        <a:pt x="16" y="30"/>
                      </a:cubicBezTo>
                      <a:cubicBezTo>
                        <a:pt x="16" y="30"/>
                        <a:pt x="16" y="30"/>
                        <a:pt x="16" y="30"/>
                      </a:cubicBezTo>
                      <a:cubicBezTo>
                        <a:pt x="16" y="29"/>
                        <a:pt x="16" y="29"/>
                        <a:pt x="16" y="29"/>
                      </a:cubicBezTo>
                      <a:close/>
                      <a:moveTo>
                        <a:pt x="16" y="28"/>
                      </a:moveTo>
                      <a:cubicBezTo>
                        <a:pt x="16" y="29"/>
                        <a:pt x="16" y="29"/>
                        <a:pt x="16" y="29"/>
                      </a:cubicBezTo>
                      <a:cubicBezTo>
                        <a:pt x="16" y="29"/>
                        <a:pt x="16" y="29"/>
                        <a:pt x="16" y="29"/>
                      </a:cubicBezTo>
                      <a:lnTo>
                        <a:pt x="16" y="28"/>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 name="Freeform 81">
                  <a:extLst>
                    <a:ext uri="{FF2B5EF4-FFF2-40B4-BE49-F238E27FC236}">
                      <a16:creationId xmlns:a16="http://schemas.microsoft.com/office/drawing/2014/main" id="{2E1E3680-DB40-DE8E-ABFD-804C47F2947F}"/>
                    </a:ext>
                  </a:extLst>
                </p:cNvPr>
                <p:cNvSpPr>
                  <a:spLocks noEditPoints="1"/>
                </p:cNvSpPr>
                <p:nvPr/>
              </p:nvSpPr>
              <p:spPr bwMode="auto">
                <a:xfrm>
                  <a:off x="3132" y="2137"/>
                  <a:ext cx="61" cy="46"/>
                </a:xfrm>
                <a:custGeom>
                  <a:avLst/>
                  <a:gdLst>
                    <a:gd name="T0" fmla="*/ 0 w 61"/>
                    <a:gd name="T1" fmla="*/ 8 h 46"/>
                    <a:gd name="T2" fmla="*/ 12 w 61"/>
                    <a:gd name="T3" fmla="*/ 10 h 46"/>
                    <a:gd name="T4" fmla="*/ 19 w 61"/>
                    <a:gd name="T5" fmla="*/ 12 h 46"/>
                    <a:gd name="T6" fmla="*/ 19 w 61"/>
                    <a:gd name="T7" fmla="*/ 5 h 46"/>
                    <a:gd name="T8" fmla="*/ 17 w 61"/>
                    <a:gd name="T9" fmla="*/ 0 h 46"/>
                    <a:gd name="T10" fmla="*/ 26 w 61"/>
                    <a:gd name="T11" fmla="*/ 5 h 46"/>
                    <a:gd name="T12" fmla="*/ 31 w 61"/>
                    <a:gd name="T13" fmla="*/ 8 h 46"/>
                    <a:gd name="T14" fmla="*/ 35 w 61"/>
                    <a:gd name="T15" fmla="*/ 3 h 46"/>
                    <a:gd name="T16" fmla="*/ 43 w 61"/>
                    <a:gd name="T17" fmla="*/ 0 h 46"/>
                    <a:gd name="T18" fmla="*/ 45 w 61"/>
                    <a:gd name="T19" fmla="*/ 8 h 46"/>
                    <a:gd name="T20" fmla="*/ 52 w 61"/>
                    <a:gd name="T21" fmla="*/ 12 h 46"/>
                    <a:gd name="T22" fmla="*/ 54 w 61"/>
                    <a:gd name="T23" fmla="*/ 17 h 46"/>
                    <a:gd name="T24" fmla="*/ 59 w 61"/>
                    <a:gd name="T25" fmla="*/ 17 h 46"/>
                    <a:gd name="T26" fmla="*/ 59 w 61"/>
                    <a:gd name="T27" fmla="*/ 19 h 46"/>
                    <a:gd name="T28" fmla="*/ 54 w 61"/>
                    <a:gd name="T29" fmla="*/ 19 h 46"/>
                    <a:gd name="T30" fmla="*/ 52 w 61"/>
                    <a:gd name="T31" fmla="*/ 27 h 46"/>
                    <a:gd name="T32" fmla="*/ 52 w 61"/>
                    <a:gd name="T33" fmla="*/ 29 h 46"/>
                    <a:gd name="T34" fmla="*/ 52 w 61"/>
                    <a:gd name="T35" fmla="*/ 31 h 46"/>
                    <a:gd name="T36" fmla="*/ 52 w 61"/>
                    <a:gd name="T37" fmla="*/ 34 h 46"/>
                    <a:gd name="T38" fmla="*/ 50 w 61"/>
                    <a:gd name="T39" fmla="*/ 38 h 46"/>
                    <a:gd name="T40" fmla="*/ 50 w 61"/>
                    <a:gd name="T41" fmla="*/ 36 h 46"/>
                    <a:gd name="T42" fmla="*/ 47 w 61"/>
                    <a:gd name="T43" fmla="*/ 34 h 46"/>
                    <a:gd name="T44" fmla="*/ 47 w 61"/>
                    <a:gd name="T45" fmla="*/ 38 h 46"/>
                    <a:gd name="T46" fmla="*/ 47 w 61"/>
                    <a:gd name="T47" fmla="*/ 41 h 46"/>
                    <a:gd name="T48" fmla="*/ 47 w 61"/>
                    <a:gd name="T49" fmla="*/ 46 h 46"/>
                    <a:gd name="T50" fmla="*/ 45 w 61"/>
                    <a:gd name="T51" fmla="*/ 46 h 46"/>
                    <a:gd name="T52" fmla="*/ 38 w 61"/>
                    <a:gd name="T53" fmla="*/ 41 h 46"/>
                    <a:gd name="T54" fmla="*/ 40 w 61"/>
                    <a:gd name="T55" fmla="*/ 36 h 46"/>
                    <a:gd name="T56" fmla="*/ 40 w 61"/>
                    <a:gd name="T57" fmla="*/ 34 h 46"/>
                    <a:gd name="T58" fmla="*/ 38 w 61"/>
                    <a:gd name="T59" fmla="*/ 31 h 46"/>
                    <a:gd name="T60" fmla="*/ 38 w 61"/>
                    <a:gd name="T61" fmla="*/ 31 h 46"/>
                    <a:gd name="T62" fmla="*/ 33 w 61"/>
                    <a:gd name="T63" fmla="*/ 31 h 46"/>
                    <a:gd name="T64" fmla="*/ 31 w 61"/>
                    <a:gd name="T65" fmla="*/ 34 h 46"/>
                    <a:gd name="T66" fmla="*/ 28 w 61"/>
                    <a:gd name="T67" fmla="*/ 36 h 46"/>
                    <a:gd name="T68" fmla="*/ 26 w 61"/>
                    <a:gd name="T69" fmla="*/ 38 h 46"/>
                    <a:gd name="T70" fmla="*/ 24 w 61"/>
                    <a:gd name="T71" fmla="*/ 41 h 46"/>
                    <a:gd name="T72" fmla="*/ 21 w 61"/>
                    <a:gd name="T73" fmla="*/ 38 h 46"/>
                    <a:gd name="T74" fmla="*/ 24 w 61"/>
                    <a:gd name="T75" fmla="*/ 36 h 46"/>
                    <a:gd name="T76" fmla="*/ 24 w 61"/>
                    <a:gd name="T77" fmla="*/ 34 h 46"/>
                    <a:gd name="T78" fmla="*/ 19 w 61"/>
                    <a:gd name="T79" fmla="*/ 31 h 46"/>
                    <a:gd name="T80" fmla="*/ 12 w 61"/>
                    <a:gd name="T81" fmla="*/ 24 h 46"/>
                    <a:gd name="T82" fmla="*/ 12 w 61"/>
                    <a:gd name="T83" fmla="*/ 22 h 46"/>
                    <a:gd name="T84" fmla="*/ 7 w 61"/>
                    <a:gd name="T85" fmla="*/ 17 h 46"/>
                    <a:gd name="T86" fmla="*/ 7 w 61"/>
                    <a:gd name="T87" fmla="*/ 12 h 46"/>
                    <a:gd name="T88" fmla="*/ 0 w 61"/>
                    <a:gd name="T89" fmla="*/ 10 h 46"/>
                    <a:gd name="T90" fmla="*/ 19 w 61"/>
                    <a:gd name="T91" fmla="*/ 41 h 46"/>
                    <a:gd name="T92" fmla="*/ 12 w 61"/>
                    <a:gd name="T93" fmla="*/ 31 h 46"/>
                    <a:gd name="T94" fmla="*/ 7 w 61"/>
                    <a:gd name="T95" fmla="*/ 29 h 46"/>
                    <a:gd name="T96" fmla="*/ 2 w 61"/>
                    <a:gd name="T97" fmla="*/ 27 h 46"/>
                    <a:gd name="T98" fmla="*/ 0 w 61"/>
                    <a:gd name="T99" fmla="*/ 29 h 46"/>
                    <a:gd name="T100" fmla="*/ 0 w 61"/>
                    <a:gd name="T101" fmla="*/ 29 h 46"/>
                    <a:gd name="T102" fmla="*/ 2 w 61"/>
                    <a:gd name="T103" fmla="*/ 31 h 46"/>
                    <a:gd name="T104" fmla="*/ 5 w 61"/>
                    <a:gd name="T105" fmla="*/ 34 h 46"/>
                    <a:gd name="T106" fmla="*/ 9 w 61"/>
                    <a:gd name="T107" fmla="*/ 38 h 46"/>
                    <a:gd name="T108" fmla="*/ 14 w 61"/>
                    <a:gd name="T109" fmla="*/ 41 h 46"/>
                    <a:gd name="T110" fmla="*/ 19 w 61"/>
                    <a:gd name="T111" fmla="*/ 41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1" h="46">
                      <a:moveTo>
                        <a:pt x="0" y="10"/>
                      </a:moveTo>
                      <a:lnTo>
                        <a:pt x="0" y="8"/>
                      </a:lnTo>
                      <a:lnTo>
                        <a:pt x="5" y="5"/>
                      </a:lnTo>
                      <a:lnTo>
                        <a:pt x="12" y="10"/>
                      </a:lnTo>
                      <a:lnTo>
                        <a:pt x="14" y="10"/>
                      </a:lnTo>
                      <a:lnTo>
                        <a:pt x="19" y="12"/>
                      </a:lnTo>
                      <a:lnTo>
                        <a:pt x="19" y="8"/>
                      </a:lnTo>
                      <a:lnTo>
                        <a:pt x="19" y="5"/>
                      </a:lnTo>
                      <a:lnTo>
                        <a:pt x="14" y="3"/>
                      </a:lnTo>
                      <a:lnTo>
                        <a:pt x="17" y="0"/>
                      </a:lnTo>
                      <a:lnTo>
                        <a:pt x="19" y="0"/>
                      </a:lnTo>
                      <a:lnTo>
                        <a:pt x="26" y="5"/>
                      </a:lnTo>
                      <a:lnTo>
                        <a:pt x="26" y="8"/>
                      </a:lnTo>
                      <a:lnTo>
                        <a:pt x="31" y="8"/>
                      </a:lnTo>
                      <a:lnTo>
                        <a:pt x="33" y="5"/>
                      </a:lnTo>
                      <a:lnTo>
                        <a:pt x="35" y="3"/>
                      </a:lnTo>
                      <a:lnTo>
                        <a:pt x="40" y="0"/>
                      </a:lnTo>
                      <a:lnTo>
                        <a:pt x="43" y="0"/>
                      </a:lnTo>
                      <a:lnTo>
                        <a:pt x="45" y="5"/>
                      </a:lnTo>
                      <a:lnTo>
                        <a:pt x="45" y="8"/>
                      </a:lnTo>
                      <a:lnTo>
                        <a:pt x="47" y="10"/>
                      </a:lnTo>
                      <a:lnTo>
                        <a:pt x="52" y="12"/>
                      </a:lnTo>
                      <a:lnTo>
                        <a:pt x="52" y="15"/>
                      </a:lnTo>
                      <a:lnTo>
                        <a:pt x="54" y="17"/>
                      </a:lnTo>
                      <a:lnTo>
                        <a:pt x="57" y="17"/>
                      </a:lnTo>
                      <a:lnTo>
                        <a:pt x="59" y="17"/>
                      </a:lnTo>
                      <a:lnTo>
                        <a:pt x="61" y="19"/>
                      </a:lnTo>
                      <a:lnTo>
                        <a:pt x="59" y="19"/>
                      </a:lnTo>
                      <a:lnTo>
                        <a:pt x="59" y="19"/>
                      </a:lnTo>
                      <a:lnTo>
                        <a:pt x="54" y="19"/>
                      </a:lnTo>
                      <a:lnTo>
                        <a:pt x="52" y="22"/>
                      </a:lnTo>
                      <a:lnTo>
                        <a:pt x="52" y="27"/>
                      </a:lnTo>
                      <a:lnTo>
                        <a:pt x="52" y="27"/>
                      </a:lnTo>
                      <a:lnTo>
                        <a:pt x="52" y="29"/>
                      </a:lnTo>
                      <a:lnTo>
                        <a:pt x="52" y="31"/>
                      </a:lnTo>
                      <a:lnTo>
                        <a:pt x="52" y="31"/>
                      </a:lnTo>
                      <a:lnTo>
                        <a:pt x="52" y="34"/>
                      </a:lnTo>
                      <a:lnTo>
                        <a:pt x="52" y="34"/>
                      </a:lnTo>
                      <a:lnTo>
                        <a:pt x="52" y="38"/>
                      </a:lnTo>
                      <a:lnTo>
                        <a:pt x="50" y="38"/>
                      </a:lnTo>
                      <a:lnTo>
                        <a:pt x="50" y="38"/>
                      </a:lnTo>
                      <a:lnTo>
                        <a:pt x="50" y="36"/>
                      </a:lnTo>
                      <a:lnTo>
                        <a:pt x="50" y="34"/>
                      </a:lnTo>
                      <a:lnTo>
                        <a:pt x="47" y="34"/>
                      </a:lnTo>
                      <a:lnTo>
                        <a:pt x="47" y="36"/>
                      </a:lnTo>
                      <a:lnTo>
                        <a:pt x="47" y="38"/>
                      </a:lnTo>
                      <a:lnTo>
                        <a:pt x="47" y="41"/>
                      </a:lnTo>
                      <a:lnTo>
                        <a:pt x="47" y="41"/>
                      </a:lnTo>
                      <a:lnTo>
                        <a:pt x="47" y="46"/>
                      </a:lnTo>
                      <a:lnTo>
                        <a:pt x="47" y="46"/>
                      </a:lnTo>
                      <a:lnTo>
                        <a:pt x="45" y="46"/>
                      </a:lnTo>
                      <a:lnTo>
                        <a:pt x="45" y="46"/>
                      </a:lnTo>
                      <a:lnTo>
                        <a:pt x="43" y="43"/>
                      </a:lnTo>
                      <a:lnTo>
                        <a:pt x="38" y="41"/>
                      </a:lnTo>
                      <a:lnTo>
                        <a:pt x="43" y="38"/>
                      </a:lnTo>
                      <a:lnTo>
                        <a:pt x="40" y="36"/>
                      </a:lnTo>
                      <a:lnTo>
                        <a:pt x="40" y="36"/>
                      </a:lnTo>
                      <a:lnTo>
                        <a:pt x="40" y="34"/>
                      </a:lnTo>
                      <a:lnTo>
                        <a:pt x="40" y="34"/>
                      </a:lnTo>
                      <a:lnTo>
                        <a:pt x="38" y="31"/>
                      </a:lnTo>
                      <a:lnTo>
                        <a:pt x="38" y="31"/>
                      </a:lnTo>
                      <a:lnTo>
                        <a:pt x="38" y="31"/>
                      </a:lnTo>
                      <a:lnTo>
                        <a:pt x="35" y="31"/>
                      </a:lnTo>
                      <a:lnTo>
                        <a:pt x="33" y="31"/>
                      </a:lnTo>
                      <a:lnTo>
                        <a:pt x="33" y="31"/>
                      </a:lnTo>
                      <a:lnTo>
                        <a:pt x="31" y="34"/>
                      </a:lnTo>
                      <a:lnTo>
                        <a:pt x="28" y="34"/>
                      </a:lnTo>
                      <a:lnTo>
                        <a:pt x="28" y="36"/>
                      </a:lnTo>
                      <a:lnTo>
                        <a:pt x="26" y="36"/>
                      </a:lnTo>
                      <a:lnTo>
                        <a:pt x="26" y="38"/>
                      </a:lnTo>
                      <a:lnTo>
                        <a:pt x="26" y="38"/>
                      </a:lnTo>
                      <a:lnTo>
                        <a:pt x="24" y="41"/>
                      </a:lnTo>
                      <a:lnTo>
                        <a:pt x="21" y="38"/>
                      </a:lnTo>
                      <a:lnTo>
                        <a:pt x="21" y="38"/>
                      </a:lnTo>
                      <a:lnTo>
                        <a:pt x="21" y="36"/>
                      </a:lnTo>
                      <a:lnTo>
                        <a:pt x="24" y="36"/>
                      </a:lnTo>
                      <a:lnTo>
                        <a:pt x="21" y="34"/>
                      </a:lnTo>
                      <a:lnTo>
                        <a:pt x="24" y="34"/>
                      </a:lnTo>
                      <a:lnTo>
                        <a:pt x="21" y="31"/>
                      </a:lnTo>
                      <a:lnTo>
                        <a:pt x="19" y="31"/>
                      </a:lnTo>
                      <a:lnTo>
                        <a:pt x="12" y="29"/>
                      </a:lnTo>
                      <a:lnTo>
                        <a:pt x="12" y="24"/>
                      </a:lnTo>
                      <a:lnTo>
                        <a:pt x="12" y="24"/>
                      </a:lnTo>
                      <a:lnTo>
                        <a:pt x="12" y="22"/>
                      </a:lnTo>
                      <a:lnTo>
                        <a:pt x="7" y="17"/>
                      </a:lnTo>
                      <a:lnTo>
                        <a:pt x="7" y="17"/>
                      </a:lnTo>
                      <a:lnTo>
                        <a:pt x="9" y="15"/>
                      </a:lnTo>
                      <a:lnTo>
                        <a:pt x="7" y="12"/>
                      </a:lnTo>
                      <a:lnTo>
                        <a:pt x="2" y="10"/>
                      </a:lnTo>
                      <a:lnTo>
                        <a:pt x="0" y="10"/>
                      </a:lnTo>
                      <a:lnTo>
                        <a:pt x="0" y="10"/>
                      </a:lnTo>
                      <a:close/>
                      <a:moveTo>
                        <a:pt x="19" y="41"/>
                      </a:moveTo>
                      <a:lnTo>
                        <a:pt x="14" y="34"/>
                      </a:lnTo>
                      <a:lnTo>
                        <a:pt x="12" y="31"/>
                      </a:lnTo>
                      <a:lnTo>
                        <a:pt x="9" y="29"/>
                      </a:lnTo>
                      <a:lnTo>
                        <a:pt x="7" y="29"/>
                      </a:lnTo>
                      <a:lnTo>
                        <a:pt x="7" y="29"/>
                      </a:lnTo>
                      <a:lnTo>
                        <a:pt x="2" y="27"/>
                      </a:lnTo>
                      <a:lnTo>
                        <a:pt x="2" y="29"/>
                      </a:lnTo>
                      <a:lnTo>
                        <a:pt x="0" y="29"/>
                      </a:lnTo>
                      <a:lnTo>
                        <a:pt x="0" y="29"/>
                      </a:lnTo>
                      <a:lnTo>
                        <a:pt x="0" y="29"/>
                      </a:lnTo>
                      <a:lnTo>
                        <a:pt x="2" y="31"/>
                      </a:lnTo>
                      <a:lnTo>
                        <a:pt x="2" y="31"/>
                      </a:lnTo>
                      <a:lnTo>
                        <a:pt x="5" y="31"/>
                      </a:lnTo>
                      <a:lnTo>
                        <a:pt x="5" y="34"/>
                      </a:lnTo>
                      <a:lnTo>
                        <a:pt x="9" y="36"/>
                      </a:lnTo>
                      <a:lnTo>
                        <a:pt x="9" y="38"/>
                      </a:lnTo>
                      <a:lnTo>
                        <a:pt x="12" y="41"/>
                      </a:lnTo>
                      <a:lnTo>
                        <a:pt x="14" y="41"/>
                      </a:lnTo>
                      <a:lnTo>
                        <a:pt x="19" y="41"/>
                      </a:lnTo>
                      <a:lnTo>
                        <a:pt x="19" y="41"/>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 name="Freeform 82">
                  <a:extLst>
                    <a:ext uri="{FF2B5EF4-FFF2-40B4-BE49-F238E27FC236}">
                      <a16:creationId xmlns:a16="http://schemas.microsoft.com/office/drawing/2014/main" id="{7B2B9810-3F74-5A8C-86AD-813A657DF242}"/>
                    </a:ext>
                  </a:extLst>
                </p:cNvPr>
                <p:cNvSpPr>
                  <a:spLocks/>
                </p:cNvSpPr>
                <p:nvPr/>
              </p:nvSpPr>
              <p:spPr bwMode="auto">
                <a:xfrm>
                  <a:off x="3127" y="2166"/>
                  <a:ext cx="232" cy="168"/>
                </a:xfrm>
                <a:custGeom>
                  <a:avLst/>
                  <a:gdLst>
                    <a:gd name="T0" fmla="*/ 10 w 232"/>
                    <a:gd name="T1" fmla="*/ 2 h 168"/>
                    <a:gd name="T2" fmla="*/ 19 w 232"/>
                    <a:gd name="T3" fmla="*/ 12 h 168"/>
                    <a:gd name="T4" fmla="*/ 29 w 232"/>
                    <a:gd name="T5" fmla="*/ 12 h 168"/>
                    <a:gd name="T6" fmla="*/ 33 w 232"/>
                    <a:gd name="T7" fmla="*/ 5 h 168"/>
                    <a:gd name="T8" fmla="*/ 43 w 232"/>
                    <a:gd name="T9" fmla="*/ 2 h 168"/>
                    <a:gd name="T10" fmla="*/ 45 w 232"/>
                    <a:gd name="T11" fmla="*/ 7 h 168"/>
                    <a:gd name="T12" fmla="*/ 50 w 232"/>
                    <a:gd name="T13" fmla="*/ 17 h 168"/>
                    <a:gd name="T14" fmla="*/ 55 w 232"/>
                    <a:gd name="T15" fmla="*/ 19 h 168"/>
                    <a:gd name="T16" fmla="*/ 59 w 232"/>
                    <a:gd name="T17" fmla="*/ 28 h 168"/>
                    <a:gd name="T18" fmla="*/ 71 w 232"/>
                    <a:gd name="T19" fmla="*/ 28 h 168"/>
                    <a:gd name="T20" fmla="*/ 88 w 232"/>
                    <a:gd name="T21" fmla="*/ 38 h 168"/>
                    <a:gd name="T22" fmla="*/ 114 w 232"/>
                    <a:gd name="T23" fmla="*/ 35 h 168"/>
                    <a:gd name="T24" fmla="*/ 119 w 232"/>
                    <a:gd name="T25" fmla="*/ 26 h 168"/>
                    <a:gd name="T26" fmla="*/ 133 w 232"/>
                    <a:gd name="T27" fmla="*/ 17 h 168"/>
                    <a:gd name="T28" fmla="*/ 145 w 232"/>
                    <a:gd name="T29" fmla="*/ 17 h 168"/>
                    <a:gd name="T30" fmla="*/ 163 w 232"/>
                    <a:gd name="T31" fmla="*/ 21 h 168"/>
                    <a:gd name="T32" fmla="*/ 175 w 232"/>
                    <a:gd name="T33" fmla="*/ 28 h 168"/>
                    <a:gd name="T34" fmla="*/ 192 w 232"/>
                    <a:gd name="T35" fmla="*/ 38 h 168"/>
                    <a:gd name="T36" fmla="*/ 194 w 232"/>
                    <a:gd name="T37" fmla="*/ 50 h 168"/>
                    <a:gd name="T38" fmla="*/ 194 w 232"/>
                    <a:gd name="T39" fmla="*/ 54 h 168"/>
                    <a:gd name="T40" fmla="*/ 190 w 232"/>
                    <a:gd name="T41" fmla="*/ 64 h 168"/>
                    <a:gd name="T42" fmla="*/ 197 w 232"/>
                    <a:gd name="T43" fmla="*/ 71 h 168"/>
                    <a:gd name="T44" fmla="*/ 194 w 232"/>
                    <a:gd name="T45" fmla="*/ 88 h 168"/>
                    <a:gd name="T46" fmla="*/ 208 w 232"/>
                    <a:gd name="T47" fmla="*/ 99 h 168"/>
                    <a:gd name="T48" fmla="*/ 206 w 232"/>
                    <a:gd name="T49" fmla="*/ 126 h 168"/>
                    <a:gd name="T50" fmla="*/ 220 w 232"/>
                    <a:gd name="T51" fmla="*/ 133 h 168"/>
                    <a:gd name="T52" fmla="*/ 225 w 232"/>
                    <a:gd name="T53" fmla="*/ 142 h 168"/>
                    <a:gd name="T54" fmla="*/ 230 w 232"/>
                    <a:gd name="T55" fmla="*/ 152 h 168"/>
                    <a:gd name="T56" fmla="*/ 216 w 232"/>
                    <a:gd name="T57" fmla="*/ 156 h 168"/>
                    <a:gd name="T58" fmla="*/ 216 w 232"/>
                    <a:gd name="T59" fmla="*/ 168 h 168"/>
                    <a:gd name="T60" fmla="*/ 206 w 232"/>
                    <a:gd name="T61" fmla="*/ 166 h 168"/>
                    <a:gd name="T62" fmla="*/ 199 w 232"/>
                    <a:gd name="T63" fmla="*/ 166 h 168"/>
                    <a:gd name="T64" fmla="*/ 182 w 232"/>
                    <a:gd name="T65" fmla="*/ 163 h 168"/>
                    <a:gd name="T66" fmla="*/ 171 w 232"/>
                    <a:gd name="T67" fmla="*/ 161 h 168"/>
                    <a:gd name="T68" fmla="*/ 161 w 232"/>
                    <a:gd name="T69" fmla="*/ 154 h 168"/>
                    <a:gd name="T70" fmla="*/ 156 w 232"/>
                    <a:gd name="T71" fmla="*/ 147 h 168"/>
                    <a:gd name="T72" fmla="*/ 145 w 232"/>
                    <a:gd name="T73" fmla="*/ 147 h 168"/>
                    <a:gd name="T74" fmla="*/ 128 w 232"/>
                    <a:gd name="T75" fmla="*/ 149 h 168"/>
                    <a:gd name="T76" fmla="*/ 116 w 232"/>
                    <a:gd name="T77" fmla="*/ 147 h 168"/>
                    <a:gd name="T78" fmla="*/ 109 w 232"/>
                    <a:gd name="T79" fmla="*/ 140 h 168"/>
                    <a:gd name="T80" fmla="*/ 97 w 232"/>
                    <a:gd name="T81" fmla="*/ 137 h 168"/>
                    <a:gd name="T82" fmla="*/ 88 w 232"/>
                    <a:gd name="T83" fmla="*/ 128 h 168"/>
                    <a:gd name="T84" fmla="*/ 88 w 232"/>
                    <a:gd name="T85" fmla="*/ 126 h 168"/>
                    <a:gd name="T86" fmla="*/ 78 w 232"/>
                    <a:gd name="T87" fmla="*/ 114 h 168"/>
                    <a:gd name="T88" fmla="*/ 71 w 232"/>
                    <a:gd name="T89" fmla="*/ 114 h 168"/>
                    <a:gd name="T90" fmla="*/ 66 w 232"/>
                    <a:gd name="T91" fmla="*/ 111 h 168"/>
                    <a:gd name="T92" fmla="*/ 64 w 232"/>
                    <a:gd name="T93" fmla="*/ 114 h 168"/>
                    <a:gd name="T94" fmla="*/ 59 w 232"/>
                    <a:gd name="T95" fmla="*/ 111 h 168"/>
                    <a:gd name="T96" fmla="*/ 52 w 232"/>
                    <a:gd name="T97" fmla="*/ 97 h 168"/>
                    <a:gd name="T98" fmla="*/ 45 w 232"/>
                    <a:gd name="T99" fmla="*/ 85 h 168"/>
                    <a:gd name="T100" fmla="*/ 31 w 232"/>
                    <a:gd name="T101" fmla="*/ 81 h 168"/>
                    <a:gd name="T102" fmla="*/ 29 w 232"/>
                    <a:gd name="T103" fmla="*/ 73 h 168"/>
                    <a:gd name="T104" fmla="*/ 24 w 232"/>
                    <a:gd name="T105" fmla="*/ 69 h 168"/>
                    <a:gd name="T106" fmla="*/ 26 w 232"/>
                    <a:gd name="T107" fmla="*/ 57 h 168"/>
                    <a:gd name="T108" fmla="*/ 29 w 232"/>
                    <a:gd name="T109" fmla="*/ 50 h 168"/>
                    <a:gd name="T110" fmla="*/ 29 w 232"/>
                    <a:gd name="T111" fmla="*/ 47 h 168"/>
                    <a:gd name="T112" fmla="*/ 17 w 232"/>
                    <a:gd name="T113" fmla="*/ 45 h 168"/>
                    <a:gd name="T114" fmla="*/ 12 w 232"/>
                    <a:gd name="T115" fmla="*/ 35 h 168"/>
                    <a:gd name="T116" fmla="*/ 10 w 232"/>
                    <a:gd name="T117" fmla="*/ 28 h 168"/>
                    <a:gd name="T118" fmla="*/ 5 w 232"/>
                    <a:gd name="T119" fmla="*/ 17 h 168"/>
                    <a:gd name="T120" fmla="*/ 0 w 232"/>
                    <a:gd name="T121" fmla="*/ 7 h 168"/>
                    <a:gd name="T122" fmla="*/ 5 w 232"/>
                    <a:gd name="T123"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2" h="168">
                      <a:moveTo>
                        <a:pt x="5" y="0"/>
                      </a:moveTo>
                      <a:lnTo>
                        <a:pt x="5" y="0"/>
                      </a:lnTo>
                      <a:lnTo>
                        <a:pt x="7" y="2"/>
                      </a:lnTo>
                      <a:lnTo>
                        <a:pt x="7" y="2"/>
                      </a:lnTo>
                      <a:lnTo>
                        <a:pt x="10" y="2"/>
                      </a:lnTo>
                      <a:lnTo>
                        <a:pt x="10" y="5"/>
                      </a:lnTo>
                      <a:lnTo>
                        <a:pt x="14" y="7"/>
                      </a:lnTo>
                      <a:lnTo>
                        <a:pt x="14" y="9"/>
                      </a:lnTo>
                      <a:lnTo>
                        <a:pt x="17" y="12"/>
                      </a:lnTo>
                      <a:lnTo>
                        <a:pt x="19" y="12"/>
                      </a:lnTo>
                      <a:lnTo>
                        <a:pt x="24" y="12"/>
                      </a:lnTo>
                      <a:lnTo>
                        <a:pt x="24" y="12"/>
                      </a:lnTo>
                      <a:lnTo>
                        <a:pt x="24" y="12"/>
                      </a:lnTo>
                      <a:lnTo>
                        <a:pt x="26" y="9"/>
                      </a:lnTo>
                      <a:lnTo>
                        <a:pt x="29" y="12"/>
                      </a:lnTo>
                      <a:lnTo>
                        <a:pt x="31" y="9"/>
                      </a:lnTo>
                      <a:lnTo>
                        <a:pt x="31" y="9"/>
                      </a:lnTo>
                      <a:lnTo>
                        <a:pt x="31" y="7"/>
                      </a:lnTo>
                      <a:lnTo>
                        <a:pt x="33" y="7"/>
                      </a:lnTo>
                      <a:lnTo>
                        <a:pt x="33" y="5"/>
                      </a:lnTo>
                      <a:lnTo>
                        <a:pt x="36" y="5"/>
                      </a:lnTo>
                      <a:lnTo>
                        <a:pt x="38" y="2"/>
                      </a:lnTo>
                      <a:lnTo>
                        <a:pt x="38" y="2"/>
                      </a:lnTo>
                      <a:lnTo>
                        <a:pt x="40" y="2"/>
                      </a:lnTo>
                      <a:lnTo>
                        <a:pt x="43" y="2"/>
                      </a:lnTo>
                      <a:lnTo>
                        <a:pt x="43" y="2"/>
                      </a:lnTo>
                      <a:lnTo>
                        <a:pt x="43" y="2"/>
                      </a:lnTo>
                      <a:lnTo>
                        <a:pt x="45" y="5"/>
                      </a:lnTo>
                      <a:lnTo>
                        <a:pt x="45" y="5"/>
                      </a:lnTo>
                      <a:lnTo>
                        <a:pt x="45" y="7"/>
                      </a:lnTo>
                      <a:lnTo>
                        <a:pt x="45" y="7"/>
                      </a:lnTo>
                      <a:lnTo>
                        <a:pt x="48" y="9"/>
                      </a:lnTo>
                      <a:lnTo>
                        <a:pt x="43" y="12"/>
                      </a:lnTo>
                      <a:lnTo>
                        <a:pt x="48" y="14"/>
                      </a:lnTo>
                      <a:lnTo>
                        <a:pt x="50" y="17"/>
                      </a:lnTo>
                      <a:lnTo>
                        <a:pt x="50" y="17"/>
                      </a:lnTo>
                      <a:lnTo>
                        <a:pt x="52" y="17"/>
                      </a:lnTo>
                      <a:lnTo>
                        <a:pt x="52" y="17"/>
                      </a:lnTo>
                      <a:lnTo>
                        <a:pt x="52" y="17"/>
                      </a:lnTo>
                      <a:lnTo>
                        <a:pt x="55" y="19"/>
                      </a:lnTo>
                      <a:lnTo>
                        <a:pt x="55" y="21"/>
                      </a:lnTo>
                      <a:lnTo>
                        <a:pt x="55" y="24"/>
                      </a:lnTo>
                      <a:lnTo>
                        <a:pt x="55" y="26"/>
                      </a:lnTo>
                      <a:lnTo>
                        <a:pt x="57" y="26"/>
                      </a:lnTo>
                      <a:lnTo>
                        <a:pt x="59" y="28"/>
                      </a:lnTo>
                      <a:lnTo>
                        <a:pt x="62" y="28"/>
                      </a:lnTo>
                      <a:lnTo>
                        <a:pt x="64" y="28"/>
                      </a:lnTo>
                      <a:lnTo>
                        <a:pt x="66" y="26"/>
                      </a:lnTo>
                      <a:lnTo>
                        <a:pt x="69" y="28"/>
                      </a:lnTo>
                      <a:lnTo>
                        <a:pt x="71" y="28"/>
                      </a:lnTo>
                      <a:lnTo>
                        <a:pt x="71" y="31"/>
                      </a:lnTo>
                      <a:lnTo>
                        <a:pt x="74" y="33"/>
                      </a:lnTo>
                      <a:lnTo>
                        <a:pt x="78" y="35"/>
                      </a:lnTo>
                      <a:lnTo>
                        <a:pt x="81" y="35"/>
                      </a:lnTo>
                      <a:lnTo>
                        <a:pt x="88" y="38"/>
                      </a:lnTo>
                      <a:lnTo>
                        <a:pt x="93" y="38"/>
                      </a:lnTo>
                      <a:lnTo>
                        <a:pt x="100" y="35"/>
                      </a:lnTo>
                      <a:lnTo>
                        <a:pt x="104" y="33"/>
                      </a:lnTo>
                      <a:lnTo>
                        <a:pt x="111" y="35"/>
                      </a:lnTo>
                      <a:lnTo>
                        <a:pt x="114" y="35"/>
                      </a:lnTo>
                      <a:lnTo>
                        <a:pt x="114" y="33"/>
                      </a:lnTo>
                      <a:lnTo>
                        <a:pt x="114" y="31"/>
                      </a:lnTo>
                      <a:lnTo>
                        <a:pt x="111" y="28"/>
                      </a:lnTo>
                      <a:lnTo>
                        <a:pt x="114" y="26"/>
                      </a:lnTo>
                      <a:lnTo>
                        <a:pt x="119" y="26"/>
                      </a:lnTo>
                      <a:lnTo>
                        <a:pt x="121" y="24"/>
                      </a:lnTo>
                      <a:lnTo>
                        <a:pt x="123" y="21"/>
                      </a:lnTo>
                      <a:lnTo>
                        <a:pt x="123" y="21"/>
                      </a:lnTo>
                      <a:lnTo>
                        <a:pt x="128" y="19"/>
                      </a:lnTo>
                      <a:lnTo>
                        <a:pt x="133" y="17"/>
                      </a:lnTo>
                      <a:lnTo>
                        <a:pt x="137" y="19"/>
                      </a:lnTo>
                      <a:lnTo>
                        <a:pt x="137" y="17"/>
                      </a:lnTo>
                      <a:lnTo>
                        <a:pt x="140" y="14"/>
                      </a:lnTo>
                      <a:lnTo>
                        <a:pt x="142" y="17"/>
                      </a:lnTo>
                      <a:lnTo>
                        <a:pt x="145" y="17"/>
                      </a:lnTo>
                      <a:lnTo>
                        <a:pt x="149" y="19"/>
                      </a:lnTo>
                      <a:lnTo>
                        <a:pt x="154" y="19"/>
                      </a:lnTo>
                      <a:lnTo>
                        <a:pt x="159" y="24"/>
                      </a:lnTo>
                      <a:lnTo>
                        <a:pt x="161" y="24"/>
                      </a:lnTo>
                      <a:lnTo>
                        <a:pt x="163" y="21"/>
                      </a:lnTo>
                      <a:lnTo>
                        <a:pt x="168" y="24"/>
                      </a:lnTo>
                      <a:lnTo>
                        <a:pt x="171" y="24"/>
                      </a:lnTo>
                      <a:lnTo>
                        <a:pt x="171" y="28"/>
                      </a:lnTo>
                      <a:lnTo>
                        <a:pt x="173" y="28"/>
                      </a:lnTo>
                      <a:lnTo>
                        <a:pt x="175" y="28"/>
                      </a:lnTo>
                      <a:lnTo>
                        <a:pt x="178" y="28"/>
                      </a:lnTo>
                      <a:lnTo>
                        <a:pt x="182" y="33"/>
                      </a:lnTo>
                      <a:lnTo>
                        <a:pt x="187" y="35"/>
                      </a:lnTo>
                      <a:lnTo>
                        <a:pt x="192" y="35"/>
                      </a:lnTo>
                      <a:lnTo>
                        <a:pt x="192" y="38"/>
                      </a:lnTo>
                      <a:lnTo>
                        <a:pt x="192" y="40"/>
                      </a:lnTo>
                      <a:lnTo>
                        <a:pt x="192" y="43"/>
                      </a:lnTo>
                      <a:lnTo>
                        <a:pt x="192" y="45"/>
                      </a:lnTo>
                      <a:lnTo>
                        <a:pt x="194" y="45"/>
                      </a:lnTo>
                      <a:lnTo>
                        <a:pt x="194" y="50"/>
                      </a:lnTo>
                      <a:lnTo>
                        <a:pt x="194" y="50"/>
                      </a:lnTo>
                      <a:lnTo>
                        <a:pt x="194" y="52"/>
                      </a:lnTo>
                      <a:lnTo>
                        <a:pt x="194" y="54"/>
                      </a:lnTo>
                      <a:lnTo>
                        <a:pt x="194" y="54"/>
                      </a:lnTo>
                      <a:lnTo>
                        <a:pt x="194" y="54"/>
                      </a:lnTo>
                      <a:lnTo>
                        <a:pt x="192" y="57"/>
                      </a:lnTo>
                      <a:lnTo>
                        <a:pt x="190" y="57"/>
                      </a:lnTo>
                      <a:lnTo>
                        <a:pt x="190" y="59"/>
                      </a:lnTo>
                      <a:lnTo>
                        <a:pt x="192" y="62"/>
                      </a:lnTo>
                      <a:lnTo>
                        <a:pt x="190" y="64"/>
                      </a:lnTo>
                      <a:lnTo>
                        <a:pt x="190" y="64"/>
                      </a:lnTo>
                      <a:lnTo>
                        <a:pt x="192" y="66"/>
                      </a:lnTo>
                      <a:lnTo>
                        <a:pt x="192" y="69"/>
                      </a:lnTo>
                      <a:lnTo>
                        <a:pt x="194" y="71"/>
                      </a:lnTo>
                      <a:lnTo>
                        <a:pt x="197" y="71"/>
                      </a:lnTo>
                      <a:lnTo>
                        <a:pt x="192" y="73"/>
                      </a:lnTo>
                      <a:lnTo>
                        <a:pt x="192" y="76"/>
                      </a:lnTo>
                      <a:lnTo>
                        <a:pt x="194" y="83"/>
                      </a:lnTo>
                      <a:lnTo>
                        <a:pt x="197" y="88"/>
                      </a:lnTo>
                      <a:lnTo>
                        <a:pt x="194" y="88"/>
                      </a:lnTo>
                      <a:lnTo>
                        <a:pt x="197" y="90"/>
                      </a:lnTo>
                      <a:lnTo>
                        <a:pt x="197" y="95"/>
                      </a:lnTo>
                      <a:lnTo>
                        <a:pt x="206" y="95"/>
                      </a:lnTo>
                      <a:lnTo>
                        <a:pt x="208" y="97"/>
                      </a:lnTo>
                      <a:lnTo>
                        <a:pt x="208" y="99"/>
                      </a:lnTo>
                      <a:lnTo>
                        <a:pt x="208" y="104"/>
                      </a:lnTo>
                      <a:lnTo>
                        <a:pt x="208" y="107"/>
                      </a:lnTo>
                      <a:lnTo>
                        <a:pt x="199" y="116"/>
                      </a:lnTo>
                      <a:lnTo>
                        <a:pt x="206" y="123"/>
                      </a:lnTo>
                      <a:lnTo>
                        <a:pt x="206" y="126"/>
                      </a:lnTo>
                      <a:lnTo>
                        <a:pt x="211" y="128"/>
                      </a:lnTo>
                      <a:lnTo>
                        <a:pt x="213" y="130"/>
                      </a:lnTo>
                      <a:lnTo>
                        <a:pt x="213" y="130"/>
                      </a:lnTo>
                      <a:lnTo>
                        <a:pt x="218" y="130"/>
                      </a:lnTo>
                      <a:lnTo>
                        <a:pt x="220" y="133"/>
                      </a:lnTo>
                      <a:lnTo>
                        <a:pt x="220" y="133"/>
                      </a:lnTo>
                      <a:lnTo>
                        <a:pt x="223" y="133"/>
                      </a:lnTo>
                      <a:lnTo>
                        <a:pt x="223" y="137"/>
                      </a:lnTo>
                      <a:lnTo>
                        <a:pt x="225" y="140"/>
                      </a:lnTo>
                      <a:lnTo>
                        <a:pt x="225" y="142"/>
                      </a:lnTo>
                      <a:lnTo>
                        <a:pt x="225" y="145"/>
                      </a:lnTo>
                      <a:lnTo>
                        <a:pt x="227" y="145"/>
                      </a:lnTo>
                      <a:lnTo>
                        <a:pt x="230" y="145"/>
                      </a:lnTo>
                      <a:lnTo>
                        <a:pt x="232" y="149"/>
                      </a:lnTo>
                      <a:lnTo>
                        <a:pt x="230" y="152"/>
                      </a:lnTo>
                      <a:lnTo>
                        <a:pt x="227" y="149"/>
                      </a:lnTo>
                      <a:lnTo>
                        <a:pt x="220" y="152"/>
                      </a:lnTo>
                      <a:lnTo>
                        <a:pt x="220" y="152"/>
                      </a:lnTo>
                      <a:lnTo>
                        <a:pt x="216" y="154"/>
                      </a:lnTo>
                      <a:lnTo>
                        <a:pt x="216" y="156"/>
                      </a:lnTo>
                      <a:lnTo>
                        <a:pt x="216" y="156"/>
                      </a:lnTo>
                      <a:lnTo>
                        <a:pt x="213" y="159"/>
                      </a:lnTo>
                      <a:lnTo>
                        <a:pt x="216" y="161"/>
                      </a:lnTo>
                      <a:lnTo>
                        <a:pt x="216" y="166"/>
                      </a:lnTo>
                      <a:lnTo>
                        <a:pt x="216" y="168"/>
                      </a:lnTo>
                      <a:lnTo>
                        <a:pt x="213" y="168"/>
                      </a:lnTo>
                      <a:lnTo>
                        <a:pt x="213" y="168"/>
                      </a:lnTo>
                      <a:lnTo>
                        <a:pt x="211" y="168"/>
                      </a:lnTo>
                      <a:lnTo>
                        <a:pt x="208" y="168"/>
                      </a:lnTo>
                      <a:lnTo>
                        <a:pt x="206" y="166"/>
                      </a:lnTo>
                      <a:lnTo>
                        <a:pt x="204" y="166"/>
                      </a:lnTo>
                      <a:lnTo>
                        <a:pt x="204" y="166"/>
                      </a:lnTo>
                      <a:lnTo>
                        <a:pt x="201" y="166"/>
                      </a:lnTo>
                      <a:lnTo>
                        <a:pt x="201" y="166"/>
                      </a:lnTo>
                      <a:lnTo>
                        <a:pt x="199" y="166"/>
                      </a:lnTo>
                      <a:lnTo>
                        <a:pt x="199" y="166"/>
                      </a:lnTo>
                      <a:lnTo>
                        <a:pt x="197" y="166"/>
                      </a:lnTo>
                      <a:lnTo>
                        <a:pt x="192" y="166"/>
                      </a:lnTo>
                      <a:lnTo>
                        <a:pt x="190" y="163"/>
                      </a:lnTo>
                      <a:lnTo>
                        <a:pt x="182" y="163"/>
                      </a:lnTo>
                      <a:lnTo>
                        <a:pt x="180" y="161"/>
                      </a:lnTo>
                      <a:lnTo>
                        <a:pt x="178" y="161"/>
                      </a:lnTo>
                      <a:lnTo>
                        <a:pt x="175" y="163"/>
                      </a:lnTo>
                      <a:lnTo>
                        <a:pt x="173" y="161"/>
                      </a:lnTo>
                      <a:lnTo>
                        <a:pt x="171" y="161"/>
                      </a:lnTo>
                      <a:lnTo>
                        <a:pt x="166" y="163"/>
                      </a:lnTo>
                      <a:lnTo>
                        <a:pt x="163" y="161"/>
                      </a:lnTo>
                      <a:lnTo>
                        <a:pt x="163" y="161"/>
                      </a:lnTo>
                      <a:lnTo>
                        <a:pt x="163" y="159"/>
                      </a:lnTo>
                      <a:lnTo>
                        <a:pt x="161" y="154"/>
                      </a:lnTo>
                      <a:lnTo>
                        <a:pt x="159" y="149"/>
                      </a:lnTo>
                      <a:lnTo>
                        <a:pt x="159" y="147"/>
                      </a:lnTo>
                      <a:lnTo>
                        <a:pt x="156" y="147"/>
                      </a:lnTo>
                      <a:lnTo>
                        <a:pt x="156" y="147"/>
                      </a:lnTo>
                      <a:lnTo>
                        <a:pt x="156" y="147"/>
                      </a:lnTo>
                      <a:lnTo>
                        <a:pt x="152" y="145"/>
                      </a:lnTo>
                      <a:lnTo>
                        <a:pt x="149" y="147"/>
                      </a:lnTo>
                      <a:lnTo>
                        <a:pt x="147" y="147"/>
                      </a:lnTo>
                      <a:lnTo>
                        <a:pt x="145" y="149"/>
                      </a:lnTo>
                      <a:lnTo>
                        <a:pt x="145" y="147"/>
                      </a:lnTo>
                      <a:lnTo>
                        <a:pt x="145" y="149"/>
                      </a:lnTo>
                      <a:lnTo>
                        <a:pt x="140" y="152"/>
                      </a:lnTo>
                      <a:lnTo>
                        <a:pt x="135" y="154"/>
                      </a:lnTo>
                      <a:lnTo>
                        <a:pt x="130" y="152"/>
                      </a:lnTo>
                      <a:lnTo>
                        <a:pt x="128" y="149"/>
                      </a:lnTo>
                      <a:lnTo>
                        <a:pt x="126" y="152"/>
                      </a:lnTo>
                      <a:lnTo>
                        <a:pt x="123" y="152"/>
                      </a:lnTo>
                      <a:lnTo>
                        <a:pt x="121" y="149"/>
                      </a:lnTo>
                      <a:lnTo>
                        <a:pt x="119" y="147"/>
                      </a:lnTo>
                      <a:lnTo>
                        <a:pt x="116" y="147"/>
                      </a:lnTo>
                      <a:lnTo>
                        <a:pt x="114" y="147"/>
                      </a:lnTo>
                      <a:lnTo>
                        <a:pt x="109" y="142"/>
                      </a:lnTo>
                      <a:lnTo>
                        <a:pt x="111" y="142"/>
                      </a:lnTo>
                      <a:lnTo>
                        <a:pt x="111" y="142"/>
                      </a:lnTo>
                      <a:lnTo>
                        <a:pt x="109" y="140"/>
                      </a:lnTo>
                      <a:lnTo>
                        <a:pt x="109" y="140"/>
                      </a:lnTo>
                      <a:lnTo>
                        <a:pt x="104" y="140"/>
                      </a:lnTo>
                      <a:lnTo>
                        <a:pt x="104" y="140"/>
                      </a:lnTo>
                      <a:lnTo>
                        <a:pt x="102" y="137"/>
                      </a:lnTo>
                      <a:lnTo>
                        <a:pt x="97" y="137"/>
                      </a:lnTo>
                      <a:lnTo>
                        <a:pt x="95" y="137"/>
                      </a:lnTo>
                      <a:lnTo>
                        <a:pt x="90" y="130"/>
                      </a:lnTo>
                      <a:lnTo>
                        <a:pt x="90" y="128"/>
                      </a:lnTo>
                      <a:lnTo>
                        <a:pt x="90" y="128"/>
                      </a:lnTo>
                      <a:lnTo>
                        <a:pt x="88" y="128"/>
                      </a:lnTo>
                      <a:lnTo>
                        <a:pt x="88" y="128"/>
                      </a:lnTo>
                      <a:lnTo>
                        <a:pt x="88" y="128"/>
                      </a:lnTo>
                      <a:lnTo>
                        <a:pt x="90" y="128"/>
                      </a:lnTo>
                      <a:lnTo>
                        <a:pt x="88" y="126"/>
                      </a:lnTo>
                      <a:lnTo>
                        <a:pt x="88" y="126"/>
                      </a:lnTo>
                      <a:lnTo>
                        <a:pt x="85" y="126"/>
                      </a:lnTo>
                      <a:lnTo>
                        <a:pt x="85" y="121"/>
                      </a:lnTo>
                      <a:lnTo>
                        <a:pt x="81" y="118"/>
                      </a:lnTo>
                      <a:lnTo>
                        <a:pt x="81" y="116"/>
                      </a:lnTo>
                      <a:lnTo>
                        <a:pt x="78" y="114"/>
                      </a:lnTo>
                      <a:lnTo>
                        <a:pt x="78" y="111"/>
                      </a:lnTo>
                      <a:lnTo>
                        <a:pt x="74" y="114"/>
                      </a:lnTo>
                      <a:lnTo>
                        <a:pt x="74" y="114"/>
                      </a:lnTo>
                      <a:lnTo>
                        <a:pt x="71" y="114"/>
                      </a:lnTo>
                      <a:lnTo>
                        <a:pt x="71" y="114"/>
                      </a:lnTo>
                      <a:lnTo>
                        <a:pt x="69" y="111"/>
                      </a:lnTo>
                      <a:lnTo>
                        <a:pt x="69" y="111"/>
                      </a:lnTo>
                      <a:lnTo>
                        <a:pt x="69" y="109"/>
                      </a:lnTo>
                      <a:lnTo>
                        <a:pt x="69" y="111"/>
                      </a:lnTo>
                      <a:lnTo>
                        <a:pt x="66" y="111"/>
                      </a:lnTo>
                      <a:lnTo>
                        <a:pt x="64" y="111"/>
                      </a:lnTo>
                      <a:lnTo>
                        <a:pt x="66" y="111"/>
                      </a:lnTo>
                      <a:lnTo>
                        <a:pt x="66" y="114"/>
                      </a:lnTo>
                      <a:lnTo>
                        <a:pt x="66" y="114"/>
                      </a:lnTo>
                      <a:lnTo>
                        <a:pt x="64" y="114"/>
                      </a:lnTo>
                      <a:lnTo>
                        <a:pt x="62" y="111"/>
                      </a:lnTo>
                      <a:lnTo>
                        <a:pt x="62" y="111"/>
                      </a:lnTo>
                      <a:lnTo>
                        <a:pt x="62" y="111"/>
                      </a:lnTo>
                      <a:lnTo>
                        <a:pt x="62" y="111"/>
                      </a:lnTo>
                      <a:lnTo>
                        <a:pt x="59" y="111"/>
                      </a:lnTo>
                      <a:lnTo>
                        <a:pt x="57" y="109"/>
                      </a:lnTo>
                      <a:lnTo>
                        <a:pt x="55" y="104"/>
                      </a:lnTo>
                      <a:lnTo>
                        <a:pt x="52" y="104"/>
                      </a:lnTo>
                      <a:lnTo>
                        <a:pt x="52" y="99"/>
                      </a:lnTo>
                      <a:lnTo>
                        <a:pt x="52" y="97"/>
                      </a:lnTo>
                      <a:lnTo>
                        <a:pt x="55" y="95"/>
                      </a:lnTo>
                      <a:lnTo>
                        <a:pt x="52" y="90"/>
                      </a:lnTo>
                      <a:lnTo>
                        <a:pt x="50" y="90"/>
                      </a:lnTo>
                      <a:lnTo>
                        <a:pt x="48" y="85"/>
                      </a:lnTo>
                      <a:lnTo>
                        <a:pt x="45" y="85"/>
                      </a:lnTo>
                      <a:lnTo>
                        <a:pt x="45" y="85"/>
                      </a:lnTo>
                      <a:lnTo>
                        <a:pt x="36" y="81"/>
                      </a:lnTo>
                      <a:lnTo>
                        <a:pt x="33" y="81"/>
                      </a:lnTo>
                      <a:lnTo>
                        <a:pt x="33" y="81"/>
                      </a:lnTo>
                      <a:lnTo>
                        <a:pt x="31" y="81"/>
                      </a:lnTo>
                      <a:lnTo>
                        <a:pt x="31" y="78"/>
                      </a:lnTo>
                      <a:lnTo>
                        <a:pt x="31" y="78"/>
                      </a:lnTo>
                      <a:lnTo>
                        <a:pt x="31" y="76"/>
                      </a:lnTo>
                      <a:lnTo>
                        <a:pt x="29" y="73"/>
                      </a:lnTo>
                      <a:lnTo>
                        <a:pt x="29" y="73"/>
                      </a:lnTo>
                      <a:lnTo>
                        <a:pt x="26" y="71"/>
                      </a:lnTo>
                      <a:lnTo>
                        <a:pt x="24" y="71"/>
                      </a:lnTo>
                      <a:lnTo>
                        <a:pt x="24" y="71"/>
                      </a:lnTo>
                      <a:lnTo>
                        <a:pt x="24" y="69"/>
                      </a:lnTo>
                      <a:lnTo>
                        <a:pt x="24" y="69"/>
                      </a:lnTo>
                      <a:lnTo>
                        <a:pt x="24" y="66"/>
                      </a:lnTo>
                      <a:lnTo>
                        <a:pt x="24" y="66"/>
                      </a:lnTo>
                      <a:lnTo>
                        <a:pt x="24" y="62"/>
                      </a:lnTo>
                      <a:lnTo>
                        <a:pt x="26" y="62"/>
                      </a:lnTo>
                      <a:lnTo>
                        <a:pt x="26" y="57"/>
                      </a:lnTo>
                      <a:lnTo>
                        <a:pt x="26" y="57"/>
                      </a:lnTo>
                      <a:lnTo>
                        <a:pt x="29" y="57"/>
                      </a:lnTo>
                      <a:lnTo>
                        <a:pt x="29" y="54"/>
                      </a:lnTo>
                      <a:lnTo>
                        <a:pt x="29" y="52"/>
                      </a:lnTo>
                      <a:lnTo>
                        <a:pt x="29" y="50"/>
                      </a:lnTo>
                      <a:lnTo>
                        <a:pt x="29" y="50"/>
                      </a:lnTo>
                      <a:lnTo>
                        <a:pt x="31" y="50"/>
                      </a:lnTo>
                      <a:lnTo>
                        <a:pt x="31" y="50"/>
                      </a:lnTo>
                      <a:lnTo>
                        <a:pt x="31" y="47"/>
                      </a:lnTo>
                      <a:lnTo>
                        <a:pt x="29" y="47"/>
                      </a:lnTo>
                      <a:lnTo>
                        <a:pt x="26" y="47"/>
                      </a:lnTo>
                      <a:lnTo>
                        <a:pt x="24" y="47"/>
                      </a:lnTo>
                      <a:lnTo>
                        <a:pt x="22" y="45"/>
                      </a:lnTo>
                      <a:lnTo>
                        <a:pt x="19" y="45"/>
                      </a:lnTo>
                      <a:lnTo>
                        <a:pt x="17" y="45"/>
                      </a:lnTo>
                      <a:lnTo>
                        <a:pt x="17" y="43"/>
                      </a:lnTo>
                      <a:lnTo>
                        <a:pt x="14" y="40"/>
                      </a:lnTo>
                      <a:lnTo>
                        <a:pt x="14" y="40"/>
                      </a:lnTo>
                      <a:lnTo>
                        <a:pt x="12" y="38"/>
                      </a:lnTo>
                      <a:lnTo>
                        <a:pt x="12" y="35"/>
                      </a:lnTo>
                      <a:lnTo>
                        <a:pt x="12" y="33"/>
                      </a:lnTo>
                      <a:lnTo>
                        <a:pt x="10" y="33"/>
                      </a:lnTo>
                      <a:lnTo>
                        <a:pt x="10" y="33"/>
                      </a:lnTo>
                      <a:lnTo>
                        <a:pt x="10" y="31"/>
                      </a:lnTo>
                      <a:lnTo>
                        <a:pt x="10" y="28"/>
                      </a:lnTo>
                      <a:lnTo>
                        <a:pt x="7" y="26"/>
                      </a:lnTo>
                      <a:lnTo>
                        <a:pt x="3" y="24"/>
                      </a:lnTo>
                      <a:lnTo>
                        <a:pt x="3" y="24"/>
                      </a:lnTo>
                      <a:lnTo>
                        <a:pt x="3" y="21"/>
                      </a:lnTo>
                      <a:lnTo>
                        <a:pt x="5" y="17"/>
                      </a:lnTo>
                      <a:lnTo>
                        <a:pt x="5" y="17"/>
                      </a:lnTo>
                      <a:lnTo>
                        <a:pt x="3" y="17"/>
                      </a:lnTo>
                      <a:lnTo>
                        <a:pt x="0" y="12"/>
                      </a:lnTo>
                      <a:lnTo>
                        <a:pt x="3" y="12"/>
                      </a:lnTo>
                      <a:lnTo>
                        <a:pt x="0" y="7"/>
                      </a:lnTo>
                      <a:lnTo>
                        <a:pt x="0" y="5"/>
                      </a:lnTo>
                      <a:lnTo>
                        <a:pt x="0" y="5"/>
                      </a:lnTo>
                      <a:lnTo>
                        <a:pt x="3" y="5"/>
                      </a:lnTo>
                      <a:lnTo>
                        <a:pt x="3" y="0"/>
                      </a:lnTo>
                      <a:lnTo>
                        <a:pt x="5" y="0"/>
                      </a:lnTo>
                      <a:lnTo>
                        <a:pt x="5" y="0"/>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8" name="Freeform 83">
                  <a:extLst>
                    <a:ext uri="{FF2B5EF4-FFF2-40B4-BE49-F238E27FC236}">
                      <a16:creationId xmlns:a16="http://schemas.microsoft.com/office/drawing/2014/main" id="{E5E4B543-7B5D-987A-515C-41A891E6DFC3}"/>
                    </a:ext>
                  </a:extLst>
                </p:cNvPr>
                <p:cNvSpPr>
                  <a:spLocks/>
                </p:cNvSpPr>
                <p:nvPr/>
              </p:nvSpPr>
              <p:spPr bwMode="auto">
                <a:xfrm>
                  <a:off x="3115" y="2145"/>
                  <a:ext cx="41" cy="33"/>
                </a:xfrm>
                <a:custGeom>
                  <a:avLst/>
                  <a:gdLst>
                    <a:gd name="T0" fmla="*/ 0 w 41"/>
                    <a:gd name="T1" fmla="*/ 2 h 33"/>
                    <a:gd name="T2" fmla="*/ 3 w 41"/>
                    <a:gd name="T3" fmla="*/ 2 h 33"/>
                    <a:gd name="T4" fmla="*/ 7 w 41"/>
                    <a:gd name="T5" fmla="*/ 0 h 33"/>
                    <a:gd name="T6" fmla="*/ 10 w 41"/>
                    <a:gd name="T7" fmla="*/ 2 h 33"/>
                    <a:gd name="T8" fmla="*/ 17 w 41"/>
                    <a:gd name="T9" fmla="*/ 0 h 33"/>
                    <a:gd name="T10" fmla="*/ 19 w 41"/>
                    <a:gd name="T11" fmla="*/ 2 h 33"/>
                    <a:gd name="T12" fmla="*/ 24 w 41"/>
                    <a:gd name="T13" fmla="*/ 4 h 33"/>
                    <a:gd name="T14" fmla="*/ 26 w 41"/>
                    <a:gd name="T15" fmla="*/ 7 h 33"/>
                    <a:gd name="T16" fmla="*/ 24 w 41"/>
                    <a:gd name="T17" fmla="*/ 9 h 33"/>
                    <a:gd name="T18" fmla="*/ 24 w 41"/>
                    <a:gd name="T19" fmla="*/ 9 h 33"/>
                    <a:gd name="T20" fmla="*/ 29 w 41"/>
                    <a:gd name="T21" fmla="*/ 14 h 33"/>
                    <a:gd name="T22" fmla="*/ 29 w 41"/>
                    <a:gd name="T23" fmla="*/ 16 h 33"/>
                    <a:gd name="T24" fmla="*/ 29 w 41"/>
                    <a:gd name="T25" fmla="*/ 16 h 33"/>
                    <a:gd name="T26" fmla="*/ 29 w 41"/>
                    <a:gd name="T27" fmla="*/ 21 h 33"/>
                    <a:gd name="T28" fmla="*/ 36 w 41"/>
                    <a:gd name="T29" fmla="*/ 23 h 33"/>
                    <a:gd name="T30" fmla="*/ 38 w 41"/>
                    <a:gd name="T31" fmla="*/ 23 h 33"/>
                    <a:gd name="T32" fmla="*/ 41 w 41"/>
                    <a:gd name="T33" fmla="*/ 26 h 33"/>
                    <a:gd name="T34" fmla="*/ 38 w 41"/>
                    <a:gd name="T35" fmla="*/ 26 h 33"/>
                    <a:gd name="T36" fmla="*/ 41 w 41"/>
                    <a:gd name="T37" fmla="*/ 28 h 33"/>
                    <a:gd name="T38" fmla="*/ 38 w 41"/>
                    <a:gd name="T39" fmla="*/ 28 h 33"/>
                    <a:gd name="T40" fmla="*/ 38 w 41"/>
                    <a:gd name="T41" fmla="*/ 30 h 33"/>
                    <a:gd name="T42" fmla="*/ 36 w 41"/>
                    <a:gd name="T43" fmla="*/ 33 h 33"/>
                    <a:gd name="T44" fmla="*/ 31 w 41"/>
                    <a:gd name="T45" fmla="*/ 26 h 33"/>
                    <a:gd name="T46" fmla="*/ 29 w 41"/>
                    <a:gd name="T47" fmla="*/ 23 h 33"/>
                    <a:gd name="T48" fmla="*/ 26 w 41"/>
                    <a:gd name="T49" fmla="*/ 21 h 33"/>
                    <a:gd name="T50" fmla="*/ 24 w 41"/>
                    <a:gd name="T51" fmla="*/ 21 h 33"/>
                    <a:gd name="T52" fmla="*/ 24 w 41"/>
                    <a:gd name="T53" fmla="*/ 21 h 33"/>
                    <a:gd name="T54" fmla="*/ 19 w 41"/>
                    <a:gd name="T55" fmla="*/ 19 h 33"/>
                    <a:gd name="T56" fmla="*/ 19 w 41"/>
                    <a:gd name="T57" fmla="*/ 21 h 33"/>
                    <a:gd name="T58" fmla="*/ 17 w 41"/>
                    <a:gd name="T59" fmla="*/ 21 h 33"/>
                    <a:gd name="T60" fmla="*/ 15 w 41"/>
                    <a:gd name="T61" fmla="*/ 19 h 33"/>
                    <a:gd name="T62" fmla="*/ 15 w 41"/>
                    <a:gd name="T63" fmla="*/ 16 h 33"/>
                    <a:gd name="T64" fmla="*/ 12 w 41"/>
                    <a:gd name="T65" fmla="*/ 19 h 33"/>
                    <a:gd name="T66" fmla="*/ 7 w 41"/>
                    <a:gd name="T67" fmla="*/ 16 h 33"/>
                    <a:gd name="T68" fmla="*/ 5 w 41"/>
                    <a:gd name="T69" fmla="*/ 16 h 33"/>
                    <a:gd name="T70" fmla="*/ 5 w 41"/>
                    <a:gd name="T71" fmla="*/ 11 h 33"/>
                    <a:gd name="T72" fmla="*/ 5 w 41"/>
                    <a:gd name="T73" fmla="*/ 9 h 33"/>
                    <a:gd name="T74" fmla="*/ 5 w 41"/>
                    <a:gd name="T75" fmla="*/ 7 h 33"/>
                    <a:gd name="T76" fmla="*/ 3 w 41"/>
                    <a:gd name="T77" fmla="*/ 7 h 33"/>
                    <a:gd name="T78" fmla="*/ 3 w 41"/>
                    <a:gd name="T79" fmla="*/ 4 h 33"/>
                    <a:gd name="T80" fmla="*/ 0 w 41"/>
                    <a:gd name="T81" fmla="*/ 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1" h="33">
                      <a:moveTo>
                        <a:pt x="0" y="2"/>
                      </a:moveTo>
                      <a:lnTo>
                        <a:pt x="3" y="2"/>
                      </a:lnTo>
                      <a:lnTo>
                        <a:pt x="7" y="0"/>
                      </a:lnTo>
                      <a:lnTo>
                        <a:pt x="10" y="2"/>
                      </a:lnTo>
                      <a:lnTo>
                        <a:pt x="17" y="0"/>
                      </a:lnTo>
                      <a:lnTo>
                        <a:pt x="19" y="2"/>
                      </a:lnTo>
                      <a:lnTo>
                        <a:pt x="24" y="4"/>
                      </a:lnTo>
                      <a:lnTo>
                        <a:pt x="26" y="7"/>
                      </a:lnTo>
                      <a:lnTo>
                        <a:pt x="24" y="9"/>
                      </a:lnTo>
                      <a:lnTo>
                        <a:pt x="24" y="9"/>
                      </a:lnTo>
                      <a:lnTo>
                        <a:pt x="29" y="14"/>
                      </a:lnTo>
                      <a:lnTo>
                        <a:pt x="29" y="16"/>
                      </a:lnTo>
                      <a:lnTo>
                        <a:pt x="29" y="16"/>
                      </a:lnTo>
                      <a:lnTo>
                        <a:pt x="29" y="21"/>
                      </a:lnTo>
                      <a:lnTo>
                        <a:pt x="36" y="23"/>
                      </a:lnTo>
                      <a:lnTo>
                        <a:pt x="38" y="23"/>
                      </a:lnTo>
                      <a:lnTo>
                        <a:pt x="41" y="26"/>
                      </a:lnTo>
                      <a:lnTo>
                        <a:pt x="38" y="26"/>
                      </a:lnTo>
                      <a:lnTo>
                        <a:pt x="41" y="28"/>
                      </a:lnTo>
                      <a:lnTo>
                        <a:pt x="38" y="28"/>
                      </a:lnTo>
                      <a:lnTo>
                        <a:pt x="38" y="30"/>
                      </a:lnTo>
                      <a:lnTo>
                        <a:pt x="36" y="33"/>
                      </a:lnTo>
                      <a:lnTo>
                        <a:pt x="31" y="26"/>
                      </a:lnTo>
                      <a:lnTo>
                        <a:pt x="29" y="23"/>
                      </a:lnTo>
                      <a:lnTo>
                        <a:pt x="26" y="21"/>
                      </a:lnTo>
                      <a:lnTo>
                        <a:pt x="24" y="21"/>
                      </a:lnTo>
                      <a:lnTo>
                        <a:pt x="24" y="21"/>
                      </a:lnTo>
                      <a:lnTo>
                        <a:pt x="19" y="19"/>
                      </a:lnTo>
                      <a:lnTo>
                        <a:pt x="19" y="21"/>
                      </a:lnTo>
                      <a:lnTo>
                        <a:pt x="17" y="21"/>
                      </a:lnTo>
                      <a:lnTo>
                        <a:pt x="15" y="19"/>
                      </a:lnTo>
                      <a:lnTo>
                        <a:pt x="15" y="16"/>
                      </a:lnTo>
                      <a:lnTo>
                        <a:pt x="12" y="19"/>
                      </a:lnTo>
                      <a:lnTo>
                        <a:pt x="7" y="16"/>
                      </a:lnTo>
                      <a:lnTo>
                        <a:pt x="5" y="16"/>
                      </a:lnTo>
                      <a:lnTo>
                        <a:pt x="5" y="11"/>
                      </a:lnTo>
                      <a:lnTo>
                        <a:pt x="5" y="9"/>
                      </a:lnTo>
                      <a:lnTo>
                        <a:pt x="5" y="7"/>
                      </a:lnTo>
                      <a:lnTo>
                        <a:pt x="3" y="7"/>
                      </a:lnTo>
                      <a:lnTo>
                        <a:pt x="3" y="4"/>
                      </a:lnTo>
                      <a:lnTo>
                        <a:pt x="0" y="2"/>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9" name="Freeform 84">
                  <a:extLst>
                    <a:ext uri="{FF2B5EF4-FFF2-40B4-BE49-F238E27FC236}">
                      <a16:creationId xmlns:a16="http://schemas.microsoft.com/office/drawing/2014/main" id="{0E0BCE29-7739-993B-442D-9C307E6E3D34}"/>
                    </a:ext>
                  </a:extLst>
                </p:cNvPr>
                <p:cNvSpPr>
                  <a:spLocks noEditPoints="1"/>
                </p:cNvSpPr>
                <p:nvPr/>
              </p:nvSpPr>
              <p:spPr bwMode="auto">
                <a:xfrm>
                  <a:off x="2926" y="2137"/>
                  <a:ext cx="211" cy="76"/>
                </a:xfrm>
                <a:custGeom>
                  <a:avLst/>
                  <a:gdLst>
                    <a:gd name="T0" fmla="*/ 10 w 211"/>
                    <a:gd name="T1" fmla="*/ 8 h 76"/>
                    <a:gd name="T2" fmla="*/ 17 w 211"/>
                    <a:gd name="T3" fmla="*/ 0 h 76"/>
                    <a:gd name="T4" fmla="*/ 31 w 211"/>
                    <a:gd name="T5" fmla="*/ 10 h 76"/>
                    <a:gd name="T6" fmla="*/ 29 w 211"/>
                    <a:gd name="T7" fmla="*/ 15 h 76"/>
                    <a:gd name="T8" fmla="*/ 12 w 211"/>
                    <a:gd name="T9" fmla="*/ 22 h 76"/>
                    <a:gd name="T10" fmla="*/ 10 w 211"/>
                    <a:gd name="T11" fmla="*/ 22 h 76"/>
                    <a:gd name="T12" fmla="*/ 5 w 211"/>
                    <a:gd name="T13" fmla="*/ 17 h 76"/>
                    <a:gd name="T14" fmla="*/ 161 w 211"/>
                    <a:gd name="T15" fmla="*/ 12 h 76"/>
                    <a:gd name="T16" fmla="*/ 147 w 211"/>
                    <a:gd name="T17" fmla="*/ 12 h 76"/>
                    <a:gd name="T18" fmla="*/ 128 w 211"/>
                    <a:gd name="T19" fmla="*/ 15 h 76"/>
                    <a:gd name="T20" fmla="*/ 114 w 211"/>
                    <a:gd name="T21" fmla="*/ 10 h 76"/>
                    <a:gd name="T22" fmla="*/ 104 w 211"/>
                    <a:gd name="T23" fmla="*/ 5 h 76"/>
                    <a:gd name="T24" fmla="*/ 92 w 211"/>
                    <a:gd name="T25" fmla="*/ 3 h 76"/>
                    <a:gd name="T26" fmla="*/ 73 w 211"/>
                    <a:gd name="T27" fmla="*/ 5 h 76"/>
                    <a:gd name="T28" fmla="*/ 62 w 211"/>
                    <a:gd name="T29" fmla="*/ 12 h 76"/>
                    <a:gd name="T30" fmla="*/ 47 w 211"/>
                    <a:gd name="T31" fmla="*/ 12 h 76"/>
                    <a:gd name="T32" fmla="*/ 38 w 211"/>
                    <a:gd name="T33" fmla="*/ 17 h 76"/>
                    <a:gd name="T34" fmla="*/ 33 w 211"/>
                    <a:gd name="T35" fmla="*/ 22 h 76"/>
                    <a:gd name="T36" fmla="*/ 29 w 211"/>
                    <a:gd name="T37" fmla="*/ 24 h 76"/>
                    <a:gd name="T38" fmla="*/ 17 w 211"/>
                    <a:gd name="T39" fmla="*/ 24 h 76"/>
                    <a:gd name="T40" fmla="*/ 7 w 211"/>
                    <a:gd name="T41" fmla="*/ 34 h 76"/>
                    <a:gd name="T42" fmla="*/ 17 w 211"/>
                    <a:gd name="T43" fmla="*/ 36 h 76"/>
                    <a:gd name="T44" fmla="*/ 17 w 211"/>
                    <a:gd name="T45" fmla="*/ 43 h 76"/>
                    <a:gd name="T46" fmla="*/ 17 w 211"/>
                    <a:gd name="T47" fmla="*/ 46 h 76"/>
                    <a:gd name="T48" fmla="*/ 10 w 211"/>
                    <a:gd name="T49" fmla="*/ 48 h 76"/>
                    <a:gd name="T50" fmla="*/ 14 w 211"/>
                    <a:gd name="T51" fmla="*/ 55 h 76"/>
                    <a:gd name="T52" fmla="*/ 19 w 211"/>
                    <a:gd name="T53" fmla="*/ 62 h 76"/>
                    <a:gd name="T54" fmla="*/ 21 w 211"/>
                    <a:gd name="T55" fmla="*/ 67 h 76"/>
                    <a:gd name="T56" fmla="*/ 21 w 211"/>
                    <a:gd name="T57" fmla="*/ 69 h 76"/>
                    <a:gd name="T58" fmla="*/ 29 w 211"/>
                    <a:gd name="T59" fmla="*/ 72 h 76"/>
                    <a:gd name="T60" fmla="*/ 36 w 211"/>
                    <a:gd name="T61" fmla="*/ 69 h 76"/>
                    <a:gd name="T62" fmla="*/ 40 w 211"/>
                    <a:gd name="T63" fmla="*/ 72 h 76"/>
                    <a:gd name="T64" fmla="*/ 52 w 211"/>
                    <a:gd name="T65" fmla="*/ 74 h 76"/>
                    <a:gd name="T66" fmla="*/ 59 w 211"/>
                    <a:gd name="T67" fmla="*/ 69 h 76"/>
                    <a:gd name="T68" fmla="*/ 78 w 211"/>
                    <a:gd name="T69" fmla="*/ 74 h 76"/>
                    <a:gd name="T70" fmla="*/ 97 w 211"/>
                    <a:gd name="T71" fmla="*/ 74 h 76"/>
                    <a:gd name="T72" fmla="*/ 114 w 211"/>
                    <a:gd name="T73" fmla="*/ 69 h 76"/>
                    <a:gd name="T74" fmla="*/ 116 w 211"/>
                    <a:gd name="T75" fmla="*/ 72 h 76"/>
                    <a:gd name="T76" fmla="*/ 123 w 211"/>
                    <a:gd name="T77" fmla="*/ 76 h 76"/>
                    <a:gd name="T78" fmla="*/ 130 w 211"/>
                    <a:gd name="T79" fmla="*/ 69 h 76"/>
                    <a:gd name="T80" fmla="*/ 149 w 211"/>
                    <a:gd name="T81" fmla="*/ 67 h 76"/>
                    <a:gd name="T82" fmla="*/ 166 w 211"/>
                    <a:gd name="T83" fmla="*/ 62 h 76"/>
                    <a:gd name="T84" fmla="*/ 187 w 211"/>
                    <a:gd name="T85" fmla="*/ 62 h 76"/>
                    <a:gd name="T86" fmla="*/ 204 w 211"/>
                    <a:gd name="T87" fmla="*/ 60 h 76"/>
                    <a:gd name="T88" fmla="*/ 211 w 211"/>
                    <a:gd name="T89" fmla="*/ 57 h 76"/>
                    <a:gd name="T90" fmla="*/ 206 w 211"/>
                    <a:gd name="T91" fmla="*/ 46 h 76"/>
                    <a:gd name="T92" fmla="*/ 201 w 211"/>
                    <a:gd name="T93" fmla="*/ 34 h 76"/>
                    <a:gd name="T94" fmla="*/ 201 w 211"/>
                    <a:gd name="T95" fmla="*/ 27 h 76"/>
                    <a:gd name="T96" fmla="*/ 192 w 211"/>
                    <a:gd name="T97" fmla="*/ 15 h 76"/>
                    <a:gd name="T98" fmla="*/ 178 w 211"/>
                    <a:gd name="T99" fmla="*/ 8 h 76"/>
                    <a:gd name="T100" fmla="*/ 170 w 211"/>
                    <a:gd name="T101" fmla="*/ 5 h 76"/>
                    <a:gd name="T102" fmla="*/ 26 w 211"/>
                    <a:gd name="T103" fmla="*/ 72 h 76"/>
                    <a:gd name="T104" fmla="*/ 5 w 211"/>
                    <a:gd name="T105" fmla="*/ 2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1" h="76">
                      <a:moveTo>
                        <a:pt x="5" y="17"/>
                      </a:moveTo>
                      <a:lnTo>
                        <a:pt x="7" y="17"/>
                      </a:lnTo>
                      <a:lnTo>
                        <a:pt x="7" y="15"/>
                      </a:lnTo>
                      <a:lnTo>
                        <a:pt x="7" y="12"/>
                      </a:lnTo>
                      <a:lnTo>
                        <a:pt x="10" y="10"/>
                      </a:lnTo>
                      <a:lnTo>
                        <a:pt x="10" y="8"/>
                      </a:lnTo>
                      <a:lnTo>
                        <a:pt x="7" y="8"/>
                      </a:lnTo>
                      <a:lnTo>
                        <a:pt x="10" y="5"/>
                      </a:lnTo>
                      <a:lnTo>
                        <a:pt x="10" y="3"/>
                      </a:lnTo>
                      <a:lnTo>
                        <a:pt x="12" y="3"/>
                      </a:lnTo>
                      <a:lnTo>
                        <a:pt x="14" y="0"/>
                      </a:lnTo>
                      <a:lnTo>
                        <a:pt x="17" y="0"/>
                      </a:lnTo>
                      <a:lnTo>
                        <a:pt x="19" y="3"/>
                      </a:lnTo>
                      <a:lnTo>
                        <a:pt x="21" y="3"/>
                      </a:lnTo>
                      <a:lnTo>
                        <a:pt x="24" y="3"/>
                      </a:lnTo>
                      <a:lnTo>
                        <a:pt x="24" y="8"/>
                      </a:lnTo>
                      <a:lnTo>
                        <a:pt x="29" y="10"/>
                      </a:lnTo>
                      <a:lnTo>
                        <a:pt x="31" y="10"/>
                      </a:lnTo>
                      <a:lnTo>
                        <a:pt x="33" y="12"/>
                      </a:lnTo>
                      <a:lnTo>
                        <a:pt x="36" y="12"/>
                      </a:lnTo>
                      <a:lnTo>
                        <a:pt x="36" y="15"/>
                      </a:lnTo>
                      <a:lnTo>
                        <a:pt x="33" y="17"/>
                      </a:lnTo>
                      <a:lnTo>
                        <a:pt x="31" y="17"/>
                      </a:lnTo>
                      <a:lnTo>
                        <a:pt x="29" y="15"/>
                      </a:lnTo>
                      <a:lnTo>
                        <a:pt x="26" y="15"/>
                      </a:lnTo>
                      <a:lnTo>
                        <a:pt x="26" y="17"/>
                      </a:lnTo>
                      <a:lnTo>
                        <a:pt x="21" y="17"/>
                      </a:lnTo>
                      <a:lnTo>
                        <a:pt x="19" y="17"/>
                      </a:lnTo>
                      <a:lnTo>
                        <a:pt x="19" y="19"/>
                      </a:lnTo>
                      <a:lnTo>
                        <a:pt x="12" y="22"/>
                      </a:lnTo>
                      <a:lnTo>
                        <a:pt x="7" y="27"/>
                      </a:lnTo>
                      <a:lnTo>
                        <a:pt x="7" y="24"/>
                      </a:lnTo>
                      <a:lnTo>
                        <a:pt x="10" y="22"/>
                      </a:lnTo>
                      <a:lnTo>
                        <a:pt x="10" y="22"/>
                      </a:lnTo>
                      <a:lnTo>
                        <a:pt x="12" y="19"/>
                      </a:lnTo>
                      <a:lnTo>
                        <a:pt x="10" y="22"/>
                      </a:lnTo>
                      <a:lnTo>
                        <a:pt x="10" y="19"/>
                      </a:lnTo>
                      <a:lnTo>
                        <a:pt x="7" y="22"/>
                      </a:lnTo>
                      <a:lnTo>
                        <a:pt x="5" y="19"/>
                      </a:lnTo>
                      <a:lnTo>
                        <a:pt x="5" y="17"/>
                      </a:lnTo>
                      <a:lnTo>
                        <a:pt x="5" y="17"/>
                      </a:lnTo>
                      <a:lnTo>
                        <a:pt x="5" y="17"/>
                      </a:lnTo>
                      <a:close/>
                      <a:moveTo>
                        <a:pt x="170" y="5"/>
                      </a:moveTo>
                      <a:lnTo>
                        <a:pt x="170" y="5"/>
                      </a:lnTo>
                      <a:lnTo>
                        <a:pt x="168" y="8"/>
                      </a:lnTo>
                      <a:lnTo>
                        <a:pt x="166" y="10"/>
                      </a:lnTo>
                      <a:lnTo>
                        <a:pt x="161" y="12"/>
                      </a:lnTo>
                      <a:lnTo>
                        <a:pt x="161" y="12"/>
                      </a:lnTo>
                      <a:lnTo>
                        <a:pt x="156" y="15"/>
                      </a:lnTo>
                      <a:lnTo>
                        <a:pt x="156" y="15"/>
                      </a:lnTo>
                      <a:lnTo>
                        <a:pt x="152" y="15"/>
                      </a:lnTo>
                      <a:lnTo>
                        <a:pt x="149" y="12"/>
                      </a:lnTo>
                      <a:lnTo>
                        <a:pt x="149" y="12"/>
                      </a:lnTo>
                      <a:lnTo>
                        <a:pt x="147" y="12"/>
                      </a:lnTo>
                      <a:lnTo>
                        <a:pt x="144" y="12"/>
                      </a:lnTo>
                      <a:lnTo>
                        <a:pt x="142" y="12"/>
                      </a:lnTo>
                      <a:lnTo>
                        <a:pt x="137" y="15"/>
                      </a:lnTo>
                      <a:lnTo>
                        <a:pt x="133" y="15"/>
                      </a:lnTo>
                      <a:lnTo>
                        <a:pt x="130" y="12"/>
                      </a:lnTo>
                      <a:lnTo>
                        <a:pt x="128" y="15"/>
                      </a:lnTo>
                      <a:lnTo>
                        <a:pt x="126" y="12"/>
                      </a:lnTo>
                      <a:lnTo>
                        <a:pt x="123" y="12"/>
                      </a:lnTo>
                      <a:lnTo>
                        <a:pt x="118" y="10"/>
                      </a:lnTo>
                      <a:lnTo>
                        <a:pt x="116" y="10"/>
                      </a:lnTo>
                      <a:lnTo>
                        <a:pt x="116" y="10"/>
                      </a:lnTo>
                      <a:lnTo>
                        <a:pt x="114" y="10"/>
                      </a:lnTo>
                      <a:lnTo>
                        <a:pt x="111" y="8"/>
                      </a:lnTo>
                      <a:lnTo>
                        <a:pt x="111" y="5"/>
                      </a:lnTo>
                      <a:lnTo>
                        <a:pt x="109" y="3"/>
                      </a:lnTo>
                      <a:lnTo>
                        <a:pt x="109" y="5"/>
                      </a:lnTo>
                      <a:lnTo>
                        <a:pt x="107" y="8"/>
                      </a:lnTo>
                      <a:lnTo>
                        <a:pt x="104" y="5"/>
                      </a:lnTo>
                      <a:lnTo>
                        <a:pt x="104" y="8"/>
                      </a:lnTo>
                      <a:lnTo>
                        <a:pt x="99" y="3"/>
                      </a:lnTo>
                      <a:lnTo>
                        <a:pt x="99" y="0"/>
                      </a:lnTo>
                      <a:lnTo>
                        <a:pt x="99" y="0"/>
                      </a:lnTo>
                      <a:lnTo>
                        <a:pt x="97" y="3"/>
                      </a:lnTo>
                      <a:lnTo>
                        <a:pt x="92" y="3"/>
                      </a:lnTo>
                      <a:lnTo>
                        <a:pt x="90" y="3"/>
                      </a:lnTo>
                      <a:lnTo>
                        <a:pt x="88" y="3"/>
                      </a:lnTo>
                      <a:lnTo>
                        <a:pt x="83" y="3"/>
                      </a:lnTo>
                      <a:lnTo>
                        <a:pt x="81" y="3"/>
                      </a:lnTo>
                      <a:lnTo>
                        <a:pt x="76" y="5"/>
                      </a:lnTo>
                      <a:lnTo>
                        <a:pt x="73" y="5"/>
                      </a:lnTo>
                      <a:lnTo>
                        <a:pt x="69" y="5"/>
                      </a:lnTo>
                      <a:lnTo>
                        <a:pt x="66" y="8"/>
                      </a:lnTo>
                      <a:lnTo>
                        <a:pt x="66" y="8"/>
                      </a:lnTo>
                      <a:lnTo>
                        <a:pt x="64" y="10"/>
                      </a:lnTo>
                      <a:lnTo>
                        <a:pt x="62" y="10"/>
                      </a:lnTo>
                      <a:lnTo>
                        <a:pt x="62" y="12"/>
                      </a:lnTo>
                      <a:lnTo>
                        <a:pt x="59" y="12"/>
                      </a:lnTo>
                      <a:lnTo>
                        <a:pt x="59" y="15"/>
                      </a:lnTo>
                      <a:lnTo>
                        <a:pt x="57" y="15"/>
                      </a:lnTo>
                      <a:lnTo>
                        <a:pt x="50" y="12"/>
                      </a:lnTo>
                      <a:lnTo>
                        <a:pt x="47" y="12"/>
                      </a:lnTo>
                      <a:lnTo>
                        <a:pt x="47" y="12"/>
                      </a:lnTo>
                      <a:lnTo>
                        <a:pt x="45" y="12"/>
                      </a:lnTo>
                      <a:lnTo>
                        <a:pt x="40" y="15"/>
                      </a:lnTo>
                      <a:lnTo>
                        <a:pt x="40" y="12"/>
                      </a:lnTo>
                      <a:lnTo>
                        <a:pt x="36" y="15"/>
                      </a:lnTo>
                      <a:lnTo>
                        <a:pt x="36" y="15"/>
                      </a:lnTo>
                      <a:lnTo>
                        <a:pt x="38" y="17"/>
                      </a:lnTo>
                      <a:lnTo>
                        <a:pt x="40" y="19"/>
                      </a:lnTo>
                      <a:lnTo>
                        <a:pt x="45" y="19"/>
                      </a:lnTo>
                      <a:lnTo>
                        <a:pt x="43" y="19"/>
                      </a:lnTo>
                      <a:lnTo>
                        <a:pt x="38" y="19"/>
                      </a:lnTo>
                      <a:lnTo>
                        <a:pt x="36" y="22"/>
                      </a:lnTo>
                      <a:lnTo>
                        <a:pt x="33" y="22"/>
                      </a:lnTo>
                      <a:lnTo>
                        <a:pt x="33" y="24"/>
                      </a:lnTo>
                      <a:lnTo>
                        <a:pt x="36" y="24"/>
                      </a:lnTo>
                      <a:lnTo>
                        <a:pt x="38" y="24"/>
                      </a:lnTo>
                      <a:lnTo>
                        <a:pt x="36" y="24"/>
                      </a:lnTo>
                      <a:lnTo>
                        <a:pt x="31" y="24"/>
                      </a:lnTo>
                      <a:lnTo>
                        <a:pt x="29" y="24"/>
                      </a:lnTo>
                      <a:lnTo>
                        <a:pt x="26" y="24"/>
                      </a:lnTo>
                      <a:lnTo>
                        <a:pt x="24" y="24"/>
                      </a:lnTo>
                      <a:lnTo>
                        <a:pt x="24" y="24"/>
                      </a:lnTo>
                      <a:lnTo>
                        <a:pt x="21" y="24"/>
                      </a:lnTo>
                      <a:lnTo>
                        <a:pt x="19" y="24"/>
                      </a:lnTo>
                      <a:lnTo>
                        <a:pt x="17" y="24"/>
                      </a:lnTo>
                      <a:lnTo>
                        <a:pt x="14" y="24"/>
                      </a:lnTo>
                      <a:lnTo>
                        <a:pt x="10" y="27"/>
                      </a:lnTo>
                      <a:lnTo>
                        <a:pt x="7" y="29"/>
                      </a:lnTo>
                      <a:lnTo>
                        <a:pt x="7" y="31"/>
                      </a:lnTo>
                      <a:lnTo>
                        <a:pt x="7" y="31"/>
                      </a:lnTo>
                      <a:lnTo>
                        <a:pt x="7" y="34"/>
                      </a:lnTo>
                      <a:lnTo>
                        <a:pt x="7" y="34"/>
                      </a:lnTo>
                      <a:lnTo>
                        <a:pt x="7" y="36"/>
                      </a:lnTo>
                      <a:lnTo>
                        <a:pt x="10" y="36"/>
                      </a:lnTo>
                      <a:lnTo>
                        <a:pt x="12" y="36"/>
                      </a:lnTo>
                      <a:lnTo>
                        <a:pt x="14" y="34"/>
                      </a:lnTo>
                      <a:lnTo>
                        <a:pt x="17" y="36"/>
                      </a:lnTo>
                      <a:lnTo>
                        <a:pt x="14" y="36"/>
                      </a:lnTo>
                      <a:lnTo>
                        <a:pt x="14" y="38"/>
                      </a:lnTo>
                      <a:lnTo>
                        <a:pt x="14" y="41"/>
                      </a:lnTo>
                      <a:lnTo>
                        <a:pt x="14" y="41"/>
                      </a:lnTo>
                      <a:lnTo>
                        <a:pt x="14" y="43"/>
                      </a:lnTo>
                      <a:lnTo>
                        <a:pt x="17" y="43"/>
                      </a:lnTo>
                      <a:lnTo>
                        <a:pt x="17" y="41"/>
                      </a:lnTo>
                      <a:lnTo>
                        <a:pt x="17" y="43"/>
                      </a:lnTo>
                      <a:lnTo>
                        <a:pt x="17" y="43"/>
                      </a:lnTo>
                      <a:lnTo>
                        <a:pt x="14" y="46"/>
                      </a:lnTo>
                      <a:lnTo>
                        <a:pt x="14" y="46"/>
                      </a:lnTo>
                      <a:lnTo>
                        <a:pt x="17" y="46"/>
                      </a:lnTo>
                      <a:lnTo>
                        <a:pt x="14" y="48"/>
                      </a:lnTo>
                      <a:lnTo>
                        <a:pt x="14" y="50"/>
                      </a:lnTo>
                      <a:lnTo>
                        <a:pt x="12" y="50"/>
                      </a:lnTo>
                      <a:lnTo>
                        <a:pt x="12" y="46"/>
                      </a:lnTo>
                      <a:lnTo>
                        <a:pt x="10" y="46"/>
                      </a:lnTo>
                      <a:lnTo>
                        <a:pt x="10" y="48"/>
                      </a:lnTo>
                      <a:lnTo>
                        <a:pt x="12" y="50"/>
                      </a:lnTo>
                      <a:lnTo>
                        <a:pt x="10" y="50"/>
                      </a:lnTo>
                      <a:lnTo>
                        <a:pt x="10" y="53"/>
                      </a:lnTo>
                      <a:lnTo>
                        <a:pt x="12" y="53"/>
                      </a:lnTo>
                      <a:lnTo>
                        <a:pt x="12" y="53"/>
                      </a:lnTo>
                      <a:lnTo>
                        <a:pt x="14" y="55"/>
                      </a:lnTo>
                      <a:lnTo>
                        <a:pt x="17" y="53"/>
                      </a:lnTo>
                      <a:lnTo>
                        <a:pt x="19" y="55"/>
                      </a:lnTo>
                      <a:lnTo>
                        <a:pt x="19" y="57"/>
                      </a:lnTo>
                      <a:lnTo>
                        <a:pt x="17" y="60"/>
                      </a:lnTo>
                      <a:lnTo>
                        <a:pt x="19" y="60"/>
                      </a:lnTo>
                      <a:lnTo>
                        <a:pt x="19" y="62"/>
                      </a:lnTo>
                      <a:lnTo>
                        <a:pt x="21" y="62"/>
                      </a:lnTo>
                      <a:lnTo>
                        <a:pt x="24" y="64"/>
                      </a:lnTo>
                      <a:lnTo>
                        <a:pt x="24" y="67"/>
                      </a:lnTo>
                      <a:lnTo>
                        <a:pt x="21" y="64"/>
                      </a:lnTo>
                      <a:lnTo>
                        <a:pt x="21" y="67"/>
                      </a:lnTo>
                      <a:lnTo>
                        <a:pt x="21" y="67"/>
                      </a:lnTo>
                      <a:lnTo>
                        <a:pt x="26" y="67"/>
                      </a:lnTo>
                      <a:lnTo>
                        <a:pt x="31" y="67"/>
                      </a:lnTo>
                      <a:lnTo>
                        <a:pt x="31" y="67"/>
                      </a:lnTo>
                      <a:lnTo>
                        <a:pt x="29" y="69"/>
                      </a:lnTo>
                      <a:lnTo>
                        <a:pt x="26" y="69"/>
                      </a:lnTo>
                      <a:lnTo>
                        <a:pt x="21" y="69"/>
                      </a:lnTo>
                      <a:lnTo>
                        <a:pt x="21" y="69"/>
                      </a:lnTo>
                      <a:lnTo>
                        <a:pt x="24" y="72"/>
                      </a:lnTo>
                      <a:lnTo>
                        <a:pt x="24" y="69"/>
                      </a:lnTo>
                      <a:lnTo>
                        <a:pt x="29" y="69"/>
                      </a:lnTo>
                      <a:lnTo>
                        <a:pt x="29" y="69"/>
                      </a:lnTo>
                      <a:lnTo>
                        <a:pt x="29" y="72"/>
                      </a:lnTo>
                      <a:lnTo>
                        <a:pt x="29" y="72"/>
                      </a:lnTo>
                      <a:lnTo>
                        <a:pt x="31" y="69"/>
                      </a:lnTo>
                      <a:lnTo>
                        <a:pt x="33" y="69"/>
                      </a:lnTo>
                      <a:lnTo>
                        <a:pt x="33" y="69"/>
                      </a:lnTo>
                      <a:lnTo>
                        <a:pt x="36" y="69"/>
                      </a:lnTo>
                      <a:lnTo>
                        <a:pt x="36" y="69"/>
                      </a:lnTo>
                      <a:lnTo>
                        <a:pt x="38" y="72"/>
                      </a:lnTo>
                      <a:lnTo>
                        <a:pt x="40" y="69"/>
                      </a:lnTo>
                      <a:lnTo>
                        <a:pt x="40" y="69"/>
                      </a:lnTo>
                      <a:lnTo>
                        <a:pt x="40" y="72"/>
                      </a:lnTo>
                      <a:lnTo>
                        <a:pt x="40" y="72"/>
                      </a:lnTo>
                      <a:lnTo>
                        <a:pt x="40" y="72"/>
                      </a:lnTo>
                      <a:lnTo>
                        <a:pt x="40" y="74"/>
                      </a:lnTo>
                      <a:lnTo>
                        <a:pt x="43" y="76"/>
                      </a:lnTo>
                      <a:lnTo>
                        <a:pt x="45" y="74"/>
                      </a:lnTo>
                      <a:lnTo>
                        <a:pt x="47" y="76"/>
                      </a:lnTo>
                      <a:lnTo>
                        <a:pt x="50" y="76"/>
                      </a:lnTo>
                      <a:lnTo>
                        <a:pt x="52" y="74"/>
                      </a:lnTo>
                      <a:lnTo>
                        <a:pt x="55" y="74"/>
                      </a:lnTo>
                      <a:lnTo>
                        <a:pt x="55" y="74"/>
                      </a:lnTo>
                      <a:lnTo>
                        <a:pt x="57" y="74"/>
                      </a:lnTo>
                      <a:lnTo>
                        <a:pt x="57" y="74"/>
                      </a:lnTo>
                      <a:lnTo>
                        <a:pt x="57" y="72"/>
                      </a:lnTo>
                      <a:lnTo>
                        <a:pt x="59" y="69"/>
                      </a:lnTo>
                      <a:lnTo>
                        <a:pt x="57" y="67"/>
                      </a:lnTo>
                      <a:lnTo>
                        <a:pt x="62" y="67"/>
                      </a:lnTo>
                      <a:lnTo>
                        <a:pt x="66" y="67"/>
                      </a:lnTo>
                      <a:lnTo>
                        <a:pt x="71" y="72"/>
                      </a:lnTo>
                      <a:lnTo>
                        <a:pt x="73" y="72"/>
                      </a:lnTo>
                      <a:lnTo>
                        <a:pt x="78" y="74"/>
                      </a:lnTo>
                      <a:lnTo>
                        <a:pt x="81" y="76"/>
                      </a:lnTo>
                      <a:lnTo>
                        <a:pt x="90" y="76"/>
                      </a:lnTo>
                      <a:lnTo>
                        <a:pt x="95" y="74"/>
                      </a:lnTo>
                      <a:lnTo>
                        <a:pt x="95" y="74"/>
                      </a:lnTo>
                      <a:lnTo>
                        <a:pt x="95" y="74"/>
                      </a:lnTo>
                      <a:lnTo>
                        <a:pt x="97" y="74"/>
                      </a:lnTo>
                      <a:lnTo>
                        <a:pt x="97" y="72"/>
                      </a:lnTo>
                      <a:lnTo>
                        <a:pt x="102" y="67"/>
                      </a:lnTo>
                      <a:lnTo>
                        <a:pt x="104" y="67"/>
                      </a:lnTo>
                      <a:lnTo>
                        <a:pt x="109" y="69"/>
                      </a:lnTo>
                      <a:lnTo>
                        <a:pt x="111" y="69"/>
                      </a:lnTo>
                      <a:lnTo>
                        <a:pt x="114" y="69"/>
                      </a:lnTo>
                      <a:lnTo>
                        <a:pt x="116" y="67"/>
                      </a:lnTo>
                      <a:lnTo>
                        <a:pt x="118" y="67"/>
                      </a:lnTo>
                      <a:lnTo>
                        <a:pt x="118" y="67"/>
                      </a:lnTo>
                      <a:lnTo>
                        <a:pt x="118" y="69"/>
                      </a:lnTo>
                      <a:lnTo>
                        <a:pt x="118" y="72"/>
                      </a:lnTo>
                      <a:lnTo>
                        <a:pt x="116" y="72"/>
                      </a:lnTo>
                      <a:lnTo>
                        <a:pt x="116" y="74"/>
                      </a:lnTo>
                      <a:lnTo>
                        <a:pt x="118" y="76"/>
                      </a:lnTo>
                      <a:lnTo>
                        <a:pt x="118" y="76"/>
                      </a:lnTo>
                      <a:lnTo>
                        <a:pt x="118" y="76"/>
                      </a:lnTo>
                      <a:lnTo>
                        <a:pt x="121" y="76"/>
                      </a:lnTo>
                      <a:lnTo>
                        <a:pt x="123" y="76"/>
                      </a:lnTo>
                      <a:lnTo>
                        <a:pt x="123" y="74"/>
                      </a:lnTo>
                      <a:lnTo>
                        <a:pt x="126" y="74"/>
                      </a:lnTo>
                      <a:lnTo>
                        <a:pt x="126" y="69"/>
                      </a:lnTo>
                      <a:lnTo>
                        <a:pt x="126" y="67"/>
                      </a:lnTo>
                      <a:lnTo>
                        <a:pt x="130" y="69"/>
                      </a:lnTo>
                      <a:lnTo>
                        <a:pt x="130" y="69"/>
                      </a:lnTo>
                      <a:lnTo>
                        <a:pt x="137" y="67"/>
                      </a:lnTo>
                      <a:lnTo>
                        <a:pt x="137" y="67"/>
                      </a:lnTo>
                      <a:lnTo>
                        <a:pt x="140" y="67"/>
                      </a:lnTo>
                      <a:lnTo>
                        <a:pt x="144" y="64"/>
                      </a:lnTo>
                      <a:lnTo>
                        <a:pt x="147" y="67"/>
                      </a:lnTo>
                      <a:lnTo>
                        <a:pt x="149" y="67"/>
                      </a:lnTo>
                      <a:lnTo>
                        <a:pt x="152" y="67"/>
                      </a:lnTo>
                      <a:lnTo>
                        <a:pt x="159" y="67"/>
                      </a:lnTo>
                      <a:lnTo>
                        <a:pt x="159" y="67"/>
                      </a:lnTo>
                      <a:lnTo>
                        <a:pt x="161" y="67"/>
                      </a:lnTo>
                      <a:lnTo>
                        <a:pt x="163" y="64"/>
                      </a:lnTo>
                      <a:lnTo>
                        <a:pt x="166" y="62"/>
                      </a:lnTo>
                      <a:lnTo>
                        <a:pt x="170" y="62"/>
                      </a:lnTo>
                      <a:lnTo>
                        <a:pt x="173" y="62"/>
                      </a:lnTo>
                      <a:lnTo>
                        <a:pt x="178" y="62"/>
                      </a:lnTo>
                      <a:lnTo>
                        <a:pt x="182" y="62"/>
                      </a:lnTo>
                      <a:lnTo>
                        <a:pt x="185" y="62"/>
                      </a:lnTo>
                      <a:lnTo>
                        <a:pt x="187" y="62"/>
                      </a:lnTo>
                      <a:lnTo>
                        <a:pt x="189" y="60"/>
                      </a:lnTo>
                      <a:lnTo>
                        <a:pt x="192" y="60"/>
                      </a:lnTo>
                      <a:lnTo>
                        <a:pt x="192" y="60"/>
                      </a:lnTo>
                      <a:lnTo>
                        <a:pt x="196" y="60"/>
                      </a:lnTo>
                      <a:lnTo>
                        <a:pt x="201" y="60"/>
                      </a:lnTo>
                      <a:lnTo>
                        <a:pt x="204" y="60"/>
                      </a:lnTo>
                      <a:lnTo>
                        <a:pt x="206" y="60"/>
                      </a:lnTo>
                      <a:lnTo>
                        <a:pt x="206" y="62"/>
                      </a:lnTo>
                      <a:lnTo>
                        <a:pt x="208" y="62"/>
                      </a:lnTo>
                      <a:lnTo>
                        <a:pt x="211" y="62"/>
                      </a:lnTo>
                      <a:lnTo>
                        <a:pt x="211" y="60"/>
                      </a:lnTo>
                      <a:lnTo>
                        <a:pt x="211" y="57"/>
                      </a:lnTo>
                      <a:lnTo>
                        <a:pt x="208" y="55"/>
                      </a:lnTo>
                      <a:lnTo>
                        <a:pt x="204" y="53"/>
                      </a:lnTo>
                      <a:lnTo>
                        <a:pt x="204" y="53"/>
                      </a:lnTo>
                      <a:lnTo>
                        <a:pt x="204" y="50"/>
                      </a:lnTo>
                      <a:lnTo>
                        <a:pt x="206" y="46"/>
                      </a:lnTo>
                      <a:lnTo>
                        <a:pt x="206" y="46"/>
                      </a:lnTo>
                      <a:lnTo>
                        <a:pt x="204" y="46"/>
                      </a:lnTo>
                      <a:lnTo>
                        <a:pt x="201" y="41"/>
                      </a:lnTo>
                      <a:lnTo>
                        <a:pt x="204" y="41"/>
                      </a:lnTo>
                      <a:lnTo>
                        <a:pt x="201" y="36"/>
                      </a:lnTo>
                      <a:lnTo>
                        <a:pt x="201" y="34"/>
                      </a:lnTo>
                      <a:lnTo>
                        <a:pt x="201" y="34"/>
                      </a:lnTo>
                      <a:lnTo>
                        <a:pt x="204" y="34"/>
                      </a:lnTo>
                      <a:lnTo>
                        <a:pt x="204" y="29"/>
                      </a:lnTo>
                      <a:lnTo>
                        <a:pt x="206" y="29"/>
                      </a:lnTo>
                      <a:lnTo>
                        <a:pt x="204" y="27"/>
                      </a:lnTo>
                      <a:lnTo>
                        <a:pt x="204" y="24"/>
                      </a:lnTo>
                      <a:lnTo>
                        <a:pt x="201" y="27"/>
                      </a:lnTo>
                      <a:lnTo>
                        <a:pt x="196" y="24"/>
                      </a:lnTo>
                      <a:lnTo>
                        <a:pt x="194" y="24"/>
                      </a:lnTo>
                      <a:lnTo>
                        <a:pt x="194" y="19"/>
                      </a:lnTo>
                      <a:lnTo>
                        <a:pt x="194" y="17"/>
                      </a:lnTo>
                      <a:lnTo>
                        <a:pt x="194" y="15"/>
                      </a:lnTo>
                      <a:lnTo>
                        <a:pt x="192" y="15"/>
                      </a:lnTo>
                      <a:lnTo>
                        <a:pt x="192" y="12"/>
                      </a:lnTo>
                      <a:lnTo>
                        <a:pt x="189" y="10"/>
                      </a:lnTo>
                      <a:lnTo>
                        <a:pt x="187" y="10"/>
                      </a:lnTo>
                      <a:lnTo>
                        <a:pt x="182" y="8"/>
                      </a:lnTo>
                      <a:lnTo>
                        <a:pt x="180" y="5"/>
                      </a:lnTo>
                      <a:lnTo>
                        <a:pt x="178" y="8"/>
                      </a:lnTo>
                      <a:lnTo>
                        <a:pt x="178" y="8"/>
                      </a:lnTo>
                      <a:lnTo>
                        <a:pt x="175" y="8"/>
                      </a:lnTo>
                      <a:lnTo>
                        <a:pt x="173" y="8"/>
                      </a:lnTo>
                      <a:lnTo>
                        <a:pt x="173" y="8"/>
                      </a:lnTo>
                      <a:lnTo>
                        <a:pt x="170" y="5"/>
                      </a:lnTo>
                      <a:lnTo>
                        <a:pt x="170" y="5"/>
                      </a:lnTo>
                      <a:lnTo>
                        <a:pt x="170" y="5"/>
                      </a:lnTo>
                      <a:close/>
                      <a:moveTo>
                        <a:pt x="26" y="72"/>
                      </a:moveTo>
                      <a:lnTo>
                        <a:pt x="26" y="72"/>
                      </a:lnTo>
                      <a:lnTo>
                        <a:pt x="29" y="72"/>
                      </a:lnTo>
                      <a:lnTo>
                        <a:pt x="29" y="72"/>
                      </a:lnTo>
                      <a:lnTo>
                        <a:pt x="26" y="72"/>
                      </a:lnTo>
                      <a:lnTo>
                        <a:pt x="26" y="72"/>
                      </a:lnTo>
                      <a:lnTo>
                        <a:pt x="26" y="72"/>
                      </a:lnTo>
                      <a:close/>
                      <a:moveTo>
                        <a:pt x="0" y="27"/>
                      </a:moveTo>
                      <a:lnTo>
                        <a:pt x="2" y="27"/>
                      </a:lnTo>
                      <a:lnTo>
                        <a:pt x="5" y="27"/>
                      </a:lnTo>
                      <a:lnTo>
                        <a:pt x="5" y="24"/>
                      </a:lnTo>
                      <a:lnTo>
                        <a:pt x="5" y="24"/>
                      </a:lnTo>
                      <a:lnTo>
                        <a:pt x="2" y="24"/>
                      </a:lnTo>
                      <a:lnTo>
                        <a:pt x="2" y="24"/>
                      </a:lnTo>
                      <a:lnTo>
                        <a:pt x="0" y="27"/>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0" name="Freeform 85">
                  <a:extLst>
                    <a:ext uri="{FF2B5EF4-FFF2-40B4-BE49-F238E27FC236}">
                      <a16:creationId xmlns:a16="http://schemas.microsoft.com/office/drawing/2014/main" id="{8519C58A-C09C-7DC9-C00D-A8F00F02F22C}"/>
                    </a:ext>
                  </a:extLst>
                </p:cNvPr>
                <p:cNvSpPr>
                  <a:spLocks/>
                </p:cNvSpPr>
                <p:nvPr/>
              </p:nvSpPr>
              <p:spPr bwMode="auto">
                <a:xfrm>
                  <a:off x="3078" y="2197"/>
                  <a:ext cx="111" cy="95"/>
                </a:xfrm>
                <a:custGeom>
                  <a:avLst/>
                  <a:gdLst>
                    <a:gd name="T0" fmla="*/ 111 w 111"/>
                    <a:gd name="T1" fmla="*/ 80 h 95"/>
                    <a:gd name="T2" fmla="*/ 106 w 111"/>
                    <a:gd name="T3" fmla="*/ 78 h 95"/>
                    <a:gd name="T4" fmla="*/ 101 w 111"/>
                    <a:gd name="T5" fmla="*/ 73 h 95"/>
                    <a:gd name="T6" fmla="*/ 101 w 111"/>
                    <a:gd name="T7" fmla="*/ 66 h 95"/>
                    <a:gd name="T8" fmla="*/ 101 w 111"/>
                    <a:gd name="T9" fmla="*/ 59 h 95"/>
                    <a:gd name="T10" fmla="*/ 97 w 111"/>
                    <a:gd name="T11" fmla="*/ 54 h 95"/>
                    <a:gd name="T12" fmla="*/ 94 w 111"/>
                    <a:gd name="T13" fmla="*/ 54 h 95"/>
                    <a:gd name="T14" fmla="*/ 82 w 111"/>
                    <a:gd name="T15" fmla="*/ 50 h 95"/>
                    <a:gd name="T16" fmla="*/ 80 w 111"/>
                    <a:gd name="T17" fmla="*/ 50 h 95"/>
                    <a:gd name="T18" fmla="*/ 80 w 111"/>
                    <a:gd name="T19" fmla="*/ 47 h 95"/>
                    <a:gd name="T20" fmla="*/ 78 w 111"/>
                    <a:gd name="T21" fmla="*/ 42 h 95"/>
                    <a:gd name="T22" fmla="*/ 75 w 111"/>
                    <a:gd name="T23" fmla="*/ 40 h 95"/>
                    <a:gd name="T24" fmla="*/ 73 w 111"/>
                    <a:gd name="T25" fmla="*/ 40 h 95"/>
                    <a:gd name="T26" fmla="*/ 73 w 111"/>
                    <a:gd name="T27" fmla="*/ 38 h 95"/>
                    <a:gd name="T28" fmla="*/ 73 w 111"/>
                    <a:gd name="T29" fmla="*/ 35 h 95"/>
                    <a:gd name="T30" fmla="*/ 75 w 111"/>
                    <a:gd name="T31" fmla="*/ 31 h 95"/>
                    <a:gd name="T32" fmla="*/ 75 w 111"/>
                    <a:gd name="T33" fmla="*/ 26 h 95"/>
                    <a:gd name="T34" fmla="*/ 78 w 111"/>
                    <a:gd name="T35" fmla="*/ 23 h 95"/>
                    <a:gd name="T36" fmla="*/ 78 w 111"/>
                    <a:gd name="T37" fmla="*/ 19 h 95"/>
                    <a:gd name="T38" fmla="*/ 80 w 111"/>
                    <a:gd name="T39" fmla="*/ 19 h 95"/>
                    <a:gd name="T40" fmla="*/ 80 w 111"/>
                    <a:gd name="T41" fmla="*/ 16 h 95"/>
                    <a:gd name="T42" fmla="*/ 75 w 111"/>
                    <a:gd name="T43" fmla="*/ 16 h 95"/>
                    <a:gd name="T44" fmla="*/ 71 w 111"/>
                    <a:gd name="T45" fmla="*/ 14 h 95"/>
                    <a:gd name="T46" fmla="*/ 66 w 111"/>
                    <a:gd name="T47" fmla="*/ 14 h 95"/>
                    <a:gd name="T48" fmla="*/ 63 w 111"/>
                    <a:gd name="T49" fmla="*/ 9 h 95"/>
                    <a:gd name="T50" fmla="*/ 61 w 111"/>
                    <a:gd name="T51" fmla="*/ 7 h 95"/>
                    <a:gd name="T52" fmla="*/ 61 w 111"/>
                    <a:gd name="T53" fmla="*/ 2 h 95"/>
                    <a:gd name="T54" fmla="*/ 56 w 111"/>
                    <a:gd name="T55" fmla="*/ 2 h 95"/>
                    <a:gd name="T56" fmla="*/ 54 w 111"/>
                    <a:gd name="T57" fmla="*/ 0 h 95"/>
                    <a:gd name="T58" fmla="*/ 49 w 111"/>
                    <a:gd name="T59" fmla="*/ 0 h 95"/>
                    <a:gd name="T60" fmla="*/ 40 w 111"/>
                    <a:gd name="T61" fmla="*/ 0 h 95"/>
                    <a:gd name="T62" fmla="*/ 37 w 111"/>
                    <a:gd name="T63" fmla="*/ 0 h 95"/>
                    <a:gd name="T64" fmla="*/ 35 w 111"/>
                    <a:gd name="T65" fmla="*/ 2 h 95"/>
                    <a:gd name="T66" fmla="*/ 33 w 111"/>
                    <a:gd name="T67" fmla="*/ 4 h 95"/>
                    <a:gd name="T68" fmla="*/ 26 w 111"/>
                    <a:gd name="T69" fmla="*/ 7 h 95"/>
                    <a:gd name="T70" fmla="*/ 23 w 111"/>
                    <a:gd name="T71" fmla="*/ 14 h 95"/>
                    <a:gd name="T72" fmla="*/ 26 w 111"/>
                    <a:gd name="T73" fmla="*/ 21 h 95"/>
                    <a:gd name="T74" fmla="*/ 23 w 111"/>
                    <a:gd name="T75" fmla="*/ 26 h 95"/>
                    <a:gd name="T76" fmla="*/ 21 w 111"/>
                    <a:gd name="T77" fmla="*/ 33 h 95"/>
                    <a:gd name="T78" fmla="*/ 0 w 111"/>
                    <a:gd name="T79" fmla="*/ 47 h 95"/>
                    <a:gd name="T80" fmla="*/ 0 w 111"/>
                    <a:gd name="T81" fmla="*/ 47 h 95"/>
                    <a:gd name="T82" fmla="*/ 16 w 111"/>
                    <a:gd name="T83" fmla="*/ 61 h 95"/>
                    <a:gd name="T84" fmla="*/ 89 w 111"/>
                    <a:gd name="T85" fmla="*/ 95 h 95"/>
                    <a:gd name="T86" fmla="*/ 97 w 111"/>
                    <a:gd name="T87" fmla="*/ 85 h 95"/>
                    <a:gd name="T88" fmla="*/ 104 w 111"/>
                    <a:gd name="T89" fmla="*/ 85 h 95"/>
                    <a:gd name="T90" fmla="*/ 108 w 111"/>
                    <a:gd name="T91" fmla="*/ 85 h 95"/>
                    <a:gd name="T92" fmla="*/ 111 w 111"/>
                    <a:gd name="T93" fmla="*/ 8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11" h="95">
                      <a:moveTo>
                        <a:pt x="111" y="80"/>
                      </a:moveTo>
                      <a:lnTo>
                        <a:pt x="111" y="80"/>
                      </a:lnTo>
                      <a:lnTo>
                        <a:pt x="108" y="80"/>
                      </a:lnTo>
                      <a:lnTo>
                        <a:pt x="106" y="78"/>
                      </a:lnTo>
                      <a:lnTo>
                        <a:pt x="104" y="73"/>
                      </a:lnTo>
                      <a:lnTo>
                        <a:pt x="101" y="73"/>
                      </a:lnTo>
                      <a:lnTo>
                        <a:pt x="101" y="68"/>
                      </a:lnTo>
                      <a:lnTo>
                        <a:pt x="101" y="66"/>
                      </a:lnTo>
                      <a:lnTo>
                        <a:pt x="104" y="64"/>
                      </a:lnTo>
                      <a:lnTo>
                        <a:pt x="101" y="59"/>
                      </a:lnTo>
                      <a:lnTo>
                        <a:pt x="99" y="59"/>
                      </a:lnTo>
                      <a:lnTo>
                        <a:pt x="97" y="54"/>
                      </a:lnTo>
                      <a:lnTo>
                        <a:pt x="94" y="54"/>
                      </a:lnTo>
                      <a:lnTo>
                        <a:pt x="94" y="54"/>
                      </a:lnTo>
                      <a:lnTo>
                        <a:pt x="85" y="50"/>
                      </a:lnTo>
                      <a:lnTo>
                        <a:pt x="82" y="50"/>
                      </a:lnTo>
                      <a:lnTo>
                        <a:pt x="82" y="50"/>
                      </a:lnTo>
                      <a:lnTo>
                        <a:pt x="80" y="50"/>
                      </a:lnTo>
                      <a:lnTo>
                        <a:pt x="80" y="47"/>
                      </a:lnTo>
                      <a:lnTo>
                        <a:pt x="80" y="47"/>
                      </a:lnTo>
                      <a:lnTo>
                        <a:pt x="80" y="45"/>
                      </a:lnTo>
                      <a:lnTo>
                        <a:pt x="78" y="42"/>
                      </a:lnTo>
                      <a:lnTo>
                        <a:pt x="78" y="42"/>
                      </a:lnTo>
                      <a:lnTo>
                        <a:pt x="75" y="40"/>
                      </a:lnTo>
                      <a:lnTo>
                        <a:pt x="73" y="40"/>
                      </a:lnTo>
                      <a:lnTo>
                        <a:pt x="73" y="40"/>
                      </a:lnTo>
                      <a:lnTo>
                        <a:pt x="73" y="38"/>
                      </a:lnTo>
                      <a:lnTo>
                        <a:pt x="73" y="38"/>
                      </a:lnTo>
                      <a:lnTo>
                        <a:pt x="73" y="35"/>
                      </a:lnTo>
                      <a:lnTo>
                        <a:pt x="73" y="35"/>
                      </a:lnTo>
                      <a:lnTo>
                        <a:pt x="73" y="31"/>
                      </a:lnTo>
                      <a:lnTo>
                        <a:pt x="75" y="31"/>
                      </a:lnTo>
                      <a:lnTo>
                        <a:pt x="75" y="26"/>
                      </a:lnTo>
                      <a:lnTo>
                        <a:pt x="75" y="26"/>
                      </a:lnTo>
                      <a:lnTo>
                        <a:pt x="78" y="26"/>
                      </a:lnTo>
                      <a:lnTo>
                        <a:pt x="78" y="23"/>
                      </a:lnTo>
                      <a:lnTo>
                        <a:pt x="78" y="21"/>
                      </a:lnTo>
                      <a:lnTo>
                        <a:pt x="78" y="19"/>
                      </a:lnTo>
                      <a:lnTo>
                        <a:pt x="78" y="19"/>
                      </a:lnTo>
                      <a:lnTo>
                        <a:pt x="80" y="19"/>
                      </a:lnTo>
                      <a:lnTo>
                        <a:pt x="80" y="19"/>
                      </a:lnTo>
                      <a:lnTo>
                        <a:pt x="80" y="16"/>
                      </a:lnTo>
                      <a:lnTo>
                        <a:pt x="78" y="16"/>
                      </a:lnTo>
                      <a:lnTo>
                        <a:pt x="75" y="16"/>
                      </a:lnTo>
                      <a:lnTo>
                        <a:pt x="73" y="16"/>
                      </a:lnTo>
                      <a:lnTo>
                        <a:pt x="71" y="14"/>
                      </a:lnTo>
                      <a:lnTo>
                        <a:pt x="68" y="14"/>
                      </a:lnTo>
                      <a:lnTo>
                        <a:pt x="66" y="14"/>
                      </a:lnTo>
                      <a:lnTo>
                        <a:pt x="66" y="12"/>
                      </a:lnTo>
                      <a:lnTo>
                        <a:pt x="63" y="9"/>
                      </a:lnTo>
                      <a:lnTo>
                        <a:pt x="63" y="9"/>
                      </a:lnTo>
                      <a:lnTo>
                        <a:pt x="61" y="7"/>
                      </a:lnTo>
                      <a:lnTo>
                        <a:pt x="61" y="4"/>
                      </a:lnTo>
                      <a:lnTo>
                        <a:pt x="61" y="2"/>
                      </a:lnTo>
                      <a:lnTo>
                        <a:pt x="59" y="2"/>
                      </a:lnTo>
                      <a:lnTo>
                        <a:pt x="56" y="2"/>
                      </a:lnTo>
                      <a:lnTo>
                        <a:pt x="54" y="2"/>
                      </a:lnTo>
                      <a:lnTo>
                        <a:pt x="54" y="0"/>
                      </a:lnTo>
                      <a:lnTo>
                        <a:pt x="52" y="0"/>
                      </a:lnTo>
                      <a:lnTo>
                        <a:pt x="49" y="0"/>
                      </a:lnTo>
                      <a:lnTo>
                        <a:pt x="44" y="0"/>
                      </a:lnTo>
                      <a:lnTo>
                        <a:pt x="40" y="0"/>
                      </a:lnTo>
                      <a:lnTo>
                        <a:pt x="40" y="0"/>
                      </a:lnTo>
                      <a:lnTo>
                        <a:pt x="37" y="0"/>
                      </a:lnTo>
                      <a:lnTo>
                        <a:pt x="35" y="2"/>
                      </a:lnTo>
                      <a:lnTo>
                        <a:pt x="35" y="2"/>
                      </a:lnTo>
                      <a:lnTo>
                        <a:pt x="33" y="4"/>
                      </a:lnTo>
                      <a:lnTo>
                        <a:pt x="33" y="4"/>
                      </a:lnTo>
                      <a:lnTo>
                        <a:pt x="30" y="7"/>
                      </a:lnTo>
                      <a:lnTo>
                        <a:pt x="26" y="7"/>
                      </a:lnTo>
                      <a:lnTo>
                        <a:pt x="23" y="12"/>
                      </a:lnTo>
                      <a:lnTo>
                        <a:pt x="23" y="14"/>
                      </a:lnTo>
                      <a:lnTo>
                        <a:pt x="26" y="19"/>
                      </a:lnTo>
                      <a:lnTo>
                        <a:pt x="26" y="21"/>
                      </a:lnTo>
                      <a:lnTo>
                        <a:pt x="23" y="26"/>
                      </a:lnTo>
                      <a:lnTo>
                        <a:pt x="23" y="26"/>
                      </a:lnTo>
                      <a:lnTo>
                        <a:pt x="23" y="31"/>
                      </a:lnTo>
                      <a:lnTo>
                        <a:pt x="21" y="33"/>
                      </a:lnTo>
                      <a:lnTo>
                        <a:pt x="21" y="33"/>
                      </a:lnTo>
                      <a:lnTo>
                        <a:pt x="0" y="47"/>
                      </a:lnTo>
                      <a:lnTo>
                        <a:pt x="0" y="47"/>
                      </a:lnTo>
                      <a:lnTo>
                        <a:pt x="0" y="47"/>
                      </a:lnTo>
                      <a:lnTo>
                        <a:pt x="7" y="59"/>
                      </a:lnTo>
                      <a:lnTo>
                        <a:pt x="16" y="61"/>
                      </a:lnTo>
                      <a:lnTo>
                        <a:pt x="68" y="95"/>
                      </a:lnTo>
                      <a:lnTo>
                        <a:pt x="89" y="95"/>
                      </a:lnTo>
                      <a:lnTo>
                        <a:pt x="94" y="90"/>
                      </a:lnTo>
                      <a:lnTo>
                        <a:pt x="97" y="85"/>
                      </a:lnTo>
                      <a:lnTo>
                        <a:pt x="101" y="83"/>
                      </a:lnTo>
                      <a:lnTo>
                        <a:pt x="104" y="85"/>
                      </a:lnTo>
                      <a:lnTo>
                        <a:pt x="106" y="83"/>
                      </a:lnTo>
                      <a:lnTo>
                        <a:pt x="108" y="85"/>
                      </a:lnTo>
                      <a:lnTo>
                        <a:pt x="108" y="83"/>
                      </a:lnTo>
                      <a:lnTo>
                        <a:pt x="111" y="80"/>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1" name="Freeform 86">
                  <a:extLst>
                    <a:ext uri="{FF2B5EF4-FFF2-40B4-BE49-F238E27FC236}">
                      <a16:creationId xmlns:a16="http://schemas.microsoft.com/office/drawing/2014/main" id="{22A45150-94F1-B1D9-B41A-76A0AE38D838}"/>
                    </a:ext>
                  </a:extLst>
                </p:cNvPr>
                <p:cNvSpPr>
                  <a:spLocks/>
                </p:cNvSpPr>
                <p:nvPr/>
              </p:nvSpPr>
              <p:spPr bwMode="auto">
                <a:xfrm>
                  <a:off x="3167" y="2280"/>
                  <a:ext cx="22" cy="19"/>
                </a:xfrm>
                <a:custGeom>
                  <a:avLst/>
                  <a:gdLst>
                    <a:gd name="T0" fmla="*/ 0 w 22"/>
                    <a:gd name="T1" fmla="*/ 12 h 19"/>
                    <a:gd name="T2" fmla="*/ 5 w 22"/>
                    <a:gd name="T3" fmla="*/ 7 h 19"/>
                    <a:gd name="T4" fmla="*/ 8 w 22"/>
                    <a:gd name="T5" fmla="*/ 2 h 19"/>
                    <a:gd name="T6" fmla="*/ 12 w 22"/>
                    <a:gd name="T7" fmla="*/ 0 h 19"/>
                    <a:gd name="T8" fmla="*/ 15 w 22"/>
                    <a:gd name="T9" fmla="*/ 2 h 19"/>
                    <a:gd name="T10" fmla="*/ 17 w 22"/>
                    <a:gd name="T11" fmla="*/ 0 h 19"/>
                    <a:gd name="T12" fmla="*/ 19 w 22"/>
                    <a:gd name="T13" fmla="*/ 2 h 19"/>
                    <a:gd name="T14" fmla="*/ 19 w 22"/>
                    <a:gd name="T15" fmla="*/ 2 h 19"/>
                    <a:gd name="T16" fmla="*/ 19 w 22"/>
                    <a:gd name="T17" fmla="*/ 7 h 19"/>
                    <a:gd name="T18" fmla="*/ 15 w 22"/>
                    <a:gd name="T19" fmla="*/ 7 h 19"/>
                    <a:gd name="T20" fmla="*/ 17 w 22"/>
                    <a:gd name="T21" fmla="*/ 9 h 19"/>
                    <a:gd name="T22" fmla="*/ 19 w 22"/>
                    <a:gd name="T23" fmla="*/ 9 h 19"/>
                    <a:gd name="T24" fmla="*/ 19 w 22"/>
                    <a:gd name="T25" fmla="*/ 12 h 19"/>
                    <a:gd name="T26" fmla="*/ 19 w 22"/>
                    <a:gd name="T27" fmla="*/ 12 h 19"/>
                    <a:gd name="T28" fmla="*/ 22 w 22"/>
                    <a:gd name="T29" fmla="*/ 14 h 19"/>
                    <a:gd name="T30" fmla="*/ 19 w 22"/>
                    <a:gd name="T31" fmla="*/ 14 h 19"/>
                    <a:gd name="T32" fmla="*/ 19 w 22"/>
                    <a:gd name="T33" fmla="*/ 14 h 19"/>
                    <a:gd name="T34" fmla="*/ 22 w 22"/>
                    <a:gd name="T35" fmla="*/ 16 h 19"/>
                    <a:gd name="T36" fmla="*/ 15 w 22"/>
                    <a:gd name="T37" fmla="*/ 19 h 19"/>
                    <a:gd name="T38" fmla="*/ 12 w 22"/>
                    <a:gd name="T39" fmla="*/ 14 h 19"/>
                    <a:gd name="T40" fmla="*/ 3 w 22"/>
                    <a:gd name="T41" fmla="*/ 12 h 19"/>
                    <a:gd name="T42" fmla="*/ 0 w 22"/>
                    <a:gd name="T43" fmla="*/ 12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19">
                      <a:moveTo>
                        <a:pt x="0" y="12"/>
                      </a:moveTo>
                      <a:lnTo>
                        <a:pt x="5" y="7"/>
                      </a:lnTo>
                      <a:lnTo>
                        <a:pt x="8" y="2"/>
                      </a:lnTo>
                      <a:lnTo>
                        <a:pt x="12" y="0"/>
                      </a:lnTo>
                      <a:lnTo>
                        <a:pt x="15" y="2"/>
                      </a:lnTo>
                      <a:lnTo>
                        <a:pt x="17" y="0"/>
                      </a:lnTo>
                      <a:lnTo>
                        <a:pt x="19" y="2"/>
                      </a:lnTo>
                      <a:lnTo>
                        <a:pt x="19" y="2"/>
                      </a:lnTo>
                      <a:lnTo>
                        <a:pt x="19" y="7"/>
                      </a:lnTo>
                      <a:lnTo>
                        <a:pt x="15" y="7"/>
                      </a:lnTo>
                      <a:lnTo>
                        <a:pt x="17" y="9"/>
                      </a:lnTo>
                      <a:lnTo>
                        <a:pt x="19" y="9"/>
                      </a:lnTo>
                      <a:lnTo>
                        <a:pt x="19" y="12"/>
                      </a:lnTo>
                      <a:lnTo>
                        <a:pt x="19" y="12"/>
                      </a:lnTo>
                      <a:lnTo>
                        <a:pt x="22" y="14"/>
                      </a:lnTo>
                      <a:lnTo>
                        <a:pt x="19" y="14"/>
                      </a:lnTo>
                      <a:lnTo>
                        <a:pt x="19" y="14"/>
                      </a:lnTo>
                      <a:lnTo>
                        <a:pt x="22" y="16"/>
                      </a:lnTo>
                      <a:lnTo>
                        <a:pt x="15" y="19"/>
                      </a:lnTo>
                      <a:lnTo>
                        <a:pt x="12" y="14"/>
                      </a:lnTo>
                      <a:lnTo>
                        <a:pt x="3" y="12"/>
                      </a:lnTo>
                      <a:lnTo>
                        <a:pt x="0" y="12"/>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2" name="Freeform 87">
                  <a:extLst>
                    <a:ext uri="{FF2B5EF4-FFF2-40B4-BE49-F238E27FC236}">
                      <a16:creationId xmlns:a16="http://schemas.microsoft.com/office/drawing/2014/main" id="{16ECF741-04C9-36D0-E9E3-37AED3E26A1D}"/>
                    </a:ext>
                  </a:extLst>
                </p:cNvPr>
                <p:cNvSpPr>
                  <a:spLocks/>
                </p:cNvSpPr>
                <p:nvPr/>
              </p:nvSpPr>
              <p:spPr bwMode="auto">
                <a:xfrm>
                  <a:off x="3004" y="2218"/>
                  <a:ext cx="26" cy="14"/>
                </a:xfrm>
                <a:custGeom>
                  <a:avLst/>
                  <a:gdLst>
                    <a:gd name="T0" fmla="*/ 5 w 26"/>
                    <a:gd name="T1" fmla="*/ 12 h 14"/>
                    <a:gd name="T2" fmla="*/ 3 w 26"/>
                    <a:gd name="T3" fmla="*/ 12 h 14"/>
                    <a:gd name="T4" fmla="*/ 0 w 26"/>
                    <a:gd name="T5" fmla="*/ 10 h 14"/>
                    <a:gd name="T6" fmla="*/ 0 w 26"/>
                    <a:gd name="T7" fmla="*/ 7 h 14"/>
                    <a:gd name="T8" fmla="*/ 3 w 26"/>
                    <a:gd name="T9" fmla="*/ 7 h 14"/>
                    <a:gd name="T10" fmla="*/ 3 w 26"/>
                    <a:gd name="T11" fmla="*/ 5 h 14"/>
                    <a:gd name="T12" fmla="*/ 5 w 26"/>
                    <a:gd name="T13" fmla="*/ 7 h 14"/>
                    <a:gd name="T14" fmla="*/ 7 w 26"/>
                    <a:gd name="T15" fmla="*/ 5 h 14"/>
                    <a:gd name="T16" fmla="*/ 7 w 26"/>
                    <a:gd name="T17" fmla="*/ 5 h 14"/>
                    <a:gd name="T18" fmla="*/ 7 w 26"/>
                    <a:gd name="T19" fmla="*/ 2 h 14"/>
                    <a:gd name="T20" fmla="*/ 10 w 26"/>
                    <a:gd name="T21" fmla="*/ 2 h 14"/>
                    <a:gd name="T22" fmla="*/ 12 w 26"/>
                    <a:gd name="T23" fmla="*/ 5 h 14"/>
                    <a:gd name="T24" fmla="*/ 14 w 26"/>
                    <a:gd name="T25" fmla="*/ 5 h 14"/>
                    <a:gd name="T26" fmla="*/ 19 w 26"/>
                    <a:gd name="T27" fmla="*/ 2 h 14"/>
                    <a:gd name="T28" fmla="*/ 24 w 26"/>
                    <a:gd name="T29" fmla="*/ 0 h 14"/>
                    <a:gd name="T30" fmla="*/ 24 w 26"/>
                    <a:gd name="T31" fmla="*/ 0 h 14"/>
                    <a:gd name="T32" fmla="*/ 26 w 26"/>
                    <a:gd name="T33" fmla="*/ 0 h 14"/>
                    <a:gd name="T34" fmla="*/ 24 w 26"/>
                    <a:gd name="T35" fmla="*/ 2 h 14"/>
                    <a:gd name="T36" fmla="*/ 21 w 26"/>
                    <a:gd name="T37" fmla="*/ 2 h 14"/>
                    <a:gd name="T38" fmla="*/ 19 w 26"/>
                    <a:gd name="T39" fmla="*/ 5 h 14"/>
                    <a:gd name="T40" fmla="*/ 19 w 26"/>
                    <a:gd name="T41" fmla="*/ 7 h 14"/>
                    <a:gd name="T42" fmla="*/ 19 w 26"/>
                    <a:gd name="T43" fmla="*/ 10 h 14"/>
                    <a:gd name="T44" fmla="*/ 17 w 26"/>
                    <a:gd name="T45" fmla="*/ 10 h 14"/>
                    <a:gd name="T46" fmla="*/ 14 w 26"/>
                    <a:gd name="T47" fmla="*/ 10 h 14"/>
                    <a:gd name="T48" fmla="*/ 12 w 26"/>
                    <a:gd name="T49" fmla="*/ 12 h 14"/>
                    <a:gd name="T50" fmla="*/ 10 w 26"/>
                    <a:gd name="T51" fmla="*/ 12 h 14"/>
                    <a:gd name="T52" fmla="*/ 10 w 26"/>
                    <a:gd name="T53" fmla="*/ 14 h 14"/>
                    <a:gd name="T54" fmla="*/ 7 w 26"/>
                    <a:gd name="T55" fmla="*/ 12 h 14"/>
                    <a:gd name="T56" fmla="*/ 5 w 26"/>
                    <a:gd name="T57" fmla="*/ 12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6" h="14">
                      <a:moveTo>
                        <a:pt x="5" y="12"/>
                      </a:moveTo>
                      <a:lnTo>
                        <a:pt x="3" y="12"/>
                      </a:lnTo>
                      <a:lnTo>
                        <a:pt x="0" y="10"/>
                      </a:lnTo>
                      <a:lnTo>
                        <a:pt x="0" y="7"/>
                      </a:lnTo>
                      <a:lnTo>
                        <a:pt x="3" y="7"/>
                      </a:lnTo>
                      <a:lnTo>
                        <a:pt x="3" y="5"/>
                      </a:lnTo>
                      <a:lnTo>
                        <a:pt x="5" y="7"/>
                      </a:lnTo>
                      <a:lnTo>
                        <a:pt x="7" y="5"/>
                      </a:lnTo>
                      <a:lnTo>
                        <a:pt x="7" y="5"/>
                      </a:lnTo>
                      <a:lnTo>
                        <a:pt x="7" y="2"/>
                      </a:lnTo>
                      <a:lnTo>
                        <a:pt x="10" y="2"/>
                      </a:lnTo>
                      <a:lnTo>
                        <a:pt x="12" y="5"/>
                      </a:lnTo>
                      <a:lnTo>
                        <a:pt x="14" y="5"/>
                      </a:lnTo>
                      <a:lnTo>
                        <a:pt x="19" y="2"/>
                      </a:lnTo>
                      <a:lnTo>
                        <a:pt x="24" y="0"/>
                      </a:lnTo>
                      <a:lnTo>
                        <a:pt x="24" y="0"/>
                      </a:lnTo>
                      <a:lnTo>
                        <a:pt x="26" y="0"/>
                      </a:lnTo>
                      <a:lnTo>
                        <a:pt x="24" y="2"/>
                      </a:lnTo>
                      <a:lnTo>
                        <a:pt x="21" y="2"/>
                      </a:lnTo>
                      <a:lnTo>
                        <a:pt x="19" y="5"/>
                      </a:lnTo>
                      <a:lnTo>
                        <a:pt x="19" y="7"/>
                      </a:lnTo>
                      <a:lnTo>
                        <a:pt x="19" y="10"/>
                      </a:lnTo>
                      <a:lnTo>
                        <a:pt x="17" y="10"/>
                      </a:lnTo>
                      <a:lnTo>
                        <a:pt x="14" y="10"/>
                      </a:lnTo>
                      <a:lnTo>
                        <a:pt x="12" y="12"/>
                      </a:lnTo>
                      <a:lnTo>
                        <a:pt x="10" y="12"/>
                      </a:lnTo>
                      <a:lnTo>
                        <a:pt x="10" y="14"/>
                      </a:lnTo>
                      <a:lnTo>
                        <a:pt x="7" y="12"/>
                      </a:lnTo>
                      <a:lnTo>
                        <a:pt x="5" y="12"/>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3" name="Freeform 88">
                  <a:extLst>
                    <a:ext uri="{FF2B5EF4-FFF2-40B4-BE49-F238E27FC236}">
                      <a16:creationId xmlns:a16="http://schemas.microsoft.com/office/drawing/2014/main" id="{9FDE007C-F283-B454-44A9-A7651CE1147B}"/>
                    </a:ext>
                  </a:extLst>
                </p:cNvPr>
                <p:cNvSpPr>
                  <a:spLocks/>
                </p:cNvSpPr>
                <p:nvPr/>
              </p:nvSpPr>
              <p:spPr bwMode="auto">
                <a:xfrm>
                  <a:off x="3042" y="2199"/>
                  <a:ext cx="71" cy="57"/>
                </a:xfrm>
                <a:custGeom>
                  <a:avLst/>
                  <a:gdLst>
                    <a:gd name="T0" fmla="*/ 57 w 71"/>
                    <a:gd name="T1" fmla="*/ 31 h 57"/>
                    <a:gd name="T2" fmla="*/ 59 w 71"/>
                    <a:gd name="T3" fmla="*/ 29 h 57"/>
                    <a:gd name="T4" fmla="*/ 59 w 71"/>
                    <a:gd name="T5" fmla="*/ 24 h 57"/>
                    <a:gd name="T6" fmla="*/ 62 w 71"/>
                    <a:gd name="T7" fmla="*/ 17 h 57"/>
                    <a:gd name="T8" fmla="*/ 59 w 71"/>
                    <a:gd name="T9" fmla="*/ 10 h 57"/>
                    <a:gd name="T10" fmla="*/ 66 w 71"/>
                    <a:gd name="T11" fmla="*/ 5 h 57"/>
                    <a:gd name="T12" fmla="*/ 69 w 71"/>
                    <a:gd name="T13" fmla="*/ 2 h 57"/>
                    <a:gd name="T14" fmla="*/ 69 w 71"/>
                    <a:gd name="T15" fmla="*/ 0 h 57"/>
                    <a:gd name="T16" fmla="*/ 62 w 71"/>
                    <a:gd name="T17" fmla="*/ 0 h 57"/>
                    <a:gd name="T18" fmla="*/ 54 w 71"/>
                    <a:gd name="T19" fmla="*/ 0 h 57"/>
                    <a:gd name="T20" fmla="*/ 47 w 71"/>
                    <a:gd name="T21" fmla="*/ 2 h 57"/>
                    <a:gd name="T22" fmla="*/ 43 w 71"/>
                    <a:gd name="T23" fmla="*/ 5 h 57"/>
                    <a:gd name="T24" fmla="*/ 36 w 71"/>
                    <a:gd name="T25" fmla="*/ 5 h 57"/>
                    <a:gd name="T26" fmla="*/ 31 w 71"/>
                    <a:gd name="T27" fmla="*/ 5 h 57"/>
                    <a:gd name="T28" fmla="*/ 24 w 71"/>
                    <a:gd name="T29" fmla="*/ 5 h 57"/>
                    <a:gd name="T30" fmla="*/ 21 w 71"/>
                    <a:gd name="T31" fmla="*/ 5 h 57"/>
                    <a:gd name="T32" fmla="*/ 14 w 71"/>
                    <a:gd name="T33" fmla="*/ 7 h 57"/>
                    <a:gd name="T34" fmla="*/ 10 w 71"/>
                    <a:gd name="T35" fmla="*/ 7 h 57"/>
                    <a:gd name="T36" fmla="*/ 7 w 71"/>
                    <a:gd name="T37" fmla="*/ 12 h 57"/>
                    <a:gd name="T38" fmla="*/ 5 w 71"/>
                    <a:gd name="T39" fmla="*/ 14 h 57"/>
                    <a:gd name="T40" fmla="*/ 2 w 71"/>
                    <a:gd name="T41" fmla="*/ 14 h 57"/>
                    <a:gd name="T42" fmla="*/ 0 w 71"/>
                    <a:gd name="T43" fmla="*/ 17 h 57"/>
                    <a:gd name="T44" fmla="*/ 2 w 71"/>
                    <a:gd name="T45" fmla="*/ 21 h 57"/>
                    <a:gd name="T46" fmla="*/ 2 w 71"/>
                    <a:gd name="T47" fmla="*/ 26 h 57"/>
                    <a:gd name="T48" fmla="*/ 7 w 71"/>
                    <a:gd name="T49" fmla="*/ 31 h 57"/>
                    <a:gd name="T50" fmla="*/ 10 w 71"/>
                    <a:gd name="T51" fmla="*/ 33 h 57"/>
                    <a:gd name="T52" fmla="*/ 10 w 71"/>
                    <a:gd name="T53" fmla="*/ 38 h 57"/>
                    <a:gd name="T54" fmla="*/ 7 w 71"/>
                    <a:gd name="T55" fmla="*/ 40 h 57"/>
                    <a:gd name="T56" fmla="*/ 5 w 71"/>
                    <a:gd name="T57" fmla="*/ 43 h 57"/>
                    <a:gd name="T58" fmla="*/ 2 w 71"/>
                    <a:gd name="T59" fmla="*/ 45 h 57"/>
                    <a:gd name="T60" fmla="*/ 5 w 71"/>
                    <a:gd name="T61" fmla="*/ 48 h 57"/>
                    <a:gd name="T62" fmla="*/ 5 w 71"/>
                    <a:gd name="T63" fmla="*/ 52 h 57"/>
                    <a:gd name="T64" fmla="*/ 10 w 71"/>
                    <a:gd name="T65" fmla="*/ 55 h 57"/>
                    <a:gd name="T66" fmla="*/ 12 w 71"/>
                    <a:gd name="T67" fmla="*/ 57 h 57"/>
                    <a:gd name="T68" fmla="*/ 36 w 71"/>
                    <a:gd name="T69" fmla="*/ 4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1" h="57">
                      <a:moveTo>
                        <a:pt x="36" y="45"/>
                      </a:moveTo>
                      <a:lnTo>
                        <a:pt x="57" y="31"/>
                      </a:lnTo>
                      <a:lnTo>
                        <a:pt x="57" y="31"/>
                      </a:lnTo>
                      <a:lnTo>
                        <a:pt x="59" y="29"/>
                      </a:lnTo>
                      <a:lnTo>
                        <a:pt x="59" y="24"/>
                      </a:lnTo>
                      <a:lnTo>
                        <a:pt x="59" y="24"/>
                      </a:lnTo>
                      <a:lnTo>
                        <a:pt x="62" y="19"/>
                      </a:lnTo>
                      <a:lnTo>
                        <a:pt x="62" y="17"/>
                      </a:lnTo>
                      <a:lnTo>
                        <a:pt x="59" y="12"/>
                      </a:lnTo>
                      <a:lnTo>
                        <a:pt x="59" y="10"/>
                      </a:lnTo>
                      <a:lnTo>
                        <a:pt x="62" y="5"/>
                      </a:lnTo>
                      <a:lnTo>
                        <a:pt x="66" y="5"/>
                      </a:lnTo>
                      <a:lnTo>
                        <a:pt x="69" y="2"/>
                      </a:lnTo>
                      <a:lnTo>
                        <a:pt x="69" y="2"/>
                      </a:lnTo>
                      <a:lnTo>
                        <a:pt x="71" y="0"/>
                      </a:lnTo>
                      <a:lnTo>
                        <a:pt x="69" y="0"/>
                      </a:lnTo>
                      <a:lnTo>
                        <a:pt x="66" y="0"/>
                      </a:lnTo>
                      <a:lnTo>
                        <a:pt x="62" y="0"/>
                      </a:lnTo>
                      <a:lnTo>
                        <a:pt x="57" y="0"/>
                      </a:lnTo>
                      <a:lnTo>
                        <a:pt x="54" y="0"/>
                      </a:lnTo>
                      <a:lnTo>
                        <a:pt x="50" y="0"/>
                      </a:lnTo>
                      <a:lnTo>
                        <a:pt x="47" y="2"/>
                      </a:lnTo>
                      <a:lnTo>
                        <a:pt x="45" y="5"/>
                      </a:lnTo>
                      <a:lnTo>
                        <a:pt x="43" y="5"/>
                      </a:lnTo>
                      <a:lnTo>
                        <a:pt x="43" y="5"/>
                      </a:lnTo>
                      <a:lnTo>
                        <a:pt x="36" y="5"/>
                      </a:lnTo>
                      <a:lnTo>
                        <a:pt x="33" y="5"/>
                      </a:lnTo>
                      <a:lnTo>
                        <a:pt x="31" y="5"/>
                      </a:lnTo>
                      <a:lnTo>
                        <a:pt x="28" y="2"/>
                      </a:lnTo>
                      <a:lnTo>
                        <a:pt x="24" y="5"/>
                      </a:lnTo>
                      <a:lnTo>
                        <a:pt x="21" y="5"/>
                      </a:lnTo>
                      <a:lnTo>
                        <a:pt x="21" y="5"/>
                      </a:lnTo>
                      <a:lnTo>
                        <a:pt x="14" y="7"/>
                      </a:lnTo>
                      <a:lnTo>
                        <a:pt x="14" y="7"/>
                      </a:lnTo>
                      <a:lnTo>
                        <a:pt x="10" y="5"/>
                      </a:lnTo>
                      <a:lnTo>
                        <a:pt x="10" y="7"/>
                      </a:lnTo>
                      <a:lnTo>
                        <a:pt x="10" y="12"/>
                      </a:lnTo>
                      <a:lnTo>
                        <a:pt x="7" y="12"/>
                      </a:lnTo>
                      <a:lnTo>
                        <a:pt x="7" y="14"/>
                      </a:lnTo>
                      <a:lnTo>
                        <a:pt x="5" y="14"/>
                      </a:lnTo>
                      <a:lnTo>
                        <a:pt x="2" y="14"/>
                      </a:lnTo>
                      <a:lnTo>
                        <a:pt x="2" y="14"/>
                      </a:lnTo>
                      <a:lnTo>
                        <a:pt x="0" y="14"/>
                      </a:lnTo>
                      <a:lnTo>
                        <a:pt x="0" y="17"/>
                      </a:lnTo>
                      <a:lnTo>
                        <a:pt x="0" y="19"/>
                      </a:lnTo>
                      <a:lnTo>
                        <a:pt x="2" y="21"/>
                      </a:lnTo>
                      <a:lnTo>
                        <a:pt x="2" y="24"/>
                      </a:lnTo>
                      <a:lnTo>
                        <a:pt x="2" y="26"/>
                      </a:lnTo>
                      <a:lnTo>
                        <a:pt x="2" y="31"/>
                      </a:lnTo>
                      <a:lnTo>
                        <a:pt x="7" y="31"/>
                      </a:lnTo>
                      <a:lnTo>
                        <a:pt x="7" y="33"/>
                      </a:lnTo>
                      <a:lnTo>
                        <a:pt x="10" y="33"/>
                      </a:lnTo>
                      <a:lnTo>
                        <a:pt x="10" y="38"/>
                      </a:lnTo>
                      <a:lnTo>
                        <a:pt x="10" y="38"/>
                      </a:lnTo>
                      <a:lnTo>
                        <a:pt x="10" y="40"/>
                      </a:lnTo>
                      <a:lnTo>
                        <a:pt x="7" y="40"/>
                      </a:lnTo>
                      <a:lnTo>
                        <a:pt x="5" y="40"/>
                      </a:lnTo>
                      <a:lnTo>
                        <a:pt x="5" y="43"/>
                      </a:lnTo>
                      <a:lnTo>
                        <a:pt x="2" y="45"/>
                      </a:lnTo>
                      <a:lnTo>
                        <a:pt x="2" y="45"/>
                      </a:lnTo>
                      <a:lnTo>
                        <a:pt x="2" y="45"/>
                      </a:lnTo>
                      <a:lnTo>
                        <a:pt x="5" y="48"/>
                      </a:lnTo>
                      <a:lnTo>
                        <a:pt x="5" y="52"/>
                      </a:lnTo>
                      <a:lnTo>
                        <a:pt x="5" y="52"/>
                      </a:lnTo>
                      <a:lnTo>
                        <a:pt x="5" y="52"/>
                      </a:lnTo>
                      <a:lnTo>
                        <a:pt x="10" y="55"/>
                      </a:lnTo>
                      <a:lnTo>
                        <a:pt x="12" y="57"/>
                      </a:lnTo>
                      <a:lnTo>
                        <a:pt x="12" y="57"/>
                      </a:lnTo>
                      <a:lnTo>
                        <a:pt x="14" y="57"/>
                      </a:lnTo>
                      <a:lnTo>
                        <a:pt x="36" y="45"/>
                      </a:lnTo>
                      <a:lnTo>
                        <a:pt x="36" y="45"/>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4" name="Freeform 89">
                  <a:extLst>
                    <a:ext uri="{FF2B5EF4-FFF2-40B4-BE49-F238E27FC236}">
                      <a16:creationId xmlns:a16="http://schemas.microsoft.com/office/drawing/2014/main" id="{A785844E-903B-DD48-EB70-C08141905874}"/>
                    </a:ext>
                  </a:extLst>
                </p:cNvPr>
                <p:cNvSpPr>
                  <a:spLocks/>
                </p:cNvSpPr>
                <p:nvPr/>
              </p:nvSpPr>
              <p:spPr bwMode="auto">
                <a:xfrm>
                  <a:off x="3028" y="2244"/>
                  <a:ext cx="16" cy="45"/>
                </a:xfrm>
                <a:custGeom>
                  <a:avLst/>
                  <a:gdLst>
                    <a:gd name="T0" fmla="*/ 9 w 16"/>
                    <a:gd name="T1" fmla="*/ 45 h 45"/>
                    <a:gd name="T2" fmla="*/ 12 w 16"/>
                    <a:gd name="T3" fmla="*/ 43 h 45"/>
                    <a:gd name="T4" fmla="*/ 12 w 16"/>
                    <a:gd name="T5" fmla="*/ 43 h 45"/>
                    <a:gd name="T6" fmla="*/ 12 w 16"/>
                    <a:gd name="T7" fmla="*/ 43 h 45"/>
                    <a:gd name="T8" fmla="*/ 12 w 16"/>
                    <a:gd name="T9" fmla="*/ 40 h 45"/>
                    <a:gd name="T10" fmla="*/ 12 w 16"/>
                    <a:gd name="T11" fmla="*/ 38 h 45"/>
                    <a:gd name="T12" fmla="*/ 14 w 16"/>
                    <a:gd name="T13" fmla="*/ 36 h 45"/>
                    <a:gd name="T14" fmla="*/ 14 w 16"/>
                    <a:gd name="T15" fmla="*/ 33 h 45"/>
                    <a:gd name="T16" fmla="*/ 14 w 16"/>
                    <a:gd name="T17" fmla="*/ 33 h 45"/>
                    <a:gd name="T18" fmla="*/ 14 w 16"/>
                    <a:gd name="T19" fmla="*/ 31 h 45"/>
                    <a:gd name="T20" fmla="*/ 14 w 16"/>
                    <a:gd name="T21" fmla="*/ 29 h 45"/>
                    <a:gd name="T22" fmla="*/ 14 w 16"/>
                    <a:gd name="T23" fmla="*/ 26 h 45"/>
                    <a:gd name="T24" fmla="*/ 14 w 16"/>
                    <a:gd name="T25" fmla="*/ 21 h 45"/>
                    <a:gd name="T26" fmla="*/ 14 w 16"/>
                    <a:gd name="T27" fmla="*/ 21 h 45"/>
                    <a:gd name="T28" fmla="*/ 14 w 16"/>
                    <a:gd name="T29" fmla="*/ 21 h 45"/>
                    <a:gd name="T30" fmla="*/ 12 w 16"/>
                    <a:gd name="T31" fmla="*/ 24 h 45"/>
                    <a:gd name="T32" fmla="*/ 9 w 16"/>
                    <a:gd name="T33" fmla="*/ 21 h 45"/>
                    <a:gd name="T34" fmla="*/ 9 w 16"/>
                    <a:gd name="T35" fmla="*/ 19 h 45"/>
                    <a:gd name="T36" fmla="*/ 9 w 16"/>
                    <a:gd name="T37" fmla="*/ 14 h 45"/>
                    <a:gd name="T38" fmla="*/ 9 w 16"/>
                    <a:gd name="T39" fmla="*/ 14 h 45"/>
                    <a:gd name="T40" fmla="*/ 9 w 16"/>
                    <a:gd name="T41" fmla="*/ 10 h 45"/>
                    <a:gd name="T42" fmla="*/ 14 w 16"/>
                    <a:gd name="T43" fmla="*/ 10 h 45"/>
                    <a:gd name="T44" fmla="*/ 14 w 16"/>
                    <a:gd name="T45" fmla="*/ 12 h 45"/>
                    <a:gd name="T46" fmla="*/ 14 w 16"/>
                    <a:gd name="T47" fmla="*/ 12 h 45"/>
                    <a:gd name="T48" fmla="*/ 16 w 16"/>
                    <a:gd name="T49" fmla="*/ 12 h 45"/>
                    <a:gd name="T50" fmla="*/ 16 w 16"/>
                    <a:gd name="T51" fmla="*/ 10 h 45"/>
                    <a:gd name="T52" fmla="*/ 16 w 16"/>
                    <a:gd name="T53" fmla="*/ 10 h 45"/>
                    <a:gd name="T54" fmla="*/ 16 w 16"/>
                    <a:gd name="T55" fmla="*/ 10 h 45"/>
                    <a:gd name="T56" fmla="*/ 14 w 16"/>
                    <a:gd name="T57" fmla="*/ 7 h 45"/>
                    <a:gd name="T58" fmla="*/ 16 w 16"/>
                    <a:gd name="T59" fmla="*/ 5 h 45"/>
                    <a:gd name="T60" fmla="*/ 16 w 16"/>
                    <a:gd name="T61" fmla="*/ 3 h 45"/>
                    <a:gd name="T62" fmla="*/ 16 w 16"/>
                    <a:gd name="T63" fmla="*/ 0 h 45"/>
                    <a:gd name="T64" fmla="*/ 16 w 16"/>
                    <a:gd name="T65" fmla="*/ 0 h 45"/>
                    <a:gd name="T66" fmla="*/ 14 w 16"/>
                    <a:gd name="T67" fmla="*/ 3 h 45"/>
                    <a:gd name="T68" fmla="*/ 12 w 16"/>
                    <a:gd name="T69" fmla="*/ 3 h 45"/>
                    <a:gd name="T70" fmla="*/ 9 w 16"/>
                    <a:gd name="T71" fmla="*/ 3 h 45"/>
                    <a:gd name="T72" fmla="*/ 7 w 16"/>
                    <a:gd name="T73" fmla="*/ 5 h 45"/>
                    <a:gd name="T74" fmla="*/ 7 w 16"/>
                    <a:gd name="T75" fmla="*/ 12 h 45"/>
                    <a:gd name="T76" fmla="*/ 2 w 16"/>
                    <a:gd name="T77" fmla="*/ 19 h 45"/>
                    <a:gd name="T78" fmla="*/ 0 w 16"/>
                    <a:gd name="T79" fmla="*/ 24 h 45"/>
                    <a:gd name="T80" fmla="*/ 0 w 16"/>
                    <a:gd name="T81" fmla="*/ 24 h 45"/>
                    <a:gd name="T82" fmla="*/ 2 w 16"/>
                    <a:gd name="T83" fmla="*/ 26 h 45"/>
                    <a:gd name="T84" fmla="*/ 5 w 16"/>
                    <a:gd name="T85" fmla="*/ 31 h 45"/>
                    <a:gd name="T86" fmla="*/ 7 w 16"/>
                    <a:gd name="T87" fmla="*/ 33 h 45"/>
                    <a:gd name="T88" fmla="*/ 9 w 16"/>
                    <a:gd name="T89" fmla="*/ 40 h 45"/>
                    <a:gd name="T90" fmla="*/ 9 w 16"/>
                    <a:gd name="T91" fmla="*/ 43 h 45"/>
                    <a:gd name="T92" fmla="*/ 9 w 16"/>
                    <a:gd name="T93"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 h="45">
                      <a:moveTo>
                        <a:pt x="9" y="45"/>
                      </a:moveTo>
                      <a:lnTo>
                        <a:pt x="12" y="43"/>
                      </a:lnTo>
                      <a:lnTo>
                        <a:pt x="12" y="43"/>
                      </a:lnTo>
                      <a:lnTo>
                        <a:pt x="12" y="43"/>
                      </a:lnTo>
                      <a:lnTo>
                        <a:pt x="12" y="40"/>
                      </a:lnTo>
                      <a:lnTo>
                        <a:pt x="12" y="38"/>
                      </a:lnTo>
                      <a:lnTo>
                        <a:pt x="14" y="36"/>
                      </a:lnTo>
                      <a:lnTo>
                        <a:pt x="14" y="33"/>
                      </a:lnTo>
                      <a:lnTo>
                        <a:pt x="14" y="33"/>
                      </a:lnTo>
                      <a:lnTo>
                        <a:pt x="14" y="31"/>
                      </a:lnTo>
                      <a:lnTo>
                        <a:pt x="14" y="29"/>
                      </a:lnTo>
                      <a:lnTo>
                        <a:pt x="14" y="26"/>
                      </a:lnTo>
                      <a:lnTo>
                        <a:pt x="14" y="21"/>
                      </a:lnTo>
                      <a:lnTo>
                        <a:pt x="14" y="21"/>
                      </a:lnTo>
                      <a:lnTo>
                        <a:pt x="14" y="21"/>
                      </a:lnTo>
                      <a:lnTo>
                        <a:pt x="12" y="24"/>
                      </a:lnTo>
                      <a:lnTo>
                        <a:pt x="9" y="21"/>
                      </a:lnTo>
                      <a:lnTo>
                        <a:pt x="9" y="19"/>
                      </a:lnTo>
                      <a:lnTo>
                        <a:pt x="9" y="14"/>
                      </a:lnTo>
                      <a:lnTo>
                        <a:pt x="9" y="14"/>
                      </a:lnTo>
                      <a:lnTo>
                        <a:pt x="9" y="10"/>
                      </a:lnTo>
                      <a:lnTo>
                        <a:pt x="14" y="10"/>
                      </a:lnTo>
                      <a:lnTo>
                        <a:pt x="14" y="12"/>
                      </a:lnTo>
                      <a:lnTo>
                        <a:pt x="14" y="12"/>
                      </a:lnTo>
                      <a:lnTo>
                        <a:pt x="16" y="12"/>
                      </a:lnTo>
                      <a:lnTo>
                        <a:pt x="16" y="10"/>
                      </a:lnTo>
                      <a:lnTo>
                        <a:pt x="16" y="10"/>
                      </a:lnTo>
                      <a:lnTo>
                        <a:pt x="16" y="10"/>
                      </a:lnTo>
                      <a:lnTo>
                        <a:pt x="14" y="7"/>
                      </a:lnTo>
                      <a:lnTo>
                        <a:pt x="16" y="5"/>
                      </a:lnTo>
                      <a:lnTo>
                        <a:pt x="16" y="3"/>
                      </a:lnTo>
                      <a:lnTo>
                        <a:pt x="16" y="0"/>
                      </a:lnTo>
                      <a:lnTo>
                        <a:pt x="16" y="0"/>
                      </a:lnTo>
                      <a:lnTo>
                        <a:pt x="14" y="3"/>
                      </a:lnTo>
                      <a:lnTo>
                        <a:pt x="12" y="3"/>
                      </a:lnTo>
                      <a:lnTo>
                        <a:pt x="9" y="3"/>
                      </a:lnTo>
                      <a:lnTo>
                        <a:pt x="7" y="5"/>
                      </a:lnTo>
                      <a:lnTo>
                        <a:pt x="7" y="12"/>
                      </a:lnTo>
                      <a:lnTo>
                        <a:pt x="2" y="19"/>
                      </a:lnTo>
                      <a:lnTo>
                        <a:pt x="0" y="24"/>
                      </a:lnTo>
                      <a:lnTo>
                        <a:pt x="0" y="24"/>
                      </a:lnTo>
                      <a:lnTo>
                        <a:pt x="2" y="26"/>
                      </a:lnTo>
                      <a:lnTo>
                        <a:pt x="5" y="31"/>
                      </a:lnTo>
                      <a:lnTo>
                        <a:pt x="7" y="33"/>
                      </a:lnTo>
                      <a:lnTo>
                        <a:pt x="9" y="40"/>
                      </a:lnTo>
                      <a:lnTo>
                        <a:pt x="9" y="43"/>
                      </a:lnTo>
                      <a:lnTo>
                        <a:pt x="9" y="45"/>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5" name="Freeform 90">
                  <a:extLst>
                    <a:ext uri="{FF2B5EF4-FFF2-40B4-BE49-F238E27FC236}">
                      <a16:creationId xmlns:a16="http://schemas.microsoft.com/office/drawing/2014/main" id="{E0F03956-E591-686C-AACE-C4190176048C}"/>
                    </a:ext>
                  </a:extLst>
                </p:cNvPr>
                <p:cNvSpPr>
                  <a:spLocks/>
                </p:cNvSpPr>
                <p:nvPr/>
              </p:nvSpPr>
              <p:spPr bwMode="auto">
                <a:xfrm>
                  <a:off x="3042" y="2244"/>
                  <a:ext cx="5" cy="10"/>
                </a:xfrm>
                <a:custGeom>
                  <a:avLst/>
                  <a:gdLst>
                    <a:gd name="T0" fmla="*/ 2 w 5"/>
                    <a:gd name="T1" fmla="*/ 10 h 10"/>
                    <a:gd name="T2" fmla="*/ 2 w 5"/>
                    <a:gd name="T3" fmla="*/ 10 h 10"/>
                    <a:gd name="T4" fmla="*/ 0 w 5"/>
                    <a:gd name="T5" fmla="*/ 7 h 10"/>
                    <a:gd name="T6" fmla="*/ 2 w 5"/>
                    <a:gd name="T7" fmla="*/ 5 h 10"/>
                    <a:gd name="T8" fmla="*/ 2 w 5"/>
                    <a:gd name="T9" fmla="*/ 3 h 10"/>
                    <a:gd name="T10" fmla="*/ 2 w 5"/>
                    <a:gd name="T11" fmla="*/ 0 h 10"/>
                    <a:gd name="T12" fmla="*/ 2 w 5"/>
                    <a:gd name="T13" fmla="*/ 0 h 10"/>
                    <a:gd name="T14" fmla="*/ 2 w 5"/>
                    <a:gd name="T15" fmla="*/ 0 h 10"/>
                    <a:gd name="T16" fmla="*/ 5 w 5"/>
                    <a:gd name="T17" fmla="*/ 3 h 10"/>
                    <a:gd name="T18" fmla="*/ 5 w 5"/>
                    <a:gd name="T19" fmla="*/ 7 h 10"/>
                    <a:gd name="T20" fmla="*/ 5 w 5"/>
                    <a:gd name="T21" fmla="*/ 7 h 10"/>
                    <a:gd name="T22" fmla="*/ 5 w 5"/>
                    <a:gd name="T23" fmla="*/ 7 h 10"/>
                    <a:gd name="T24" fmla="*/ 2 w 5"/>
                    <a:gd name="T25" fmla="*/ 10 h 10"/>
                    <a:gd name="T26" fmla="*/ 2 w 5"/>
                    <a:gd name="T27" fmla="*/ 10 h 10"/>
                    <a:gd name="T28" fmla="*/ 2 w 5"/>
                    <a:gd name="T29"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 h="10">
                      <a:moveTo>
                        <a:pt x="2" y="10"/>
                      </a:moveTo>
                      <a:lnTo>
                        <a:pt x="2" y="10"/>
                      </a:lnTo>
                      <a:lnTo>
                        <a:pt x="0" y="7"/>
                      </a:lnTo>
                      <a:lnTo>
                        <a:pt x="2" y="5"/>
                      </a:lnTo>
                      <a:lnTo>
                        <a:pt x="2" y="3"/>
                      </a:lnTo>
                      <a:lnTo>
                        <a:pt x="2" y="0"/>
                      </a:lnTo>
                      <a:lnTo>
                        <a:pt x="2" y="0"/>
                      </a:lnTo>
                      <a:lnTo>
                        <a:pt x="2" y="0"/>
                      </a:lnTo>
                      <a:lnTo>
                        <a:pt x="5" y="3"/>
                      </a:lnTo>
                      <a:lnTo>
                        <a:pt x="5" y="7"/>
                      </a:lnTo>
                      <a:lnTo>
                        <a:pt x="5" y="7"/>
                      </a:lnTo>
                      <a:lnTo>
                        <a:pt x="5" y="7"/>
                      </a:lnTo>
                      <a:lnTo>
                        <a:pt x="2" y="10"/>
                      </a:lnTo>
                      <a:lnTo>
                        <a:pt x="2" y="10"/>
                      </a:lnTo>
                      <a:lnTo>
                        <a:pt x="2" y="10"/>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6" name="Freeform 91">
                  <a:extLst>
                    <a:ext uri="{FF2B5EF4-FFF2-40B4-BE49-F238E27FC236}">
                      <a16:creationId xmlns:a16="http://schemas.microsoft.com/office/drawing/2014/main" id="{C3C94DE2-DC7C-2B58-E424-9DC5A51C17C6}"/>
                    </a:ext>
                  </a:extLst>
                </p:cNvPr>
                <p:cNvSpPr>
                  <a:spLocks/>
                </p:cNvSpPr>
                <p:nvPr/>
              </p:nvSpPr>
              <p:spPr bwMode="auto">
                <a:xfrm>
                  <a:off x="3037" y="2254"/>
                  <a:ext cx="7" cy="14"/>
                </a:xfrm>
                <a:custGeom>
                  <a:avLst/>
                  <a:gdLst>
                    <a:gd name="T0" fmla="*/ 5 w 7"/>
                    <a:gd name="T1" fmla="*/ 11 h 14"/>
                    <a:gd name="T2" fmla="*/ 5 w 7"/>
                    <a:gd name="T3" fmla="*/ 11 h 14"/>
                    <a:gd name="T4" fmla="*/ 3 w 7"/>
                    <a:gd name="T5" fmla="*/ 14 h 14"/>
                    <a:gd name="T6" fmla="*/ 0 w 7"/>
                    <a:gd name="T7" fmla="*/ 11 h 14"/>
                    <a:gd name="T8" fmla="*/ 0 w 7"/>
                    <a:gd name="T9" fmla="*/ 9 h 14"/>
                    <a:gd name="T10" fmla="*/ 0 w 7"/>
                    <a:gd name="T11" fmla="*/ 4 h 14"/>
                    <a:gd name="T12" fmla="*/ 0 w 7"/>
                    <a:gd name="T13" fmla="*/ 4 h 14"/>
                    <a:gd name="T14" fmla="*/ 0 w 7"/>
                    <a:gd name="T15" fmla="*/ 0 h 14"/>
                    <a:gd name="T16" fmla="*/ 5 w 7"/>
                    <a:gd name="T17" fmla="*/ 0 h 14"/>
                    <a:gd name="T18" fmla="*/ 5 w 7"/>
                    <a:gd name="T19" fmla="*/ 2 h 14"/>
                    <a:gd name="T20" fmla="*/ 5 w 7"/>
                    <a:gd name="T21" fmla="*/ 2 h 14"/>
                    <a:gd name="T22" fmla="*/ 7 w 7"/>
                    <a:gd name="T23" fmla="*/ 2 h 14"/>
                    <a:gd name="T24" fmla="*/ 7 w 7"/>
                    <a:gd name="T25" fmla="*/ 2 h 14"/>
                    <a:gd name="T26" fmla="*/ 7 w 7"/>
                    <a:gd name="T27" fmla="*/ 4 h 14"/>
                    <a:gd name="T28" fmla="*/ 7 w 7"/>
                    <a:gd name="T29" fmla="*/ 4 h 14"/>
                    <a:gd name="T30" fmla="*/ 7 w 7"/>
                    <a:gd name="T31" fmla="*/ 7 h 14"/>
                    <a:gd name="T32" fmla="*/ 7 w 7"/>
                    <a:gd name="T33" fmla="*/ 9 h 14"/>
                    <a:gd name="T34" fmla="*/ 5 w 7"/>
                    <a:gd name="T35" fmla="*/ 11 h 14"/>
                    <a:gd name="T36" fmla="*/ 5 w 7"/>
                    <a:gd name="T37" fmla="*/ 1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 h="14">
                      <a:moveTo>
                        <a:pt x="5" y="11"/>
                      </a:moveTo>
                      <a:lnTo>
                        <a:pt x="5" y="11"/>
                      </a:lnTo>
                      <a:lnTo>
                        <a:pt x="3" y="14"/>
                      </a:lnTo>
                      <a:lnTo>
                        <a:pt x="0" y="11"/>
                      </a:lnTo>
                      <a:lnTo>
                        <a:pt x="0" y="9"/>
                      </a:lnTo>
                      <a:lnTo>
                        <a:pt x="0" y="4"/>
                      </a:lnTo>
                      <a:lnTo>
                        <a:pt x="0" y="4"/>
                      </a:lnTo>
                      <a:lnTo>
                        <a:pt x="0" y="0"/>
                      </a:lnTo>
                      <a:lnTo>
                        <a:pt x="5" y="0"/>
                      </a:lnTo>
                      <a:lnTo>
                        <a:pt x="5" y="2"/>
                      </a:lnTo>
                      <a:lnTo>
                        <a:pt x="5" y="2"/>
                      </a:lnTo>
                      <a:lnTo>
                        <a:pt x="7" y="2"/>
                      </a:lnTo>
                      <a:lnTo>
                        <a:pt x="7" y="2"/>
                      </a:lnTo>
                      <a:lnTo>
                        <a:pt x="7" y="4"/>
                      </a:lnTo>
                      <a:lnTo>
                        <a:pt x="7" y="4"/>
                      </a:lnTo>
                      <a:lnTo>
                        <a:pt x="7" y="7"/>
                      </a:lnTo>
                      <a:lnTo>
                        <a:pt x="7" y="9"/>
                      </a:lnTo>
                      <a:lnTo>
                        <a:pt x="5" y="11"/>
                      </a:lnTo>
                      <a:lnTo>
                        <a:pt x="5" y="11"/>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7" name="Freeform 92">
                  <a:extLst>
                    <a:ext uri="{FF2B5EF4-FFF2-40B4-BE49-F238E27FC236}">
                      <a16:creationId xmlns:a16="http://schemas.microsoft.com/office/drawing/2014/main" id="{4F672055-076A-70A6-44ED-9C63CDC49754}"/>
                    </a:ext>
                  </a:extLst>
                </p:cNvPr>
                <p:cNvSpPr>
                  <a:spLocks/>
                </p:cNvSpPr>
                <p:nvPr/>
              </p:nvSpPr>
              <p:spPr bwMode="auto">
                <a:xfrm>
                  <a:off x="3037" y="2230"/>
                  <a:ext cx="15" cy="17"/>
                </a:xfrm>
                <a:custGeom>
                  <a:avLst/>
                  <a:gdLst>
                    <a:gd name="T0" fmla="*/ 0 w 15"/>
                    <a:gd name="T1" fmla="*/ 17 h 17"/>
                    <a:gd name="T2" fmla="*/ 3 w 15"/>
                    <a:gd name="T3" fmla="*/ 17 h 17"/>
                    <a:gd name="T4" fmla="*/ 5 w 15"/>
                    <a:gd name="T5" fmla="*/ 17 h 17"/>
                    <a:gd name="T6" fmla="*/ 7 w 15"/>
                    <a:gd name="T7" fmla="*/ 14 h 17"/>
                    <a:gd name="T8" fmla="*/ 7 w 15"/>
                    <a:gd name="T9" fmla="*/ 14 h 17"/>
                    <a:gd name="T10" fmla="*/ 10 w 15"/>
                    <a:gd name="T11" fmla="*/ 12 h 17"/>
                    <a:gd name="T12" fmla="*/ 10 w 15"/>
                    <a:gd name="T13" fmla="*/ 9 h 17"/>
                    <a:gd name="T14" fmla="*/ 12 w 15"/>
                    <a:gd name="T15" fmla="*/ 9 h 17"/>
                    <a:gd name="T16" fmla="*/ 15 w 15"/>
                    <a:gd name="T17" fmla="*/ 9 h 17"/>
                    <a:gd name="T18" fmla="*/ 15 w 15"/>
                    <a:gd name="T19" fmla="*/ 7 h 17"/>
                    <a:gd name="T20" fmla="*/ 15 w 15"/>
                    <a:gd name="T21" fmla="*/ 7 h 17"/>
                    <a:gd name="T22" fmla="*/ 15 w 15"/>
                    <a:gd name="T23" fmla="*/ 2 h 17"/>
                    <a:gd name="T24" fmla="*/ 12 w 15"/>
                    <a:gd name="T25" fmla="*/ 2 h 17"/>
                    <a:gd name="T26" fmla="*/ 12 w 15"/>
                    <a:gd name="T27" fmla="*/ 0 h 17"/>
                    <a:gd name="T28" fmla="*/ 7 w 15"/>
                    <a:gd name="T29" fmla="*/ 0 h 17"/>
                    <a:gd name="T30" fmla="*/ 7 w 15"/>
                    <a:gd name="T31" fmla="*/ 0 h 17"/>
                    <a:gd name="T32" fmla="*/ 5 w 15"/>
                    <a:gd name="T33" fmla="*/ 0 h 17"/>
                    <a:gd name="T34" fmla="*/ 5 w 15"/>
                    <a:gd name="T35" fmla="*/ 7 h 17"/>
                    <a:gd name="T36" fmla="*/ 3 w 15"/>
                    <a:gd name="T37" fmla="*/ 12 h 17"/>
                    <a:gd name="T38" fmla="*/ 0 w 15"/>
                    <a:gd name="T39" fmla="*/ 14 h 17"/>
                    <a:gd name="T40" fmla="*/ 0 w 15"/>
                    <a:gd name="T41" fmla="*/ 17 h 17"/>
                    <a:gd name="T42" fmla="*/ 0 w 15"/>
                    <a:gd name="T43"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 h="17">
                      <a:moveTo>
                        <a:pt x="0" y="17"/>
                      </a:moveTo>
                      <a:lnTo>
                        <a:pt x="3" y="17"/>
                      </a:lnTo>
                      <a:lnTo>
                        <a:pt x="5" y="17"/>
                      </a:lnTo>
                      <a:lnTo>
                        <a:pt x="7" y="14"/>
                      </a:lnTo>
                      <a:lnTo>
                        <a:pt x="7" y="14"/>
                      </a:lnTo>
                      <a:lnTo>
                        <a:pt x="10" y="12"/>
                      </a:lnTo>
                      <a:lnTo>
                        <a:pt x="10" y="9"/>
                      </a:lnTo>
                      <a:lnTo>
                        <a:pt x="12" y="9"/>
                      </a:lnTo>
                      <a:lnTo>
                        <a:pt x="15" y="9"/>
                      </a:lnTo>
                      <a:lnTo>
                        <a:pt x="15" y="7"/>
                      </a:lnTo>
                      <a:lnTo>
                        <a:pt x="15" y="7"/>
                      </a:lnTo>
                      <a:lnTo>
                        <a:pt x="15" y="2"/>
                      </a:lnTo>
                      <a:lnTo>
                        <a:pt x="12" y="2"/>
                      </a:lnTo>
                      <a:lnTo>
                        <a:pt x="12" y="0"/>
                      </a:lnTo>
                      <a:lnTo>
                        <a:pt x="7" y="0"/>
                      </a:lnTo>
                      <a:lnTo>
                        <a:pt x="7" y="0"/>
                      </a:lnTo>
                      <a:lnTo>
                        <a:pt x="5" y="0"/>
                      </a:lnTo>
                      <a:lnTo>
                        <a:pt x="5" y="7"/>
                      </a:lnTo>
                      <a:lnTo>
                        <a:pt x="3" y="12"/>
                      </a:lnTo>
                      <a:lnTo>
                        <a:pt x="0" y="14"/>
                      </a:lnTo>
                      <a:lnTo>
                        <a:pt x="0" y="17"/>
                      </a:lnTo>
                      <a:lnTo>
                        <a:pt x="0" y="17"/>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8" name="Freeform 93">
                  <a:extLst>
                    <a:ext uri="{FF2B5EF4-FFF2-40B4-BE49-F238E27FC236}">
                      <a16:creationId xmlns:a16="http://schemas.microsoft.com/office/drawing/2014/main" id="{EEB4CE2B-E397-24B3-5AAD-3C91935A2BEB}"/>
                    </a:ext>
                  </a:extLst>
                </p:cNvPr>
                <p:cNvSpPr>
                  <a:spLocks/>
                </p:cNvSpPr>
                <p:nvPr/>
              </p:nvSpPr>
              <p:spPr bwMode="auto">
                <a:xfrm>
                  <a:off x="3040" y="2244"/>
                  <a:ext cx="45" cy="50"/>
                </a:xfrm>
                <a:custGeom>
                  <a:avLst/>
                  <a:gdLst>
                    <a:gd name="T0" fmla="*/ 0 w 45"/>
                    <a:gd name="T1" fmla="*/ 43 h 50"/>
                    <a:gd name="T2" fmla="*/ 0 w 45"/>
                    <a:gd name="T3" fmla="*/ 43 h 50"/>
                    <a:gd name="T4" fmla="*/ 0 w 45"/>
                    <a:gd name="T5" fmla="*/ 43 h 50"/>
                    <a:gd name="T6" fmla="*/ 0 w 45"/>
                    <a:gd name="T7" fmla="*/ 40 h 50"/>
                    <a:gd name="T8" fmla="*/ 0 w 45"/>
                    <a:gd name="T9" fmla="*/ 38 h 50"/>
                    <a:gd name="T10" fmla="*/ 2 w 45"/>
                    <a:gd name="T11" fmla="*/ 36 h 50"/>
                    <a:gd name="T12" fmla="*/ 2 w 45"/>
                    <a:gd name="T13" fmla="*/ 33 h 50"/>
                    <a:gd name="T14" fmla="*/ 2 w 45"/>
                    <a:gd name="T15" fmla="*/ 33 h 50"/>
                    <a:gd name="T16" fmla="*/ 2 w 45"/>
                    <a:gd name="T17" fmla="*/ 31 h 50"/>
                    <a:gd name="T18" fmla="*/ 2 w 45"/>
                    <a:gd name="T19" fmla="*/ 29 h 50"/>
                    <a:gd name="T20" fmla="*/ 2 w 45"/>
                    <a:gd name="T21" fmla="*/ 26 h 50"/>
                    <a:gd name="T22" fmla="*/ 4 w 45"/>
                    <a:gd name="T23" fmla="*/ 19 h 50"/>
                    <a:gd name="T24" fmla="*/ 4 w 45"/>
                    <a:gd name="T25" fmla="*/ 17 h 50"/>
                    <a:gd name="T26" fmla="*/ 4 w 45"/>
                    <a:gd name="T27" fmla="*/ 14 h 50"/>
                    <a:gd name="T28" fmla="*/ 4 w 45"/>
                    <a:gd name="T29" fmla="*/ 14 h 50"/>
                    <a:gd name="T30" fmla="*/ 4 w 45"/>
                    <a:gd name="T31" fmla="*/ 12 h 50"/>
                    <a:gd name="T32" fmla="*/ 4 w 45"/>
                    <a:gd name="T33" fmla="*/ 10 h 50"/>
                    <a:gd name="T34" fmla="*/ 4 w 45"/>
                    <a:gd name="T35" fmla="*/ 10 h 50"/>
                    <a:gd name="T36" fmla="*/ 4 w 45"/>
                    <a:gd name="T37" fmla="*/ 10 h 50"/>
                    <a:gd name="T38" fmla="*/ 7 w 45"/>
                    <a:gd name="T39" fmla="*/ 7 h 50"/>
                    <a:gd name="T40" fmla="*/ 7 w 45"/>
                    <a:gd name="T41" fmla="*/ 7 h 50"/>
                    <a:gd name="T42" fmla="*/ 12 w 45"/>
                    <a:gd name="T43" fmla="*/ 10 h 50"/>
                    <a:gd name="T44" fmla="*/ 14 w 45"/>
                    <a:gd name="T45" fmla="*/ 12 h 50"/>
                    <a:gd name="T46" fmla="*/ 14 w 45"/>
                    <a:gd name="T47" fmla="*/ 12 h 50"/>
                    <a:gd name="T48" fmla="*/ 16 w 45"/>
                    <a:gd name="T49" fmla="*/ 12 h 50"/>
                    <a:gd name="T50" fmla="*/ 38 w 45"/>
                    <a:gd name="T51" fmla="*/ 0 h 50"/>
                    <a:gd name="T52" fmla="*/ 45 w 45"/>
                    <a:gd name="T53" fmla="*/ 12 h 50"/>
                    <a:gd name="T54" fmla="*/ 45 w 45"/>
                    <a:gd name="T55" fmla="*/ 12 h 50"/>
                    <a:gd name="T56" fmla="*/ 40 w 45"/>
                    <a:gd name="T57" fmla="*/ 17 h 50"/>
                    <a:gd name="T58" fmla="*/ 23 w 45"/>
                    <a:gd name="T59" fmla="*/ 21 h 50"/>
                    <a:gd name="T60" fmla="*/ 35 w 45"/>
                    <a:gd name="T61" fmla="*/ 33 h 50"/>
                    <a:gd name="T62" fmla="*/ 30 w 45"/>
                    <a:gd name="T63" fmla="*/ 38 h 50"/>
                    <a:gd name="T64" fmla="*/ 30 w 45"/>
                    <a:gd name="T65" fmla="*/ 43 h 50"/>
                    <a:gd name="T66" fmla="*/ 21 w 45"/>
                    <a:gd name="T67" fmla="*/ 43 h 50"/>
                    <a:gd name="T68" fmla="*/ 14 w 45"/>
                    <a:gd name="T69" fmla="*/ 50 h 50"/>
                    <a:gd name="T70" fmla="*/ 2 w 45"/>
                    <a:gd name="T71" fmla="*/ 48 h 50"/>
                    <a:gd name="T72" fmla="*/ 0 w 45"/>
                    <a:gd name="T73" fmla="*/ 48 h 50"/>
                    <a:gd name="T74" fmla="*/ 0 w 45"/>
                    <a:gd name="T75" fmla="*/ 48 h 50"/>
                    <a:gd name="T76" fmla="*/ 0 w 45"/>
                    <a:gd name="T77" fmla="*/ 45 h 50"/>
                    <a:gd name="T78" fmla="*/ 0 w 45"/>
                    <a:gd name="T79" fmla="*/ 43 h 50"/>
                    <a:gd name="T80" fmla="*/ 0 w 45"/>
                    <a:gd name="T81" fmla="*/ 43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5" h="50">
                      <a:moveTo>
                        <a:pt x="0" y="43"/>
                      </a:moveTo>
                      <a:lnTo>
                        <a:pt x="0" y="43"/>
                      </a:lnTo>
                      <a:lnTo>
                        <a:pt x="0" y="43"/>
                      </a:lnTo>
                      <a:lnTo>
                        <a:pt x="0" y="40"/>
                      </a:lnTo>
                      <a:lnTo>
                        <a:pt x="0" y="38"/>
                      </a:lnTo>
                      <a:lnTo>
                        <a:pt x="2" y="36"/>
                      </a:lnTo>
                      <a:lnTo>
                        <a:pt x="2" y="33"/>
                      </a:lnTo>
                      <a:lnTo>
                        <a:pt x="2" y="33"/>
                      </a:lnTo>
                      <a:lnTo>
                        <a:pt x="2" y="31"/>
                      </a:lnTo>
                      <a:lnTo>
                        <a:pt x="2" y="29"/>
                      </a:lnTo>
                      <a:lnTo>
                        <a:pt x="2" y="26"/>
                      </a:lnTo>
                      <a:lnTo>
                        <a:pt x="4" y="19"/>
                      </a:lnTo>
                      <a:lnTo>
                        <a:pt x="4" y="17"/>
                      </a:lnTo>
                      <a:lnTo>
                        <a:pt x="4" y="14"/>
                      </a:lnTo>
                      <a:lnTo>
                        <a:pt x="4" y="14"/>
                      </a:lnTo>
                      <a:lnTo>
                        <a:pt x="4" y="12"/>
                      </a:lnTo>
                      <a:lnTo>
                        <a:pt x="4" y="10"/>
                      </a:lnTo>
                      <a:lnTo>
                        <a:pt x="4" y="10"/>
                      </a:lnTo>
                      <a:lnTo>
                        <a:pt x="4" y="10"/>
                      </a:lnTo>
                      <a:lnTo>
                        <a:pt x="7" y="7"/>
                      </a:lnTo>
                      <a:lnTo>
                        <a:pt x="7" y="7"/>
                      </a:lnTo>
                      <a:lnTo>
                        <a:pt x="12" y="10"/>
                      </a:lnTo>
                      <a:lnTo>
                        <a:pt x="14" y="12"/>
                      </a:lnTo>
                      <a:lnTo>
                        <a:pt x="14" y="12"/>
                      </a:lnTo>
                      <a:lnTo>
                        <a:pt x="16" y="12"/>
                      </a:lnTo>
                      <a:lnTo>
                        <a:pt x="38" y="0"/>
                      </a:lnTo>
                      <a:lnTo>
                        <a:pt x="45" y="12"/>
                      </a:lnTo>
                      <a:lnTo>
                        <a:pt x="45" y="12"/>
                      </a:lnTo>
                      <a:lnTo>
                        <a:pt x="40" y="17"/>
                      </a:lnTo>
                      <a:lnTo>
                        <a:pt x="23" y="21"/>
                      </a:lnTo>
                      <a:lnTo>
                        <a:pt x="35" y="33"/>
                      </a:lnTo>
                      <a:lnTo>
                        <a:pt x="30" y="38"/>
                      </a:lnTo>
                      <a:lnTo>
                        <a:pt x="30" y="43"/>
                      </a:lnTo>
                      <a:lnTo>
                        <a:pt x="21" y="43"/>
                      </a:lnTo>
                      <a:lnTo>
                        <a:pt x="14" y="50"/>
                      </a:lnTo>
                      <a:lnTo>
                        <a:pt x="2" y="48"/>
                      </a:lnTo>
                      <a:lnTo>
                        <a:pt x="0" y="48"/>
                      </a:lnTo>
                      <a:lnTo>
                        <a:pt x="0" y="48"/>
                      </a:lnTo>
                      <a:lnTo>
                        <a:pt x="0" y="45"/>
                      </a:lnTo>
                      <a:lnTo>
                        <a:pt x="0" y="43"/>
                      </a:lnTo>
                      <a:lnTo>
                        <a:pt x="0" y="43"/>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9" name="Freeform 94">
                  <a:extLst>
                    <a:ext uri="{FF2B5EF4-FFF2-40B4-BE49-F238E27FC236}">
                      <a16:creationId xmlns:a16="http://schemas.microsoft.com/office/drawing/2014/main" id="{8CF0FCBB-8FFF-BFC0-1FC7-3B804B2D51D2}"/>
                    </a:ext>
                  </a:extLst>
                </p:cNvPr>
                <p:cNvSpPr>
                  <a:spLocks/>
                </p:cNvSpPr>
                <p:nvPr/>
              </p:nvSpPr>
              <p:spPr bwMode="auto">
                <a:xfrm>
                  <a:off x="3037" y="2256"/>
                  <a:ext cx="235" cy="180"/>
                </a:xfrm>
                <a:custGeom>
                  <a:avLst/>
                  <a:gdLst>
                    <a:gd name="T0" fmla="*/ 142 w 235"/>
                    <a:gd name="T1" fmla="*/ 38 h 180"/>
                    <a:gd name="T2" fmla="*/ 57 w 235"/>
                    <a:gd name="T3" fmla="*/ 2 h 180"/>
                    <a:gd name="T4" fmla="*/ 26 w 235"/>
                    <a:gd name="T5" fmla="*/ 9 h 180"/>
                    <a:gd name="T6" fmla="*/ 33 w 235"/>
                    <a:gd name="T7" fmla="*/ 31 h 180"/>
                    <a:gd name="T8" fmla="*/ 5 w 235"/>
                    <a:gd name="T9" fmla="*/ 36 h 180"/>
                    <a:gd name="T10" fmla="*/ 3 w 235"/>
                    <a:gd name="T11" fmla="*/ 43 h 180"/>
                    <a:gd name="T12" fmla="*/ 3 w 235"/>
                    <a:gd name="T13" fmla="*/ 47 h 180"/>
                    <a:gd name="T14" fmla="*/ 7 w 235"/>
                    <a:gd name="T15" fmla="*/ 47 h 180"/>
                    <a:gd name="T16" fmla="*/ 12 w 235"/>
                    <a:gd name="T17" fmla="*/ 57 h 180"/>
                    <a:gd name="T18" fmla="*/ 17 w 235"/>
                    <a:gd name="T19" fmla="*/ 62 h 180"/>
                    <a:gd name="T20" fmla="*/ 19 w 235"/>
                    <a:gd name="T21" fmla="*/ 66 h 180"/>
                    <a:gd name="T22" fmla="*/ 24 w 235"/>
                    <a:gd name="T23" fmla="*/ 71 h 180"/>
                    <a:gd name="T24" fmla="*/ 29 w 235"/>
                    <a:gd name="T25" fmla="*/ 78 h 180"/>
                    <a:gd name="T26" fmla="*/ 31 w 235"/>
                    <a:gd name="T27" fmla="*/ 85 h 180"/>
                    <a:gd name="T28" fmla="*/ 33 w 235"/>
                    <a:gd name="T29" fmla="*/ 90 h 180"/>
                    <a:gd name="T30" fmla="*/ 38 w 235"/>
                    <a:gd name="T31" fmla="*/ 90 h 180"/>
                    <a:gd name="T32" fmla="*/ 45 w 235"/>
                    <a:gd name="T33" fmla="*/ 97 h 180"/>
                    <a:gd name="T34" fmla="*/ 48 w 235"/>
                    <a:gd name="T35" fmla="*/ 100 h 180"/>
                    <a:gd name="T36" fmla="*/ 52 w 235"/>
                    <a:gd name="T37" fmla="*/ 109 h 180"/>
                    <a:gd name="T38" fmla="*/ 52 w 235"/>
                    <a:gd name="T39" fmla="*/ 114 h 180"/>
                    <a:gd name="T40" fmla="*/ 55 w 235"/>
                    <a:gd name="T41" fmla="*/ 123 h 180"/>
                    <a:gd name="T42" fmla="*/ 62 w 235"/>
                    <a:gd name="T43" fmla="*/ 133 h 180"/>
                    <a:gd name="T44" fmla="*/ 67 w 235"/>
                    <a:gd name="T45" fmla="*/ 135 h 180"/>
                    <a:gd name="T46" fmla="*/ 71 w 235"/>
                    <a:gd name="T47" fmla="*/ 140 h 180"/>
                    <a:gd name="T48" fmla="*/ 76 w 235"/>
                    <a:gd name="T49" fmla="*/ 142 h 180"/>
                    <a:gd name="T50" fmla="*/ 81 w 235"/>
                    <a:gd name="T51" fmla="*/ 154 h 180"/>
                    <a:gd name="T52" fmla="*/ 93 w 235"/>
                    <a:gd name="T53" fmla="*/ 166 h 180"/>
                    <a:gd name="T54" fmla="*/ 100 w 235"/>
                    <a:gd name="T55" fmla="*/ 173 h 180"/>
                    <a:gd name="T56" fmla="*/ 104 w 235"/>
                    <a:gd name="T57" fmla="*/ 171 h 180"/>
                    <a:gd name="T58" fmla="*/ 107 w 235"/>
                    <a:gd name="T59" fmla="*/ 161 h 180"/>
                    <a:gd name="T60" fmla="*/ 128 w 235"/>
                    <a:gd name="T61" fmla="*/ 166 h 180"/>
                    <a:gd name="T62" fmla="*/ 159 w 235"/>
                    <a:gd name="T63" fmla="*/ 154 h 180"/>
                    <a:gd name="T64" fmla="*/ 232 w 235"/>
                    <a:gd name="T65" fmla="*/ 104 h 180"/>
                    <a:gd name="T66" fmla="*/ 197 w 235"/>
                    <a:gd name="T67" fmla="*/ 102 h 180"/>
                    <a:gd name="T68" fmla="*/ 192 w 235"/>
                    <a:gd name="T69" fmla="*/ 88 h 180"/>
                    <a:gd name="T70" fmla="*/ 190 w 235"/>
                    <a:gd name="T71" fmla="*/ 88 h 180"/>
                    <a:gd name="T72" fmla="*/ 190 w 235"/>
                    <a:gd name="T73" fmla="*/ 85 h 180"/>
                    <a:gd name="T74" fmla="*/ 183 w 235"/>
                    <a:gd name="T75" fmla="*/ 83 h 180"/>
                    <a:gd name="T76" fmla="*/ 180 w 235"/>
                    <a:gd name="T77" fmla="*/ 81 h 180"/>
                    <a:gd name="T78" fmla="*/ 173 w 235"/>
                    <a:gd name="T79" fmla="*/ 69 h 180"/>
                    <a:gd name="T80" fmla="*/ 171 w 235"/>
                    <a:gd name="T81" fmla="*/ 62 h 180"/>
                    <a:gd name="T82" fmla="*/ 168 w 235"/>
                    <a:gd name="T83" fmla="*/ 59 h 180"/>
                    <a:gd name="T84" fmla="*/ 161 w 235"/>
                    <a:gd name="T85" fmla="*/ 52 h 180"/>
                    <a:gd name="T86" fmla="*/ 164 w 235"/>
                    <a:gd name="T87" fmla="*/ 52 h 180"/>
                    <a:gd name="T88" fmla="*/ 156 w 235"/>
                    <a:gd name="T89" fmla="*/ 50 h 180"/>
                    <a:gd name="T90" fmla="*/ 152 w 235"/>
                    <a:gd name="T91" fmla="*/ 43 h 180"/>
                    <a:gd name="T92" fmla="*/ 152 w 235"/>
                    <a:gd name="T93" fmla="*/ 4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35" h="180">
                      <a:moveTo>
                        <a:pt x="152" y="40"/>
                      </a:moveTo>
                      <a:lnTo>
                        <a:pt x="145" y="43"/>
                      </a:lnTo>
                      <a:lnTo>
                        <a:pt x="142" y="38"/>
                      </a:lnTo>
                      <a:lnTo>
                        <a:pt x="133" y="36"/>
                      </a:lnTo>
                      <a:lnTo>
                        <a:pt x="109" y="36"/>
                      </a:lnTo>
                      <a:lnTo>
                        <a:pt x="57" y="2"/>
                      </a:lnTo>
                      <a:lnTo>
                        <a:pt x="48" y="0"/>
                      </a:lnTo>
                      <a:lnTo>
                        <a:pt x="43" y="5"/>
                      </a:lnTo>
                      <a:lnTo>
                        <a:pt x="26" y="9"/>
                      </a:lnTo>
                      <a:lnTo>
                        <a:pt x="38" y="21"/>
                      </a:lnTo>
                      <a:lnTo>
                        <a:pt x="33" y="26"/>
                      </a:lnTo>
                      <a:lnTo>
                        <a:pt x="33" y="31"/>
                      </a:lnTo>
                      <a:lnTo>
                        <a:pt x="24" y="31"/>
                      </a:lnTo>
                      <a:lnTo>
                        <a:pt x="17" y="38"/>
                      </a:lnTo>
                      <a:lnTo>
                        <a:pt x="5" y="36"/>
                      </a:lnTo>
                      <a:lnTo>
                        <a:pt x="3" y="36"/>
                      </a:lnTo>
                      <a:lnTo>
                        <a:pt x="3" y="40"/>
                      </a:lnTo>
                      <a:lnTo>
                        <a:pt x="3" y="43"/>
                      </a:lnTo>
                      <a:lnTo>
                        <a:pt x="0" y="47"/>
                      </a:lnTo>
                      <a:lnTo>
                        <a:pt x="0" y="47"/>
                      </a:lnTo>
                      <a:lnTo>
                        <a:pt x="3" y="47"/>
                      </a:lnTo>
                      <a:lnTo>
                        <a:pt x="3" y="47"/>
                      </a:lnTo>
                      <a:lnTo>
                        <a:pt x="5" y="47"/>
                      </a:lnTo>
                      <a:lnTo>
                        <a:pt x="7" y="47"/>
                      </a:lnTo>
                      <a:lnTo>
                        <a:pt x="7" y="50"/>
                      </a:lnTo>
                      <a:lnTo>
                        <a:pt x="12" y="55"/>
                      </a:lnTo>
                      <a:lnTo>
                        <a:pt x="12" y="57"/>
                      </a:lnTo>
                      <a:lnTo>
                        <a:pt x="12" y="57"/>
                      </a:lnTo>
                      <a:lnTo>
                        <a:pt x="12" y="59"/>
                      </a:lnTo>
                      <a:lnTo>
                        <a:pt x="17" y="62"/>
                      </a:lnTo>
                      <a:lnTo>
                        <a:pt x="17" y="62"/>
                      </a:lnTo>
                      <a:lnTo>
                        <a:pt x="19" y="66"/>
                      </a:lnTo>
                      <a:lnTo>
                        <a:pt x="19" y="66"/>
                      </a:lnTo>
                      <a:lnTo>
                        <a:pt x="22" y="69"/>
                      </a:lnTo>
                      <a:lnTo>
                        <a:pt x="24" y="69"/>
                      </a:lnTo>
                      <a:lnTo>
                        <a:pt x="24" y="71"/>
                      </a:lnTo>
                      <a:lnTo>
                        <a:pt x="24" y="73"/>
                      </a:lnTo>
                      <a:lnTo>
                        <a:pt x="26" y="73"/>
                      </a:lnTo>
                      <a:lnTo>
                        <a:pt x="29" y="78"/>
                      </a:lnTo>
                      <a:lnTo>
                        <a:pt x="31" y="81"/>
                      </a:lnTo>
                      <a:lnTo>
                        <a:pt x="31" y="83"/>
                      </a:lnTo>
                      <a:lnTo>
                        <a:pt x="31" y="85"/>
                      </a:lnTo>
                      <a:lnTo>
                        <a:pt x="31" y="85"/>
                      </a:lnTo>
                      <a:lnTo>
                        <a:pt x="33" y="88"/>
                      </a:lnTo>
                      <a:lnTo>
                        <a:pt x="33" y="90"/>
                      </a:lnTo>
                      <a:lnTo>
                        <a:pt x="36" y="90"/>
                      </a:lnTo>
                      <a:lnTo>
                        <a:pt x="36" y="88"/>
                      </a:lnTo>
                      <a:lnTo>
                        <a:pt x="38" y="90"/>
                      </a:lnTo>
                      <a:lnTo>
                        <a:pt x="43" y="92"/>
                      </a:lnTo>
                      <a:lnTo>
                        <a:pt x="45" y="95"/>
                      </a:lnTo>
                      <a:lnTo>
                        <a:pt x="45" y="97"/>
                      </a:lnTo>
                      <a:lnTo>
                        <a:pt x="48" y="97"/>
                      </a:lnTo>
                      <a:lnTo>
                        <a:pt x="48" y="100"/>
                      </a:lnTo>
                      <a:lnTo>
                        <a:pt x="48" y="100"/>
                      </a:lnTo>
                      <a:lnTo>
                        <a:pt x="50" y="104"/>
                      </a:lnTo>
                      <a:lnTo>
                        <a:pt x="52" y="107"/>
                      </a:lnTo>
                      <a:lnTo>
                        <a:pt x="52" y="109"/>
                      </a:lnTo>
                      <a:lnTo>
                        <a:pt x="52" y="111"/>
                      </a:lnTo>
                      <a:lnTo>
                        <a:pt x="52" y="114"/>
                      </a:lnTo>
                      <a:lnTo>
                        <a:pt x="52" y="114"/>
                      </a:lnTo>
                      <a:lnTo>
                        <a:pt x="52" y="116"/>
                      </a:lnTo>
                      <a:lnTo>
                        <a:pt x="52" y="119"/>
                      </a:lnTo>
                      <a:lnTo>
                        <a:pt x="55" y="123"/>
                      </a:lnTo>
                      <a:lnTo>
                        <a:pt x="55" y="126"/>
                      </a:lnTo>
                      <a:lnTo>
                        <a:pt x="57" y="126"/>
                      </a:lnTo>
                      <a:lnTo>
                        <a:pt x="62" y="133"/>
                      </a:lnTo>
                      <a:lnTo>
                        <a:pt x="64" y="133"/>
                      </a:lnTo>
                      <a:lnTo>
                        <a:pt x="67" y="133"/>
                      </a:lnTo>
                      <a:lnTo>
                        <a:pt x="67" y="135"/>
                      </a:lnTo>
                      <a:lnTo>
                        <a:pt x="69" y="135"/>
                      </a:lnTo>
                      <a:lnTo>
                        <a:pt x="71" y="137"/>
                      </a:lnTo>
                      <a:lnTo>
                        <a:pt x="71" y="140"/>
                      </a:lnTo>
                      <a:lnTo>
                        <a:pt x="76" y="140"/>
                      </a:lnTo>
                      <a:lnTo>
                        <a:pt x="74" y="142"/>
                      </a:lnTo>
                      <a:lnTo>
                        <a:pt x="76" y="142"/>
                      </a:lnTo>
                      <a:lnTo>
                        <a:pt x="78" y="149"/>
                      </a:lnTo>
                      <a:lnTo>
                        <a:pt x="81" y="152"/>
                      </a:lnTo>
                      <a:lnTo>
                        <a:pt x="81" y="154"/>
                      </a:lnTo>
                      <a:lnTo>
                        <a:pt x="90" y="161"/>
                      </a:lnTo>
                      <a:lnTo>
                        <a:pt x="90" y="161"/>
                      </a:lnTo>
                      <a:lnTo>
                        <a:pt x="93" y="166"/>
                      </a:lnTo>
                      <a:lnTo>
                        <a:pt x="95" y="168"/>
                      </a:lnTo>
                      <a:lnTo>
                        <a:pt x="97" y="173"/>
                      </a:lnTo>
                      <a:lnTo>
                        <a:pt x="100" y="173"/>
                      </a:lnTo>
                      <a:lnTo>
                        <a:pt x="102" y="173"/>
                      </a:lnTo>
                      <a:lnTo>
                        <a:pt x="102" y="171"/>
                      </a:lnTo>
                      <a:lnTo>
                        <a:pt x="104" y="171"/>
                      </a:lnTo>
                      <a:lnTo>
                        <a:pt x="104" y="166"/>
                      </a:lnTo>
                      <a:lnTo>
                        <a:pt x="104" y="161"/>
                      </a:lnTo>
                      <a:lnTo>
                        <a:pt x="107" y="161"/>
                      </a:lnTo>
                      <a:lnTo>
                        <a:pt x="112" y="164"/>
                      </a:lnTo>
                      <a:lnTo>
                        <a:pt x="119" y="164"/>
                      </a:lnTo>
                      <a:lnTo>
                        <a:pt x="128" y="166"/>
                      </a:lnTo>
                      <a:lnTo>
                        <a:pt x="138" y="171"/>
                      </a:lnTo>
                      <a:lnTo>
                        <a:pt x="138" y="180"/>
                      </a:lnTo>
                      <a:lnTo>
                        <a:pt x="159" y="154"/>
                      </a:lnTo>
                      <a:lnTo>
                        <a:pt x="235" y="135"/>
                      </a:lnTo>
                      <a:lnTo>
                        <a:pt x="235" y="111"/>
                      </a:lnTo>
                      <a:lnTo>
                        <a:pt x="232" y="104"/>
                      </a:lnTo>
                      <a:lnTo>
                        <a:pt x="232" y="104"/>
                      </a:lnTo>
                      <a:lnTo>
                        <a:pt x="230" y="107"/>
                      </a:lnTo>
                      <a:lnTo>
                        <a:pt x="197" y="102"/>
                      </a:lnTo>
                      <a:lnTo>
                        <a:pt x="194" y="95"/>
                      </a:lnTo>
                      <a:lnTo>
                        <a:pt x="192" y="92"/>
                      </a:lnTo>
                      <a:lnTo>
                        <a:pt x="192" y="88"/>
                      </a:lnTo>
                      <a:lnTo>
                        <a:pt x="192" y="88"/>
                      </a:lnTo>
                      <a:lnTo>
                        <a:pt x="190" y="88"/>
                      </a:lnTo>
                      <a:lnTo>
                        <a:pt x="190" y="88"/>
                      </a:lnTo>
                      <a:lnTo>
                        <a:pt x="190" y="85"/>
                      </a:lnTo>
                      <a:lnTo>
                        <a:pt x="190" y="85"/>
                      </a:lnTo>
                      <a:lnTo>
                        <a:pt x="190" y="85"/>
                      </a:lnTo>
                      <a:lnTo>
                        <a:pt x="187" y="85"/>
                      </a:lnTo>
                      <a:lnTo>
                        <a:pt x="187" y="85"/>
                      </a:lnTo>
                      <a:lnTo>
                        <a:pt x="183" y="83"/>
                      </a:lnTo>
                      <a:lnTo>
                        <a:pt x="183" y="81"/>
                      </a:lnTo>
                      <a:lnTo>
                        <a:pt x="183" y="83"/>
                      </a:lnTo>
                      <a:lnTo>
                        <a:pt x="180" y="81"/>
                      </a:lnTo>
                      <a:lnTo>
                        <a:pt x="180" y="78"/>
                      </a:lnTo>
                      <a:lnTo>
                        <a:pt x="173" y="71"/>
                      </a:lnTo>
                      <a:lnTo>
                        <a:pt x="173" y="69"/>
                      </a:lnTo>
                      <a:lnTo>
                        <a:pt x="173" y="69"/>
                      </a:lnTo>
                      <a:lnTo>
                        <a:pt x="173" y="66"/>
                      </a:lnTo>
                      <a:lnTo>
                        <a:pt x="171" y="62"/>
                      </a:lnTo>
                      <a:lnTo>
                        <a:pt x="171" y="62"/>
                      </a:lnTo>
                      <a:lnTo>
                        <a:pt x="171" y="59"/>
                      </a:lnTo>
                      <a:lnTo>
                        <a:pt x="168" y="59"/>
                      </a:lnTo>
                      <a:lnTo>
                        <a:pt x="166" y="55"/>
                      </a:lnTo>
                      <a:lnTo>
                        <a:pt x="164" y="55"/>
                      </a:lnTo>
                      <a:lnTo>
                        <a:pt x="161" y="52"/>
                      </a:lnTo>
                      <a:lnTo>
                        <a:pt x="164" y="52"/>
                      </a:lnTo>
                      <a:lnTo>
                        <a:pt x="164" y="52"/>
                      </a:lnTo>
                      <a:lnTo>
                        <a:pt x="164" y="52"/>
                      </a:lnTo>
                      <a:lnTo>
                        <a:pt x="164" y="52"/>
                      </a:lnTo>
                      <a:lnTo>
                        <a:pt x="161" y="50"/>
                      </a:lnTo>
                      <a:lnTo>
                        <a:pt x="156" y="50"/>
                      </a:lnTo>
                      <a:lnTo>
                        <a:pt x="154" y="45"/>
                      </a:lnTo>
                      <a:lnTo>
                        <a:pt x="154" y="43"/>
                      </a:lnTo>
                      <a:lnTo>
                        <a:pt x="152" y="43"/>
                      </a:lnTo>
                      <a:lnTo>
                        <a:pt x="152" y="40"/>
                      </a:lnTo>
                      <a:lnTo>
                        <a:pt x="152" y="40"/>
                      </a:lnTo>
                      <a:lnTo>
                        <a:pt x="152" y="40"/>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0" name="Freeform 95">
                  <a:extLst>
                    <a:ext uri="{FF2B5EF4-FFF2-40B4-BE49-F238E27FC236}">
                      <a16:creationId xmlns:a16="http://schemas.microsoft.com/office/drawing/2014/main" id="{86668807-BF3C-6334-F626-D581A02F5957}"/>
                    </a:ext>
                  </a:extLst>
                </p:cNvPr>
                <p:cNvSpPr>
                  <a:spLocks/>
                </p:cNvSpPr>
                <p:nvPr/>
              </p:nvSpPr>
              <p:spPr bwMode="auto">
                <a:xfrm>
                  <a:off x="3220" y="2322"/>
                  <a:ext cx="7" cy="19"/>
                </a:xfrm>
                <a:custGeom>
                  <a:avLst/>
                  <a:gdLst>
                    <a:gd name="T0" fmla="*/ 4 w 7"/>
                    <a:gd name="T1" fmla="*/ 19 h 19"/>
                    <a:gd name="T2" fmla="*/ 4 w 7"/>
                    <a:gd name="T3" fmla="*/ 19 h 19"/>
                    <a:gd name="T4" fmla="*/ 0 w 7"/>
                    <a:gd name="T5" fmla="*/ 17 h 19"/>
                    <a:gd name="T6" fmla="*/ 0 w 7"/>
                    <a:gd name="T7" fmla="*/ 15 h 19"/>
                    <a:gd name="T8" fmla="*/ 0 w 7"/>
                    <a:gd name="T9" fmla="*/ 15 h 19"/>
                    <a:gd name="T10" fmla="*/ 0 w 7"/>
                    <a:gd name="T11" fmla="*/ 12 h 19"/>
                    <a:gd name="T12" fmla="*/ 0 w 7"/>
                    <a:gd name="T13" fmla="*/ 12 h 19"/>
                    <a:gd name="T14" fmla="*/ 0 w 7"/>
                    <a:gd name="T15" fmla="*/ 10 h 19"/>
                    <a:gd name="T16" fmla="*/ 0 w 7"/>
                    <a:gd name="T17" fmla="*/ 7 h 19"/>
                    <a:gd name="T18" fmla="*/ 0 w 7"/>
                    <a:gd name="T19" fmla="*/ 7 h 19"/>
                    <a:gd name="T20" fmla="*/ 0 w 7"/>
                    <a:gd name="T21" fmla="*/ 7 h 19"/>
                    <a:gd name="T22" fmla="*/ 0 w 7"/>
                    <a:gd name="T23" fmla="*/ 5 h 19"/>
                    <a:gd name="T24" fmla="*/ 0 w 7"/>
                    <a:gd name="T25" fmla="*/ 5 h 19"/>
                    <a:gd name="T26" fmla="*/ 0 w 7"/>
                    <a:gd name="T27" fmla="*/ 3 h 19"/>
                    <a:gd name="T28" fmla="*/ 2 w 7"/>
                    <a:gd name="T29" fmla="*/ 3 h 19"/>
                    <a:gd name="T30" fmla="*/ 2 w 7"/>
                    <a:gd name="T31" fmla="*/ 3 h 19"/>
                    <a:gd name="T32" fmla="*/ 2 w 7"/>
                    <a:gd name="T33" fmla="*/ 3 h 19"/>
                    <a:gd name="T34" fmla="*/ 2 w 7"/>
                    <a:gd name="T35" fmla="*/ 0 h 19"/>
                    <a:gd name="T36" fmla="*/ 2 w 7"/>
                    <a:gd name="T37" fmla="*/ 0 h 19"/>
                    <a:gd name="T38" fmla="*/ 4 w 7"/>
                    <a:gd name="T39" fmla="*/ 3 h 19"/>
                    <a:gd name="T40" fmla="*/ 4 w 7"/>
                    <a:gd name="T41" fmla="*/ 3 h 19"/>
                    <a:gd name="T42" fmla="*/ 7 w 7"/>
                    <a:gd name="T43" fmla="*/ 3 h 19"/>
                    <a:gd name="T44" fmla="*/ 7 w 7"/>
                    <a:gd name="T45" fmla="*/ 5 h 19"/>
                    <a:gd name="T46" fmla="*/ 7 w 7"/>
                    <a:gd name="T47" fmla="*/ 7 h 19"/>
                    <a:gd name="T48" fmla="*/ 4 w 7"/>
                    <a:gd name="T49" fmla="*/ 7 h 19"/>
                    <a:gd name="T50" fmla="*/ 7 w 7"/>
                    <a:gd name="T51" fmla="*/ 12 h 19"/>
                    <a:gd name="T52" fmla="*/ 7 w 7"/>
                    <a:gd name="T53" fmla="*/ 12 h 19"/>
                    <a:gd name="T54" fmla="*/ 7 w 7"/>
                    <a:gd name="T55" fmla="*/ 12 h 19"/>
                    <a:gd name="T56" fmla="*/ 7 w 7"/>
                    <a:gd name="T57" fmla="*/ 19 h 19"/>
                    <a:gd name="T58" fmla="*/ 4 w 7"/>
                    <a:gd name="T59" fmla="*/ 19 h 19"/>
                    <a:gd name="T60" fmla="*/ 4 w 7"/>
                    <a:gd name="T61"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 h="19">
                      <a:moveTo>
                        <a:pt x="4" y="19"/>
                      </a:moveTo>
                      <a:lnTo>
                        <a:pt x="4" y="19"/>
                      </a:lnTo>
                      <a:lnTo>
                        <a:pt x="0" y="17"/>
                      </a:lnTo>
                      <a:lnTo>
                        <a:pt x="0" y="15"/>
                      </a:lnTo>
                      <a:lnTo>
                        <a:pt x="0" y="15"/>
                      </a:lnTo>
                      <a:lnTo>
                        <a:pt x="0" y="12"/>
                      </a:lnTo>
                      <a:lnTo>
                        <a:pt x="0" y="12"/>
                      </a:lnTo>
                      <a:lnTo>
                        <a:pt x="0" y="10"/>
                      </a:lnTo>
                      <a:lnTo>
                        <a:pt x="0" y="7"/>
                      </a:lnTo>
                      <a:lnTo>
                        <a:pt x="0" y="7"/>
                      </a:lnTo>
                      <a:lnTo>
                        <a:pt x="0" y="7"/>
                      </a:lnTo>
                      <a:lnTo>
                        <a:pt x="0" y="5"/>
                      </a:lnTo>
                      <a:lnTo>
                        <a:pt x="0" y="5"/>
                      </a:lnTo>
                      <a:lnTo>
                        <a:pt x="0" y="3"/>
                      </a:lnTo>
                      <a:lnTo>
                        <a:pt x="2" y="3"/>
                      </a:lnTo>
                      <a:lnTo>
                        <a:pt x="2" y="3"/>
                      </a:lnTo>
                      <a:lnTo>
                        <a:pt x="2" y="3"/>
                      </a:lnTo>
                      <a:lnTo>
                        <a:pt x="2" y="0"/>
                      </a:lnTo>
                      <a:lnTo>
                        <a:pt x="2" y="0"/>
                      </a:lnTo>
                      <a:lnTo>
                        <a:pt x="4" y="3"/>
                      </a:lnTo>
                      <a:lnTo>
                        <a:pt x="4" y="3"/>
                      </a:lnTo>
                      <a:lnTo>
                        <a:pt x="7" y="3"/>
                      </a:lnTo>
                      <a:lnTo>
                        <a:pt x="7" y="5"/>
                      </a:lnTo>
                      <a:lnTo>
                        <a:pt x="7" y="7"/>
                      </a:lnTo>
                      <a:lnTo>
                        <a:pt x="4" y="7"/>
                      </a:lnTo>
                      <a:lnTo>
                        <a:pt x="7" y="12"/>
                      </a:lnTo>
                      <a:lnTo>
                        <a:pt x="7" y="12"/>
                      </a:lnTo>
                      <a:lnTo>
                        <a:pt x="7" y="12"/>
                      </a:lnTo>
                      <a:lnTo>
                        <a:pt x="7" y="19"/>
                      </a:lnTo>
                      <a:lnTo>
                        <a:pt x="4" y="19"/>
                      </a:lnTo>
                      <a:lnTo>
                        <a:pt x="4" y="19"/>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1" name="Freeform 96">
                  <a:extLst>
                    <a:ext uri="{FF2B5EF4-FFF2-40B4-BE49-F238E27FC236}">
                      <a16:creationId xmlns:a16="http://schemas.microsoft.com/office/drawing/2014/main" id="{D2B3E6EE-E43B-10AB-8F8E-C1D4B70547E0}"/>
                    </a:ext>
                  </a:extLst>
                </p:cNvPr>
                <p:cNvSpPr>
                  <a:spLocks/>
                </p:cNvSpPr>
                <p:nvPr/>
              </p:nvSpPr>
              <p:spPr bwMode="auto">
                <a:xfrm>
                  <a:off x="3229" y="2325"/>
                  <a:ext cx="52" cy="38"/>
                </a:xfrm>
                <a:custGeom>
                  <a:avLst/>
                  <a:gdLst>
                    <a:gd name="T0" fmla="*/ 0 w 52"/>
                    <a:gd name="T1" fmla="*/ 19 h 38"/>
                    <a:gd name="T2" fmla="*/ 0 w 52"/>
                    <a:gd name="T3" fmla="*/ 23 h 38"/>
                    <a:gd name="T4" fmla="*/ 2 w 52"/>
                    <a:gd name="T5" fmla="*/ 26 h 38"/>
                    <a:gd name="T6" fmla="*/ 5 w 52"/>
                    <a:gd name="T7" fmla="*/ 33 h 38"/>
                    <a:gd name="T8" fmla="*/ 38 w 52"/>
                    <a:gd name="T9" fmla="*/ 38 h 38"/>
                    <a:gd name="T10" fmla="*/ 40 w 52"/>
                    <a:gd name="T11" fmla="*/ 35 h 38"/>
                    <a:gd name="T12" fmla="*/ 50 w 52"/>
                    <a:gd name="T13" fmla="*/ 9 h 38"/>
                    <a:gd name="T14" fmla="*/ 52 w 52"/>
                    <a:gd name="T15" fmla="*/ 7 h 38"/>
                    <a:gd name="T16" fmla="*/ 52 w 52"/>
                    <a:gd name="T17" fmla="*/ 4 h 38"/>
                    <a:gd name="T18" fmla="*/ 52 w 52"/>
                    <a:gd name="T19" fmla="*/ 4 h 38"/>
                    <a:gd name="T20" fmla="*/ 52 w 52"/>
                    <a:gd name="T21" fmla="*/ 4 h 38"/>
                    <a:gd name="T22" fmla="*/ 50 w 52"/>
                    <a:gd name="T23" fmla="*/ 4 h 38"/>
                    <a:gd name="T24" fmla="*/ 50 w 52"/>
                    <a:gd name="T25" fmla="*/ 4 h 38"/>
                    <a:gd name="T26" fmla="*/ 50 w 52"/>
                    <a:gd name="T27" fmla="*/ 4 h 38"/>
                    <a:gd name="T28" fmla="*/ 50 w 52"/>
                    <a:gd name="T29" fmla="*/ 0 h 38"/>
                    <a:gd name="T30" fmla="*/ 47 w 52"/>
                    <a:gd name="T31" fmla="*/ 0 h 38"/>
                    <a:gd name="T32" fmla="*/ 47 w 52"/>
                    <a:gd name="T33" fmla="*/ 2 h 38"/>
                    <a:gd name="T34" fmla="*/ 47 w 52"/>
                    <a:gd name="T35" fmla="*/ 2 h 38"/>
                    <a:gd name="T36" fmla="*/ 40 w 52"/>
                    <a:gd name="T37" fmla="*/ 7 h 38"/>
                    <a:gd name="T38" fmla="*/ 40 w 52"/>
                    <a:gd name="T39" fmla="*/ 9 h 38"/>
                    <a:gd name="T40" fmla="*/ 33 w 52"/>
                    <a:gd name="T41" fmla="*/ 14 h 38"/>
                    <a:gd name="T42" fmla="*/ 33 w 52"/>
                    <a:gd name="T43" fmla="*/ 14 h 38"/>
                    <a:gd name="T44" fmla="*/ 33 w 52"/>
                    <a:gd name="T45" fmla="*/ 16 h 38"/>
                    <a:gd name="T46" fmla="*/ 35 w 52"/>
                    <a:gd name="T47" fmla="*/ 16 h 38"/>
                    <a:gd name="T48" fmla="*/ 31 w 52"/>
                    <a:gd name="T49" fmla="*/ 19 h 38"/>
                    <a:gd name="T50" fmla="*/ 31 w 52"/>
                    <a:gd name="T51" fmla="*/ 19 h 38"/>
                    <a:gd name="T52" fmla="*/ 28 w 52"/>
                    <a:gd name="T53" fmla="*/ 19 h 38"/>
                    <a:gd name="T54" fmla="*/ 28 w 52"/>
                    <a:gd name="T55" fmla="*/ 19 h 38"/>
                    <a:gd name="T56" fmla="*/ 28 w 52"/>
                    <a:gd name="T57" fmla="*/ 21 h 38"/>
                    <a:gd name="T58" fmla="*/ 28 w 52"/>
                    <a:gd name="T59" fmla="*/ 21 h 38"/>
                    <a:gd name="T60" fmla="*/ 26 w 52"/>
                    <a:gd name="T61" fmla="*/ 21 h 38"/>
                    <a:gd name="T62" fmla="*/ 24 w 52"/>
                    <a:gd name="T63" fmla="*/ 21 h 38"/>
                    <a:gd name="T64" fmla="*/ 21 w 52"/>
                    <a:gd name="T65" fmla="*/ 21 h 38"/>
                    <a:gd name="T66" fmla="*/ 21 w 52"/>
                    <a:gd name="T67" fmla="*/ 21 h 38"/>
                    <a:gd name="T68" fmla="*/ 19 w 52"/>
                    <a:gd name="T69" fmla="*/ 21 h 38"/>
                    <a:gd name="T70" fmla="*/ 17 w 52"/>
                    <a:gd name="T71" fmla="*/ 21 h 38"/>
                    <a:gd name="T72" fmla="*/ 17 w 52"/>
                    <a:gd name="T73" fmla="*/ 21 h 38"/>
                    <a:gd name="T74" fmla="*/ 12 w 52"/>
                    <a:gd name="T75" fmla="*/ 21 h 38"/>
                    <a:gd name="T76" fmla="*/ 7 w 52"/>
                    <a:gd name="T77" fmla="*/ 23 h 38"/>
                    <a:gd name="T78" fmla="*/ 5 w 52"/>
                    <a:gd name="T79" fmla="*/ 23 h 38"/>
                    <a:gd name="T80" fmla="*/ 2 w 52"/>
                    <a:gd name="T81" fmla="*/ 23 h 38"/>
                    <a:gd name="T82" fmla="*/ 2 w 52"/>
                    <a:gd name="T83" fmla="*/ 23 h 38"/>
                    <a:gd name="T84" fmla="*/ 0 w 52"/>
                    <a:gd name="T85" fmla="*/ 19 h 38"/>
                    <a:gd name="T86" fmla="*/ 0 w 52"/>
                    <a:gd name="T87" fmla="*/ 21 h 38"/>
                    <a:gd name="T88" fmla="*/ 0 w 52"/>
                    <a:gd name="T89" fmla="*/ 1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2" h="38">
                      <a:moveTo>
                        <a:pt x="0" y="19"/>
                      </a:moveTo>
                      <a:lnTo>
                        <a:pt x="0" y="23"/>
                      </a:lnTo>
                      <a:lnTo>
                        <a:pt x="2" y="26"/>
                      </a:lnTo>
                      <a:lnTo>
                        <a:pt x="5" y="33"/>
                      </a:lnTo>
                      <a:lnTo>
                        <a:pt x="38" y="38"/>
                      </a:lnTo>
                      <a:lnTo>
                        <a:pt x="40" y="35"/>
                      </a:lnTo>
                      <a:lnTo>
                        <a:pt x="50" y="9"/>
                      </a:lnTo>
                      <a:lnTo>
                        <a:pt x="52" y="7"/>
                      </a:lnTo>
                      <a:lnTo>
                        <a:pt x="52" y="4"/>
                      </a:lnTo>
                      <a:lnTo>
                        <a:pt x="52" y="4"/>
                      </a:lnTo>
                      <a:lnTo>
                        <a:pt x="52" y="4"/>
                      </a:lnTo>
                      <a:lnTo>
                        <a:pt x="50" y="4"/>
                      </a:lnTo>
                      <a:lnTo>
                        <a:pt x="50" y="4"/>
                      </a:lnTo>
                      <a:lnTo>
                        <a:pt x="50" y="4"/>
                      </a:lnTo>
                      <a:lnTo>
                        <a:pt x="50" y="0"/>
                      </a:lnTo>
                      <a:lnTo>
                        <a:pt x="47" y="0"/>
                      </a:lnTo>
                      <a:lnTo>
                        <a:pt x="47" y="2"/>
                      </a:lnTo>
                      <a:lnTo>
                        <a:pt x="47" y="2"/>
                      </a:lnTo>
                      <a:lnTo>
                        <a:pt x="40" y="7"/>
                      </a:lnTo>
                      <a:lnTo>
                        <a:pt x="40" y="9"/>
                      </a:lnTo>
                      <a:lnTo>
                        <a:pt x="33" y="14"/>
                      </a:lnTo>
                      <a:lnTo>
                        <a:pt x="33" y="14"/>
                      </a:lnTo>
                      <a:lnTo>
                        <a:pt x="33" y="16"/>
                      </a:lnTo>
                      <a:lnTo>
                        <a:pt x="35" y="16"/>
                      </a:lnTo>
                      <a:lnTo>
                        <a:pt x="31" y="19"/>
                      </a:lnTo>
                      <a:lnTo>
                        <a:pt x="31" y="19"/>
                      </a:lnTo>
                      <a:lnTo>
                        <a:pt x="28" y="19"/>
                      </a:lnTo>
                      <a:lnTo>
                        <a:pt x="28" y="19"/>
                      </a:lnTo>
                      <a:lnTo>
                        <a:pt x="28" y="21"/>
                      </a:lnTo>
                      <a:lnTo>
                        <a:pt x="28" y="21"/>
                      </a:lnTo>
                      <a:lnTo>
                        <a:pt x="26" y="21"/>
                      </a:lnTo>
                      <a:lnTo>
                        <a:pt x="24" y="21"/>
                      </a:lnTo>
                      <a:lnTo>
                        <a:pt x="21" y="21"/>
                      </a:lnTo>
                      <a:lnTo>
                        <a:pt x="21" y="21"/>
                      </a:lnTo>
                      <a:lnTo>
                        <a:pt x="19" y="21"/>
                      </a:lnTo>
                      <a:lnTo>
                        <a:pt x="17" y="21"/>
                      </a:lnTo>
                      <a:lnTo>
                        <a:pt x="17" y="21"/>
                      </a:lnTo>
                      <a:lnTo>
                        <a:pt x="12" y="21"/>
                      </a:lnTo>
                      <a:lnTo>
                        <a:pt x="7" y="23"/>
                      </a:lnTo>
                      <a:lnTo>
                        <a:pt x="5" y="23"/>
                      </a:lnTo>
                      <a:lnTo>
                        <a:pt x="2" y="23"/>
                      </a:lnTo>
                      <a:lnTo>
                        <a:pt x="2" y="23"/>
                      </a:lnTo>
                      <a:lnTo>
                        <a:pt x="0" y="19"/>
                      </a:lnTo>
                      <a:lnTo>
                        <a:pt x="0" y="21"/>
                      </a:lnTo>
                      <a:lnTo>
                        <a:pt x="0" y="19"/>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2" name="Freeform 97">
                  <a:extLst>
                    <a:ext uri="{FF2B5EF4-FFF2-40B4-BE49-F238E27FC236}">
                      <a16:creationId xmlns:a16="http://schemas.microsoft.com/office/drawing/2014/main" id="{00FA8AF0-DDE4-6486-EC58-C4E4D4F0BC99}"/>
                    </a:ext>
                  </a:extLst>
                </p:cNvPr>
                <p:cNvSpPr>
                  <a:spLocks noEditPoints="1"/>
                </p:cNvSpPr>
                <p:nvPr/>
              </p:nvSpPr>
              <p:spPr bwMode="auto">
                <a:xfrm>
                  <a:off x="2346" y="2180"/>
                  <a:ext cx="34" cy="12"/>
                </a:xfrm>
                <a:custGeom>
                  <a:avLst/>
                  <a:gdLst>
                    <a:gd name="T0" fmla="*/ 15 w 34"/>
                    <a:gd name="T1" fmla="*/ 0 h 12"/>
                    <a:gd name="T2" fmla="*/ 17 w 34"/>
                    <a:gd name="T3" fmla="*/ 0 h 12"/>
                    <a:gd name="T4" fmla="*/ 17 w 34"/>
                    <a:gd name="T5" fmla="*/ 0 h 12"/>
                    <a:gd name="T6" fmla="*/ 15 w 34"/>
                    <a:gd name="T7" fmla="*/ 0 h 12"/>
                    <a:gd name="T8" fmla="*/ 15 w 34"/>
                    <a:gd name="T9" fmla="*/ 0 h 12"/>
                    <a:gd name="T10" fmla="*/ 15 w 34"/>
                    <a:gd name="T11" fmla="*/ 0 h 12"/>
                    <a:gd name="T12" fmla="*/ 5 w 34"/>
                    <a:gd name="T13" fmla="*/ 0 h 12"/>
                    <a:gd name="T14" fmla="*/ 8 w 34"/>
                    <a:gd name="T15" fmla="*/ 3 h 12"/>
                    <a:gd name="T16" fmla="*/ 8 w 34"/>
                    <a:gd name="T17" fmla="*/ 0 h 12"/>
                    <a:gd name="T18" fmla="*/ 5 w 34"/>
                    <a:gd name="T19" fmla="*/ 0 h 12"/>
                    <a:gd name="T20" fmla="*/ 5 w 34"/>
                    <a:gd name="T21" fmla="*/ 0 h 12"/>
                    <a:gd name="T22" fmla="*/ 0 w 34"/>
                    <a:gd name="T23" fmla="*/ 3 h 12"/>
                    <a:gd name="T24" fmla="*/ 0 w 34"/>
                    <a:gd name="T25" fmla="*/ 5 h 12"/>
                    <a:gd name="T26" fmla="*/ 3 w 34"/>
                    <a:gd name="T27" fmla="*/ 5 h 12"/>
                    <a:gd name="T28" fmla="*/ 5 w 34"/>
                    <a:gd name="T29" fmla="*/ 5 h 12"/>
                    <a:gd name="T30" fmla="*/ 3 w 34"/>
                    <a:gd name="T31" fmla="*/ 3 h 12"/>
                    <a:gd name="T32" fmla="*/ 0 w 34"/>
                    <a:gd name="T33" fmla="*/ 3 h 12"/>
                    <a:gd name="T34" fmla="*/ 0 w 34"/>
                    <a:gd name="T35" fmla="*/ 3 h 12"/>
                    <a:gd name="T36" fmla="*/ 31 w 34"/>
                    <a:gd name="T37" fmla="*/ 12 h 12"/>
                    <a:gd name="T38" fmla="*/ 31 w 34"/>
                    <a:gd name="T39" fmla="*/ 12 h 12"/>
                    <a:gd name="T40" fmla="*/ 31 w 34"/>
                    <a:gd name="T41" fmla="*/ 12 h 12"/>
                    <a:gd name="T42" fmla="*/ 34 w 34"/>
                    <a:gd name="T43" fmla="*/ 12 h 12"/>
                    <a:gd name="T44" fmla="*/ 34 w 34"/>
                    <a:gd name="T45" fmla="*/ 12 h 12"/>
                    <a:gd name="T46" fmla="*/ 34 w 34"/>
                    <a:gd name="T47" fmla="*/ 12 h 12"/>
                    <a:gd name="T48" fmla="*/ 31 w 34"/>
                    <a:gd name="T49"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4" h="12">
                      <a:moveTo>
                        <a:pt x="15" y="0"/>
                      </a:moveTo>
                      <a:lnTo>
                        <a:pt x="17" y="0"/>
                      </a:lnTo>
                      <a:lnTo>
                        <a:pt x="17" y="0"/>
                      </a:lnTo>
                      <a:lnTo>
                        <a:pt x="15" y="0"/>
                      </a:lnTo>
                      <a:lnTo>
                        <a:pt x="15" y="0"/>
                      </a:lnTo>
                      <a:lnTo>
                        <a:pt x="15" y="0"/>
                      </a:lnTo>
                      <a:close/>
                      <a:moveTo>
                        <a:pt x="5" y="0"/>
                      </a:moveTo>
                      <a:lnTo>
                        <a:pt x="8" y="3"/>
                      </a:lnTo>
                      <a:lnTo>
                        <a:pt x="8" y="0"/>
                      </a:lnTo>
                      <a:lnTo>
                        <a:pt x="5" y="0"/>
                      </a:lnTo>
                      <a:lnTo>
                        <a:pt x="5" y="0"/>
                      </a:lnTo>
                      <a:close/>
                      <a:moveTo>
                        <a:pt x="0" y="3"/>
                      </a:moveTo>
                      <a:lnTo>
                        <a:pt x="0" y="5"/>
                      </a:lnTo>
                      <a:lnTo>
                        <a:pt x="3" y="5"/>
                      </a:lnTo>
                      <a:lnTo>
                        <a:pt x="5" y="5"/>
                      </a:lnTo>
                      <a:lnTo>
                        <a:pt x="3" y="3"/>
                      </a:lnTo>
                      <a:lnTo>
                        <a:pt x="0" y="3"/>
                      </a:lnTo>
                      <a:lnTo>
                        <a:pt x="0" y="3"/>
                      </a:lnTo>
                      <a:close/>
                      <a:moveTo>
                        <a:pt x="31" y="12"/>
                      </a:moveTo>
                      <a:lnTo>
                        <a:pt x="31" y="12"/>
                      </a:lnTo>
                      <a:lnTo>
                        <a:pt x="31" y="12"/>
                      </a:lnTo>
                      <a:lnTo>
                        <a:pt x="34" y="12"/>
                      </a:lnTo>
                      <a:lnTo>
                        <a:pt x="34" y="12"/>
                      </a:lnTo>
                      <a:lnTo>
                        <a:pt x="34" y="12"/>
                      </a:lnTo>
                      <a:lnTo>
                        <a:pt x="31" y="12"/>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3" name="Freeform 98">
                  <a:extLst>
                    <a:ext uri="{FF2B5EF4-FFF2-40B4-BE49-F238E27FC236}">
                      <a16:creationId xmlns:a16="http://schemas.microsoft.com/office/drawing/2014/main" id="{FDAC0A66-03AB-6BEA-2E30-2212B1D4A7EF}"/>
                    </a:ext>
                  </a:extLst>
                </p:cNvPr>
                <p:cNvSpPr>
                  <a:spLocks/>
                </p:cNvSpPr>
                <p:nvPr/>
              </p:nvSpPr>
              <p:spPr bwMode="auto">
                <a:xfrm>
                  <a:off x="2467" y="2251"/>
                  <a:ext cx="5" cy="3"/>
                </a:xfrm>
                <a:custGeom>
                  <a:avLst/>
                  <a:gdLst>
                    <a:gd name="T0" fmla="*/ 2 w 2"/>
                    <a:gd name="T1" fmla="*/ 1 h 1"/>
                    <a:gd name="T2" fmla="*/ 1 w 2"/>
                    <a:gd name="T3" fmla="*/ 1 h 1"/>
                    <a:gd name="T4" fmla="*/ 0 w 2"/>
                    <a:gd name="T5" fmla="*/ 0 h 1"/>
                    <a:gd name="T6" fmla="*/ 2 w 2"/>
                    <a:gd name="T7" fmla="*/ 0 h 1"/>
                    <a:gd name="T8" fmla="*/ 2 w 2"/>
                    <a:gd name="T9" fmla="*/ 1 h 1"/>
                    <a:gd name="T10" fmla="*/ 2 w 2"/>
                    <a:gd name="T11" fmla="*/ 1 h 1"/>
                  </a:gdLst>
                  <a:ahLst/>
                  <a:cxnLst>
                    <a:cxn ang="0">
                      <a:pos x="T0" y="T1"/>
                    </a:cxn>
                    <a:cxn ang="0">
                      <a:pos x="T2" y="T3"/>
                    </a:cxn>
                    <a:cxn ang="0">
                      <a:pos x="T4" y="T5"/>
                    </a:cxn>
                    <a:cxn ang="0">
                      <a:pos x="T6" y="T7"/>
                    </a:cxn>
                    <a:cxn ang="0">
                      <a:pos x="T8" y="T9"/>
                    </a:cxn>
                    <a:cxn ang="0">
                      <a:pos x="T10" y="T11"/>
                    </a:cxn>
                  </a:cxnLst>
                  <a:rect l="0" t="0" r="r" b="b"/>
                  <a:pathLst>
                    <a:path w="2" h="1">
                      <a:moveTo>
                        <a:pt x="2" y="1"/>
                      </a:moveTo>
                      <a:cubicBezTo>
                        <a:pt x="1" y="1"/>
                        <a:pt x="1" y="1"/>
                        <a:pt x="1" y="1"/>
                      </a:cubicBezTo>
                      <a:cubicBezTo>
                        <a:pt x="0" y="0"/>
                        <a:pt x="0" y="0"/>
                        <a:pt x="0" y="0"/>
                      </a:cubicBezTo>
                      <a:cubicBezTo>
                        <a:pt x="2" y="0"/>
                        <a:pt x="2" y="0"/>
                        <a:pt x="2" y="0"/>
                      </a:cubicBezTo>
                      <a:cubicBezTo>
                        <a:pt x="2" y="1"/>
                        <a:pt x="2" y="1"/>
                        <a:pt x="2" y="1"/>
                      </a:cubicBezTo>
                      <a:cubicBezTo>
                        <a:pt x="2" y="1"/>
                        <a:pt x="2" y="1"/>
                        <a:pt x="2" y="1"/>
                      </a:cubicBez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4" name="Freeform 99">
                  <a:extLst>
                    <a:ext uri="{FF2B5EF4-FFF2-40B4-BE49-F238E27FC236}">
                      <a16:creationId xmlns:a16="http://schemas.microsoft.com/office/drawing/2014/main" id="{A870A669-0439-1D91-F96E-C4319CDD8246}"/>
                    </a:ext>
                  </a:extLst>
                </p:cNvPr>
                <p:cNvSpPr>
                  <a:spLocks noEditPoints="1"/>
                </p:cNvSpPr>
                <p:nvPr/>
              </p:nvSpPr>
              <p:spPr bwMode="auto">
                <a:xfrm>
                  <a:off x="2458" y="2294"/>
                  <a:ext cx="49" cy="17"/>
                </a:xfrm>
                <a:custGeom>
                  <a:avLst/>
                  <a:gdLst>
                    <a:gd name="T0" fmla="*/ 3 w 21"/>
                    <a:gd name="T1" fmla="*/ 5 h 7"/>
                    <a:gd name="T2" fmla="*/ 3 w 21"/>
                    <a:gd name="T3" fmla="*/ 5 h 7"/>
                    <a:gd name="T4" fmla="*/ 3 w 21"/>
                    <a:gd name="T5" fmla="*/ 5 h 7"/>
                    <a:gd name="T6" fmla="*/ 4 w 21"/>
                    <a:gd name="T7" fmla="*/ 5 h 7"/>
                    <a:gd name="T8" fmla="*/ 4 w 21"/>
                    <a:gd name="T9" fmla="*/ 5 h 7"/>
                    <a:gd name="T10" fmla="*/ 3 w 21"/>
                    <a:gd name="T11" fmla="*/ 5 h 7"/>
                    <a:gd name="T12" fmla="*/ 0 w 21"/>
                    <a:gd name="T13" fmla="*/ 7 h 7"/>
                    <a:gd name="T14" fmla="*/ 0 w 21"/>
                    <a:gd name="T15" fmla="*/ 6 h 7"/>
                    <a:gd name="T16" fmla="*/ 0 w 21"/>
                    <a:gd name="T17" fmla="*/ 6 h 7"/>
                    <a:gd name="T18" fmla="*/ 1 w 21"/>
                    <a:gd name="T19" fmla="*/ 6 h 7"/>
                    <a:gd name="T20" fmla="*/ 1 w 21"/>
                    <a:gd name="T21" fmla="*/ 7 h 7"/>
                    <a:gd name="T22" fmla="*/ 0 w 21"/>
                    <a:gd name="T23" fmla="*/ 7 h 7"/>
                    <a:gd name="T24" fmla="*/ 0 w 21"/>
                    <a:gd name="T25" fmla="*/ 7 h 7"/>
                    <a:gd name="T26" fmla="*/ 1 w 21"/>
                    <a:gd name="T27" fmla="*/ 3 h 7"/>
                    <a:gd name="T28" fmla="*/ 1 w 21"/>
                    <a:gd name="T29" fmla="*/ 2 h 7"/>
                    <a:gd name="T30" fmla="*/ 1 w 21"/>
                    <a:gd name="T31" fmla="*/ 2 h 7"/>
                    <a:gd name="T32" fmla="*/ 1 w 21"/>
                    <a:gd name="T33" fmla="*/ 1 h 7"/>
                    <a:gd name="T34" fmla="*/ 2 w 21"/>
                    <a:gd name="T35" fmla="*/ 2 h 7"/>
                    <a:gd name="T36" fmla="*/ 1 w 21"/>
                    <a:gd name="T37" fmla="*/ 3 h 7"/>
                    <a:gd name="T38" fmla="*/ 1 w 21"/>
                    <a:gd name="T39" fmla="*/ 3 h 7"/>
                    <a:gd name="T40" fmla="*/ 8 w 21"/>
                    <a:gd name="T41" fmla="*/ 4 h 7"/>
                    <a:gd name="T42" fmla="*/ 7 w 21"/>
                    <a:gd name="T43" fmla="*/ 4 h 7"/>
                    <a:gd name="T44" fmla="*/ 6 w 21"/>
                    <a:gd name="T45" fmla="*/ 5 h 7"/>
                    <a:gd name="T46" fmla="*/ 5 w 21"/>
                    <a:gd name="T47" fmla="*/ 5 h 7"/>
                    <a:gd name="T48" fmla="*/ 5 w 21"/>
                    <a:gd name="T49" fmla="*/ 4 h 7"/>
                    <a:gd name="T50" fmla="*/ 5 w 21"/>
                    <a:gd name="T51" fmla="*/ 4 h 7"/>
                    <a:gd name="T52" fmla="*/ 6 w 21"/>
                    <a:gd name="T53" fmla="*/ 4 h 7"/>
                    <a:gd name="T54" fmla="*/ 7 w 21"/>
                    <a:gd name="T55" fmla="*/ 3 h 7"/>
                    <a:gd name="T56" fmla="*/ 8 w 21"/>
                    <a:gd name="T57" fmla="*/ 3 h 7"/>
                    <a:gd name="T58" fmla="*/ 9 w 21"/>
                    <a:gd name="T59" fmla="*/ 3 h 7"/>
                    <a:gd name="T60" fmla="*/ 8 w 21"/>
                    <a:gd name="T61" fmla="*/ 4 h 7"/>
                    <a:gd name="T62" fmla="*/ 10 w 21"/>
                    <a:gd name="T63" fmla="*/ 5 h 7"/>
                    <a:gd name="T64" fmla="*/ 10 w 21"/>
                    <a:gd name="T65" fmla="*/ 6 h 7"/>
                    <a:gd name="T66" fmla="*/ 11 w 21"/>
                    <a:gd name="T67" fmla="*/ 6 h 7"/>
                    <a:gd name="T68" fmla="*/ 12 w 21"/>
                    <a:gd name="T69" fmla="*/ 6 h 7"/>
                    <a:gd name="T70" fmla="*/ 12 w 21"/>
                    <a:gd name="T71" fmla="*/ 6 h 7"/>
                    <a:gd name="T72" fmla="*/ 12 w 21"/>
                    <a:gd name="T73" fmla="*/ 5 h 7"/>
                    <a:gd name="T74" fmla="*/ 11 w 21"/>
                    <a:gd name="T75" fmla="*/ 5 h 7"/>
                    <a:gd name="T76" fmla="*/ 10 w 21"/>
                    <a:gd name="T77" fmla="*/ 5 h 7"/>
                    <a:gd name="T78" fmla="*/ 19 w 21"/>
                    <a:gd name="T79" fmla="*/ 1 h 7"/>
                    <a:gd name="T80" fmla="*/ 20 w 21"/>
                    <a:gd name="T81" fmla="*/ 0 h 7"/>
                    <a:gd name="T82" fmla="*/ 20 w 21"/>
                    <a:gd name="T83" fmla="*/ 0 h 7"/>
                    <a:gd name="T84" fmla="*/ 21 w 21"/>
                    <a:gd name="T85" fmla="*/ 1 h 7"/>
                    <a:gd name="T86" fmla="*/ 20 w 21"/>
                    <a:gd name="T87" fmla="*/ 1 h 7"/>
                    <a:gd name="T88" fmla="*/ 19 w 21"/>
                    <a:gd name="T89" fmla="*/ 1 h 7"/>
                    <a:gd name="T90" fmla="*/ 16 w 21"/>
                    <a:gd name="T91" fmla="*/ 5 h 7"/>
                    <a:gd name="T92" fmla="*/ 17 w 21"/>
                    <a:gd name="T93" fmla="*/ 4 h 7"/>
                    <a:gd name="T94" fmla="*/ 17 w 21"/>
                    <a:gd name="T95" fmla="*/ 3 h 7"/>
                    <a:gd name="T96" fmla="*/ 19 w 21"/>
                    <a:gd name="T97" fmla="*/ 2 h 7"/>
                    <a:gd name="T98" fmla="*/ 19 w 21"/>
                    <a:gd name="T99" fmla="*/ 3 h 7"/>
                    <a:gd name="T100" fmla="*/ 18 w 21"/>
                    <a:gd name="T101" fmla="*/ 5 h 7"/>
                    <a:gd name="T102" fmla="*/ 17 w 21"/>
                    <a:gd name="T103" fmla="*/ 5 h 7"/>
                    <a:gd name="T104" fmla="*/ 16 w 21"/>
                    <a:gd name="T105"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 h="7">
                      <a:moveTo>
                        <a:pt x="3" y="5"/>
                      </a:moveTo>
                      <a:cubicBezTo>
                        <a:pt x="3" y="5"/>
                        <a:pt x="3" y="5"/>
                        <a:pt x="3" y="5"/>
                      </a:cubicBezTo>
                      <a:cubicBezTo>
                        <a:pt x="3" y="5"/>
                        <a:pt x="3" y="5"/>
                        <a:pt x="3" y="5"/>
                      </a:cubicBezTo>
                      <a:cubicBezTo>
                        <a:pt x="4" y="5"/>
                        <a:pt x="4" y="5"/>
                        <a:pt x="4" y="5"/>
                      </a:cubicBezTo>
                      <a:cubicBezTo>
                        <a:pt x="4" y="5"/>
                        <a:pt x="4" y="5"/>
                        <a:pt x="4" y="5"/>
                      </a:cubicBezTo>
                      <a:cubicBezTo>
                        <a:pt x="4" y="5"/>
                        <a:pt x="3" y="5"/>
                        <a:pt x="3" y="5"/>
                      </a:cubicBezTo>
                      <a:close/>
                      <a:moveTo>
                        <a:pt x="0" y="7"/>
                      </a:moveTo>
                      <a:cubicBezTo>
                        <a:pt x="0" y="6"/>
                        <a:pt x="0" y="6"/>
                        <a:pt x="0" y="6"/>
                      </a:cubicBezTo>
                      <a:cubicBezTo>
                        <a:pt x="0" y="6"/>
                        <a:pt x="0" y="6"/>
                        <a:pt x="0" y="6"/>
                      </a:cubicBezTo>
                      <a:cubicBezTo>
                        <a:pt x="1" y="6"/>
                        <a:pt x="1" y="6"/>
                        <a:pt x="1" y="6"/>
                      </a:cubicBezTo>
                      <a:cubicBezTo>
                        <a:pt x="1" y="7"/>
                        <a:pt x="1" y="7"/>
                        <a:pt x="1" y="7"/>
                      </a:cubicBezTo>
                      <a:cubicBezTo>
                        <a:pt x="0" y="7"/>
                        <a:pt x="0" y="7"/>
                        <a:pt x="0" y="7"/>
                      </a:cubicBezTo>
                      <a:cubicBezTo>
                        <a:pt x="0" y="7"/>
                        <a:pt x="0" y="7"/>
                        <a:pt x="0" y="7"/>
                      </a:cubicBezTo>
                      <a:close/>
                      <a:moveTo>
                        <a:pt x="1" y="3"/>
                      </a:moveTo>
                      <a:cubicBezTo>
                        <a:pt x="1" y="2"/>
                        <a:pt x="1" y="2"/>
                        <a:pt x="1" y="2"/>
                      </a:cubicBezTo>
                      <a:cubicBezTo>
                        <a:pt x="1" y="2"/>
                        <a:pt x="1" y="2"/>
                        <a:pt x="1" y="2"/>
                      </a:cubicBezTo>
                      <a:cubicBezTo>
                        <a:pt x="1" y="2"/>
                        <a:pt x="1" y="1"/>
                        <a:pt x="1" y="1"/>
                      </a:cubicBezTo>
                      <a:cubicBezTo>
                        <a:pt x="1" y="1"/>
                        <a:pt x="2" y="2"/>
                        <a:pt x="2" y="2"/>
                      </a:cubicBezTo>
                      <a:cubicBezTo>
                        <a:pt x="1" y="3"/>
                        <a:pt x="1" y="3"/>
                        <a:pt x="1" y="3"/>
                      </a:cubicBezTo>
                      <a:cubicBezTo>
                        <a:pt x="1" y="3"/>
                        <a:pt x="1" y="3"/>
                        <a:pt x="1" y="3"/>
                      </a:cubicBezTo>
                      <a:close/>
                      <a:moveTo>
                        <a:pt x="8" y="4"/>
                      </a:moveTo>
                      <a:cubicBezTo>
                        <a:pt x="7" y="4"/>
                        <a:pt x="7" y="4"/>
                        <a:pt x="7" y="4"/>
                      </a:cubicBezTo>
                      <a:cubicBezTo>
                        <a:pt x="6" y="5"/>
                        <a:pt x="6" y="5"/>
                        <a:pt x="6" y="5"/>
                      </a:cubicBezTo>
                      <a:cubicBezTo>
                        <a:pt x="5" y="5"/>
                        <a:pt x="5" y="5"/>
                        <a:pt x="5" y="5"/>
                      </a:cubicBezTo>
                      <a:cubicBezTo>
                        <a:pt x="5" y="4"/>
                        <a:pt x="5" y="4"/>
                        <a:pt x="5" y="4"/>
                      </a:cubicBezTo>
                      <a:cubicBezTo>
                        <a:pt x="5" y="4"/>
                        <a:pt x="5" y="4"/>
                        <a:pt x="5" y="4"/>
                      </a:cubicBezTo>
                      <a:cubicBezTo>
                        <a:pt x="6" y="4"/>
                        <a:pt x="6" y="4"/>
                        <a:pt x="6" y="4"/>
                      </a:cubicBezTo>
                      <a:cubicBezTo>
                        <a:pt x="7" y="3"/>
                        <a:pt x="7" y="3"/>
                        <a:pt x="7" y="3"/>
                      </a:cubicBezTo>
                      <a:cubicBezTo>
                        <a:pt x="8" y="3"/>
                        <a:pt x="8" y="3"/>
                        <a:pt x="8" y="3"/>
                      </a:cubicBezTo>
                      <a:cubicBezTo>
                        <a:pt x="9" y="3"/>
                        <a:pt x="9" y="3"/>
                        <a:pt x="9" y="3"/>
                      </a:cubicBezTo>
                      <a:cubicBezTo>
                        <a:pt x="8" y="4"/>
                        <a:pt x="8" y="4"/>
                        <a:pt x="8" y="4"/>
                      </a:cubicBezTo>
                      <a:close/>
                      <a:moveTo>
                        <a:pt x="10" y="5"/>
                      </a:moveTo>
                      <a:cubicBezTo>
                        <a:pt x="10" y="6"/>
                        <a:pt x="10" y="6"/>
                        <a:pt x="10" y="6"/>
                      </a:cubicBezTo>
                      <a:cubicBezTo>
                        <a:pt x="11" y="6"/>
                        <a:pt x="11" y="6"/>
                        <a:pt x="11" y="6"/>
                      </a:cubicBezTo>
                      <a:cubicBezTo>
                        <a:pt x="12" y="6"/>
                        <a:pt x="12" y="6"/>
                        <a:pt x="12" y="6"/>
                      </a:cubicBezTo>
                      <a:cubicBezTo>
                        <a:pt x="12" y="6"/>
                        <a:pt x="12" y="6"/>
                        <a:pt x="12" y="6"/>
                      </a:cubicBezTo>
                      <a:cubicBezTo>
                        <a:pt x="12" y="5"/>
                        <a:pt x="12" y="5"/>
                        <a:pt x="12" y="5"/>
                      </a:cubicBezTo>
                      <a:cubicBezTo>
                        <a:pt x="11" y="5"/>
                        <a:pt x="11" y="5"/>
                        <a:pt x="11" y="5"/>
                      </a:cubicBezTo>
                      <a:cubicBezTo>
                        <a:pt x="10" y="5"/>
                        <a:pt x="10" y="5"/>
                        <a:pt x="10" y="5"/>
                      </a:cubicBezTo>
                      <a:close/>
                      <a:moveTo>
                        <a:pt x="19" y="1"/>
                      </a:moveTo>
                      <a:cubicBezTo>
                        <a:pt x="20" y="0"/>
                        <a:pt x="20" y="0"/>
                        <a:pt x="20" y="0"/>
                      </a:cubicBezTo>
                      <a:cubicBezTo>
                        <a:pt x="20" y="0"/>
                        <a:pt x="20" y="0"/>
                        <a:pt x="20" y="0"/>
                      </a:cubicBezTo>
                      <a:cubicBezTo>
                        <a:pt x="21" y="1"/>
                        <a:pt x="21" y="1"/>
                        <a:pt x="21" y="1"/>
                      </a:cubicBezTo>
                      <a:cubicBezTo>
                        <a:pt x="20" y="1"/>
                        <a:pt x="20" y="1"/>
                        <a:pt x="20" y="1"/>
                      </a:cubicBezTo>
                      <a:cubicBezTo>
                        <a:pt x="19" y="1"/>
                        <a:pt x="19" y="1"/>
                        <a:pt x="19" y="1"/>
                      </a:cubicBezTo>
                      <a:close/>
                      <a:moveTo>
                        <a:pt x="16" y="5"/>
                      </a:moveTo>
                      <a:cubicBezTo>
                        <a:pt x="17" y="4"/>
                        <a:pt x="17" y="4"/>
                        <a:pt x="17" y="4"/>
                      </a:cubicBezTo>
                      <a:cubicBezTo>
                        <a:pt x="17" y="3"/>
                        <a:pt x="17" y="3"/>
                        <a:pt x="17" y="3"/>
                      </a:cubicBezTo>
                      <a:cubicBezTo>
                        <a:pt x="19" y="2"/>
                        <a:pt x="19" y="2"/>
                        <a:pt x="19" y="2"/>
                      </a:cubicBezTo>
                      <a:cubicBezTo>
                        <a:pt x="19" y="3"/>
                        <a:pt x="19" y="3"/>
                        <a:pt x="19" y="3"/>
                      </a:cubicBezTo>
                      <a:cubicBezTo>
                        <a:pt x="18" y="5"/>
                        <a:pt x="18" y="5"/>
                        <a:pt x="18" y="5"/>
                      </a:cubicBezTo>
                      <a:cubicBezTo>
                        <a:pt x="17" y="5"/>
                        <a:pt x="17" y="5"/>
                        <a:pt x="17" y="5"/>
                      </a:cubicBezTo>
                      <a:lnTo>
                        <a:pt x="16" y="5"/>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 name="Freeform 100">
                  <a:extLst>
                    <a:ext uri="{FF2B5EF4-FFF2-40B4-BE49-F238E27FC236}">
                      <a16:creationId xmlns:a16="http://schemas.microsoft.com/office/drawing/2014/main" id="{92B615E9-AE87-35F1-A8CC-E4EEBB719677}"/>
                    </a:ext>
                  </a:extLst>
                </p:cNvPr>
                <p:cNvSpPr>
                  <a:spLocks noEditPoints="1"/>
                </p:cNvSpPr>
                <p:nvPr/>
              </p:nvSpPr>
              <p:spPr bwMode="auto">
                <a:xfrm>
                  <a:off x="2372" y="2422"/>
                  <a:ext cx="29" cy="24"/>
                </a:xfrm>
                <a:custGeom>
                  <a:avLst/>
                  <a:gdLst>
                    <a:gd name="T0" fmla="*/ 1 w 12"/>
                    <a:gd name="T1" fmla="*/ 1 h 10"/>
                    <a:gd name="T2" fmla="*/ 2 w 12"/>
                    <a:gd name="T3" fmla="*/ 0 h 10"/>
                    <a:gd name="T4" fmla="*/ 2 w 12"/>
                    <a:gd name="T5" fmla="*/ 0 h 10"/>
                    <a:gd name="T6" fmla="*/ 1 w 12"/>
                    <a:gd name="T7" fmla="*/ 0 h 10"/>
                    <a:gd name="T8" fmla="*/ 0 w 12"/>
                    <a:gd name="T9" fmla="*/ 0 h 10"/>
                    <a:gd name="T10" fmla="*/ 0 w 12"/>
                    <a:gd name="T11" fmla="*/ 0 h 10"/>
                    <a:gd name="T12" fmla="*/ 0 w 12"/>
                    <a:gd name="T13" fmla="*/ 1 h 10"/>
                    <a:gd name="T14" fmla="*/ 1 w 12"/>
                    <a:gd name="T15" fmla="*/ 1 h 10"/>
                    <a:gd name="T16" fmla="*/ 2 w 12"/>
                    <a:gd name="T17" fmla="*/ 1 h 10"/>
                    <a:gd name="T18" fmla="*/ 2 w 12"/>
                    <a:gd name="T19" fmla="*/ 1 h 10"/>
                    <a:gd name="T20" fmla="*/ 2 w 12"/>
                    <a:gd name="T21" fmla="*/ 1 h 10"/>
                    <a:gd name="T22" fmla="*/ 3 w 12"/>
                    <a:gd name="T23" fmla="*/ 1 h 10"/>
                    <a:gd name="T24" fmla="*/ 3 w 12"/>
                    <a:gd name="T25" fmla="*/ 1 h 10"/>
                    <a:gd name="T26" fmla="*/ 2 w 12"/>
                    <a:gd name="T27" fmla="*/ 1 h 10"/>
                    <a:gd name="T28" fmla="*/ 6 w 12"/>
                    <a:gd name="T29" fmla="*/ 2 h 10"/>
                    <a:gd name="T30" fmla="*/ 5 w 12"/>
                    <a:gd name="T31" fmla="*/ 2 h 10"/>
                    <a:gd name="T32" fmla="*/ 5 w 12"/>
                    <a:gd name="T33" fmla="*/ 3 h 10"/>
                    <a:gd name="T34" fmla="*/ 5 w 12"/>
                    <a:gd name="T35" fmla="*/ 2 h 10"/>
                    <a:gd name="T36" fmla="*/ 5 w 12"/>
                    <a:gd name="T37" fmla="*/ 2 h 10"/>
                    <a:gd name="T38" fmla="*/ 5 w 12"/>
                    <a:gd name="T39" fmla="*/ 2 h 10"/>
                    <a:gd name="T40" fmla="*/ 6 w 12"/>
                    <a:gd name="T41" fmla="*/ 2 h 10"/>
                    <a:gd name="T42" fmla="*/ 6 w 12"/>
                    <a:gd name="T43" fmla="*/ 2 h 10"/>
                    <a:gd name="T44" fmla="*/ 6 w 12"/>
                    <a:gd name="T45" fmla="*/ 2 h 10"/>
                    <a:gd name="T46" fmla="*/ 7 w 12"/>
                    <a:gd name="T47" fmla="*/ 2 h 10"/>
                    <a:gd name="T48" fmla="*/ 7 w 12"/>
                    <a:gd name="T49" fmla="*/ 3 h 10"/>
                    <a:gd name="T50" fmla="*/ 6 w 12"/>
                    <a:gd name="T51" fmla="*/ 2 h 10"/>
                    <a:gd name="T52" fmla="*/ 7 w 12"/>
                    <a:gd name="T53" fmla="*/ 2 h 10"/>
                    <a:gd name="T54" fmla="*/ 7 w 12"/>
                    <a:gd name="T55" fmla="*/ 2 h 10"/>
                    <a:gd name="T56" fmla="*/ 12 w 12"/>
                    <a:gd name="T57" fmla="*/ 2 h 10"/>
                    <a:gd name="T58" fmla="*/ 11 w 12"/>
                    <a:gd name="T59" fmla="*/ 1 h 10"/>
                    <a:gd name="T60" fmla="*/ 12 w 12"/>
                    <a:gd name="T61" fmla="*/ 1 h 10"/>
                    <a:gd name="T62" fmla="*/ 12 w 12"/>
                    <a:gd name="T63" fmla="*/ 2 h 10"/>
                    <a:gd name="T64" fmla="*/ 12 w 12"/>
                    <a:gd name="T65" fmla="*/ 2 h 10"/>
                    <a:gd name="T66" fmla="*/ 11 w 12"/>
                    <a:gd name="T67" fmla="*/ 5 h 10"/>
                    <a:gd name="T68" fmla="*/ 11 w 12"/>
                    <a:gd name="T69" fmla="*/ 4 h 10"/>
                    <a:gd name="T70" fmla="*/ 11 w 12"/>
                    <a:gd name="T71" fmla="*/ 4 h 10"/>
                    <a:gd name="T72" fmla="*/ 12 w 12"/>
                    <a:gd name="T73" fmla="*/ 4 h 10"/>
                    <a:gd name="T74" fmla="*/ 12 w 12"/>
                    <a:gd name="T75" fmla="*/ 5 h 10"/>
                    <a:gd name="T76" fmla="*/ 12 w 12"/>
                    <a:gd name="T77" fmla="*/ 5 h 10"/>
                    <a:gd name="T78" fmla="*/ 11 w 12"/>
                    <a:gd name="T79" fmla="*/ 5 h 10"/>
                    <a:gd name="T80" fmla="*/ 10 w 12"/>
                    <a:gd name="T81" fmla="*/ 9 h 10"/>
                    <a:gd name="T82" fmla="*/ 10 w 12"/>
                    <a:gd name="T83" fmla="*/ 9 h 10"/>
                    <a:gd name="T84" fmla="*/ 10 w 12"/>
                    <a:gd name="T85" fmla="*/ 8 h 10"/>
                    <a:gd name="T86" fmla="*/ 11 w 12"/>
                    <a:gd name="T87" fmla="*/ 9 h 10"/>
                    <a:gd name="T88" fmla="*/ 10 w 12"/>
                    <a:gd name="T89" fmla="*/ 9 h 10"/>
                    <a:gd name="T90" fmla="*/ 8 w 12"/>
                    <a:gd name="T91" fmla="*/ 10 h 10"/>
                    <a:gd name="T92" fmla="*/ 8 w 12"/>
                    <a:gd name="T93" fmla="*/ 9 h 10"/>
                    <a:gd name="T94" fmla="*/ 7 w 12"/>
                    <a:gd name="T95" fmla="*/ 8 h 10"/>
                    <a:gd name="T96" fmla="*/ 8 w 12"/>
                    <a:gd name="T97" fmla="*/ 8 h 10"/>
                    <a:gd name="T98" fmla="*/ 9 w 12"/>
                    <a:gd name="T99" fmla="*/ 9 h 10"/>
                    <a:gd name="T100" fmla="*/ 9 w 12"/>
                    <a:gd name="T101" fmla="*/ 10 h 10"/>
                    <a:gd name="T102" fmla="*/ 8 w 12"/>
                    <a:gd name="T103"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 h="10">
                      <a:moveTo>
                        <a:pt x="1" y="1"/>
                      </a:moveTo>
                      <a:cubicBezTo>
                        <a:pt x="2" y="0"/>
                        <a:pt x="2" y="0"/>
                        <a:pt x="2" y="0"/>
                      </a:cubicBezTo>
                      <a:cubicBezTo>
                        <a:pt x="2" y="0"/>
                        <a:pt x="2" y="0"/>
                        <a:pt x="2" y="0"/>
                      </a:cubicBezTo>
                      <a:cubicBezTo>
                        <a:pt x="1" y="0"/>
                        <a:pt x="1" y="0"/>
                        <a:pt x="1" y="0"/>
                      </a:cubicBezTo>
                      <a:cubicBezTo>
                        <a:pt x="0" y="0"/>
                        <a:pt x="0" y="0"/>
                        <a:pt x="0" y="0"/>
                      </a:cubicBezTo>
                      <a:cubicBezTo>
                        <a:pt x="0" y="0"/>
                        <a:pt x="0" y="0"/>
                        <a:pt x="0" y="0"/>
                      </a:cubicBezTo>
                      <a:cubicBezTo>
                        <a:pt x="0" y="1"/>
                        <a:pt x="0" y="1"/>
                        <a:pt x="0" y="1"/>
                      </a:cubicBezTo>
                      <a:cubicBezTo>
                        <a:pt x="0" y="1"/>
                        <a:pt x="1" y="1"/>
                        <a:pt x="1" y="1"/>
                      </a:cubicBezTo>
                      <a:close/>
                      <a:moveTo>
                        <a:pt x="2" y="1"/>
                      </a:moveTo>
                      <a:cubicBezTo>
                        <a:pt x="2" y="1"/>
                        <a:pt x="2" y="1"/>
                        <a:pt x="2" y="1"/>
                      </a:cubicBezTo>
                      <a:cubicBezTo>
                        <a:pt x="2" y="1"/>
                        <a:pt x="2" y="1"/>
                        <a:pt x="2" y="1"/>
                      </a:cubicBezTo>
                      <a:cubicBezTo>
                        <a:pt x="3" y="1"/>
                        <a:pt x="3" y="1"/>
                        <a:pt x="3" y="1"/>
                      </a:cubicBezTo>
                      <a:cubicBezTo>
                        <a:pt x="3" y="1"/>
                        <a:pt x="3" y="1"/>
                        <a:pt x="3" y="1"/>
                      </a:cubicBezTo>
                      <a:cubicBezTo>
                        <a:pt x="3" y="1"/>
                        <a:pt x="2" y="1"/>
                        <a:pt x="2" y="1"/>
                      </a:cubicBezTo>
                      <a:close/>
                      <a:moveTo>
                        <a:pt x="6" y="2"/>
                      </a:moveTo>
                      <a:cubicBezTo>
                        <a:pt x="5" y="2"/>
                        <a:pt x="5" y="2"/>
                        <a:pt x="5" y="2"/>
                      </a:cubicBezTo>
                      <a:cubicBezTo>
                        <a:pt x="5" y="3"/>
                        <a:pt x="5" y="3"/>
                        <a:pt x="5" y="3"/>
                      </a:cubicBezTo>
                      <a:cubicBezTo>
                        <a:pt x="5" y="2"/>
                        <a:pt x="5" y="2"/>
                        <a:pt x="5" y="2"/>
                      </a:cubicBezTo>
                      <a:cubicBezTo>
                        <a:pt x="5" y="2"/>
                        <a:pt x="5" y="2"/>
                        <a:pt x="5" y="2"/>
                      </a:cubicBezTo>
                      <a:cubicBezTo>
                        <a:pt x="5" y="2"/>
                        <a:pt x="5" y="2"/>
                        <a:pt x="5" y="2"/>
                      </a:cubicBezTo>
                      <a:cubicBezTo>
                        <a:pt x="6" y="2"/>
                        <a:pt x="6" y="2"/>
                        <a:pt x="6" y="2"/>
                      </a:cubicBezTo>
                      <a:cubicBezTo>
                        <a:pt x="6" y="2"/>
                        <a:pt x="6" y="2"/>
                        <a:pt x="6" y="2"/>
                      </a:cubicBezTo>
                      <a:cubicBezTo>
                        <a:pt x="6" y="2"/>
                        <a:pt x="6" y="2"/>
                        <a:pt x="6" y="2"/>
                      </a:cubicBezTo>
                      <a:close/>
                      <a:moveTo>
                        <a:pt x="7" y="2"/>
                      </a:moveTo>
                      <a:cubicBezTo>
                        <a:pt x="7" y="3"/>
                        <a:pt x="7" y="3"/>
                        <a:pt x="7" y="3"/>
                      </a:cubicBezTo>
                      <a:cubicBezTo>
                        <a:pt x="6" y="2"/>
                        <a:pt x="6" y="2"/>
                        <a:pt x="6" y="2"/>
                      </a:cubicBezTo>
                      <a:cubicBezTo>
                        <a:pt x="7" y="2"/>
                        <a:pt x="7" y="2"/>
                        <a:pt x="7" y="2"/>
                      </a:cubicBezTo>
                      <a:cubicBezTo>
                        <a:pt x="7" y="2"/>
                        <a:pt x="7" y="2"/>
                        <a:pt x="7" y="2"/>
                      </a:cubicBezTo>
                      <a:close/>
                      <a:moveTo>
                        <a:pt x="12" y="2"/>
                      </a:moveTo>
                      <a:cubicBezTo>
                        <a:pt x="11" y="1"/>
                        <a:pt x="11" y="1"/>
                        <a:pt x="11" y="1"/>
                      </a:cubicBezTo>
                      <a:cubicBezTo>
                        <a:pt x="12" y="1"/>
                        <a:pt x="12" y="1"/>
                        <a:pt x="12" y="1"/>
                      </a:cubicBezTo>
                      <a:cubicBezTo>
                        <a:pt x="12" y="2"/>
                        <a:pt x="12" y="2"/>
                        <a:pt x="12" y="2"/>
                      </a:cubicBezTo>
                      <a:cubicBezTo>
                        <a:pt x="12" y="2"/>
                        <a:pt x="12" y="2"/>
                        <a:pt x="12" y="2"/>
                      </a:cubicBezTo>
                      <a:close/>
                      <a:moveTo>
                        <a:pt x="11" y="5"/>
                      </a:moveTo>
                      <a:cubicBezTo>
                        <a:pt x="11" y="4"/>
                        <a:pt x="11" y="4"/>
                        <a:pt x="11" y="4"/>
                      </a:cubicBezTo>
                      <a:cubicBezTo>
                        <a:pt x="11" y="4"/>
                        <a:pt x="11" y="4"/>
                        <a:pt x="11" y="4"/>
                      </a:cubicBezTo>
                      <a:cubicBezTo>
                        <a:pt x="12" y="4"/>
                        <a:pt x="12" y="4"/>
                        <a:pt x="12" y="4"/>
                      </a:cubicBezTo>
                      <a:cubicBezTo>
                        <a:pt x="12" y="5"/>
                        <a:pt x="12" y="5"/>
                        <a:pt x="12" y="5"/>
                      </a:cubicBezTo>
                      <a:cubicBezTo>
                        <a:pt x="12" y="5"/>
                        <a:pt x="12" y="5"/>
                        <a:pt x="12" y="5"/>
                      </a:cubicBezTo>
                      <a:cubicBezTo>
                        <a:pt x="11" y="5"/>
                        <a:pt x="11" y="5"/>
                        <a:pt x="11" y="5"/>
                      </a:cubicBezTo>
                      <a:close/>
                      <a:moveTo>
                        <a:pt x="10" y="9"/>
                      </a:moveTo>
                      <a:cubicBezTo>
                        <a:pt x="10" y="9"/>
                        <a:pt x="10" y="9"/>
                        <a:pt x="10" y="9"/>
                      </a:cubicBezTo>
                      <a:cubicBezTo>
                        <a:pt x="10" y="8"/>
                        <a:pt x="10" y="8"/>
                        <a:pt x="10" y="8"/>
                      </a:cubicBezTo>
                      <a:cubicBezTo>
                        <a:pt x="11" y="9"/>
                        <a:pt x="11" y="9"/>
                        <a:pt x="11" y="9"/>
                      </a:cubicBezTo>
                      <a:cubicBezTo>
                        <a:pt x="10" y="9"/>
                        <a:pt x="10" y="9"/>
                        <a:pt x="10" y="9"/>
                      </a:cubicBezTo>
                      <a:close/>
                      <a:moveTo>
                        <a:pt x="8" y="10"/>
                      </a:moveTo>
                      <a:cubicBezTo>
                        <a:pt x="8" y="9"/>
                        <a:pt x="8" y="9"/>
                        <a:pt x="8" y="9"/>
                      </a:cubicBezTo>
                      <a:cubicBezTo>
                        <a:pt x="7" y="8"/>
                        <a:pt x="7" y="8"/>
                        <a:pt x="7" y="8"/>
                      </a:cubicBezTo>
                      <a:cubicBezTo>
                        <a:pt x="8" y="8"/>
                        <a:pt x="8" y="8"/>
                        <a:pt x="8" y="8"/>
                      </a:cubicBezTo>
                      <a:cubicBezTo>
                        <a:pt x="9" y="9"/>
                        <a:pt x="9" y="9"/>
                        <a:pt x="9" y="9"/>
                      </a:cubicBezTo>
                      <a:cubicBezTo>
                        <a:pt x="9" y="10"/>
                        <a:pt x="9" y="10"/>
                        <a:pt x="9" y="10"/>
                      </a:cubicBezTo>
                      <a:lnTo>
                        <a:pt x="8" y="10"/>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6" name="Freeform 101">
                  <a:extLst>
                    <a:ext uri="{FF2B5EF4-FFF2-40B4-BE49-F238E27FC236}">
                      <a16:creationId xmlns:a16="http://schemas.microsoft.com/office/drawing/2014/main" id="{A30544A0-93DE-DE63-03D3-6CE3E2E2E7D4}"/>
                    </a:ext>
                  </a:extLst>
                </p:cNvPr>
                <p:cNvSpPr>
                  <a:spLocks noEditPoints="1"/>
                </p:cNvSpPr>
                <p:nvPr/>
              </p:nvSpPr>
              <p:spPr bwMode="auto">
                <a:xfrm>
                  <a:off x="3238" y="2320"/>
                  <a:ext cx="86" cy="109"/>
                </a:xfrm>
                <a:custGeom>
                  <a:avLst/>
                  <a:gdLst>
                    <a:gd name="T0" fmla="*/ 34 w 86"/>
                    <a:gd name="T1" fmla="*/ 71 h 109"/>
                    <a:gd name="T2" fmla="*/ 31 w 86"/>
                    <a:gd name="T3" fmla="*/ 40 h 109"/>
                    <a:gd name="T4" fmla="*/ 43 w 86"/>
                    <a:gd name="T5" fmla="*/ 12 h 109"/>
                    <a:gd name="T6" fmla="*/ 48 w 86"/>
                    <a:gd name="T7" fmla="*/ 24 h 109"/>
                    <a:gd name="T8" fmla="*/ 55 w 86"/>
                    <a:gd name="T9" fmla="*/ 28 h 109"/>
                    <a:gd name="T10" fmla="*/ 60 w 86"/>
                    <a:gd name="T11" fmla="*/ 28 h 109"/>
                    <a:gd name="T12" fmla="*/ 67 w 86"/>
                    <a:gd name="T13" fmla="*/ 31 h 109"/>
                    <a:gd name="T14" fmla="*/ 71 w 86"/>
                    <a:gd name="T15" fmla="*/ 31 h 109"/>
                    <a:gd name="T16" fmla="*/ 74 w 86"/>
                    <a:gd name="T17" fmla="*/ 36 h 109"/>
                    <a:gd name="T18" fmla="*/ 79 w 86"/>
                    <a:gd name="T19" fmla="*/ 40 h 109"/>
                    <a:gd name="T20" fmla="*/ 83 w 86"/>
                    <a:gd name="T21" fmla="*/ 43 h 109"/>
                    <a:gd name="T22" fmla="*/ 86 w 86"/>
                    <a:gd name="T23" fmla="*/ 45 h 109"/>
                    <a:gd name="T24" fmla="*/ 83 w 86"/>
                    <a:gd name="T25" fmla="*/ 50 h 109"/>
                    <a:gd name="T26" fmla="*/ 79 w 86"/>
                    <a:gd name="T27" fmla="*/ 57 h 109"/>
                    <a:gd name="T28" fmla="*/ 74 w 86"/>
                    <a:gd name="T29" fmla="*/ 62 h 109"/>
                    <a:gd name="T30" fmla="*/ 71 w 86"/>
                    <a:gd name="T31" fmla="*/ 66 h 109"/>
                    <a:gd name="T32" fmla="*/ 69 w 86"/>
                    <a:gd name="T33" fmla="*/ 66 h 109"/>
                    <a:gd name="T34" fmla="*/ 71 w 86"/>
                    <a:gd name="T35" fmla="*/ 64 h 109"/>
                    <a:gd name="T36" fmla="*/ 69 w 86"/>
                    <a:gd name="T37" fmla="*/ 64 h 109"/>
                    <a:gd name="T38" fmla="*/ 67 w 86"/>
                    <a:gd name="T39" fmla="*/ 66 h 109"/>
                    <a:gd name="T40" fmla="*/ 67 w 86"/>
                    <a:gd name="T41" fmla="*/ 69 h 109"/>
                    <a:gd name="T42" fmla="*/ 64 w 86"/>
                    <a:gd name="T43" fmla="*/ 73 h 109"/>
                    <a:gd name="T44" fmla="*/ 64 w 86"/>
                    <a:gd name="T45" fmla="*/ 76 h 109"/>
                    <a:gd name="T46" fmla="*/ 64 w 86"/>
                    <a:gd name="T47" fmla="*/ 76 h 109"/>
                    <a:gd name="T48" fmla="*/ 67 w 86"/>
                    <a:gd name="T49" fmla="*/ 81 h 109"/>
                    <a:gd name="T50" fmla="*/ 60 w 86"/>
                    <a:gd name="T51" fmla="*/ 83 h 109"/>
                    <a:gd name="T52" fmla="*/ 57 w 86"/>
                    <a:gd name="T53" fmla="*/ 83 h 109"/>
                    <a:gd name="T54" fmla="*/ 50 w 86"/>
                    <a:gd name="T55" fmla="*/ 88 h 109"/>
                    <a:gd name="T56" fmla="*/ 50 w 86"/>
                    <a:gd name="T57" fmla="*/ 92 h 109"/>
                    <a:gd name="T58" fmla="*/ 48 w 86"/>
                    <a:gd name="T59" fmla="*/ 92 h 109"/>
                    <a:gd name="T60" fmla="*/ 41 w 86"/>
                    <a:gd name="T61" fmla="*/ 95 h 109"/>
                    <a:gd name="T62" fmla="*/ 38 w 86"/>
                    <a:gd name="T63" fmla="*/ 97 h 109"/>
                    <a:gd name="T64" fmla="*/ 38 w 86"/>
                    <a:gd name="T65" fmla="*/ 100 h 109"/>
                    <a:gd name="T66" fmla="*/ 38 w 86"/>
                    <a:gd name="T67" fmla="*/ 100 h 109"/>
                    <a:gd name="T68" fmla="*/ 38 w 86"/>
                    <a:gd name="T69" fmla="*/ 102 h 109"/>
                    <a:gd name="T70" fmla="*/ 34 w 86"/>
                    <a:gd name="T71" fmla="*/ 104 h 109"/>
                    <a:gd name="T72" fmla="*/ 31 w 86"/>
                    <a:gd name="T73" fmla="*/ 104 h 109"/>
                    <a:gd name="T74" fmla="*/ 24 w 86"/>
                    <a:gd name="T75" fmla="*/ 107 h 109"/>
                    <a:gd name="T76" fmla="*/ 19 w 86"/>
                    <a:gd name="T77" fmla="*/ 109 h 109"/>
                    <a:gd name="T78" fmla="*/ 17 w 86"/>
                    <a:gd name="T79" fmla="*/ 107 h 109"/>
                    <a:gd name="T80" fmla="*/ 10 w 86"/>
                    <a:gd name="T81" fmla="*/ 102 h 109"/>
                    <a:gd name="T82" fmla="*/ 0 w 86"/>
                    <a:gd name="T83" fmla="*/ 85 h 109"/>
                    <a:gd name="T84" fmla="*/ 0 w 86"/>
                    <a:gd name="T85" fmla="*/ 81 h 109"/>
                    <a:gd name="T86" fmla="*/ 41 w 86"/>
                    <a:gd name="T87" fmla="*/ 7 h 109"/>
                    <a:gd name="T88" fmla="*/ 43 w 86"/>
                    <a:gd name="T89" fmla="*/ 2 h 109"/>
                    <a:gd name="T90" fmla="*/ 43 w 86"/>
                    <a:gd name="T91" fmla="*/ 2 h 109"/>
                    <a:gd name="T92" fmla="*/ 43 w 86"/>
                    <a:gd name="T93" fmla="*/ 0 h 109"/>
                    <a:gd name="T94" fmla="*/ 43 w 86"/>
                    <a:gd name="T95" fmla="*/ 0 h 109"/>
                    <a:gd name="T96" fmla="*/ 41 w 86"/>
                    <a:gd name="T97" fmla="*/ 0 h 109"/>
                    <a:gd name="T98" fmla="*/ 41 w 86"/>
                    <a:gd name="T99" fmla="*/ 2 h 109"/>
                    <a:gd name="T100" fmla="*/ 38 w 86"/>
                    <a:gd name="T101" fmla="*/ 5 h 109"/>
                    <a:gd name="T102" fmla="*/ 41 w 86"/>
                    <a:gd name="T103" fmla="*/ 5 h 109"/>
                    <a:gd name="T104" fmla="*/ 41 w 86"/>
                    <a:gd name="T105" fmla="*/ 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6" h="109">
                      <a:moveTo>
                        <a:pt x="0" y="81"/>
                      </a:moveTo>
                      <a:lnTo>
                        <a:pt x="34" y="71"/>
                      </a:lnTo>
                      <a:lnTo>
                        <a:pt x="34" y="47"/>
                      </a:lnTo>
                      <a:lnTo>
                        <a:pt x="31" y="40"/>
                      </a:lnTo>
                      <a:lnTo>
                        <a:pt x="41" y="14"/>
                      </a:lnTo>
                      <a:lnTo>
                        <a:pt x="43" y="12"/>
                      </a:lnTo>
                      <a:lnTo>
                        <a:pt x="45" y="19"/>
                      </a:lnTo>
                      <a:lnTo>
                        <a:pt x="48" y="24"/>
                      </a:lnTo>
                      <a:lnTo>
                        <a:pt x="48" y="24"/>
                      </a:lnTo>
                      <a:lnTo>
                        <a:pt x="55" y="28"/>
                      </a:lnTo>
                      <a:lnTo>
                        <a:pt x="57" y="31"/>
                      </a:lnTo>
                      <a:lnTo>
                        <a:pt x="60" y="28"/>
                      </a:lnTo>
                      <a:lnTo>
                        <a:pt x="62" y="28"/>
                      </a:lnTo>
                      <a:lnTo>
                        <a:pt x="67" y="31"/>
                      </a:lnTo>
                      <a:lnTo>
                        <a:pt x="69" y="31"/>
                      </a:lnTo>
                      <a:lnTo>
                        <a:pt x="71" y="31"/>
                      </a:lnTo>
                      <a:lnTo>
                        <a:pt x="74" y="33"/>
                      </a:lnTo>
                      <a:lnTo>
                        <a:pt x="74" y="36"/>
                      </a:lnTo>
                      <a:lnTo>
                        <a:pt x="76" y="38"/>
                      </a:lnTo>
                      <a:lnTo>
                        <a:pt x="79" y="40"/>
                      </a:lnTo>
                      <a:lnTo>
                        <a:pt x="81" y="43"/>
                      </a:lnTo>
                      <a:lnTo>
                        <a:pt x="83" y="43"/>
                      </a:lnTo>
                      <a:lnTo>
                        <a:pt x="86" y="45"/>
                      </a:lnTo>
                      <a:lnTo>
                        <a:pt x="86" y="45"/>
                      </a:lnTo>
                      <a:lnTo>
                        <a:pt x="83" y="47"/>
                      </a:lnTo>
                      <a:lnTo>
                        <a:pt x="83" y="50"/>
                      </a:lnTo>
                      <a:lnTo>
                        <a:pt x="83" y="52"/>
                      </a:lnTo>
                      <a:lnTo>
                        <a:pt x="79" y="57"/>
                      </a:lnTo>
                      <a:lnTo>
                        <a:pt x="76" y="59"/>
                      </a:lnTo>
                      <a:lnTo>
                        <a:pt x="74" y="62"/>
                      </a:lnTo>
                      <a:lnTo>
                        <a:pt x="74" y="62"/>
                      </a:lnTo>
                      <a:lnTo>
                        <a:pt x="71" y="66"/>
                      </a:lnTo>
                      <a:lnTo>
                        <a:pt x="71" y="66"/>
                      </a:lnTo>
                      <a:lnTo>
                        <a:pt x="69" y="66"/>
                      </a:lnTo>
                      <a:lnTo>
                        <a:pt x="69" y="64"/>
                      </a:lnTo>
                      <a:lnTo>
                        <a:pt x="71" y="64"/>
                      </a:lnTo>
                      <a:lnTo>
                        <a:pt x="69" y="64"/>
                      </a:lnTo>
                      <a:lnTo>
                        <a:pt x="69" y="64"/>
                      </a:lnTo>
                      <a:lnTo>
                        <a:pt x="67" y="66"/>
                      </a:lnTo>
                      <a:lnTo>
                        <a:pt x="67" y="66"/>
                      </a:lnTo>
                      <a:lnTo>
                        <a:pt x="67" y="69"/>
                      </a:lnTo>
                      <a:lnTo>
                        <a:pt x="67" y="69"/>
                      </a:lnTo>
                      <a:lnTo>
                        <a:pt x="64" y="71"/>
                      </a:lnTo>
                      <a:lnTo>
                        <a:pt x="64" y="73"/>
                      </a:lnTo>
                      <a:lnTo>
                        <a:pt x="64" y="76"/>
                      </a:lnTo>
                      <a:lnTo>
                        <a:pt x="64" y="76"/>
                      </a:lnTo>
                      <a:lnTo>
                        <a:pt x="64" y="76"/>
                      </a:lnTo>
                      <a:lnTo>
                        <a:pt x="64" y="76"/>
                      </a:lnTo>
                      <a:lnTo>
                        <a:pt x="67" y="81"/>
                      </a:lnTo>
                      <a:lnTo>
                        <a:pt x="67" y="81"/>
                      </a:lnTo>
                      <a:lnTo>
                        <a:pt x="67" y="83"/>
                      </a:lnTo>
                      <a:lnTo>
                        <a:pt x="60" y="83"/>
                      </a:lnTo>
                      <a:lnTo>
                        <a:pt x="60" y="83"/>
                      </a:lnTo>
                      <a:lnTo>
                        <a:pt x="57" y="83"/>
                      </a:lnTo>
                      <a:lnTo>
                        <a:pt x="55" y="83"/>
                      </a:lnTo>
                      <a:lnTo>
                        <a:pt x="50" y="88"/>
                      </a:lnTo>
                      <a:lnTo>
                        <a:pt x="50" y="92"/>
                      </a:lnTo>
                      <a:lnTo>
                        <a:pt x="50" y="92"/>
                      </a:lnTo>
                      <a:lnTo>
                        <a:pt x="48" y="95"/>
                      </a:lnTo>
                      <a:lnTo>
                        <a:pt x="48" y="92"/>
                      </a:lnTo>
                      <a:lnTo>
                        <a:pt x="43" y="95"/>
                      </a:lnTo>
                      <a:lnTo>
                        <a:pt x="41" y="95"/>
                      </a:lnTo>
                      <a:lnTo>
                        <a:pt x="38" y="95"/>
                      </a:lnTo>
                      <a:lnTo>
                        <a:pt x="38" y="97"/>
                      </a:lnTo>
                      <a:lnTo>
                        <a:pt x="38" y="97"/>
                      </a:lnTo>
                      <a:lnTo>
                        <a:pt x="38" y="100"/>
                      </a:lnTo>
                      <a:lnTo>
                        <a:pt x="38" y="100"/>
                      </a:lnTo>
                      <a:lnTo>
                        <a:pt x="38" y="100"/>
                      </a:lnTo>
                      <a:lnTo>
                        <a:pt x="38" y="100"/>
                      </a:lnTo>
                      <a:lnTo>
                        <a:pt x="38" y="102"/>
                      </a:lnTo>
                      <a:lnTo>
                        <a:pt x="36" y="104"/>
                      </a:lnTo>
                      <a:lnTo>
                        <a:pt x="34" y="104"/>
                      </a:lnTo>
                      <a:lnTo>
                        <a:pt x="31" y="104"/>
                      </a:lnTo>
                      <a:lnTo>
                        <a:pt x="31" y="104"/>
                      </a:lnTo>
                      <a:lnTo>
                        <a:pt x="29" y="104"/>
                      </a:lnTo>
                      <a:lnTo>
                        <a:pt x="24" y="107"/>
                      </a:lnTo>
                      <a:lnTo>
                        <a:pt x="22" y="107"/>
                      </a:lnTo>
                      <a:lnTo>
                        <a:pt x="19" y="109"/>
                      </a:lnTo>
                      <a:lnTo>
                        <a:pt x="17" y="109"/>
                      </a:lnTo>
                      <a:lnTo>
                        <a:pt x="17" y="107"/>
                      </a:lnTo>
                      <a:lnTo>
                        <a:pt x="15" y="109"/>
                      </a:lnTo>
                      <a:lnTo>
                        <a:pt x="10" y="102"/>
                      </a:lnTo>
                      <a:lnTo>
                        <a:pt x="10" y="97"/>
                      </a:lnTo>
                      <a:lnTo>
                        <a:pt x="0" y="85"/>
                      </a:lnTo>
                      <a:lnTo>
                        <a:pt x="0" y="81"/>
                      </a:lnTo>
                      <a:lnTo>
                        <a:pt x="0" y="81"/>
                      </a:lnTo>
                      <a:close/>
                      <a:moveTo>
                        <a:pt x="41" y="9"/>
                      </a:moveTo>
                      <a:lnTo>
                        <a:pt x="41" y="7"/>
                      </a:lnTo>
                      <a:lnTo>
                        <a:pt x="43" y="5"/>
                      </a:lnTo>
                      <a:lnTo>
                        <a:pt x="43" y="2"/>
                      </a:lnTo>
                      <a:lnTo>
                        <a:pt x="43" y="2"/>
                      </a:lnTo>
                      <a:lnTo>
                        <a:pt x="43" y="2"/>
                      </a:lnTo>
                      <a:lnTo>
                        <a:pt x="43" y="0"/>
                      </a:lnTo>
                      <a:lnTo>
                        <a:pt x="43" y="0"/>
                      </a:lnTo>
                      <a:lnTo>
                        <a:pt x="43" y="0"/>
                      </a:lnTo>
                      <a:lnTo>
                        <a:pt x="43" y="0"/>
                      </a:lnTo>
                      <a:lnTo>
                        <a:pt x="43" y="0"/>
                      </a:lnTo>
                      <a:lnTo>
                        <a:pt x="41" y="0"/>
                      </a:lnTo>
                      <a:lnTo>
                        <a:pt x="41" y="2"/>
                      </a:lnTo>
                      <a:lnTo>
                        <a:pt x="41" y="2"/>
                      </a:lnTo>
                      <a:lnTo>
                        <a:pt x="38" y="2"/>
                      </a:lnTo>
                      <a:lnTo>
                        <a:pt x="38" y="5"/>
                      </a:lnTo>
                      <a:lnTo>
                        <a:pt x="38" y="5"/>
                      </a:lnTo>
                      <a:lnTo>
                        <a:pt x="41" y="5"/>
                      </a:lnTo>
                      <a:lnTo>
                        <a:pt x="41" y="9"/>
                      </a:lnTo>
                      <a:lnTo>
                        <a:pt x="41" y="9"/>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7" name="Freeform 102">
                  <a:extLst>
                    <a:ext uri="{FF2B5EF4-FFF2-40B4-BE49-F238E27FC236}">
                      <a16:creationId xmlns:a16="http://schemas.microsoft.com/office/drawing/2014/main" id="{F9B5D279-D1C7-80C0-1561-0FED28A07DB0}"/>
                    </a:ext>
                  </a:extLst>
                </p:cNvPr>
                <p:cNvSpPr>
                  <a:spLocks noEditPoints="1"/>
                </p:cNvSpPr>
                <p:nvPr/>
              </p:nvSpPr>
              <p:spPr bwMode="auto">
                <a:xfrm>
                  <a:off x="3132" y="2401"/>
                  <a:ext cx="140" cy="75"/>
                </a:xfrm>
                <a:custGeom>
                  <a:avLst/>
                  <a:gdLst>
                    <a:gd name="T0" fmla="*/ 5 w 140"/>
                    <a:gd name="T1" fmla="*/ 28 h 75"/>
                    <a:gd name="T2" fmla="*/ 7 w 140"/>
                    <a:gd name="T3" fmla="*/ 26 h 75"/>
                    <a:gd name="T4" fmla="*/ 9 w 140"/>
                    <a:gd name="T5" fmla="*/ 21 h 75"/>
                    <a:gd name="T6" fmla="*/ 12 w 140"/>
                    <a:gd name="T7" fmla="*/ 16 h 75"/>
                    <a:gd name="T8" fmla="*/ 24 w 140"/>
                    <a:gd name="T9" fmla="*/ 19 h 75"/>
                    <a:gd name="T10" fmla="*/ 43 w 140"/>
                    <a:gd name="T11" fmla="*/ 26 h 75"/>
                    <a:gd name="T12" fmla="*/ 64 w 140"/>
                    <a:gd name="T13" fmla="*/ 9 h 75"/>
                    <a:gd name="T14" fmla="*/ 106 w 140"/>
                    <a:gd name="T15" fmla="*/ 4 h 75"/>
                    <a:gd name="T16" fmla="*/ 116 w 140"/>
                    <a:gd name="T17" fmla="*/ 21 h 75"/>
                    <a:gd name="T18" fmla="*/ 118 w 140"/>
                    <a:gd name="T19" fmla="*/ 28 h 75"/>
                    <a:gd name="T20" fmla="*/ 111 w 140"/>
                    <a:gd name="T21" fmla="*/ 33 h 75"/>
                    <a:gd name="T22" fmla="*/ 111 w 140"/>
                    <a:gd name="T23" fmla="*/ 35 h 75"/>
                    <a:gd name="T24" fmla="*/ 111 w 140"/>
                    <a:gd name="T25" fmla="*/ 38 h 75"/>
                    <a:gd name="T26" fmla="*/ 104 w 140"/>
                    <a:gd name="T27" fmla="*/ 40 h 75"/>
                    <a:gd name="T28" fmla="*/ 92 w 140"/>
                    <a:gd name="T29" fmla="*/ 45 h 75"/>
                    <a:gd name="T30" fmla="*/ 80 w 140"/>
                    <a:gd name="T31" fmla="*/ 47 h 75"/>
                    <a:gd name="T32" fmla="*/ 76 w 140"/>
                    <a:gd name="T33" fmla="*/ 49 h 75"/>
                    <a:gd name="T34" fmla="*/ 71 w 140"/>
                    <a:gd name="T35" fmla="*/ 54 h 75"/>
                    <a:gd name="T36" fmla="*/ 69 w 140"/>
                    <a:gd name="T37" fmla="*/ 54 h 75"/>
                    <a:gd name="T38" fmla="*/ 66 w 140"/>
                    <a:gd name="T39" fmla="*/ 56 h 75"/>
                    <a:gd name="T40" fmla="*/ 61 w 140"/>
                    <a:gd name="T41" fmla="*/ 54 h 75"/>
                    <a:gd name="T42" fmla="*/ 59 w 140"/>
                    <a:gd name="T43" fmla="*/ 59 h 75"/>
                    <a:gd name="T44" fmla="*/ 52 w 140"/>
                    <a:gd name="T45" fmla="*/ 61 h 75"/>
                    <a:gd name="T46" fmla="*/ 45 w 140"/>
                    <a:gd name="T47" fmla="*/ 61 h 75"/>
                    <a:gd name="T48" fmla="*/ 40 w 140"/>
                    <a:gd name="T49" fmla="*/ 61 h 75"/>
                    <a:gd name="T50" fmla="*/ 38 w 140"/>
                    <a:gd name="T51" fmla="*/ 61 h 75"/>
                    <a:gd name="T52" fmla="*/ 35 w 140"/>
                    <a:gd name="T53" fmla="*/ 61 h 75"/>
                    <a:gd name="T54" fmla="*/ 33 w 140"/>
                    <a:gd name="T55" fmla="*/ 66 h 75"/>
                    <a:gd name="T56" fmla="*/ 28 w 140"/>
                    <a:gd name="T57" fmla="*/ 68 h 75"/>
                    <a:gd name="T58" fmla="*/ 24 w 140"/>
                    <a:gd name="T59" fmla="*/ 68 h 75"/>
                    <a:gd name="T60" fmla="*/ 21 w 140"/>
                    <a:gd name="T61" fmla="*/ 71 h 75"/>
                    <a:gd name="T62" fmla="*/ 17 w 140"/>
                    <a:gd name="T63" fmla="*/ 68 h 75"/>
                    <a:gd name="T64" fmla="*/ 14 w 140"/>
                    <a:gd name="T65" fmla="*/ 68 h 75"/>
                    <a:gd name="T66" fmla="*/ 9 w 140"/>
                    <a:gd name="T67" fmla="*/ 64 h 75"/>
                    <a:gd name="T68" fmla="*/ 9 w 140"/>
                    <a:gd name="T69" fmla="*/ 59 h 75"/>
                    <a:gd name="T70" fmla="*/ 7 w 140"/>
                    <a:gd name="T71" fmla="*/ 54 h 75"/>
                    <a:gd name="T72" fmla="*/ 2 w 140"/>
                    <a:gd name="T73" fmla="*/ 42 h 75"/>
                    <a:gd name="T74" fmla="*/ 2 w 140"/>
                    <a:gd name="T75" fmla="*/ 40 h 75"/>
                    <a:gd name="T76" fmla="*/ 2 w 140"/>
                    <a:gd name="T77" fmla="*/ 40 h 75"/>
                    <a:gd name="T78" fmla="*/ 5 w 140"/>
                    <a:gd name="T79" fmla="*/ 38 h 75"/>
                    <a:gd name="T80" fmla="*/ 2 w 140"/>
                    <a:gd name="T81" fmla="*/ 30 h 75"/>
                    <a:gd name="T82" fmla="*/ 2 w 140"/>
                    <a:gd name="T83" fmla="*/ 28 h 75"/>
                    <a:gd name="T84" fmla="*/ 114 w 140"/>
                    <a:gd name="T85" fmla="*/ 73 h 75"/>
                    <a:gd name="T86" fmla="*/ 114 w 140"/>
                    <a:gd name="T87" fmla="*/ 75 h 75"/>
                    <a:gd name="T88" fmla="*/ 111 w 140"/>
                    <a:gd name="T89" fmla="*/ 75 h 75"/>
                    <a:gd name="T90" fmla="*/ 125 w 140"/>
                    <a:gd name="T91" fmla="*/ 71 h 75"/>
                    <a:gd name="T92" fmla="*/ 128 w 140"/>
                    <a:gd name="T93" fmla="*/ 68 h 75"/>
                    <a:gd name="T94" fmla="*/ 130 w 140"/>
                    <a:gd name="T95" fmla="*/ 68 h 75"/>
                    <a:gd name="T96" fmla="*/ 132 w 140"/>
                    <a:gd name="T97" fmla="*/ 68 h 75"/>
                    <a:gd name="T98" fmla="*/ 137 w 140"/>
                    <a:gd name="T99" fmla="*/ 71 h 75"/>
                    <a:gd name="T100" fmla="*/ 140 w 140"/>
                    <a:gd name="T101" fmla="*/ 71 h 75"/>
                    <a:gd name="T102" fmla="*/ 135 w 140"/>
                    <a:gd name="T103" fmla="*/ 71 h 75"/>
                    <a:gd name="T104" fmla="*/ 130 w 140"/>
                    <a:gd name="T105" fmla="*/ 73 h 75"/>
                    <a:gd name="T106" fmla="*/ 125 w 140"/>
                    <a:gd name="T107" fmla="*/ 7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0" h="75">
                      <a:moveTo>
                        <a:pt x="2" y="28"/>
                      </a:moveTo>
                      <a:lnTo>
                        <a:pt x="5" y="28"/>
                      </a:lnTo>
                      <a:lnTo>
                        <a:pt x="7" y="28"/>
                      </a:lnTo>
                      <a:lnTo>
                        <a:pt x="7" y="26"/>
                      </a:lnTo>
                      <a:lnTo>
                        <a:pt x="9" y="26"/>
                      </a:lnTo>
                      <a:lnTo>
                        <a:pt x="9" y="21"/>
                      </a:lnTo>
                      <a:lnTo>
                        <a:pt x="9" y="16"/>
                      </a:lnTo>
                      <a:lnTo>
                        <a:pt x="12" y="16"/>
                      </a:lnTo>
                      <a:lnTo>
                        <a:pt x="17" y="19"/>
                      </a:lnTo>
                      <a:lnTo>
                        <a:pt x="24" y="19"/>
                      </a:lnTo>
                      <a:lnTo>
                        <a:pt x="33" y="21"/>
                      </a:lnTo>
                      <a:lnTo>
                        <a:pt x="43" y="26"/>
                      </a:lnTo>
                      <a:lnTo>
                        <a:pt x="43" y="35"/>
                      </a:lnTo>
                      <a:lnTo>
                        <a:pt x="64" y="9"/>
                      </a:lnTo>
                      <a:lnTo>
                        <a:pt x="106" y="0"/>
                      </a:lnTo>
                      <a:lnTo>
                        <a:pt x="106" y="4"/>
                      </a:lnTo>
                      <a:lnTo>
                        <a:pt x="116" y="16"/>
                      </a:lnTo>
                      <a:lnTo>
                        <a:pt x="116" y="21"/>
                      </a:lnTo>
                      <a:lnTo>
                        <a:pt x="121" y="28"/>
                      </a:lnTo>
                      <a:lnTo>
                        <a:pt x="118" y="28"/>
                      </a:lnTo>
                      <a:lnTo>
                        <a:pt x="116" y="28"/>
                      </a:lnTo>
                      <a:lnTo>
                        <a:pt x="111" y="33"/>
                      </a:lnTo>
                      <a:lnTo>
                        <a:pt x="111" y="35"/>
                      </a:lnTo>
                      <a:lnTo>
                        <a:pt x="111" y="35"/>
                      </a:lnTo>
                      <a:lnTo>
                        <a:pt x="111" y="38"/>
                      </a:lnTo>
                      <a:lnTo>
                        <a:pt x="111" y="38"/>
                      </a:lnTo>
                      <a:lnTo>
                        <a:pt x="106" y="38"/>
                      </a:lnTo>
                      <a:lnTo>
                        <a:pt x="104" y="40"/>
                      </a:lnTo>
                      <a:lnTo>
                        <a:pt x="99" y="42"/>
                      </a:lnTo>
                      <a:lnTo>
                        <a:pt x="92" y="45"/>
                      </a:lnTo>
                      <a:lnTo>
                        <a:pt x="92" y="45"/>
                      </a:lnTo>
                      <a:lnTo>
                        <a:pt x="80" y="47"/>
                      </a:lnTo>
                      <a:lnTo>
                        <a:pt x="78" y="47"/>
                      </a:lnTo>
                      <a:lnTo>
                        <a:pt x="76" y="49"/>
                      </a:lnTo>
                      <a:lnTo>
                        <a:pt x="73" y="52"/>
                      </a:lnTo>
                      <a:lnTo>
                        <a:pt x="71" y="54"/>
                      </a:lnTo>
                      <a:lnTo>
                        <a:pt x="69" y="54"/>
                      </a:lnTo>
                      <a:lnTo>
                        <a:pt x="69" y="54"/>
                      </a:lnTo>
                      <a:lnTo>
                        <a:pt x="66" y="54"/>
                      </a:lnTo>
                      <a:lnTo>
                        <a:pt x="66" y="56"/>
                      </a:lnTo>
                      <a:lnTo>
                        <a:pt x="64" y="54"/>
                      </a:lnTo>
                      <a:lnTo>
                        <a:pt x="61" y="54"/>
                      </a:lnTo>
                      <a:lnTo>
                        <a:pt x="59" y="56"/>
                      </a:lnTo>
                      <a:lnTo>
                        <a:pt x="59" y="59"/>
                      </a:lnTo>
                      <a:lnTo>
                        <a:pt x="57" y="59"/>
                      </a:lnTo>
                      <a:lnTo>
                        <a:pt x="52" y="61"/>
                      </a:lnTo>
                      <a:lnTo>
                        <a:pt x="47" y="61"/>
                      </a:lnTo>
                      <a:lnTo>
                        <a:pt x="45" y="61"/>
                      </a:lnTo>
                      <a:lnTo>
                        <a:pt x="45" y="61"/>
                      </a:lnTo>
                      <a:lnTo>
                        <a:pt x="40" y="61"/>
                      </a:lnTo>
                      <a:lnTo>
                        <a:pt x="40" y="61"/>
                      </a:lnTo>
                      <a:lnTo>
                        <a:pt x="38" y="61"/>
                      </a:lnTo>
                      <a:lnTo>
                        <a:pt x="38" y="61"/>
                      </a:lnTo>
                      <a:lnTo>
                        <a:pt x="35" y="61"/>
                      </a:lnTo>
                      <a:lnTo>
                        <a:pt x="33" y="66"/>
                      </a:lnTo>
                      <a:lnTo>
                        <a:pt x="33" y="66"/>
                      </a:lnTo>
                      <a:lnTo>
                        <a:pt x="31" y="68"/>
                      </a:lnTo>
                      <a:lnTo>
                        <a:pt x="28" y="68"/>
                      </a:lnTo>
                      <a:lnTo>
                        <a:pt x="26" y="68"/>
                      </a:lnTo>
                      <a:lnTo>
                        <a:pt x="24" y="68"/>
                      </a:lnTo>
                      <a:lnTo>
                        <a:pt x="21" y="68"/>
                      </a:lnTo>
                      <a:lnTo>
                        <a:pt x="21" y="71"/>
                      </a:lnTo>
                      <a:lnTo>
                        <a:pt x="17" y="68"/>
                      </a:lnTo>
                      <a:lnTo>
                        <a:pt x="17" y="68"/>
                      </a:lnTo>
                      <a:lnTo>
                        <a:pt x="14" y="71"/>
                      </a:lnTo>
                      <a:lnTo>
                        <a:pt x="14" y="68"/>
                      </a:lnTo>
                      <a:lnTo>
                        <a:pt x="12" y="66"/>
                      </a:lnTo>
                      <a:lnTo>
                        <a:pt x="9" y="64"/>
                      </a:lnTo>
                      <a:lnTo>
                        <a:pt x="9" y="61"/>
                      </a:lnTo>
                      <a:lnTo>
                        <a:pt x="9" y="59"/>
                      </a:lnTo>
                      <a:lnTo>
                        <a:pt x="9" y="56"/>
                      </a:lnTo>
                      <a:lnTo>
                        <a:pt x="7" y="54"/>
                      </a:lnTo>
                      <a:lnTo>
                        <a:pt x="5" y="45"/>
                      </a:lnTo>
                      <a:lnTo>
                        <a:pt x="2" y="42"/>
                      </a:lnTo>
                      <a:lnTo>
                        <a:pt x="2" y="40"/>
                      </a:lnTo>
                      <a:lnTo>
                        <a:pt x="2" y="40"/>
                      </a:lnTo>
                      <a:lnTo>
                        <a:pt x="0" y="38"/>
                      </a:lnTo>
                      <a:lnTo>
                        <a:pt x="2" y="40"/>
                      </a:lnTo>
                      <a:lnTo>
                        <a:pt x="2" y="38"/>
                      </a:lnTo>
                      <a:lnTo>
                        <a:pt x="5" y="38"/>
                      </a:lnTo>
                      <a:lnTo>
                        <a:pt x="5" y="35"/>
                      </a:lnTo>
                      <a:lnTo>
                        <a:pt x="2" y="30"/>
                      </a:lnTo>
                      <a:lnTo>
                        <a:pt x="2" y="28"/>
                      </a:lnTo>
                      <a:lnTo>
                        <a:pt x="2" y="28"/>
                      </a:lnTo>
                      <a:close/>
                      <a:moveTo>
                        <a:pt x="111" y="75"/>
                      </a:moveTo>
                      <a:lnTo>
                        <a:pt x="114" y="73"/>
                      </a:lnTo>
                      <a:lnTo>
                        <a:pt x="116" y="75"/>
                      </a:lnTo>
                      <a:lnTo>
                        <a:pt x="114" y="75"/>
                      </a:lnTo>
                      <a:lnTo>
                        <a:pt x="111" y="75"/>
                      </a:lnTo>
                      <a:lnTo>
                        <a:pt x="111" y="75"/>
                      </a:lnTo>
                      <a:close/>
                      <a:moveTo>
                        <a:pt x="125" y="71"/>
                      </a:moveTo>
                      <a:lnTo>
                        <a:pt x="125" y="71"/>
                      </a:lnTo>
                      <a:lnTo>
                        <a:pt x="125" y="68"/>
                      </a:lnTo>
                      <a:lnTo>
                        <a:pt x="128" y="68"/>
                      </a:lnTo>
                      <a:lnTo>
                        <a:pt x="130" y="68"/>
                      </a:lnTo>
                      <a:lnTo>
                        <a:pt x="130" y="68"/>
                      </a:lnTo>
                      <a:lnTo>
                        <a:pt x="130" y="71"/>
                      </a:lnTo>
                      <a:lnTo>
                        <a:pt x="132" y="68"/>
                      </a:lnTo>
                      <a:lnTo>
                        <a:pt x="135" y="68"/>
                      </a:lnTo>
                      <a:lnTo>
                        <a:pt x="137" y="71"/>
                      </a:lnTo>
                      <a:lnTo>
                        <a:pt x="140" y="71"/>
                      </a:lnTo>
                      <a:lnTo>
                        <a:pt x="140" y="71"/>
                      </a:lnTo>
                      <a:lnTo>
                        <a:pt x="137" y="71"/>
                      </a:lnTo>
                      <a:lnTo>
                        <a:pt x="135" y="71"/>
                      </a:lnTo>
                      <a:lnTo>
                        <a:pt x="132" y="73"/>
                      </a:lnTo>
                      <a:lnTo>
                        <a:pt x="130" y="73"/>
                      </a:lnTo>
                      <a:lnTo>
                        <a:pt x="128" y="73"/>
                      </a:lnTo>
                      <a:lnTo>
                        <a:pt x="125" y="73"/>
                      </a:lnTo>
                      <a:lnTo>
                        <a:pt x="125" y="71"/>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 name="Freeform 103">
                  <a:extLst>
                    <a:ext uri="{FF2B5EF4-FFF2-40B4-BE49-F238E27FC236}">
                      <a16:creationId xmlns:a16="http://schemas.microsoft.com/office/drawing/2014/main" id="{D22E987E-67FD-6A1F-3DDD-A4CB64901E02}"/>
                    </a:ext>
                  </a:extLst>
                </p:cNvPr>
                <p:cNvSpPr>
                  <a:spLocks/>
                </p:cNvSpPr>
                <p:nvPr/>
              </p:nvSpPr>
              <p:spPr bwMode="auto">
                <a:xfrm>
                  <a:off x="2926" y="2265"/>
                  <a:ext cx="142" cy="107"/>
                </a:xfrm>
                <a:custGeom>
                  <a:avLst/>
                  <a:gdLst>
                    <a:gd name="T0" fmla="*/ 111 w 142"/>
                    <a:gd name="T1" fmla="*/ 19 h 107"/>
                    <a:gd name="T2" fmla="*/ 104 w 142"/>
                    <a:gd name="T3" fmla="*/ 5 h 107"/>
                    <a:gd name="T4" fmla="*/ 99 w 142"/>
                    <a:gd name="T5" fmla="*/ 3 h 107"/>
                    <a:gd name="T6" fmla="*/ 85 w 142"/>
                    <a:gd name="T7" fmla="*/ 5 h 107"/>
                    <a:gd name="T8" fmla="*/ 81 w 142"/>
                    <a:gd name="T9" fmla="*/ 5 h 107"/>
                    <a:gd name="T10" fmla="*/ 78 w 142"/>
                    <a:gd name="T11" fmla="*/ 5 h 107"/>
                    <a:gd name="T12" fmla="*/ 76 w 142"/>
                    <a:gd name="T13" fmla="*/ 0 h 107"/>
                    <a:gd name="T14" fmla="*/ 69 w 142"/>
                    <a:gd name="T15" fmla="*/ 0 h 107"/>
                    <a:gd name="T16" fmla="*/ 71 w 142"/>
                    <a:gd name="T17" fmla="*/ 0 h 107"/>
                    <a:gd name="T18" fmla="*/ 64 w 142"/>
                    <a:gd name="T19" fmla="*/ 3 h 107"/>
                    <a:gd name="T20" fmla="*/ 64 w 142"/>
                    <a:gd name="T21" fmla="*/ 0 h 107"/>
                    <a:gd name="T22" fmla="*/ 62 w 142"/>
                    <a:gd name="T23" fmla="*/ 0 h 107"/>
                    <a:gd name="T24" fmla="*/ 55 w 142"/>
                    <a:gd name="T25" fmla="*/ 3 h 107"/>
                    <a:gd name="T26" fmla="*/ 50 w 142"/>
                    <a:gd name="T27" fmla="*/ 8 h 107"/>
                    <a:gd name="T28" fmla="*/ 38 w 142"/>
                    <a:gd name="T29" fmla="*/ 5 h 107"/>
                    <a:gd name="T30" fmla="*/ 31 w 142"/>
                    <a:gd name="T31" fmla="*/ 3 h 107"/>
                    <a:gd name="T32" fmla="*/ 21 w 142"/>
                    <a:gd name="T33" fmla="*/ 0 h 107"/>
                    <a:gd name="T34" fmla="*/ 5 w 142"/>
                    <a:gd name="T35" fmla="*/ 0 h 107"/>
                    <a:gd name="T36" fmla="*/ 2 w 142"/>
                    <a:gd name="T37" fmla="*/ 0 h 107"/>
                    <a:gd name="T38" fmla="*/ 2 w 142"/>
                    <a:gd name="T39" fmla="*/ 10 h 107"/>
                    <a:gd name="T40" fmla="*/ 0 w 142"/>
                    <a:gd name="T41" fmla="*/ 19 h 107"/>
                    <a:gd name="T42" fmla="*/ 140 w 142"/>
                    <a:gd name="T43" fmla="*/ 105 h 107"/>
                    <a:gd name="T44" fmla="*/ 137 w 142"/>
                    <a:gd name="T45" fmla="*/ 102 h 107"/>
                    <a:gd name="T46" fmla="*/ 133 w 142"/>
                    <a:gd name="T47" fmla="*/ 98 h 107"/>
                    <a:gd name="T48" fmla="*/ 126 w 142"/>
                    <a:gd name="T49" fmla="*/ 95 h 107"/>
                    <a:gd name="T50" fmla="*/ 123 w 142"/>
                    <a:gd name="T51" fmla="*/ 88 h 107"/>
                    <a:gd name="T52" fmla="*/ 123 w 142"/>
                    <a:gd name="T53" fmla="*/ 86 h 107"/>
                    <a:gd name="T54" fmla="*/ 126 w 142"/>
                    <a:gd name="T55" fmla="*/ 83 h 107"/>
                    <a:gd name="T56" fmla="*/ 121 w 142"/>
                    <a:gd name="T57" fmla="*/ 81 h 107"/>
                    <a:gd name="T58" fmla="*/ 116 w 142"/>
                    <a:gd name="T59" fmla="*/ 72 h 107"/>
                    <a:gd name="T60" fmla="*/ 107 w 142"/>
                    <a:gd name="T61" fmla="*/ 57 h 107"/>
                    <a:gd name="T62" fmla="*/ 104 w 142"/>
                    <a:gd name="T63" fmla="*/ 50 h 107"/>
                    <a:gd name="T64" fmla="*/ 99 w 142"/>
                    <a:gd name="T65" fmla="*/ 43 h 107"/>
                    <a:gd name="T66" fmla="*/ 99 w 142"/>
                    <a:gd name="T67" fmla="*/ 38 h 107"/>
                    <a:gd name="T68" fmla="*/ 88 w 142"/>
                    <a:gd name="T69" fmla="*/ 29 h 107"/>
                    <a:gd name="T70" fmla="*/ 85 w 142"/>
                    <a:gd name="T71" fmla="*/ 22 h 107"/>
                    <a:gd name="T72" fmla="*/ 85 w 142"/>
                    <a:gd name="T73" fmla="*/ 19 h 107"/>
                    <a:gd name="T74" fmla="*/ 88 w 142"/>
                    <a:gd name="T75" fmla="*/ 24 h 107"/>
                    <a:gd name="T76" fmla="*/ 92 w 142"/>
                    <a:gd name="T77" fmla="*/ 31 h 107"/>
                    <a:gd name="T78" fmla="*/ 97 w 142"/>
                    <a:gd name="T79" fmla="*/ 36 h 107"/>
                    <a:gd name="T80" fmla="*/ 107 w 142"/>
                    <a:gd name="T81" fmla="*/ 43 h 107"/>
                    <a:gd name="T82" fmla="*/ 109 w 142"/>
                    <a:gd name="T83" fmla="*/ 36 h 107"/>
                    <a:gd name="T84" fmla="*/ 111 w 142"/>
                    <a:gd name="T85" fmla="*/ 3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2" h="107">
                      <a:moveTo>
                        <a:pt x="111" y="24"/>
                      </a:moveTo>
                      <a:lnTo>
                        <a:pt x="111" y="22"/>
                      </a:lnTo>
                      <a:lnTo>
                        <a:pt x="111" y="19"/>
                      </a:lnTo>
                      <a:lnTo>
                        <a:pt x="109" y="12"/>
                      </a:lnTo>
                      <a:lnTo>
                        <a:pt x="107" y="10"/>
                      </a:lnTo>
                      <a:lnTo>
                        <a:pt x="104" y="5"/>
                      </a:lnTo>
                      <a:lnTo>
                        <a:pt x="102" y="3"/>
                      </a:lnTo>
                      <a:lnTo>
                        <a:pt x="102" y="3"/>
                      </a:lnTo>
                      <a:lnTo>
                        <a:pt x="99" y="3"/>
                      </a:lnTo>
                      <a:lnTo>
                        <a:pt x="97" y="5"/>
                      </a:lnTo>
                      <a:lnTo>
                        <a:pt x="90" y="3"/>
                      </a:lnTo>
                      <a:lnTo>
                        <a:pt x="85" y="5"/>
                      </a:lnTo>
                      <a:lnTo>
                        <a:pt x="81" y="3"/>
                      </a:lnTo>
                      <a:lnTo>
                        <a:pt x="81" y="3"/>
                      </a:lnTo>
                      <a:lnTo>
                        <a:pt x="81" y="5"/>
                      </a:lnTo>
                      <a:lnTo>
                        <a:pt x="81" y="8"/>
                      </a:lnTo>
                      <a:lnTo>
                        <a:pt x="81" y="5"/>
                      </a:lnTo>
                      <a:lnTo>
                        <a:pt x="78" y="5"/>
                      </a:lnTo>
                      <a:lnTo>
                        <a:pt x="76" y="3"/>
                      </a:lnTo>
                      <a:lnTo>
                        <a:pt x="78" y="3"/>
                      </a:lnTo>
                      <a:lnTo>
                        <a:pt x="76" y="0"/>
                      </a:lnTo>
                      <a:lnTo>
                        <a:pt x="76" y="0"/>
                      </a:lnTo>
                      <a:lnTo>
                        <a:pt x="73" y="0"/>
                      </a:lnTo>
                      <a:lnTo>
                        <a:pt x="69" y="0"/>
                      </a:lnTo>
                      <a:lnTo>
                        <a:pt x="69" y="0"/>
                      </a:lnTo>
                      <a:lnTo>
                        <a:pt x="69" y="0"/>
                      </a:lnTo>
                      <a:lnTo>
                        <a:pt x="71" y="0"/>
                      </a:lnTo>
                      <a:lnTo>
                        <a:pt x="69" y="0"/>
                      </a:lnTo>
                      <a:lnTo>
                        <a:pt x="66" y="0"/>
                      </a:lnTo>
                      <a:lnTo>
                        <a:pt x="64" y="3"/>
                      </a:lnTo>
                      <a:lnTo>
                        <a:pt x="62" y="0"/>
                      </a:lnTo>
                      <a:lnTo>
                        <a:pt x="62" y="0"/>
                      </a:lnTo>
                      <a:lnTo>
                        <a:pt x="64" y="0"/>
                      </a:lnTo>
                      <a:lnTo>
                        <a:pt x="66" y="0"/>
                      </a:lnTo>
                      <a:lnTo>
                        <a:pt x="64" y="0"/>
                      </a:lnTo>
                      <a:lnTo>
                        <a:pt x="62" y="0"/>
                      </a:lnTo>
                      <a:lnTo>
                        <a:pt x="59" y="0"/>
                      </a:lnTo>
                      <a:lnTo>
                        <a:pt x="57" y="3"/>
                      </a:lnTo>
                      <a:lnTo>
                        <a:pt x="55" y="3"/>
                      </a:lnTo>
                      <a:lnTo>
                        <a:pt x="52" y="5"/>
                      </a:lnTo>
                      <a:lnTo>
                        <a:pt x="50" y="8"/>
                      </a:lnTo>
                      <a:lnTo>
                        <a:pt x="50" y="8"/>
                      </a:lnTo>
                      <a:lnTo>
                        <a:pt x="45" y="8"/>
                      </a:lnTo>
                      <a:lnTo>
                        <a:pt x="43" y="5"/>
                      </a:lnTo>
                      <a:lnTo>
                        <a:pt x="38" y="5"/>
                      </a:lnTo>
                      <a:lnTo>
                        <a:pt x="36" y="5"/>
                      </a:lnTo>
                      <a:lnTo>
                        <a:pt x="31" y="3"/>
                      </a:lnTo>
                      <a:lnTo>
                        <a:pt x="31" y="3"/>
                      </a:lnTo>
                      <a:lnTo>
                        <a:pt x="29" y="3"/>
                      </a:lnTo>
                      <a:lnTo>
                        <a:pt x="26" y="3"/>
                      </a:lnTo>
                      <a:lnTo>
                        <a:pt x="21" y="0"/>
                      </a:lnTo>
                      <a:lnTo>
                        <a:pt x="14" y="0"/>
                      </a:lnTo>
                      <a:lnTo>
                        <a:pt x="10" y="0"/>
                      </a:lnTo>
                      <a:lnTo>
                        <a:pt x="5" y="0"/>
                      </a:lnTo>
                      <a:lnTo>
                        <a:pt x="2" y="0"/>
                      </a:lnTo>
                      <a:lnTo>
                        <a:pt x="2" y="0"/>
                      </a:lnTo>
                      <a:lnTo>
                        <a:pt x="2" y="0"/>
                      </a:lnTo>
                      <a:lnTo>
                        <a:pt x="0" y="5"/>
                      </a:lnTo>
                      <a:lnTo>
                        <a:pt x="2" y="8"/>
                      </a:lnTo>
                      <a:lnTo>
                        <a:pt x="2" y="10"/>
                      </a:lnTo>
                      <a:lnTo>
                        <a:pt x="0" y="15"/>
                      </a:lnTo>
                      <a:lnTo>
                        <a:pt x="0" y="17"/>
                      </a:lnTo>
                      <a:lnTo>
                        <a:pt x="0" y="19"/>
                      </a:lnTo>
                      <a:lnTo>
                        <a:pt x="2" y="27"/>
                      </a:lnTo>
                      <a:lnTo>
                        <a:pt x="5" y="107"/>
                      </a:lnTo>
                      <a:lnTo>
                        <a:pt x="140" y="105"/>
                      </a:lnTo>
                      <a:lnTo>
                        <a:pt x="142" y="105"/>
                      </a:lnTo>
                      <a:lnTo>
                        <a:pt x="140" y="105"/>
                      </a:lnTo>
                      <a:lnTo>
                        <a:pt x="137" y="102"/>
                      </a:lnTo>
                      <a:lnTo>
                        <a:pt x="135" y="102"/>
                      </a:lnTo>
                      <a:lnTo>
                        <a:pt x="133" y="100"/>
                      </a:lnTo>
                      <a:lnTo>
                        <a:pt x="133" y="98"/>
                      </a:lnTo>
                      <a:lnTo>
                        <a:pt x="130" y="98"/>
                      </a:lnTo>
                      <a:lnTo>
                        <a:pt x="128" y="98"/>
                      </a:lnTo>
                      <a:lnTo>
                        <a:pt x="126" y="95"/>
                      </a:lnTo>
                      <a:lnTo>
                        <a:pt x="123" y="91"/>
                      </a:lnTo>
                      <a:lnTo>
                        <a:pt x="123" y="91"/>
                      </a:lnTo>
                      <a:lnTo>
                        <a:pt x="123" y="88"/>
                      </a:lnTo>
                      <a:lnTo>
                        <a:pt x="123" y="86"/>
                      </a:lnTo>
                      <a:lnTo>
                        <a:pt x="123" y="86"/>
                      </a:lnTo>
                      <a:lnTo>
                        <a:pt x="123" y="86"/>
                      </a:lnTo>
                      <a:lnTo>
                        <a:pt x="128" y="86"/>
                      </a:lnTo>
                      <a:lnTo>
                        <a:pt x="126" y="83"/>
                      </a:lnTo>
                      <a:lnTo>
                        <a:pt x="126" y="83"/>
                      </a:lnTo>
                      <a:lnTo>
                        <a:pt x="123" y="81"/>
                      </a:lnTo>
                      <a:lnTo>
                        <a:pt x="123" y="81"/>
                      </a:lnTo>
                      <a:lnTo>
                        <a:pt x="121" y="81"/>
                      </a:lnTo>
                      <a:lnTo>
                        <a:pt x="121" y="81"/>
                      </a:lnTo>
                      <a:lnTo>
                        <a:pt x="121" y="79"/>
                      </a:lnTo>
                      <a:lnTo>
                        <a:pt x="116" y="72"/>
                      </a:lnTo>
                      <a:lnTo>
                        <a:pt x="114" y="72"/>
                      </a:lnTo>
                      <a:lnTo>
                        <a:pt x="114" y="67"/>
                      </a:lnTo>
                      <a:lnTo>
                        <a:pt x="107" y="57"/>
                      </a:lnTo>
                      <a:lnTo>
                        <a:pt x="107" y="57"/>
                      </a:lnTo>
                      <a:lnTo>
                        <a:pt x="104" y="55"/>
                      </a:lnTo>
                      <a:lnTo>
                        <a:pt x="104" y="50"/>
                      </a:lnTo>
                      <a:lnTo>
                        <a:pt x="102" y="50"/>
                      </a:lnTo>
                      <a:lnTo>
                        <a:pt x="102" y="48"/>
                      </a:lnTo>
                      <a:lnTo>
                        <a:pt x="99" y="43"/>
                      </a:lnTo>
                      <a:lnTo>
                        <a:pt x="99" y="43"/>
                      </a:lnTo>
                      <a:lnTo>
                        <a:pt x="99" y="41"/>
                      </a:lnTo>
                      <a:lnTo>
                        <a:pt x="99" y="38"/>
                      </a:lnTo>
                      <a:lnTo>
                        <a:pt x="92" y="34"/>
                      </a:lnTo>
                      <a:lnTo>
                        <a:pt x="92" y="34"/>
                      </a:lnTo>
                      <a:lnTo>
                        <a:pt x="88" y="29"/>
                      </a:lnTo>
                      <a:lnTo>
                        <a:pt x="88" y="27"/>
                      </a:lnTo>
                      <a:lnTo>
                        <a:pt x="85" y="24"/>
                      </a:lnTo>
                      <a:lnTo>
                        <a:pt x="85" y="22"/>
                      </a:lnTo>
                      <a:lnTo>
                        <a:pt x="85" y="19"/>
                      </a:lnTo>
                      <a:lnTo>
                        <a:pt x="85" y="19"/>
                      </a:lnTo>
                      <a:lnTo>
                        <a:pt x="85" y="19"/>
                      </a:lnTo>
                      <a:lnTo>
                        <a:pt x="88" y="19"/>
                      </a:lnTo>
                      <a:lnTo>
                        <a:pt x="88" y="24"/>
                      </a:lnTo>
                      <a:lnTo>
                        <a:pt x="88" y="24"/>
                      </a:lnTo>
                      <a:lnTo>
                        <a:pt x="90" y="27"/>
                      </a:lnTo>
                      <a:lnTo>
                        <a:pt x="92" y="29"/>
                      </a:lnTo>
                      <a:lnTo>
                        <a:pt x="92" y="31"/>
                      </a:lnTo>
                      <a:lnTo>
                        <a:pt x="95" y="34"/>
                      </a:lnTo>
                      <a:lnTo>
                        <a:pt x="97" y="34"/>
                      </a:lnTo>
                      <a:lnTo>
                        <a:pt x="97" y="36"/>
                      </a:lnTo>
                      <a:lnTo>
                        <a:pt x="104" y="41"/>
                      </a:lnTo>
                      <a:lnTo>
                        <a:pt x="107" y="43"/>
                      </a:lnTo>
                      <a:lnTo>
                        <a:pt x="107" y="43"/>
                      </a:lnTo>
                      <a:lnTo>
                        <a:pt x="107" y="43"/>
                      </a:lnTo>
                      <a:lnTo>
                        <a:pt x="109" y="41"/>
                      </a:lnTo>
                      <a:lnTo>
                        <a:pt x="109" y="36"/>
                      </a:lnTo>
                      <a:lnTo>
                        <a:pt x="109" y="36"/>
                      </a:lnTo>
                      <a:lnTo>
                        <a:pt x="109" y="34"/>
                      </a:lnTo>
                      <a:lnTo>
                        <a:pt x="111" y="31"/>
                      </a:lnTo>
                      <a:lnTo>
                        <a:pt x="111" y="24"/>
                      </a:lnTo>
                      <a:lnTo>
                        <a:pt x="111" y="24"/>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9" name="Freeform 104">
                  <a:extLst>
                    <a:ext uri="{FF2B5EF4-FFF2-40B4-BE49-F238E27FC236}">
                      <a16:creationId xmlns:a16="http://schemas.microsoft.com/office/drawing/2014/main" id="{AAD03830-6728-1091-DFB8-9283CD611F3D}"/>
                    </a:ext>
                  </a:extLst>
                </p:cNvPr>
                <p:cNvSpPr>
                  <a:spLocks/>
                </p:cNvSpPr>
                <p:nvPr/>
              </p:nvSpPr>
              <p:spPr bwMode="auto">
                <a:xfrm>
                  <a:off x="2900" y="2370"/>
                  <a:ext cx="187" cy="196"/>
                </a:xfrm>
                <a:custGeom>
                  <a:avLst/>
                  <a:gdLst>
                    <a:gd name="T0" fmla="*/ 168 w 187"/>
                    <a:gd name="T1" fmla="*/ 5 h 196"/>
                    <a:gd name="T2" fmla="*/ 168 w 187"/>
                    <a:gd name="T3" fmla="*/ 9 h 196"/>
                    <a:gd name="T4" fmla="*/ 168 w 187"/>
                    <a:gd name="T5" fmla="*/ 9 h 196"/>
                    <a:gd name="T6" fmla="*/ 170 w 187"/>
                    <a:gd name="T7" fmla="*/ 28 h 196"/>
                    <a:gd name="T8" fmla="*/ 182 w 187"/>
                    <a:gd name="T9" fmla="*/ 40 h 196"/>
                    <a:gd name="T10" fmla="*/ 187 w 187"/>
                    <a:gd name="T11" fmla="*/ 45 h 196"/>
                    <a:gd name="T12" fmla="*/ 178 w 187"/>
                    <a:gd name="T13" fmla="*/ 50 h 196"/>
                    <a:gd name="T14" fmla="*/ 173 w 187"/>
                    <a:gd name="T15" fmla="*/ 52 h 196"/>
                    <a:gd name="T16" fmla="*/ 170 w 187"/>
                    <a:gd name="T17" fmla="*/ 59 h 196"/>
                    <a:gd name="T18" fmla="*/ 166 w 187"/>
                    <a:gd name="T19" fmla="*/ 73 h 196"/>
                    <a:gd name="T20" fmla="*/ 168 w 187"/>
                    <a:gd name="T21" fmla="*/ 83 h 196"/>
                    <a:gd name="T22" fmla="*/ 161 w 187"/>
                    <a:gd name="T23" fmla="*/ 99 h 196"/>
                    <a:gd name="T24" fmla="*/ 156 w 187"/>
                    <a:gd name="T25" fmla="*/ 106 h 196"/>
                    <a:gd name="T26" fmla="*/ 147 w 187"/>
                    <a:gd name="T27" fmla="*/ 118 h 196"/>
                    <a:gd name="T28" fmla="*/ 144 w 187"/>
                    <a:gd name="T29" fmla="*/ 128 h 196"/>
                    <a:gd name="T30" fmla="*/ 140 w 187"/>
                    <a:gd name="T31" fmla="*/ 144 h 196"/>
                    <a:gd name="T32" fmla="*/ 130 w 187"/>
                    <a:gd name="T33" fmla="*/ 144 h 196"/>
                    <a:gd name="T34" fmla="*/ 130 w 187"/>
                    <a:gd name="T35" fmla="*/ 151 h 196"/>
                    <a:gd name="T36" fmla="*/ 140 w 187"/>
                    <a:gd name="T37" fmla="*/ 156 h 196"/>
                    <a:gd name="T38" fmla="*/ 147 w 187"/>
                    <a:gd name="T39" fmla="*/ 161 h 196"/>
                    <a:gd name="T40" fmla="*/ 154 w 187"/>
                    <a:gd name="T41" fmla="*/ 173 h 196"/>
                    <a:gd name="T42" fmla="*/ 144 w 187"/>
                    <a:gd name="T43" fmla="*/ 185 h 196"/>
                    <a:gd name="T44" fmla="*/ 137 w 187"/>
                    <a:gd name="T45" fmla="*/ 189 h 196"/>
                    <a:gd name="T46" fmla="*/ 125 w 187"/>
                    <a:gd name="T47" fmla="*/ 192 h 196"/>
                    <a:gd name="T48" fmla="*/ 118 w 187"/>
                    <a:gd name="T49" fmla="*/ 196 h 196"/>
                    <a:gd name="T50" fmla="*/ 111 w 187"/>
                    <a:gd name="T51" fmla="*/ 194 h 196"/>
                    <a:gd name="T52" fmla="*/ 104 w 187"/>
                    <a:gd name="T53" fmla="*/ 194 h 196"/>
                    <a:gd name="T54" fmla="*/ 102 w 187"/>
                    <a:gd name="T55" fmla="*/ 194 h 196"/>
                    <a:gd name="T56" fmla="*/ 95 w 187"/>
                    <a:gd name="T57" fmla="*/ 187 h 196"/>
                    <a:gd name="T58" fmla="*/ 88 w 187"/>
                    <a:gd name="T59" fmla="*/ 182 h 196"/>
                    <a:gd name="T60" fmla="*/ 83 w 187"/>
                    <a:gd name="T61" fmla="*/ 185 h 196"/>
                    <a:gd name="T62" fmla="*/ 73 w 187"/>
                    <a:gd name="T63" fmla="*/ 187 h 196"/>
                    <a:gd name="T64" fmla="*/ 66 w 187"/>
                    <a:gd name="T65" fmla="*/ 182 h 196"/>
                    <a:gd name="T66" fmla="*/ 62 w 187"/>
                    <a:gd name="T67" fmla="*/ 178 h 196"/>
                    <a:gd name="T68" fmla="*/ 55 w 187"/>
                    <a:gd name="T69" fmla="*/ 170 h 196"/>
                    <a:gd name="T70" fmla="*/ 50 w 187"/>
                    <a:gd name="T71" fmla="*/ 163 h 196"/>
                    <a:gd name="T72" fmla="*/ 43 w 187"/>
                    <a:gd name="T73" fmla="*/ 159 h 196"/>
                    <a:gd name="T74" fmla="*/ 38 w 187"/>
                    <a:gd name="T75" fmla="*/ 154 h 196"/>
                    <a:gd name="T76" fmla="*/ 36 w 187"/>
                    <a:gd name="T77" fmla="*/ 149 h 196"/>
                    <a:gd name="T78" fmla="*/ 26 w 187"/>
                    <a:gd name="T79" fmla="*/ 144 h 196"/>
                    <a:gd name="T80" fmla="*/ 21 w 187"/>
                    <a:gd name="T81" fmla="*/ 142 h 196"/>
                    <a:gd name="T82" fmla="*/ 19 w 187"/>
                    <a:gd name="T83" fmla="*/ 135 h 196"/>
                    <a:gd name="T84" fmla="*/ 14 w 187"/>
                    <a:gd name="T85" fmla="*/ 121 h 196"/>
                    <a:gd name="T86" fmla="*/ 12 w 187"/>
                    <a:gd name="T87" fmla="*/ 116 h 196"/>
                    <a:gd name="T88" fmla="*/ 7 w 187"/>
                    <a:gd name="T89" fmla="*/ 109 h 196"/>
                    <a:gd name="T90" fmla="*/ 5 w 187"/>
                    <a:gd name="T91" fmla="*/ 102 h 196"/>
                    <a:gd name="T92" fmla="*/ 0 w 187"/>
                    <a:gd name="T93" fmla="*/ 97 h 196"/>
                    <a:gd name="T94" fmla="*/ 2 w 187"/>
                    <a:gd name="T95" fmla="*/ 87 h 196"/>
                    <a:gd name="T96" fmla="*/ 7 w 187"/>
                    <a:gd name="T97" fmla="*/ 80 h 196"/>
                    <a:gd name="T98" fmla="*/ 12 w 187"/>
                    <a:gd name="T99" fmla="*/ 69 h 196"/>
                    <a:gd name="T100" fmla="*/ 24 w 187"/>
                    <a:gd name="T101" fmla="*/ 66 h 196"/>
                    <a:gd name="T102" fmla="*/ 31 w 187"/>
                    <a:gd name="T103" fmla="*/ 2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7" h="196">
                      <a:moveTo>
                        <a:pt x="31" y="2"/>
                      </a:moveTo>
                      <a:lnTo>
                        <a:pt x="166" y="0"/>
                      </a:lnTo>
                      <a:lnTo>
                        <a:pt x="166" y="2"/>
                      </a:lnTo>
                      <a:lnTo>
                        <a:pt x="166" y="2"/>
                      </a:lnTo>
                      <a:lnTo>
                        <a:pt x="168" y="5"/>
                      </a:lnTo>
                      <a:lnTo>
                        <a:pt x="166" y="5"/>
                      </a:lnTo>
                      <a:lnTo>
                        <a:pt x="168" y="5"/>
                      </a:lnTo>
                      <a:lnTo>
                        <a:pt x="168" y="5"/>
                      </a:lnTo>
                      <a:lnTo>
                        <a:pt x="168" y="5"/>
                      </a:lnTo>
                      <a:lnTo>
                        <a:pt x="168" y="9"/>
                      </a:lnTo>
                      <a:lnTo>
                        <a:pt x="170" y="12"/>
                      </a:lnTo>
                      <a:lnTo>
                        <a:pt x="170" y="12"/>
                      </a:lnTo>
                      <a:lnTo>
                        <a:pt x="170" y="12"/>
                      </a:lnTo>
                      <a:lnTo>
                        <a:pt x="170" y="12"/>
                      </a:lnTo>
                      <a:lnTo>
                        <a:pt x="168" y="9"/>
                      </a:lnTo>
                      <a:lnTo>
                        <a:pt x="168" y="9"/>
                      </a:lnTo>
                      <a:lnTo>
                        <a:pt x="168" y="12"/>
                      </a:lnTo>
                      <a:lnTo>
                        <a:pt x="170" y="19"/>
                      </a:lnTo>
                      <a:lnTo>
                        <a:pt x="173" y="23"/>
                      </a:lnTo>
                      <a:lnTo>
                        <a:pt x="170" y="28"/>
                      </a:lnTo>
                      <a:lnTo>
                        <a:pt x="173" y="33"/>
                      </a:lnTo>
                      <a:lnTo>
                        <a:pt x="175" y="35"/>
                      </a:lnTo>
                      <a:lnTo>
                        <a:pt x="178" y="35"/>
                      </a:lnTo>
                      <a:lnTo>
                        <a:pt x="182" y="38"/>
                      </a:lnTo>
                      <a:lnTo>
                        <a:pt x="182" y="40"/>
                      </a:lnTo>
                      <a:lnTo>
                        <a:pt x="185" y="40"/>
                      </a:lnTo>
                      <a:lnTo>
                        <a:pt x="187" y="42"/>
                      </a:lnTo>
                      <a:lnTo>
                        <a:pt x="187" y="42"/>
                      </a:lnTo>
                      <a:lnTo>
                        <a:pt x="187" y="42"/>
                      </a:lnTo>
                      <a:lnTo>
                        <a:pt x="187" y="45"/>
                      </a:lnTo>
                      <a:lnTo>
                        <a:pt x="185" y="47"/>
                      </a:lnTo>
                      <a:lnTo>
                        <a:pt x="182" y="47"/>
                      </a:lnTo>
                      <a:lnTo>
                        <a:pt x="182" y="47"/>
                      </a:lnTo>
                      <a:lnTo>
                        <a:pt x="178" y="47"/>
                      </a:lnTo>
                      <a:lnTo>
                        <a:pt x="178" y="50"/>
                      </a:lnTo>
                      <a:lnTo>
                        <a:pt x="175" y="50"/>
                      </a:lnTo>
                      <a:lnTo>
                        <a:pt x="175" y="50"/>
                      </a:lnTo>
                      <a:lnTo>
                        <a:pt x="175" y="52"/>
                      </a:lnTo>
                      <a:lnTo>
                        <a:pt x="175" y="52"/>
                      </a:lnTo>
                      <a:lnTo>
                        <a:pt x="173" y="52"/>
                      </a:lnTo>
                      <a:lnTo>
                        <a:pt x="170" y="54"/>
                      </a:lnTo>
                      <a:lnTo>
                        <a:pt x="170" y="54"/>
                      </a:lnTo>
                      <a:lnTo>
                        <a:pt x="170" y="57"/>
                      </a:lnTo>
                      <a:lnTo>
                        <a:pt x="170" y="59"/>
                      </a:lnTo>
                      <a:lnTo>
                        <a:pt x="170" y="59"/>
                      </a:lnTo>
                      <a:lnTo>
                        <a:pt x="170" y="59"/>
                      </a:lnTo>
                      <a:lnTo>
                        <a:pt x="170" y="64"/>
                      </a:lnTo>
                      <a:lnTo>
                        <a:pt x="168" y="69"/>
                      </a:lnTo>
                      <a:lnTo>
                        <a:pt x="166" y="71"/>
                      </a:lnTo>
                      <a:lnTo>
                        <a:pt x="166" y="73"/>
                      </a:lnTo>
                      <a:lnTo>
                        <a:pt x="166" y="73"/>
                      </a:lnTo>
                      <a:lnTo>
                        <a:pt x="166" y="76"/>
                      </a:lnTo>
                      <a:lnTo>
                        <a:pt x="166" y="80"/>
                      </a:lnTo>
                      <a:lnTo>
                        <a:pt x="168" y="83"/>
                      </a:lnTo>
                      <a:lnTo>
                        <a:pt x="168" y="83"/>
                      </a:lnTo>
                      <a:lnTo>
                        <a:pt x="166" y="83"/>
                      </a:lnTo>
                      <a:lnTo>
                        <a:pt x="166" y="87"/>
                      </a:lnTo>
                      <a:lnTo>
                        <a:pt x="166" y="90"/>
                      </a:lnTo>
                      <a:lnTo>
                        <a:pt x="163" y="95"/>
                      </a:lnTo>
                      <a:lnTo>
                        <a:pt x="161" y="99"/>
                      </a:lnTo>
                      <a:lnTo>
                        <a:pt x="161" y="97"/>
                      </a:lnTo>
                      <a:lnTo>
                        <a:pt x="159" y="99"/>
                      </a:lnTo>
                      <a:lnTo>
                        <a:pt x="159" y="99"/>
                      </a:lnTo>
                      <a:lnTo>
                        <a:pt x="156" y="104"/>
                      </a:lnTo>
                      <a:lnTo>
                        <a:pt x="156" y="106"/>
                      </a:lnTo>
                      <a:lnTo>
                        <a:pt x="152" y="109"/>
                      </a:lnTo>
                      <a:lnTo>
                        <a:pt x="152" y="111"/>
                      </a:lnTo>
                      <a:lnTo>
                        <a:pt x="149" y="118"/>
                      </a:lnTo>
                      <a:lnTo>
                        <a:pt x="147" y="118"/>
                      </a:lnTo>
                      <a:lnTo>
                        <a:pt x="147" y="118"/>
                      </a:lnTo>
                      <a:lnTo>
                        <a:pt x="147" y="121"/>
                      </a:lnTo>
                      <a:lnTo>
                        <a:pt x="144" y="123"/>
                      </a:lnTo>
                      <a:lnTo>
                        <a:pt x="142" y="125"/>
                      </a:lnTo>
                      <a:lnTo>
                        <a:pt x="142" y="125"/>
                      </a:lnTo>
                      <a:lnTo>
                        <a:pt x="144" y="128"/>
                      </a:lnTo>
                      <a:lnTo>
                        <a:pt x="142" y="130"/>
                      </a:lnTo>
                      <a:lnTo>
                        <a:pt x="140" y="132"/>
                      </a:lnTo>
                      <a:lnTo>
                        <a:pt x="140" y="137"/>
                      </a:lnTo>
                      <a:lnTo>
                        <a:pt x="140" y="142"/>
                      </a:lnTo>
                      <a:lnTo>
                        <a:pt x="140" y="144"/>
                      </a:lnTo>
                      <a:lnTo>
                        <a:pt x="137" y="144"/>
                      </a:lnTo>
                      <a:lnTo>
                        <a:pt x="137" y="144"/>
                      </a:lnTo>
                      <a:lnTo>
                        <a:pt x="135" y="144"/>
                      </a:lnTo>
                      <a:lnTo>
                        <a:pt x="133" y="144"/>
                      </a:lnTo>
                      <a:lnTo>
                        <a:pt x="130" y="144"/>
                      </a:lnTo>
                      <a:lnTo>
                        <a:pt x="130" y="147"/>
                      </a:lnTo>
                      <a:lnTo>
                        <a:pt x="130" y="147"/>
                      </a:lnTo>
                      <a:lnTo>
                        <a:pt x="128" y="149"/>
                      </a:lnTo>
                      <a:lnTo>
                        <a:pt x="128" y="149"/>
                      </a:lnTo>
                      <a:lnTo>
                        <a:pt x="130" y="151"/>
                      </a:lnTo>
                      <a:lnTo>
                        <a:pt x="135" y="151"/>
                      </a:lnTo>
                      <a:lnTo>
                        <a:pt x="137" y="151"/>
                      </a:lnTo>
                      <a:lnTo>
                        <a:pt x="140" y="154"/>
                      </a:lnTo>
                      <a:lnTo>
                        <a:pt x="140" y="156"/>
                      </a:lnTo>
                      <a:lnTo>
                        <a:pt x="140" y="156"/>
                      </a:lnTo>
                      <a:lnTo>
                        <a:pt x="142" y="159"/>
                      </a:lnTo>
                      <a:lnTo>
                        <a:pt x="144" y="161"/>
                      </a:lnTo>
                      <a:lnTo>
                        <a:pt x="144" y="161"/>
                      </a:lnTo>
                      <a:lnTo>
                        <a:pt x="144" y="161"/>
                      </a:lnTo>
                      <a:lnTo>
                        <a:pt x="147" y="161"/>
                      </a:lnTo>
                      <a:lnTo>
                        <a:pt x="149" y="163"/>
                      </a:lnTo>
                      <a:lnTo>
                        <a:pt x="149" y="166"/>
                      </a:lnTo>
                      <a:lnTo>
                        <a:pt x="152" y="166"/>
                      </a:lnTo>
                      <a:lnTo>
                        <a:pt x="152" y="170"/>
                      </a:lnTo>
                      <a:lnTo>
                        <a:pt x="154" y="173"/>
                      </a:lnTo>
                      <a:lnTo>
                        <a:pt x="154" y="175"/>
                      </a:lnTo>
                      <a:lnTo>
                        <a:pt x="149" y="180"/>
                      </a:lnTo>
                      <a:lnTo>
                        <a:pt x="147" y="182"/>
                      </a:lnTo>
                      <a:lnTo>
                        <a:pt x="147" y="182"/>
                      </a:lnTo>
                      <a:lnTo>
                        <a:pt x="144" y="185"/>
                      </a:lnTo>
                      <a:lnTo>
                        <a:pt x="142" y="185"/>
                      </a:lnTo>
                      <a:lnTo>
                        <a:pt x="142" y="187"/>
                      </a:lnTo>
                      <a:lnTo>
                        <a:pt x="140" y="187"/>
                      </a:lnTo>
                      <a:lnTo>
                        <a:pt x="140" y="187"/>
                      </a:lnTo>
                      <a:lnTo>
                        <a:pt x="137" y="189"/>
                      </a:lnTo>
                      <a:lnTo>
                        <a:pt x="137" y="192"/>
                      </a:lnTo>
                      <a:lnTo>
                        <a:pt x="135" y="192"/>
                      </a:lnTo>
                      <a:lnTo>
                        <a:pt x="130" y="192"/>
                      </a:lnTo>
                      <a:lnTo>
                        <a:pt x="128" y="192"/>
                      </a:lnTo>
                      <a:lnTo>
                        <a:pt x="125" y="192"/>
                      </a:lnTo>
                      <a:lnTo>
                        <a:pt x="123" y="192"/>
                      </a:lnTo>
                      <a:lnTo>
                        <a:pt x="123" y="192"/>
                      </a:lnTo>
                      <a:lnTo>
                        <a:pt x="121" y="192"/>
                      </a:lnTo>
                      <a:lnTo>
                        <a:pt x="118" y="194"/>
                      </a:lnTo>
                      <a:lnTo>
                        <a:pt x="118" y="196"/>
                      </a:lnTo>
                      <a:lnTo>
                        <a:pt x="118" y="196"/>
                      </a:lnTo>
                      <a:lnTo>
                        <a:pt x="116" y="194"/>
                      </a:lnTo>
                      <a:lnTo>
                        <a:pt x="116" y="194"/>
                      </a:lnTo>
                      <a:lnTo>
                        <a:pt x="114" y="192"/>
                      </a:lnTo>
                      <a:lnTo>
                        <a:pt x="111" y="194"/>
                      </a:lnTo>
                      <a:lnTo>
                        <a:pt x="109" y="192"/>
                      </a:lnTo>
                      <a:lnTo>
                        <a:pt x="107" y="192"/>
                      </a:lnTo>
                      <a:lnTo>
                        <a:pt x="104" y="192"/>
                      </a:lnTo>
                      <a:lnTo>
                        <a:pt x="104" y="194"/>
                      </a:lnTo>
                      <a:lnTo>
                        <a:pt x="104" y="194"/>
                      </a:lnTo>
                      <a:lnTo>
                        <a:pt x="104" y="194"/>
                      </a:lnTo>
                      <a:lnTo>
                        <a:pt x="104" y="194"/>
                      </a:lnTo>
                      <a:lnTo>
                        <a:pt x="102" y="194"/>
                      </a:lnTo>
                      <a:lnTo>
                        <a:pt x="102" y="194"/>
                      </a:lnTo>
                      <a:lnTo>
                        <a:pt x="102" y="194"/>
                      </a:lnTo>
                      <a:lnTo>
                        <a:pt x="99" y="192"/>
                      </a:lnTo>
                      <a:lnTo>
                        <a:pt x="99" y="192"/>
                      </a:lnTo>
                      <a:lnTo>
                        <a:pt x="99" y="189"/>
                      </a:lnTo>
                      <a:lnTo>
                        <a:pt x="97" y="189"/>
                      </a:lnTo>
                      <a:lnTo>
                        <a:pt x="95" y="187"/>
                      </a:lnTo>
                      <a:lnTo>
                        <a:pt x="95" y="187"/>
                      </a:lnTo>
                      <a:lnTo>
                        <a:pt x="92" y="185"/>
                      </a:lnTo>
                      <a:lnTo>
                        <a:pt x="90" y="182"/>
                      </a:lnTo>
                      <a:lnTo>
                        <a:pt x="90" y="182"/>
                      </a:lnTo>
                      <a:lnTo>
                        <a:pt x="88" y="182"/>
                      </a:lnTo>
                      <a:lnTo>
                        <a:pt x="88" y="185"/>
                      </a:lnTo>
                      <a:lnTo>
                        <a:pt x="85" y="185"/>
                      </a:lnTo>
                      <a:lnTo>
                        <a:pt x="83" y="185"/>
                      </a:lnTo>
                      <a:lnTo>
                        <a:pt x="83" y="185"/>
                      </a:lnTo>
                      <a:lnTo>
                        <a:pt x="83" y="185"/>
                      </a:lnTo>
                      <a:lnTo>
                        <a:pt x="81" y="185"/>
                      </a:lnTo>
                      <a:lnTo>
                        <a:pt x="78" y="185"/>
                      </a:lnTo>
                      <a:lnTo>
                        <a:pt x="76" y="185"/>
                      </a:lnTo>
                      <a:lnTo>
                        <a:pt x="76" y="187"/>
                      </a:lnTo>
                      <a:lnTo>
                        <a:pt x="73" y="187"/>
                      </a:lnTo>
                      <a:lnTo>
                        <a:pt x="71" y="187"/>
                      </a:lnTo>
                      <a:lnTo>
                        <a:pt x="69" y="185"/>
                      </a:lnTo>
                      <a:lnTo>
                        <a:pt x="69" y="182"/>
                      </a:lnTo>
                      <a:lnTo>
                        <a:pt x="66" y="182"/>
                      </a:lnTo>
                      <a:lnTo>
                        <a:pt x="66" y="182"/>
                      </a:lnTo>
                      <a:lnTo>
                        <a:pt x="66" y="180"/>
                      </a:lnTo>
                      <a:lnTo>
                        <a:pt x="66" y="180"/>
                      </a:lnTo>
                      <a:lnTo>
                        <a:pt x="66" y="180"/>
                      </a:lnTo>
                      <a:lnTo>
                        <a:pt x="64" y="178"/>
                      </a:lnTo>
                      <a:lnTo>
                        <a:pt x="62" y="178"/>
                      </a:lnTo>
                      <a:lnTo>
                        <a:pt x="62" y="175"/>
                      </a:lnTo>
                      <a:lnTo>
                        <a:pt x="62" y="173"/>
                      </a:lnTo>
                      <a:lnTo>
                        <a:pt x="62" y="173"/>
                      </a:lnTo>
                      <a:lnTo>
                        <a:pt x="59" y="170"/>
                      </a:lnTo>
                      <a:lnTo>
                        <a:pt x="55" y="170"/>
                      </a:lnTo>
                      <a:lnTo>
                        <a:pt x="55" y="168"/>
                      </a:lnTo>
                      <a:lnTo>
                        <a:pt x="55" y="168"/>
                      </a:lnTo>
                      <a:lnTo>
                        <a:pt x="55" y="166"/>
                      </a:lnTo>
                      <a:lnTo>
                        <a:pt x="52" y="166"/>
                      </a:lnTo>
                      <a:lnTo>
                        <a:pt x="50" y="163"/>
                      </a:lnTo>
                      <a:lnTo>
                        <a:pt x="50" y="161"/>
                      </a:lnTo>
                      <a:lnTo>
                        <a:pt x="50" y="161"/>
                      </a:lnTo>
                      <a:lnTo>
                        <a:pt x="45" y="159"/>
                      </a:lnTo>
                      <a:lnTo>
                        <a:pt x="45" y="159"/>
                      </a:lnTo>
                      <a:lnTo>
                        <a:pt x="43" y="159"/>
                      </a:lnTo>
                      <a:lnTo>
                        <a:pt x="43" y="159"/>
                      </a:lnTo>
                      <a:lnTo>
                        <a:pt x="40" y="159"/>
                      </a:lnTo>
                      <a:lnTo>
                        <a:pt x="38" y="156"/>
                      </a:lnTo>
                      <a:lnTo>
                        <a:pt x="38" y="154"/>
                      </a:lnTo>
                      <a:lnTo>
                        <a:pt x="38" y="154"/>
                      </a:lnTo>
                      <a:lnTo>
                        <a:pt x="40" y="154"/>
                      </a:lnTo>
                      <a:lnTo>
                        <a:pt x="40" y="151"/>
                      </a:lnTo>
                      <a:lnTo>
                        <a:pt x="40" y="151"/>
                      </a:lnTo>
                      <a:lnTo>
                        <a:pt x="38" y="149"/>
                      </a:lnTo>
                      <a:lnTo>
                        <a:pt x="36" y="149"/>
                      </a:lnTo>
                      <a:lnTo>
                        <a:pt x="36" y="147"/>
                      </a:lnTo>
                      <a:lnTo>
                        <a:pt x="33" y="147"/>
                      </a:lnTo>
                      <a:lnTo>
                        <a:pt x="31" y="147"/>
                      </a:lnTo>
                      <a:lnTo>
                        <a:pt x="28" y="147"/>
                      </a:lnTo>
                      <a:lnTo>
                        <a:pt x="26" y="144"/>
                      </a:lnTo>
                      <a:lnTo>
                        <a:pt x="26" y="142"/>
                      </a:lnTo>
                      <a:lnTo>
                        <a:pt x="28" y="142"/>
                      </a:lnTo>
                      <a:lnTo>
                        <a:pt x="26" y="140"/>
                      </a:lnTo>
                      <a:lnTo>
                        <a:pt x="24" y="140"/>
                      </a:lnTo>
                      <a:lnTo>
                        <a:pt x="21" y="142"/>
                      </a:lnTo>
                      <a:lnTo>
                        <a:pt x="19" y="142"/>
                      </a:lnTo>
                      <a:lnTo>
                        <a:pt x="19" y="140"/>
                      </a:lnTo>
                      <a:lnTo>
                        <a:pt x="19" y="137"/>
                      </a:lnTo>
                      <a:lnTo>
                        <a:pt x="19" y="135"/>
                      </a:lnTo>
                      <a:lnTo>
                        <a:pt x="19" y="135"/>
                      </a:lnTo>
                      <a:lnTo>
                        <a:pt x="19" y="132"/>
                      </a:lnTo>
                      <a:lnTo>
                        <a:pt x="19" y="130"/>
                      </a:lnTo>
                      <a:lnTo>
                        <a:pt x="17" y="125"/>
                      </a:lnTo>
                      <a:lnTo>
                        <a:pt x="14" y="123"/>
                      </a:lnTo>
                      <a:lnTo>
                        <a:pt x="14" y="121"/>
                      </a:lnTo>
                      <a:lnTo>
                        <a:pt x="12" y="121"/>
                      </a:lnTo>
                      <a:lnTo>
                        <a:pt x="12" y="118"/>
                      </a:lnTo>
                      <a:lnTo>
                        <a:pt x="12" y="118"/>
                      </a:lnTo>
                      <a:lnTo>
                        <a:pt x="10" y="116"/>
                      </a:lnTo>
                      <a:lnTo>
                        <a:pt x="12" y="116"/>
                      </a:lnTo>
                      <a:lnTo>
                        <a:pt x="12" y="114"/>
                      </a:lnTo>
                      <a:lnTo>
                        <a:pt x="12" y="114"/>
                      </a:lnTo>
                      <a:lnTo>
                        <a:pt x="12" y="111"/>
                      </a:lnTo>
                      <a:lnTo>
                        <a:pt x="7" y="111"/>
                      </a:lnTo>
                      <a:lnTo>
                        <a:pt x="7" y="109"/>
                      </a:lnTo>
                      <a:lnTo>
                        <a:pt x="7" y="106"/>
                      </a:lnTo>
                      <a:lnTo>
                        <a:pt x="5" y="104"/>
                      </a:lnTo>
                      <a:lnTo>
                        <a:pt x="5" y="102"/>
                      </a:lnTo>
                      <a:lnTo>
                        <a:pt x="5" y="102"/>
                      </a:lnTo>
                      <a:lnTo>
                        <a:pt x="5" y="102"/>
                      </a:lnTo>
                      <a:lnTo>
                        <a:pt x="5" y="99"/>
                      </a:lnTo>
                      <a:lnTo>
                        <a:pt x="5" y="99"/>
                      </a:lnTo>
                      <a:lnTo>
                        <a:pt x="2" y="102"/>
                      </a:lnTo>
                      <a:lnTo>
                        <a:pt x="0" y="99"/>
                      </a:lnTo>
                      <a:lnTo>
                        <a:pt x="0" y="97"/>
                      </a:lnTo>
                      <a:lnTo>
                        <a:pt x="5" y="95"/>
                      </a:lnTo>
                      <a:lnTo>
                        <a:pt x="5" y="92"/>
                      </a:lnTo>
                      <a:lnTo>
                        <a:pt x="5" y="90"/>
                      </a:lnTo>
                      <a:lnTo>
                        <a:pt x="2" y="90"/>
                      </a:lnTo>
                      <a:lnTo>
                        <a:pt x="2" y="87"/>
                      </a:lnTo>
                      <a:lnTo>
                        <a:pt x="5" y="87"/>
                      </a:lnTo>
                      <a:lnTo>
                        <a:pt x="7" y="85"/>
                      </a:lnTo>
                      <a:lnTo>
                        <a:pt x="5" y="83"/>
                      </a:lnTo>
                      <a:lnTo>
                        <a:pt x="5" y="83"/>
                      </a:lnTo>
                      <a:lnTo>
                        <a:pt x="7" y="80"/>
                      </a:lnTo>
                      <a:lnTo>
                        <a:pt x="7" y="80"/>
                      </a:lnTo>
                      <a:lnTo>
                        <a:pt x="12" y="76"/>
                      </a:lnTo>
                      <a:lnTo>
                        <a:pt x="14" y="73"/>
                      </a:lnTo>
                      <a:lnTo>
                        <a:pt x="12" y="71"/>
                      </a:lnTo>
                      <a:lnTo>
                        <a:pt x="12" y="69"/>
                      </a:lnTo>
                      <a:lnTo>
                        <a:pt x="14" y="69"/>
                      </a:lnTo>
                      <a:lnTo>
                        <a:pt x="17" y="69"/>
                      </a:lnTo>
                      <a:lnTo>
                        <a:pt x="19" y="69"/>
                      </a:lnTo>
                      <a:lnTo>
                        <a:pt x="21" y="69"/>
                      </a:lnTo>
                      <a:lnTo>
                        <a:pt x="24" y="66"/>
                      </a:lnTo>
                      <a:lnTo>
                        <a:pt x="21" y="26"/>
                      </a:lnTo>
                      <a:lnTo>
                        <a:pt x="21" y="26"/>
                      </a:lnTo>
                      <a:lnTo>
                        <a:pt x="21" y="23"/>
                      </a:lnTo>
                      <a:lnTo>
                        <a:pt x="33" y="21"/>
                      </a:lnTo>
                      <a:lnTo>
                        <a:pt x="31" y="2"/>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0" name="Freeform 105">
                  <a:extLst>
                    <a:ext uri="{FF2B5EF4-FFF2-40B4-BE49-F238E27FC236}">
                      <a16:creationId xmlns:a16="http://schemas.microsoft.com/office/drawing/2014/main" id="{7E903E24-2116-B019-1855-B5C3B297DACE}"/>
                    </a:ext>
                  </a:extLst>
                </p:cNvPr>
                <p:cNvSpPr>
                  <a:spLocks/>
                </p:cNvSpPr>
                <p:nvPr/>
              </p:nvSpPr>
              <p:spPr bwMode="auto">
                <a:xfrm>
                  <a:off x="3028" y="2446"/>
                  <a:ext cx="173" cy="118"/>
                </a:xfrm>
                <a:custGeom>
                  <a:avLst/>
                  <a:gdLst>
                    <a:gd name="T0" fmla="*/ 24 w 173"/>
                    <a:gd name="T1" fmla="*/ 94 h 118"/>
                    <a:gd name="T2" fmla="*/ 21 w 173"/>
                    <a:gd name="T3" fmla="*/ 87 h 118"/>
                    <a:gd name="T4" fmla="*/ 16 w 173"/>
                    <a:gd name="T5" fmla="*/ 85 h 118"/>
                    <a:gd name="T6" fmla="*/ 12 w 173"/>
                    <a:gd name="T7" fmla="*/ 80 h 118"/>
                    <a:gd name="T8" fmla="*/ 9 w 173"/>
                    <a:gd name="T9" fmla="*/ 75 h 118"/>
                    <a:gd name="T10" fmla="*/ 0 w 173"/>
                    <a:gd name="T11" fmla="*/ 73 h 118"/>
                    <a:gd name="T12" fmla="*/ 2 w 173"/>
                    <a:gd name="T13" fmla="*/ 71 h 118"/>
                    <a:gd name="T14" fmla="*/ 7 w 173"/>
                    <a:gd name="T15" fmla="*/ 68 h 118"/>
                    <a:gd name="T16" fmla="*/ 12 w 173"/>
                    <a:gd name="T17" fmla="*/ 68 h 118"/>
                    <a:gd name="T18" fmla="*/ 12 w 173"/>
                    <a:gd name="T19" fmla="*/ 56 h 118"/>
                    <a:gd name="T20" fmla="*/ 14 w 173"/>
                    <a:gd name="T21" fmla="*/ 49 h 118"/>
                    <a:gd name="T22" fmla="*/ 19 w 173"/>
                    <a:gd name="T23" fmla="*/ 45 h 118"/>
                    <a:gd name="T24" fmla="*/ 21 w 173"/>
                    <a:gd name="T25" fmla="*/ 42 h 118"/>
                    <a:gd name="T26" fmla="*/ 28 w 173"/>
                    <a:gd name="T27" fmla="*/ 30 h 118"/>
                    <a:gd name="T28" fmla="*/ 31 w 173"/>
                    <a:gd name="T29" fmla="*/ 23 h 118"/>
                    <a:gd name="T30" fmla="*/ 35 w 173"/>
                    <a:gd name="T31" fmla="*/ 19 h 118"/>
                    <a:gd name="T32" fmla="*/ 38 w 173"/>
                    <a:gd name="T33" fmla="*/ 7 h 118"/>
                    <a:gd name="T34" fmla="*/ 42 w 173"/>
                    <a:gd name="T35" fmla="*/ 7 h 118"/>
                    <a:gd name="T36" fmla="*/ 50 w 173"/>
                    <a:gd name="T37" fmla="*/ 0 h 118"/>
                    <a:gd name="T38" fmla="*/ 54 w 173"/>
                    <a:gd name="T39" fmla="*/ 4 h 118"/>
                    <a:gd name="T40" fmla="*/ 61 w 173"/>
                    <a:gd name="T41" fmla="*/ 2 h 118"/>
                    <a:gd name="T42" fmla="*/ 66 w 173"/>
                    <a:gd name="T43" fmla="*/ 2 h 118"/>
                    <a:gd name="T44" fmla="*/ 71 w 173"/>
                    <a:gd name="T45" fmla="*/ 4 h 118"/>
                    <a:gd name="T46" fmla="*/ 78 w 173"/>
                    <a:gd name="T47" fmla="*/ 7 h 118"/>
                    <a:gd name="T48" fmla="*/ 85 w 173"/>
                    <a:gd name="T49" fmla="*/ 11 h 118"/>
                    <a:gd name="T50" fmla="*/ 90 w 173"/>
                    <a:gd name="T51" fmla="*/ 14 h 118"/>
                    <a:gd name="T52" fmla="*/ 97 w 173"/>
                    <a:gd name="T53" fmla="*/ 19 h 118"/>
                    <a:gd name="T54" fmla="*/ 102 w 173"/>
                    <a:gd name="T55" fmla="*/ 23 h 118"/>
                    <a:gd name="T56" fmla="*/ 104 w 173"/>
                    <a:gd name="T57" fmla="*/ 28 h 118"/>
                    <a:gd name="T58" fmla="*/ 102 w 173"/>
                    <a:gd name="T59" fmla="*/ 35 h 118"/>
                    <a:gd name="T60" fmla="*/ 99 w 173"/>
                    <a:gd name="T61" fmla="*/ 42 h 118"/>
                    <a:gd name="T62" fmla="*/ 106 w 173"/>
                    <a:gd name="T63" fmla="*/ 42 h 118"/>
                    <a:gd name="T64" fmla="*/ 111 w 173"/>
                    <a:gd name="T65" fmla="*/ 42 h 118"/>
                    <a:gd name="T66" fmla="*/ 116 w 173"/>
                    <a:gd name="T67" fmla="*/ 54 h 118"/>
                    <a:gd name="T68" fmla="*/ 123 w 173"/>
                    <a:gd name="T69" fmla="*/ 61 h 118"/>
                    <a:gd name="T70" fmla="*/ 173 w 173"/>
                    <a:gd name="T71" fmla="*/ 71 h 118"/>
                    <a:gd name="T72" fmla="*/ 123 w 173"/>
                    <a:gd name="T73" fmla="*/ 104 h 118"/>
                    <a:gd name="T74" fmla="*/ 116 w 173"/>
                    <a:gd name="T75" fmla="*/ 106 h 118"/>
                    <a:gd name="T76" fmla="*/ 111 w 173"/>
                    <a:gd name="T77" fmla="*/ 111 h 118"/>
                    <a:gd name="T78" fmla="*/ 102 w 173"/>
                    <a:gd name="T79" fmla="*/ 113 h 118"/>
                    <a:gd name="T80" fmla="*/ 94 w 173"/>
                    <a:gd name="T81" fmla="*/ 116 h 118"/>
                    <a:gd name="T82" fmla="*/ 90 w 173"/>
                    <a:gd name="T83" fmla="*/ 111 h 118"/>
                    <a:gd name="T84" fmla="*/ 83 w 173"/>
                    <a:gd name="T85" fmla="*/ 113 h 118"/>
                    <a:gd name="T86" fmla="*/ 76 w 173"/>
                    <a:gd name="T87" fmla="*/ 118 h 118"/>
                    <a:gd name="T88" fmla="*/ 68 w 173"/>
                    <a:gd name="T89" fmla="*/ 118 h 118"/>
                    <a:gd name="T90" fmla="*/ 59 w 173"/>
                    <a:gd name="T91" fmla="*/ 118 h 118"/>
                    <a:gd name="T92" fmla="*/ 54 w 173"/>
                    <a:gd name="T93" fmla="*/ 113 h 118"/>
                    <a:gd name="T94" fmla="*/ 40 w 173"/>
                    <a:gd name="T95" fmla="*/ 109 h 118"/>
                    <a:gd name="T96" fmla="*/ 33 w 173"/>
                    <a:gd name="T97" fmla="*/ 109 h 118"/>
                    <a:gd name="T98" fmla="*/ 31 w 173"/>
                    <a:gd name="T99" fmla="*/ 99 h 118"/>
                    <a:gd name="T100" fmla="*/ 26 w 173"/>
                    <a:gd name="T101" fmla="*/ 99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73" h="118">
                      <a:moveTo>
                        <a:pt x="26" y="99"/>
                      </a:moveTo>
                      <a:lnTo>
                        <a:pt x="26" y="97"/>
                      </a:lnTo>
                      <a:lnTo>
                        <a:pt x="24" y="94"/>
                      </a:lnTo>
                      <a:lnTo>
                        <a:pt x="24" y="90"/>
                      </a:lnTo>
                      <a:lnTo>
                        <a:pt x="21" y="90"/>
                      </a:lnTo>
                      <a:lnTo>
                        <a:pt x="21" y="87"/>
                      </a:lnTo>
                      <a:lnTo>
                        <a:pt x="19" y="85"/>
                      </a:lnTo>
                      <a:lnTo>
                        <a:pt x="16" y="85"/>
                      </a:lnTo>
                      <a:lnTo>
                        <a:pt x="16" y="85"/>
                      </a:lnTo>
                      <a:lnTo>
                        <a:pt x="16" y="85"/>
                      </a:lnTo>
                      <a:lnTo>
                        <a:pt x="14" y="83"/>
                      </a:lnTo>
                      <a:lnTo>
                        <a:pt x="12" y="80"/>
                      </a:lnTo>
                      <a:lnTo>
                        <a:pt x="12" y="80"/>
                      </a:lnTo>
                      <a:lnTo>
                        <a:pt x="12" y="78"/>
                      </a:lnTo>
                      <a:lnTo>
                        <a:pt x="9" y="75"/>
                      </a:lnTo>
                      <a:lnTo>
                        <a:pt x="7" y="75"/>
                      </a:lnTo>
                      <a:lnTo>
                        <a:pt x="2" y="75"/>
                      </a:lnTo>
                      <a:lnTo>
                        <a:pt x="0" y="73"/>
                      </a:lnTo>
                      <a:lnTo>
                        <a:pt x="0" y="73"/>
                      </a:lnTo>
                      <a:lnTo>
                        <a:pt x="2" y="71"/>
                      </a:lnTo>
                      <a:lnTo>
                        <a:pt x="2" y="71"/>
                      </a:lnTo>
                      <a:lnTo>
                        <a:pt x="2" y="68"/>
                      </a:lnTo>
                      <a:lnTo>
                        <a:pt x="5" y="68"/>
                      </a:lnTo>
                      <a:lnTo>
                        <a:pt x="7" y="68"/>
                      </a:lnTo>
                      <a:lnTo>
                        <a:pt x="9" y="68"/>
                      </a:lnTo>
                      <a:lnTo>
                        <a:pt x="9" y="68"/>
                      </a:lnTo>
                      <a:lnTo>
                        <a:pt x="12" y="68"/>
                      </a:lnTo>
                      <a:lnTo>
                        <a:pt x="12" y="66"/>
                      </a:lnTo>
                      <a:lnTo>
                        <a:pt x="12" y="61"/>
                      </a:lnTo>
                      <a:lnTo>
                        <a:pt x="12" y="56"/>
                      </a:lnTo>
                      <a:lnTo>
                        <a:pt x="14" y="54"/>
                      </a:lnTo>
                      <a:lnTo>
                        <a:pt x="16" y="52"/>
                      </a:lnTo>
                      <a:lnTo>
                        <a:pt x="14" y="49"/>
                      </a:lnTo>
                      <a:lnTo>
                        <a:pt x="14" y="49"/>
                      </a:lnTo>
                      <a:lnTo>
                        <a:pt x="16" y="47"/>
                      </a:lnTo>
                      <a:lnTo>
                        <a:pt x="19" y="45"/>
                      </a:lnTo>
                      <a:lnTo>
                        <a:pt x="19" y="42"/>
                      </a:lnTo>
                      <a:lnTo>
                        <a:pt x="19" y="42"/>
                      </a:lnTo>
                      <a:lnTo>
                        <a:pt x="21" y="42"/>
                      </a:lnTo>
                      <a:lnTo>
                        <a:pt x="24" y="35"/>
                      </a:lnTo>
                      <a:lnTo>
                        <a:pt x="24" y="33"/>
                      </a:lnTo>
                      <a:lnTo>
                        <a:pt x="28" y="30"/>
                      </a:lnTo>
                      <a:lnTo>
                        <a:pt x="28" y="28"/>
                      </a:lnTo>
                      <a:lnTo>
                        <a:pt x="31" y="23"/>
                      </a:lnTo>
                      <a:lnTo>
                        <a:pt x="31" y="23"/>
                      </a:lnTo>
                      <a:lnTo>
                        <a:pt x="33" y="21"/>
                      </a:lnTo>
                      <a:lnTo>
                        <a:pt x="33" y="23"/>
                      </a:lnTo>
                      <a:lnTo>
                        <a:pt x="35" y="19"/>
                      </a:lnTo>
                      <a:lnTo>
                        <a:pt x="38" y="14"/>
                      </a:lnTo>
                      <a:lnTo>
                        <a:pt x="38" y="11"/>
                      </a:lnTo>
                      <a:lnTo>
                        <a:pt x="38" y="7"/>
                      </a:lnTo>
                      <a:lnTo>
                        <a:pt x="40" y="7"/>
                      </a:lnTo>
                      <a:lnTo>
                        <a:pt x="40" y="7"/>
                      </a:lnTo>
                      <a:lnTo>
                        <a:pt x="42" y="7"/>
                      </a:lnTo>
                      <a:lnTo>
                        <a:pt x="45" y="7"/>
                      </a:lnTo>
                      <a:lnTo>
                        <a:pt x="47" y="7"/>
                      </a:lnTo>
                      <a:lnTo>
                        <a:pt x="50" y="0"/>
                      </a:lnTo>
                      <a:lnTo>
                        <a:pt x="50" y="2"/>
                      </a:lnTo>
                      <a:lnTo>
                        <a:pt x="52" y="2"/>
                      </a:lnTo>
                      <a:lnTo>
                        <a:pt x="54" y="4"/>
                      </a:lnTo>
                      <a:lnTo>
                        <a:pt x="57" y="4"/>
                      </a:lnTo>
                      <a:lnTo>
                        <a:pt x="59" y="2"/>
                      </a:lnTo>
                      <a:lnTo>
                        <a:pt x="61" y="2"/>
                      </a:lnTo>
                      <a:lnTo>
                        <a:pt x="64" y="2"/>
                      </a:lnTo>
                      <a:lnTo>
                        <a:pt x="64" y="2"/>
                      </a:lnTo>
                      <a:lnTo>
                        <a:pt x="66" y="2"/>
                      </a:lnTo>
                      <a:lnTo>
                        <a:pt x="71" y="4"/>
                      </a:lnTo>
                      <a:lnTo>
                        <a:pt x="71" y="4"/>
                      </a:lnTo>
                      <a:lnTo>
                        <a:pt x="71" y="4"/>
                      </a:lnTo>
                      <a:lnTo>
                        <a:pt x="73" y="4"/>
                      </a:lnTo>
                      <a:lnTo>
                        <a:pt x="76" y="7"/>
                      </a:lnTo>
                      <a:lnTo>
                        <a:pt x="78" y="7"/>
                      </a:lnTo>
                      <a:lnTo>
                        <a:pt x="83" y="9"/>
                      </a:lnTo>
                      <a:lnTo>
                        <a:pt x="83" y="11"/>
                      </a:lnTo>
                      <a:lnTo>
                        <a:pt x="85" y="11"/>
                      </a:lnTo>
                      <a:lnTo>
                        <a:pt x="87" y="11"/>
                      </a:lnTo>
                      <a:lnTo>
                        <a:pt x="90" y="11"/>
                      </a:lnTo>
                      <a:lnTo>
                        <a:pt x="90" y="14"/>
                      </a:lnTo>
                      <a:lnTo>
                        <a:pt x="92" y="16"/>
                      </a:lnTo>
                      <a:lnTo>
                        <a:pt x="94" y="19"/>
                      </a:lnTo>
                      <a:lnTo>
                        <a:pt x="97" y="19"/>
                      </a:lnTo>
                      <a:lnTo>
                        <a:pt x="99" y="21"/>
                      </a:lnTo>
                      <a:lnTo>
                        <a:pt x="99" y="23"/>
                      </a:lnTo>
                      <a:lnTo>
                        <a:pt x="102" y="23"/>
                      </a:lnTo>
                      <a:lnTo>
                        <a:pt x="102" y="23"/>
                      </a:lnTo>
                      <a:lnTo>
                        <a:pt x="106" y="28"/>
                      </a:lnTo>
                      <a:lnTo>
                        <a:pt x="104" y="28"/>
                      </a:lnTo>
                      <a:lnTo>
                        <a:pt x="102" y="30"/>
                      </a:lnTo>
                      <a:lnTo>
                        <a:pt x="102" y="33"/>
                      </a:lnTo>
                      <a:lnTo>
                        <a:pt x="102" y="35"/>
                      </a:lnTo>
                      <a:lnTo>
                        <a:pt x="102" y="38"/>
                      </a:lnTo>
                      <a:lnTo>
                        <a:pt x="102" y="40"/>
                      </a:lnTo>
                      <a:lnTo>
                        <a:pt x="99" y="42"/>
                      </a:lnTo>
                      <a:lnTo>
                        <a:pt x="99" y="42"/>
                      </a:lnTo>
                      <a:lnTo>
                        <a:pt x="104" y="42"/>
                      </a:lnTo>
                      <a:lnTo>
                        <a:pt x="106" y="42"/>
                      </a:lnTo>
                      <a:lnTo>
                        <a:pt x="109" y="40"/>
                      </a:lnTo>
                      <a:lnTo>
                        <a:pt x="111" y="42"/>
                      </a:lnTo>
                      <a:lnTo>
                        <a:pt x="111" y="42"/>
                      </a:lnTo>
                      <a:lnTo>
                        <a:pt x="111" y="47"/>
                      </a:lnTo>
                      <a:lnTo>
                        <a:pt x="113" y="52"/>
                      </a:lnTo>
                      <a:lnTo>
                        <a:pt x="116" y="54"/>
                      </a:lnTo>
                      <a:lnTo>
                        <a:pt x="116" y="56"/>
                      </a:lnTo>
                      <a:lnTo>
                        <a:pt x="118" y="59"/>
                      </a:lnTo>
                      <a:lnTo>
                        <a:pt x="123" y="61"/>
                      </a:lnTo>
                      <a:lnTo>
                        <a:pt x="125" y="64"/>
                      </a:lnTo>
                      <a:lnTo>
                        <a:pt x="158" y="71"/>
                      </a:lnTo>
                      <a:lnTo>
                        <a:pt x="173" y="71"/>
                      </a:lnTo>
                      <a:lnTo>
                        <a:pt x="137" y="104"/>
                      </a:lnTo>
                      <a:lnTo>
                        <a:pt x="130" y="104"/>
                      </a:lnTo>
                      <a:lnTo>
                        <a:pt x="123" y="104"/>
                      </a:lnTo>
                      <a:lnTo>
                        <a:pt x="121" y="104"/>
                      </a:lnTo>
                      <a:lnTo>
                        <a:pt x="118" y="104"/>
                      </a:lnTo>
                      <a:lnTo>
                        <a:pt x="116" y="106"/>
                      </a:lnTo>
                      <a:lnTo>
                        <a:pt x="116" y="109"/>
                      </a:lnTo>
                      <a:lnTo>
                        <a:pt x="113" y="109"/>
                      </a:lnTo>
                      <a:lnTo>
                        <a:pt x="111" y="111"/>
                      </a:lnTo>
                      <a:lnTo>
                        <a:pt x="106" y="111"/>
                      </a:lnTo>
                      <a:lnTo>
                        <a:pt x="104" y="113"/>
                      </a:lnTo>
                      <a:lnTo>
                        <a:pt x="102" y="113"/>
                      </a:lnTo>
                      <a:lnTo>
                        <a:pt x="102" y="113"/>
                      </a:lnTo>
                      <a:lnTo>
                        <a:pt x="99" y="113"/>
                      </a:lnTo>
                      <a:lnTo>
                        <a:pt x="94" y="116"/>
                      </a:lnTo>
                      <a:lnTo>
                        <a:pt x="92" y="113"/>
                      </a:lnTo>
                      <a:lnTo>
                        <a:pt x="92" y="111"/>
                      </a:lnTo>
                      <a:lnTo>
                        <a:pt x="90" y="111"/>
                      </a:lnTo>
                      <a:lnTo>
                        <a:pt x="85" y="111"/>
                      </a:lnTo>
                      <a:lnTo>
                        <a:pt x="83" y="113"/>
                      </a:lnTo>
                      <a:lnTo>
                        <a:pt x="83" y="113"/>
                      </a:lnTo>
                      <a:lnTo>
                        <a:pt x="80" y="113"/>
                      </a:lnTo>
                      <a:lnTo>
                        <a:pt x="78" y="116"/>
                      </a:lnTo>
                      <a:lnTo>
                        <a:pt x="76" y="118"/>
                      </a:lnTo>
                      <a:lnTo>
                        <a:pt x="73" y="118"/>
                      </a:lnTo>
                      <a:lnTo>
                        <a:pt x="71" y="118"/>
                      </a:lnTo>
                      <a:lnTo>
                        <a:pt x="68" y="118"/>
                      </a:lnTo>
                      <a:lnTo>
                        <a:pt x="66" y="118"/>
                      </a:lnTo>
                      <a:lnTo>
                        <a:pt x="64" y="118"/>
                      </a:lnTo>
                      <a:lnTo>
                        <a:pt x="59" y="118"/>
                      </a:lnTo>
                      <a:lnTo>
                        <a:pt x="59" y="118"/>
                      </a:lnTo>
                      <a:lnTo>
                        <a:pt x="57" y="116"/>
                      </a:lnTo>
                      <a:lnTo>
                        <a:pt x="54" y="113"/>
                      </a:lnTo>
                      <a:lnTo>
                        <a:pt x="50" y="109"/>
                      </a:lnTo>
                      <a:lnTo>
                        <a:pt x="47" y="109"/>
                      </a:lnTo>
                      <a:lnTo>
                        <a:pt x="40" y="109"/>
                      </a:lnTo>
                      <a:lnTo>
                        <a:pt x="38" y="109"/>
                      </a:lnTo>
                      <a:lnTo>
                        <a:pt x="35" y="109"/>
                      </a:lnTo>
                      <a:lnTo>
                        <a:pt x="33" y="109"/>
                      </a:lnTo>
                      <a:lnTo>
                        <a:pt x="31" y="106"/>
                      </a:lnTo>
                      <a:lnTo>
                        <a:pt x="31" y="99"/>
                      </a:lnTo>
                      <a:lnTo>
                        <a:pt x="31" y="99"/>
                      </a:lnTo>
                      <a:lnTo>
                        <a:pt x="28" y="99"/>
                      </a:lnTo>
                      <a:lnTo>
                        <a:pt x="26" y="99"/>
                      </a:lnTo>
                      <a:lnTo>
                        <a:pt x="26" y="99"/>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1" name="Freeform 106">
                  <a:extLst>
                    <a:ext uri="{FF2B5EF4-FFF2-40B4-BE49-F238E27FC236}">
                      <a16:creationId xmlns:a16="http://schemas.microsoft.com/office/drawing/2014/main" id="{AA70297A-0D87-438E-CD22-074348EBC3CC}"/>
                    </a:ext>
                  </a:extLst>
                </p:cNvPr>
                <p:cNvSpPr>
                  <a:spLocks/>
                </p:cNvSpPr>
                <p:nvPr/>
              </p:nvSpPr>
              <p:spPr bwMode="auto">
                <a:xfrm>
                  <a:off x="3066" y="2412"/>
                  <a:ext cx="75" cy="62"/>
                </a:xfrm>
                <a:custGeom>
                  <a:avLst/>
                  <a:gdLst>
                    <a:gd name="T0" fmla="*/ 64 w 75"/>
                    <a:gd name="T1" fmla="*/ 57 h 62"/>
                    <a:gd name="T2" fmla="*/ 61 w 75"/>
                    <a:gd name="T3" fmla="*/ 57 h 62"/>
                    <a:gd name="T4" fmla="*/ 59 w 75"/>
                    <a:gd name="T5" fmla="*/ 53 h 62"/>
                    <a:gd name="T6" fmla="*/ 54 w 75"/>
                    <a:gd name="T7" fmla="*/ 50 h 62"/>
                    <a:gd name="T8" fmla="*/ 52 w 75"/>
                    <a:gd name="T9" fmla="*/ 45 h 62"/>
                    <a:gd name="T10" fmla="*/ 47 w 75"/>
                    <a:gd name="T11" fmla="*/ 45 h 62"/>
                    <a:gd name="T12" fmla="*/ 45 w 75"/>
                    <a:gd name="T13" fmla="*/ 43 h 62"/>
                    <a:gd name="T14" fmla="*/ 38 w 75"/>
                    <a:gd name="T15" fmla="*/ 41 h 62"/>
                    <a:gd name="T16" fmla="*/ 33 w 75"/>
                    <a:gd name="T17" fmla="*/ 38 h 62"/>
                    <a:gd name="T18" fmla="*/ 33 w 75"/>
                    <a:gd name="T19" fmla="*/ 38 h 62"/>
                    <a:gd name="T20" fmla="*/ 26 w 75"/>
                    <a:gd name="T21" fmla="*/ 36 h 62"/>
                    <a:gd name="T22" fmla="*/ 23 w 75"/>
                    <a:gd name="T23" fmla="*/ 36 h 62"/>
                    <a:gd name="T24" fmla="*/ 19 w 75"/>
                    <a:gd name="T25" fmla="*/ 38 h 62"/>
                    <a:gd name="T26" fmla="*/ 14 w 75"/>
                    <a:gd name="T27" fmla="*/ 36 h 62"/>
                    <a:gd name="T28" fmla="*/ 12 w 75"/>
                    <a:gd name="T29" fmla="*/ 34 h 62"/>
                    <a:gd name="T30" fmla="*/ 7 w 75"/>
                    <a:gd name="T31" fmla="*/ 41 h 62"/>
                    <a:gd name="T32" fmla="*/ 2 w 75"/>
                    <a:gd name="T33" fmla="*/ 41 h 62"/>
                    <a:gd name="T34" fmla="*/ 0 w 75"/>
                    <a:gd name="T35" fmla="*/ 38 h 62"/>
                    <a:gd name="T36" fmla="*/ 0 w 75"/>
                    <a:gd name="T37" fmla="*/ 31 h 62"/>
                    <a:gd name="T38" fmla="*/ 0 w 75"/>
                    <a:gd name="T39" fmla="*/ 29 h 62"/>
                    <a:gd name="T40" fmla="*/ 4 w 75"/>
                    <a:gd name="T41" fmla="*/ 22 h 62"/>
                    <a:gd name="T42" fmla="*/ 4 w 75"/>
                    <a:gd name="T43" fmla="*/ 17 h 62"/>
                    <a:gd name="T44" fmla="*/ 4 w 75"/>
                    <a:gd name="T45" fmla="*/ 15 h 62"/>
                    <a:gd name="T46" fmla="*/ 4 w 75"/>
                    <a:gd name="T47" fmla="*/ 12 h 62"/>
                    <a:gd name="T48" fmla="*/ 9 w 75"/>
                    <a:gd name="T49" fmla="*/ 10 h 62"/>
                    <a:gd name="T50" fmla="*/ 9 w 75"/>
                    <a:gd name="T51" fmla="*/ 8 h 62"/>
                    <a:gd name="T52" fmla="*/ 12 w 75"/>
                    <a:gd name="T53" fmla="*/ 8 h 62"/>
                    <a:gd name="T54" fmla="*/ 16 w 75"/>
                    <a:gd name="T55" fmla="*/ 5 h 62"/>
                    <a:gd name="T56" fmla="*/ 19 w 75"/>
                    <a:gd name="T57" fmla="*/ 5 h 62"/>
                    <a:gd name="T58" fmla="*/ 21 w 75"/>
                    <a:gd name="T59" fmla="*/ 0 h 62"/>
                    <a:gd name="T60" fmla="*/ 23 w 75"/>
                    <a:gd name="T61" fmla="*/ 3 h 62"/>
                    <a:gd name="T62" fmla="*/ 30 w 75"/>
                    <a:gd name="T63" fmla="*/ 22 h 62"/>
                    <a:gd name="T64" fmla="*/ 33 w 75"/>
                    <a:gd name="T65" fmla="*/ 27 h 62"/>
                    <a:gd name="T66" fmla="*/ 33 w 75"/>
                    <a:gd name="T67" fmla="*/ 27 h 62"/>
                    <a:gd name="T68" fmla="*/ 35 w 75"/>
                    <a:gd name="T69" fmla="*/ 31 h 62"/>
                    <a:gd name="T70" fmla="*/ 38 w 75"/>
                    <a:gd name="T71" fmla="*/ 29 h 62"/>
                    <a:gd name="T72" fmla="*/ 35 w 75"/>
                    <a:gd name="T73" fmla="*/ 27 h 62"/>
                    <a:gd name="T74" fmla="*/ 40 w 75"/>
                    <a:gd name="T75" fmla="*/ 29 h 62"/>
                    <a:gd name="T76" fmla="*/ 40 w 75"/>
                    <a:gd name="T77" fmla="*/ 34 h 62"/>
                    <a:gd name="T78" fmla="*/ 42 w 75"/>
                    <a:gd name="T79" fmla="*/ 34 h 62"/>
                    <a:gd name="T80" fmla="*/ 45 w 75"/>
                    <a:gd name="T81" fmla="*/ 34 h 62"/>
                    <a:gd name="T82" fmla="*/ 49 w 75"/>
                    <a:gd name="T83" fmla="*/ 36 h 62"/>
                    <a:gd name="T84" fmla="*/ 52 w 75"/>
                    <a:gd name="T85" fmla="*/ 38 h 62"/>
                    <a:gd name="T86" fmla="*/ 56 w 75"/>
                    <a:gd name="T87" fmla="*/ 43 h 62"/>
                    <a:gd name="T88" fmla="*/ 61 w 75"/>
                    <a:gd name="T89" fmla="*/ 45 h 62"/>
                    <a:gd name="T90" fmla="*/ 64 w 75"/>
                    <a:gd name="T91" fmla="*/ 48 h 62"/>
                    <a:gd name="T92" fmla="*/ 66 w 75"/>
                    <a:gd name="T93" fmla="*/ 48 h 62"/>
                    <a:gd name="T94" fmla="*/ 68 w 75"/>
                    <a:gd name="T95" fmla="*/ 53 h 62"/>
                    <a:gd name="T96" fmla="*/ 68 w 75"/>
                    <a:gd name="T97" fmla="*/ 55 h 62"/>
                    <a:gd name="T98" fmla="*/ 71 w 75"/>
                    <a:gd name="T99" fmla="*/ 57 h 62"/>
                    <a:gd name="T100" fmla="*/ 73 w 75"/>
                    <a:gd name="T101" fmla="*/ 57 h 62"/>
                    <a:gd name="T102" fmla="*/ 75 w 75"/>
                    <a:gd name="T103" fmla="*/ 57 h 62"/>
                    <a:gd name="T104" fmla="*/ 71 w 75"/>
                    <a:gd name="T105" fmla="*/ 60 h 62"/>
                    <a:gd name="T106" fmla="*/ 68 w 75"/>
                    <a:gd name="T107"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5" h="62">
                      <a:moveTo>
                        <a:pt x="68" y="62"/>
                      </a:moveTo>
                      <a:lnTo>
                        <a:pt x="64" y="57"/>
                      </a:lnTo>
                      <a:lnTo>
                        <a:pt x="64" y="57"/>
                      </a:lnTo>
                      <a:lnTo>
                        <a:pt x="61" y="57"/>
                      </a:lnTo>
                      <a:lnTo>
                        <a:pt x="61" y="55"/>
                      </a:lnTo>
                      <a:lnTo>
                        <a:pt x="59" y="53"/>
                      </a:lnTo>
                      <a:lnTo>
                        <a:pt x="56" y="53"/>
                      </a:lnTo>
                      <a:lnTo>
                        <a:pt x="54" y="50"/>
                      </a:lnTo>
                      <a:lnTo>
                        <a:pt x="52" y="48"/>
                      </a:lnTo>
                      <a:lnTo>
                        <a:pt x="52" y="45"/>
                      </a:lnTo>
                      <a:lnTo>
                        <a:pt x="49" y="45"/>
                      </a:lnTo>
                      <a:lnTo>
                        <a:pt x="47" y="45"/>
                      </a:lnTo>
                      <a:lnTo>
                        <a:pt x="45" y="45"/>
                      </a:lnTo>
                      <a:lnTo>
                        <a:pt x="45" y="43"/>
                      </a:lnTo>
                      <a:lnTo>
                        <a:pt x="40" y="41"/>
                      </a:lnTo>
                      <a:lnTo>
                        <a:pt x="38" y="41"/>
                      </a:lnTo>
                      <a:lnTo>
                        <a:pt x="35" y="38"/>
                      </a:lnTo>
                      <a:lnTo>
                        <a:pt x="33" y="38"/>
                      </a:lnTo>
                      <a:lnTo>
                        <a:pt x="33" y="38"/>
                      </a:lnTo>
                      <a:lnTo>
                        <a:pt x="33" y="38"/>
                      </a:lnTo>
                      <a:lnTo>
                        <a:pt x="28" y="36"/>
                      </a:lnTo>
                      <a:lnTo>
                        <a:pt x="26" y="36"/>
                      </a:lnTo>
                      <a:lnTo>
                        <a:pt x="26" y="36"/>
                      </a:lnTo>
                      <a:lnTo>
                        <a:pt x="23" y="36"/>
                      </a:lnTo>
                      <a:lnTo>
                        <a:pt x="21" y="36"/>
                      </a:lnTo>
                      <a:lnTo>
                        <a:pt x="19" y="38"/>
                      </a:lnTo>
                      <a:lnTo>
                        <a:pt x="16" y="38"/>
                      </a:lnTo>
                      <a:lnTo>
                        <a:pt x="14" y="36"/>
                      </a:lnTo>
                      <a:lnTo>
                        <a:pt x="12" y="36"/>
                      </a:lnTo>
                      <a:lnTo>
                        <a:pt x="12" y="34"/>
                      </a:lnTo>
                      <a:lnTo>
                        <a:pt x="9" y="41"/>
                      </a:lnTo>
                      <a:lnTo>
                        <a:pt x="7" y="41"/>
                      </a:lnTo>
                      <a:lnTo>
                        <a:pt x="4" y="41"/>
                      </a:lnTo>
                      <a:lnTo>
                        <a:pt x="2" y="41"/>
                      </a:lnTo>
                      <a:lnTo>
                        <a:pt x="2" y="41"/>
                      </a:lnTo>
                      <a:lnTo>
                        <a:pt x="0" y="38"/>
                      </a:lnTo>
                      <a:lnTo>
                        <a:pt x="0" y="34"/>
                      </a:lnTo>
                      <a:lnTo>
                        <a:pt x="0" y="31"/>
                      </a:lnTo>
                      <a:lnTo>
                        <a:pt x="0" y="31"/>
                      </a:lnTo>
                      <a:lnTo>
                        <a:pt x="0" y="29"/>
                      </a:lnTo>
                      <a:lnTo>
                        <a:pt x="2" y="27"/>
                      </a:lnTo>
                      <a:lnTo>
                        <a:pt x="4" y="22"/>
                      </a:lnTo>
                      <a:lnTo>
                        <a:pt x="4" y="17"/>
                      </a:lnTo>
                      <a:lnTo>
                        <a:pt x="4" y="17"/>
                      </a:lnTo>
                      <a:lnTo>
                        <a:pt x="4" y="17"/>
                      </a:lnTo>
                      <a:lnTo>
                        <a:pt x="4" y="15"/>
                      </a:lnTo>
                      <a:lnTo>
                        <a:pt x="4" y="12"/>
                      </a:lnTo>
                      <a:lnTo>
                        <a:pt x="4" y="12"/>
                      </a:lnTo>
                      <a:lnTo>
                        <a:pt x="7" y="10"/>
                      </a:lnTo>
                      <a:lnTo>
                        <a:pt x="9" y="10"/>
                      </a:lnTo>
                      <a:lnTo>
                        <a:pt x="9" y="10"/>
                      </a:lnTo>
                      <a:lnTo>
                        <a:pt x="9" y="8"/>
                      </a:lnTo>
                      <a:lnTo>
                        <a:pt x="9" y="8"/>
                      </a:lnTo>
                      <a:lnTo>
                        <a:pt x="12" y="8"/>
                      </a:lnTo>
                      <a:lnTo>
                        <a:pt x="12" y="5"/>
                      </a:lnTo>
                      <a:lnTo>
                        <a:pt x="16" y="5"/>
                      </a:lnTo>
                      <a:lnTo>
                        <a:pt x="16" y="5"/>
                      </a:lnTo>
                      <a:lnTo>
                        <a:pt x="19" y="5"/>
                      </a:lnTo>
                      <a:lnTo>
                        <a:pt x="21" y="3"/>
                      </a:lnTo>
                      <a:lnTo>
                        <a:pt x="21" y="0"/>
                      </a:lnTo>
                      <a:lnTo>
                        <a:pt x="21" y="0"/>
                      </a:lnTo>
                      <a:lnTo>
                        <a:pt x="23" y="3"/>
                      </a:lnTo>
                      <a:lnTo>
                        <a:pt x="28" y="15"/>
                      </a:lnTo>
                      <a:lnTo>
                        <a:pt x="30" y="22"/>
                      </a:lnTo>
                      <a:lnTo>
                        <a:pt x="30" y="22"/>
                      </a:lnTo>
                      <a:lnTo>
                        <a:pt x="33" y="27"/>
                      </a:lnTo>
                      <a:lnTo>
                        <a:pt x="33" y="27"/>
                      </a:lnTo>
                      <a:lnTo>
                        <a:pt x="33" y="27"/>
                      </a:lnTo>
                      <a:lnTo>
                        <a:pt x="35" y="29"/>
                      </a:lnTo>
                      <a:lnTo>
                        <a:pt x="35" y="31"/>
                      </a:lnTo>
                      <a:lnTo>
                        <a:pt x="38" y="34"/>
                      </a:lnTo>
                      <a:lnTo>
                        <a:pt x="38" y="29"/>
                      </a:lnTo>
                      <a:lnTo>
                        <a:pt x="35" y="29"/>
                      </a:lnTo>
                      <a:lnTo>
                        <a:pt x="35" y="27"/>
                      </a:lnTo>
                      <a:lnTo>
                        <a:pt x="38" y="27"/>
                      </a:lnTo>
                      <a:lnTo>
                        <a:pt x="40" y="29"/>
                      </a:lnTo>
                      <a:lnTo>
                        <a:pt x="38" y="31"/>
                      </a:lnTo>
                      <a:lnTo>
                        <a:pt x="40" y="34"/>
                      </a:lnTo>
                      <a:lnTo>
                        <a:pt x="42" y="34"/>
                      </a:lnTo>
                      <a:lnTo>
                        <a:pt x="42" y="34"/>
                      </a:lnTo>
                      <a:lnTo>
                        <a:pt x="45" y="34"/>
                      </a:lnTo>
                      <a:lnTo>
                        <a:pt x="45" y="34"/>
                      </a:lnTo>
                      <a:lnTo>
                        <a:pt x="47" y="34"/>
                      </a:lnTo>
                      <a:lnTo>
                        <a:pt x="49" y="36"/>
                      </a:lnTo>
                      <a:lnTo>
                        <a:pt x="49" y="36"/>
                      </a:lnTo>
                      <a:lnTo>
                        <a:pt x="52" y="38"/>
                      </a:lnTo>
                      <a:lnTo>
                        <a:pt x="54" y="38"/>
                      </a:lnTo>
                      <a:lnTo>
                        <a:pt x="56" y="43"/>
                      </a:lnTo>
                      <a:lnTo>
                        <a:pt x="59" y="45"/>
                      </a:lnTo>
                      <a:lnTo>
                        <a:pt x="61" y="45"/>
                      </a:lnTo>
                      <a:lnTo>
                        <a:pt x="64" y="48"/>
                      </a:lnTo>
                      <a:lnTo>
                        <a:pt x="64" y="48"/>
                      </a:lnTo>
                      <a:lnTo>
                        <a:pt x="64" y="48"/>
                      </a:lnTo>
                      <a:lnTo>
                        <a:pt x="66" y="48"/>
                      </a:lnTo>
                      <a:lnTo>
                        <a:pt x="66" y="53"/>
                      </a:lnTo>
                      <a:lnTo>
                        <a:pt x="68" y="53"/>
                      </a:lnTo>
                      <a:lnTo>
                        <a:pt x="71" y="55"/>
                      </a:lnTo>
                      <a:lnTo>
                        <a:pt x="68" y="55"/>
                      </a:lnTo>
                      <a:lnTo>
                        <a:pt x="71" y="57"/>
                      </a:lnTo>
                      <a:lnTo>
                        <a:pt x="71" y="57"/>
                      </a:lnTo>
                      <a:lnTo>
                        <a:pt x="73" y="57"/>
                      </a:lnTo>
                      <a:lnTo>
                        <a:pt x="73" y="57"/>
                      </a:lnTo>
                      <a:lnTo>
                        <a:pt x="73" y="57"/>
                      </a:lnTo>
                      <a:lnTo>
                        <a:pt x="75" y="57"/>
                      </a:lnTo>
                      <a:lnTo>
                        <a:pt x="73" y="60"/>
                      </a:lnTo>
                      <a:lnTo>
                        <a:pt x="71" y="60"/>
                      </a:lnTo>
                      <a:lnTo>
                        <a:pt x="71" y="62"/>
                      </a:lnTo>
                      <a:lnTo>
                        <a:pt x="68" y="62"/>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2" name="Freeform 107">
                  <a:extLst>
                    <a:ext uri="{FF2B5EF4-FFF2-40B4-BE49-F238E27FC236}">
                      <a16:creationId xmlns:a16="http://schemas.microsoft.com/office/drawing/2014/main" id="{1DFA3C60-9D35-54F3-E857-5134CB30F919}"/>
                    </a:ext>
                  </a:extLst>
                </p:cNvPr>
                <p:cNvSpPr>
                  <a:spLocks/>
                </p:cNvSpPr>
                <p:nvPr/>
              </p:nvSpPr>
              <p:spPr bwMode="auto">
                <a:xfrm>
                  <a:off x="3127" y="2469"/>
                  <a:ext cx="17" cy="19"/>
                </a:xfrm>
                <a:custGeom>
                  <a:avLst/>
                  <a:gdLst>
                    <a:gd name="T0" fmla="*/ 12 w 17"/>
                    <a:gd name="T1" fmla="*/ 19 h 19"/>
                    <a:gd name="T2" fmla="*/ 10 w 17"/>
                    <a:gd name="T3" fmla="*/ 17 h 19"/>
                    <a:gd name="T4" fmla="*/ 7 w 17"/>
                    <a:gd name="T5" fmla="*/ 19 h 19"/>
                    <a:gd name="T6" fmla="*/ 5 w 17"/>
                    <a:gd name="T7" fmla="*/ 19 h 19"/>
                    <a:gd name="T8" fmla="*/ 0 w 17"/>
                    <a:gd name="T9" fmla="*/ 19 h 19"/>
                    <a:gd name="T10" fmla="*/ 0 w 17"/>
                    <a:gd name="T11" fmla="*/ 19 h 19"/>
                    <a:gd name="T12" fmla="*/ 3 w 17"/>
                    <a:gd name="T13" fmla="*/ 17 h 19"/>
                    <a:gd name="T14" fmla="*/ 3 w 17"/>
                    <a:gd name="T15" fmla="*/ 15 h 19"/>
                    <a:gd name="T16" fmla="*/ 3 w 17"/>
                    <a:gd name="T17" fmla="*/ 12 h 19"/>
                    <a:gd name="T18" fmla="*/ 3 w 17"/>
                    <a:gd name="T19" fmla="*/ 10 h 19"/>
                    <a:gd name="T20" fmla="*/ 3 w 17"/>
                    <a:gd name="T21" fmla="*/ 7 h 19"/>
                    <a:gd name="T22" fmla="*/ 5 w 17"/>
                    <a:gd name="T23" fmla="*/ 5 h 19"/>
                    <a:gd name="T24" fmla="*/ 10 w 17"/>
                    <a:gd name="T25" fmla="*/ 5 h 19"/>
                    <a:gd name="T26" fmla="*/ 10 w 17"/>
                    <a:gd name="T27" fmla="*/ 3 h 19"/>
                    <a:gd name="T28" fmla="*/ 12 w 17"/>
                    <a:gd name="T29" fmla="*/ 3 h 19"/>
                    <a:gd name="T30" fmla="*/ 14 w 17"/>
                    <a:gd name="T31" fmla="*/ 0 h 19"/>
                    <a:gd name="T32" fmla="*/ 14 w 17"/>
                    <a:gd name="T33" fmla="*/ 0 h 19"/>
                    <a:gd name="T34" fmla="*/ 14 w 17"/>
                    <a:gd name="T35" fmla="*/ 3 h 19"/>
                    <a:gd name="T36" fmla="*/ 17 w 17"/>
                    <a:gd name="T37" fmla="*/ 5 h 19"/>
                    <a:gd name="T38" fmla="*/ 17 w 17"/>
                    <a:gd name="T39" fmla="*/ 5 h 19"/>
                    <a:gd name="T40" fmla="*/ 17 w 17"/>
                    <a:gd name="T41" fmla="*/ 5 h 19"/>
                    <a:gd name="T42" fmla="*/ 17 w 17"/>
                    <a:gd name="T43" fmla="*/ 7 h 19"/>
                    <a:gd name="T44" fmla="*/ 17 w 17"/>
                    <a:gd name="T45" fmla="*/ 7 h 19"/>
                    <a:gd name="T46" fmla="*/ 14 w 17"/>
                    <a:gd name="T47" fmla="*/ 10 h 19"/>
                    <a:gd name="T48" fmla="*/ 12 w 17"/>
                    <a:gd name="T49" fmla="*/ 10 h 19"/>
                    <a:gd name="T50" fmla="*/ 12 w 17"/>
                    <a:gd name="T51" fmla="*/ 12 h 19"/>
                    <a:gd name="T52" fmla="*/ 10 w 17"/>
                    <a:gd name="T53" fmla="*/ 12 h 19"/>
                    <a:gd name="T54" fmla="*/ 10 w 17"/>
                    <a:gd name="T55" fmla="*/ 15 h 19"/>
                    <a:gd name="T56" fmla="*/ 10 w 17"/>
                    <a:gd name="T57" fmla="*/ 15 h 19"/>
                    <a:gd name="T58" fmla="*/ 12 w 17"/>
                    <a:gd name="T59" fmla="*/ 12 h 19"/>
                    <a:gd name="T60" fmla="*/ 14 w 17"/>
                    <a:gd name="T61" fmla="*/ 12 h 19"/>
                    <a:gd name="T62" fmla="*/ 17 w 17"/>
                    <a:gd name="T63" fmla="*/ 15 h 19"/>
                    <a:gd name="T64" fmla="*/ 12 w 17"/>
                    <a:gd name="T65" fmla="*/ 19 h 19"/>
                    <a:gd name="T66" fmla="*/ 12 w 17"/>
                    <a:gd name="T67"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 h="19">
                      <a:moveTo>
                        <a:pt x="12" y="19"/>
                      </a:moveTo>
                      <a:lnTo>
                        <a:pt x="10" y="17"/>
                      </a:lnTo>
                      <a:lnTo>
                        <a:pt x="7" y="19"/>
                      </a:lnTo>
                      <a:lnTo>
                        <a:pt x="5" y="19"/>
                      </a:lnTo>
                      <a:lnTo>
                        <a:pt x="0" y="19"/>
                      </a:lnTo>
                      <a:lnTo>
                        <a:pt x="0" y="19"/>
                      </a:lnTo>
                      <a:lnTo>
                        <a:pt x="3" y="17"/>
                      </a:lnTo>
                      <a:lnTo>
                        <a:pt x="3" y="15"/>
                      </a:lnTo>
                      <a:lnTo>
                        <a:pt x="3" y="12"/>
                      </a:lnTo>
                      <a:lnTo>
                        <a:pt x="3" y="10"/>
                      </a:lnTo>
                      <a:lnTo>
                        <a:pt x="3" y="7"/>
                      </a:lnTo>
                      <a:lnTo>
                        <a:pt x="5" y="5"/>
                      </a:lnTo>
                      <a:lnTo>
                        <a:pt x="10" y="5"/>
                      </a:lnTo>
                      <a:lnTo>
                        <a:pt x="10" y="3"/>
                      </a:lnTo>
                      <a:lnTo>
                        <a:pt x="12" y="3"/>
                      </a:lnTo>
                      <a:lnTo>
                        <a:pt x="14" y="0"/>
                      </a:lnTo>
                      <a:lnTo>
                        <a:pt x="14" y="0"/>
                      </a:lnTo>
                      <a:lnTo>
                        <a:pt x="14" y="3"/>
                      </a:lnTo>
                      <a:lnTo>
                        <a:pt x="17" y="5"/>
                      </a:lnTo>
                      <a:lnTo>
                        <a:pt x="17" y="5"/>
                      </a:lnTo>
                      <a:lnTo>
                        <a:pt x="17" y="5"/>
                      </a:lnTo>
                      <a:lnTo>
                        <a:pt x="17" y="7"/>
                      </a:lnTo>
                      <a:lnTo>
                        <a:pt x="17" y="7"/>
                      </a:lnTo>
                      <a:lnTo>
                        <a:pt x="14" y="10"/>
                      </a:lnTo>
                      <a:lnTo>
                        <a:pt x="12" y="10"/>
                      </a:lnTo>
                      <a:lnTo>
                        <a:pt x="12" y="12"/>
                      </a:lnTo>
                      <a:lnTo>
                        <a:pt x="10" y="12"/>
                      </a:lnTo>
                      <a:lnTo>
                        <a:pt x="10" y="15"/>
                      </a:lnTo>
                      <a:lnTo>
                        <a:pt x="10" y="15"/>
                      </a:lnTo>
                      <a:lnTo>
                        <a:pt x="12" y="12"/>
                      </a:lnTo>
                      <a:lnTo>
                        <a:pt x="14" y="12"/>
                      </a:lnTo>
                      <a:lnTo>
                        <a:pt x="17" y="15"/>
                      </a:lnTo>
                      <a:lnTo>
                        <a:pt x="12" y="19"/>
                      </a:lnTo>
                      <a:lnTo>
                        <a:pt x="12" y="19"/>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3" name="Freeform 108">
                  <a:extLst>
                    <a:ext uri="{FF2B5EF4-FFF2-40B4-BE49-F238E27FC236}">
                      <a16:creationId xmlns:a16="http://schemas.microsoft.com/office/drawing/2014/main" id="{1165EC04-A270-17A7-260B-44B51B422518}"/>
                    </a:ext>
                  </a:extLst>
                </p:cNvPr>
                <p:cNvSpPr>
                  <a:spLocks/>
                </p:cNvSpPr>
                <p:nvPr/>
              </p:nvSpPr>
              <p:spPr bwMode="auto">
                <a:xfrm>
                  <a:off x="3120" y="2479"/>
                  <a:ext cx="116" cy="137"/>
                </a:xfrm>
                <a:custGeom>
                  <a:avLst/>
                  <a:gdLst>
                    <a:gd name="T0" fmla="*/ 12 w 116"/>
                    <a:gd name="T1" fmla="*/ 80 h 137"/>
                    <a:gd name="T2" fmla="*/ 21 w 116"/>
                    <a:gd name="T3" fmla="*/ 76 h 137"/>
                    <a:gd name="T4" fmla="*/ 26 w 116"/>
                    <a:gd name="T5" fmla="*/ 71 h 137"/>
                    <a:gd name="T6" fmla="*/ 38 w 116"/>
                    <a:gd name="T7" fmla="*/ 71 h 137"/>
                    <a:gd name="T8" fmla="*/ 66 w 116"/>
                    <a:gd name="T9" fmla="*/ 38 h 137"/>
                    <a:gd name="T10" fmla="*/ 26 w 116"/>
                    <a:gd name="T11" fmla="*/ 26 h 137"/>
                    <a:gd name="T12" fmla="*/ 21 w 116"/>
                    <a:gd name="T13" fmla="*/ 19 h 137"/>
                    <a:gd name="T14" fmla="*/ 19 w 116"/>
                    <a:gd name="T15" fmla="*/ 9 h 137"/>
                    <a:gd name="T16" fmla="*/ 24 w 116"/>
                    <a:gd name="T17" fmla="*/ 5 h 137"/>
                    <a:gd name="T18" fmla="*/ 33 w 116"/>
                    <a:gd name="T19" fmla="*/ 14 h 137"/>
                    <a:gd name="T20" fmla="*/ 43 w 116"/>
                    <a:gd name="T21" fmla="*/ 16 h 137"/>
                    <a:gd name="T22" fmla="*/ 47 w 116"/>
                    <a:gd name="T23" fmla="*/ 14 h 137"/>
                    <a:gd name="T24" fmla="*/ 52 w 116"/>
                    <a:gd name="T25" fmla="*/ 12 h 137"/>
                    <a:gd name="T26" fmla="*/ 59 w 116"/>
                    <a:gd name="T27" fmla="*/ 12 h 137"/>
                    <a:gd name="T28" fmla="*/ 71 w 116"/>
                    <a:gd name="T29" fmla="*/ 7 h 137"/>
                    <a:gd name="T30" fmla="*/ 78 w 116"/>
                    <a:gd name="T31" fmla="*/ 7 h 137"/>
                    <a:gd name="T32" fmla="*/ 88 w 116"/>
                    <a:gd name="T33" fmla="*/ 7 h 137"/>
                    <a:gd name="T34" fmla="*/ 95 w 116"/>
                    <a:gd name="T35" fmla="*/ 5 h 137"/>
                    <a:gd name="T36" fmla="*/ 100 w 116"/>
                    <a:gd name="T37" fmla="*/ 5 h 137"/>
                    <a:gd name="T38" fmla="*/ 107 w 116"/>
                    <a:gd name="T39" fmla="*/ 2 h 137"/>
                    <a:gd name="T40" fmla="*/ 109 w 116"/>
                    <a:gd name="T41" fmla="*/ 0 h 137"/>
                    <a:gd name="T42" fmla="*/ 109 w 116"/>
                    <a:gd name="T43" fmla="*/ 0 h 137"/>
                    <a:gd name="T44" fmla="*/ 114 w 116"/>
                    <a:gd name="T45" fmla="*/ 0 h 137"/>
                    <a:gd name="T46" fmla="*/ 114 w 116"/>
                    <a:gd name="T47" fmla="*/ 5 h 137"/>
                    <a:gd name="T48" fmla="*/ 114 w 116"/>
                    <a:gd name="T49" fmla="*/ 7 h 137"/>
                    <a:gd name="T50" fmla="*/ 111 w 116"/>
                    <a:gd name="T51" fmla="*/ 12 h 137"/>
                    <a:gd name="T52" fmla="*/ 114 w 116"/>
                    <a:gd name="T53" fmla="*/ 16 h 137"/>
                    <a:gd name="T54" fmla="*/ 114 w 116"/>
                    <a:gd name="T55" fmla="*/ 14 h 137"/>
                    <a:gd name="T56" fmla="*/ 114 w 116"/>
                    <a:gd name="T57" fmla="*/ 16 h 137"/>
                    <a:gd name="T58" fmla="*/ 111 w 116"/>
                    <a:gd name="T59" fmla="*/ 19 h 137"/>
                    <a:gd name="T60" fmla="*/ 109 w 116"/>
                    <a:gd name="T61" fmla="*/ 23 h 137"/>
                    <a:gd name="T62" fmla="*/ 104 w 116"/>
                    <a:gd name="T63" fmla="*/ 38 h 137"/>
                    <a:gd name="T64" fmla="*/ 100 w 116"/>
                    <a:gd name="T65" fmla="*/ 40 h 137"/>
                    <a:gd name="T66" fmla="*/ 97 w 116"/>
                    <a:gd name="T67" fmla="*/ 45 h 137"/>
                    <a:gd name="T68" fmla="*/ 88 w 116"/>
                    <a:gd name="T69" fmla="*/ 64 h 137"/>
                    <a:gd name="T70" fmla="*/ 78 w 116"/>
                    <a:gd name="T71" fmla="*/ 78 h 137"/>
                    <a:gd name="T72" fmla="*/ 57 w 116"/>
                    <a:gd name="T73" fmla="*/ 97 h 137"/>
                    <a:gd name="T74" fmla="*/ 45 w 116"/>
                    <a:gd name="T75" fmla="*/ 104 h 137"/>
                    <a:gd name="T76" fmla="*/ 31 w 116"/>
                    <a:gd name="T77" fmla="*/ 114 h 137"/>
                    <a:gd name="T78" fmla="*/ 21 w 116"/>
                    <a:gd name="T79" fmla="*/ 123 h 137"/>
                    <a:gd name="T80" fmla="*/ 17 w 116"/>
                    <a:gd name="T81" fmla="*/ 128 h 137"/>
                    <a:gd name="T82" fmla="*/ 0 w 116"/>
                    <a:gd name="T83" fmla="*/ 130 h 137"/>
                    <a:gd name="T84" fmla="*/ 10 w 116"/>
                    <a:gd name="T85" fmla="*/ 80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16" h="137">
                      <a:moveTo>
                        <a:pt x="10" y="80"/>
                      </a:moveTo>
                      <a:lnTo>
                        <a:pt x="10" y="80"/>
                      </a:lnTo>
                      <a:lnTo>
                        <a:pt x="12" y="80"/>
                      </a:lnTo>
                      <a:lnTo>
                        <a:pt x="14" y="78"/>
                      </a:lnTo>
                      <a:lnTo>
                        <a:pt x="19" y="78"/>
                      </a:lnTo>
                      <a:lnTo>
                        <a:pt x="21" y="76"/>
                      </a:lnTo>
                      <a:lnTo>
                        <a:pt x="24" y="76"/>
                      </a:lnTo>
                      <a:lnTo>
                        <a:pt x="24" y="73"/>
                      </a:lnTo>
                      <a:lnTo>
                        <a:pt x="26" y="71"/>
                      </a:lnTo>
                      <a:lnTo>
                        <a:pt x="29" y="71"/>
                      </a:lnTo>
                      <a:lnTo>
                        <a:pt x="31" y="71"/>
                      </a:lnTo>
                      <a:lnTo>
                        <a:pt x="38" y="71"/>
                      </a:lnTo>
                      <a:lnTo>
                        <a:pt x="45" y="71"/>
                      </a:lnTo>
                      <a:lnTo>
                        <a:pt x="81" y="38"/>
                      </a:lnTo>
                      <a:lnTo>
                        <a:pt x="66" y="38"/>
                      </a:lnTo>
                      <a:lnTo>
                        <a:pt x="33" y="31"/>
                      </a:lnTo>
                      <a:lnTo>
                        <a:pt x="31" y="28"/>
                      </a:lnTo>
                      <a:lnTo>
                        <a:pt x="26" y="26"/>
                      </a:lnTo>
                      <a:lnTo>
                        <a:pt x="24" y="23"/>
                      </a:lnTo>
                      <a:lnTo>
                        <a:pt x="24" y="21"/>
                      </a:lnTo>
                      <a:lnTo>
                        <a:pt x="21" y="19"/>
                      </a:lnTo>
                      <a:lnTo>
                        <a:pt x="19" y="14"/>
                      </a:lnTo>
                      <a:lnTo>
                        <a:pt x="19" y="9"/>
                      </a:lnTo>
                      <a:lnTo>
                        <a:pt x="19" y="9"/>
                      </a:lnTo>
                      <a:lnTo>
                        <a:pt x="24" y="5"/>
                      </a:lnTo>
                      <a:lnTo>
                        <a:pt x="24" y="5"/>
                      </a:lnTo>
                      <a:lnTo>
                        <a:pt x="24" y="5"/>
                      </a:lnTo>
                      <a:lnTo>
                        <a:pt x="31" y="12"/>
                      </a:lnTo>
                      <a:lnTo>
                        <a:pt x="31" y="14"/>
                      </a:lnTo>
                      <a:lnTo>
                        <a:pt x="33" y="14"/>
                      </a:lnTo>
                      <a:lnTo>
                        <a:pt x="36" y="16"/>
                      </a:lnTo>
                      <a:lnTo>
                        <a:pt x="38" y="16"/>
                      </a:lnTo>
                      <a:lnTo>
                        <a:pt x="43" y="16"/>
                      </a:lnTo>
                      <a:lnTo>
                        <a:pt x="43" y="16"/>
                      </a:lnTo>
                      <a:lnTo>
                        <a:pt x="45" y="14"/>
                      </a:lnTo>
                      <a:lnTo>
                        <a:pt x="47" y="14"/>
                      </a:lnTo>
                      <a:lnTo>
                        <a:pt x="52" y="12"/>
                      </a:lnTo>
                      <a:lnTo>
                        <a:pt x="52" y="12"/>
                      </a:lnTo>
                      <a:lnTo>
                        <a:pt x="52" y="12"/>
                      </a:lnTo>
                      <a:lnTo>
                        <a:pt x="57" y="12"/>
                      </a:lnTo>
                      <a:lnTo>
                        <a:pt x="57" y="12"/>
                      </a:lnTo>
                      <a:lnTo>
                        <a:pt x="59" y="12"/>
                      </a:lnTo>
                      <a:lnTo>
                        <a:pt x="62" y="12"/>
                      </a:lnTo>
                      <a:lnTo>
                        <a:pt x="69" y="7"/>
                      </a:lnTo>
                      <a:lnTo>
                        <a:pt x="71" y="7"/>
                      </a:lnTo>
                      <a:lnTo>
                        <a:pt x="73" y="9"/>
                      </a:lnTo>
                      <a:lnTo>
                        <a:pt x="76" y="7"/>
                      </a:lnTo>
                      <a:lnTo>
                        <a:pt x="78" y="7"/>
                      </a:lnTo>
                      <a:lnTo>
                        <a:pt x="83" y="7"/>
                      </a:lnTo>
                      <a:lnTo>
                        <a:pt x="85" y="7"/>
                      </a:lnTo>
                      <a:lnTo>
                        <a:pt x="88" y="7"/>
                      </a:lnTo>
                      <a:lnTo>
                        <a:pt x="88" y="7"/>
                      </a:lnTo>
                      <a:lnTo>
                        <a:pt x="92" y="7"/>
                      </a:lnTo>
                      <a:lnTo>
                        <a:pt x="95" y="5"/>
                      </a:lnTo>
                      <a:lnTo>
                        <a:pt x="100" y="5"/>
                      </a:lnTo>
                      <a:lnTo>
                        <a:pt x="100" y="5"/>
                      </a:lnTo>
                      <a:lnTo>
                        <a:pt x="100" y="5"/>
                      </a:lnTo>
                      <a:lnTo>
                        <a:pt x="104" y="5"/>
                      </a:lnTo>
                      <a:lnTo>
                        <a:pt x="107" y="2"/>
                      </a:lnTo>
                      <a:lnTo>
                        <a:pt x="107" y="2"/>
                      </a:lnTo>
                      <a:lnTo>
                        <a:pt x="107" y="0"/>
                      </a:lnTo>
                      <a:lnTo>
                        <a:pt x="107" y="0"/>
                      </a:lnTo>
                      <a:lnTo>
                        <a:pt x="109" y="0"/>
                      </a:lnTo>
                      <a:lnTo>
                        <a:pt x="109" y="0"/>
                      </a:lnTo>
                      <a:lnTo>
                        <a:pt x="109" y="0"/>
                      </a:lnTo>
                      <a:lnTo>
                        <a:pt x="109" y="0"/>
                      </a:lnTo>
                      <a:lnTo>
                        <a:pt x="114" y="0"/>
                      </a:lnTo>
                      <a:lnTo>
                        <a:pt x="114" y="0"/>
                      </a:lnTo>
                      <a:lnTo>
                        <a:pt x="114" y="0"/>
                      </a:lnTo>
                      <a:lnTo>
                        <a:pt x="114" y="2"/>
                      </a:lnTo>
                      <a:lnTo>
                        <a:pt x="114" y="5"/>
                      </a:lnTo>
                      <a:lnTo>
                        <a:pt x="114" y="5"/>
                      </a:lnTo>
                      <a:lnTo>
                        <a:pt x="111" y="7"/>
                      </a:lnTo>
                      <a:lnTo>
                        <a:pt x="114" y="7"/>
                      </a:lnTo>
                      <a:lnTo>
                        <a:pt x="114" y="7"/>
                      </a:lnTo>
                      <a:lnTo>
                        <a:pt x="114" y="7"/>
                      </a:lnTo>
                      <a:lnTo>
                        <a:pt x="114" y="9"/>
                      </a:lnTo>
                      <a:lnTo>
                        <a:pt x="111" y="12"/>
                      </a:lnTo>
                      <a:lnTo>
                        <a:pt x="114" y="12"/>
                      </a:lnTo>
                      <a:lnTo>
                        <a:pt x="114" y="14"/>
                      </a:lnTo>
                      <a:lnTo>
                        <a:pt x="114" y="16"/>
                      </a:lnTo>
                      <a:lnTo>
                        <a:pt x="114" y="16"/>
                      </a:lnTo>
                      <a:lnTo>
                        <a:pt x="114" y="14"/>
                      </a:lnTo>
                      <a:lnTo>
                        <a:pt x="114" y="14"/>
                      </a:lnTo>
                      <a:lnTo>
                        <a:pt x="116" y="16"/>
                      </a:lnTo>
                      <a:lnTo>
                        <a:pt x="114" y="16"/>
                      </a:lnTo>
                      <a:lnTo>
                        <a:pt x="114" y="16"/>
                      </a:lnTo>
                      <a:lnTo>
                        <a:pt x="114" y="16"/>
                      </a:lnTo>
                      <a:lnTo>
                        <a:pt x="111" y="16"/>
                      </a:lnTo>
                      <a:lnTo>
                        <a:pt x="111" y="19"/>
                      </a:lnTo>
                      <a:lnTo>
                        <a:pt x="111" y="21"/>
                      </a:lnTo>
                      <a:lnTo>
                        <a:pt x="111" y="23"/>
                      </a:lnTo>
                      <a:lnTo>
                        <a:pt x="109" y="23"/>
                      </a:lnTo>
                      <a:lnTo>
                        <a:pt x="109" y="26"/>
                      </a:lnTo>
                      <a:lnTo>
                        <a:pt x="107" y="31"/>
                      </a:lnTo>
                      <a:lnTo>
                        <a:pt x="104" y="38"/>
                      </a:lnTo>
                      <a:lnTo>
                        <a:pt x="102" y="38"/>
                      </a:lnTo>
                      <a:lnTo>
                        <a:pt x="102" y="38"/>
                      </a:lnTo>
                      <a:lnTo>
                        <a:pt x="100" y="40"/>
                      </a:lnTo>
                      <a:lnTo>
                        <a:pt x="100" y="42"/>
                      </a:lnTo>
                      <a:lnTo>
                        <a:pt x="100" y="42"/>
                      </a:lnTo>
                      <a:lnTo>
                        <a:pt x="97" y="45"/>
                      </a:lnTo>
                      <a:lnTo>
                        <a:pt x="92" y="57"/>
                      </a:lnTo>
                      <a:lnTo>
                        <a:pt x="92" y="59"/>
                      </a:lnTo>
                      <a:lnTo>
                        <a:pt x="88" y="64"/>
                      </a:lnTo>
                      <a:lnTo>
                        <a:pt x="88" y="66"/>
                      </a:lnTo>
                      <a:lnTo>
                        <a:pt x="78" y="76"/>
                      </a:lnTo>
                      <a:lnTo>
                        <a:pt x="78" y="78"/>
                      </a:lnTo>
                      <a:lnTo>
                        <a:pt x="76" y="80"/>
                      </a:lnTo>
                      <a:lnTo>
                        <a:pt x="69" y="87"/>
                      </a:lnTo>
                      <a:lnTo>
                        <a:pt x="57" y="97"/>
                      </a:lnTo>
                      <a:lnTo>
                        <a:pt x="52" y="102"/>
                      </a:lnTo>
                      <a:lnTo>
                        <a:pt x="47" y="102"/>
                      </a:lnTo>
                      <a:lnTo>
                        <a:pt x="45" y="104"/>
                      </a:lnTo>
                      <a:lnTo>
                        <a:pt x="40" y="106"/>
                      </a:lnTo>
                      <a:lnTo>
                        <a:pt x="33" y="114"/>
                      </a:lnTo>
                      <a:lnTo>
                        <a:pt x="31" y="114"/>
                      </a:lnTo>
                      <a:lnTo>
                        <a:pt x="24" y="121"/>
                      </a:lnTo>
                      <a:lnTo>
                        <a:pt x="24" y="121"/>
                      </a:lnTo>
                      <a:lnTo>
                        <a:pt x="21" y="123"/>
                      </a:lnTo>
                      <a:lnTo>
                        <a:pt x="19" y="123"/>
                      </a:lnTo>
                      <a:lnTo>
                        <a:pt x="17" y="125"/>
                      </a:lnTo>
                      <a:lnTo>
                        <a:pt x="17" y="128"/>
                      </a:lnTo>
                      <a:lnTo>
                        <a:pt x="7" y="137"/>
                      </a:lnTo>
                      <a:lnTo>
                        <a:pt x="7" y="137"/>
                      </a:lnTo>
                      <a:lnTo>
                        <a:pt x="0" y="130"/>
                      </a:lnTo>
                      <a:lnTo>
                        <a:pt x="0" y="90"/>
                      </a:lnTo>
                      <a:lnTo>
                        <a:pt x="10" y="80"/>
                      </a:lnTo>
                      <a:lnTo>
                        <a:pt x="10" y="80"/>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4" name="Freeform 109">
                  <a:extLst>
                    <a:ext uri="{FF2B5EF4-FFF2-40B4-BE49-F238E27FC236}">
                      <a16:creationId xmlns:a16="http://schemas.microsoft.com/office/drawing/2014/main" id="{C50266E7-1631-F1C7-3987-5A652C4CEFF0}"/>
                    </a:ext>
                  </a:extLst>
                </p:cNvPr>
                <p:cNvSpPr>
                  <a:spLocks/>
                </p:cNvSpPr>
                <p:nvPr/>
              </p:nvSpPr>
              <p:spPr bwMode="auto">
                <a:xfrm>
                  <a:off x="3877" y="2384"/>
                  <a:ext cx="26" cy="21"/>
                </a:xfrm>
                <a:custGeom>
                  <a:avLst/>
                  <a:gdLst>
                    <a:gd name="T0" fmla="*/ 10 w 11"/>
                    <a:gd name="T1" fmla="*/ 0 h 9"/>
                    <a:gd name="T2" fmla="*/ 9 w 11"/>
                    <a:gd name="T3" fmla="*/ 0 h 9"/>
                    <a:gd name="T4" fmla="*/ 8 w 11"/>
                    <a:gd name="T5" fmla="*/ 1 h 9"/>
                    <a:gd name="T6" fmla="*/ 8 w 11"/>
                    <a:gd name="T7" fmla="*/ 0 h 9"/>
                    <a:gd name="T8" fmla="*/ 7 w 11"/>
                    <a:gd name="T9" fmla="*/ 0 h 9"/>
                    <a:gd name="T10" fmla="*/ 6 w 11"/>
                    <a:gd name="T11" fmla="*/ 0 h 9"/>
                    <a:gd name="T12" fmla="*/ 5 w 11"/>
                    <a:gd name="T13" fmla="*/ 1 h 9"/>
                    <a:gd name="T14" fmla="*/ 5 w 11"/>
                    <a:gd name="T15" fmla="*/ 1 h 9"/>
                    <a:gd name="T16" fmla="*/ 4 w 11"/>
                    <a:gd name="T17" fmla="*/ 1 h 9"/>
                    <a:gd name="T18" fmla="*/ 3 w 11"/>
                    <a:gd name="T19" fmla="*/ 1 h 9"/>
                    <a:gd name="T20" fmla="*/ 3 w 11"/>
                    <a:gd name="T21" fmla="*/ 2 h 9"/>
                    <a:gd name="T22" fmla="*/ 1 w 11"/>
                    <a:gd name="T23" fmla="*/ 3 h 9"/>
                    <a:gd name="T24" fmla="*/ 0 w 11"/>
                    <a:gd name="T25" fmla="*/ 4 h 9"/>
                    <a:gd name="T26" fmla="*/ 0 w 11"/>
                    <a:gd name="T27" fmla="*/ 5 h 9"/>
                    <a:gd name="T28" fmla="*/ 0 w 11"/>
                    <a:gd name="T29" fmla="*/ 6 h 9"/>
                    <a:gd name="T30" fmla="*/ 1 w 11"/>
                    <a:gd name="T31" fmla="*/ 7 h 9"/>
                    <a:gd name="T32" fmla="*/ 1 w 11"/>
                    <a:gd name="T33" fmla="*/ 8 h 9"/>
                    <a:gd name="T34" fmla="*/ 2 w 11"/>
                    <a:gd name="T35" fmla="*/ 8 h 9"/>
                    <a:gd name="T36" fmla="*/ 3 w 11"/>
                    <a:gd name="T37" fmla="*/ 8 h 9"/>
                    <a:gd name="T38" fmla="*/ 3 w 11"/>
                    <a:gd name="T39" fmla="*/ 9 h 9"/>
                    <a:gd name="T40" fmla="*/ 4 w 11"/>
                    <a:gd name="T41" fmla="*/ 9 h 9"/>
                    <a:gd name="T42" fmla="*/ 5 w 11"/>
                    <a:gd name="T43" fmla="*/ 9 h 9"/>
                    <a:gd name="T44" fmla="*/ 6 w 11"/>
                    <a:gd name="T45" fmla="*/ 9 h 9"/>
                    <a:gd name="T46" fmla="*/ 6 w 11"/>
                    <a:gd name="T47" fmla="*/ 8 h 9"/>
                    <a:gd name="T48" fmla="*/ 7 w 11"/>
                    <a:gd name="T49" fmla="*/ 8 h 9"/>
                    <a:gd name="T50" fmla="*/ 7 w 11"/>
                    <a:gd name="T51" fmla="*/ 8 h 9"/>
                    <a:gd name="T52" fmla="*/ 8 w 11"/>
                    <a:gd name="T53" fmla="*/ 8 h 9"/>
                    <a:gd name="T54" fmla="*/ 8 w 11"/>
                    <a:gd name="T55" fmla="*/ 7 h 9"/>
                    <a:gd name="T56" fmla="*/ 9 w 11"/>
                    <a:gd name="T57" fmla="*/ 7 h 9"/>
                    <a:gd name="T58" fmla="*/ 10 w 11"/>
                    <a:gd name="T59" fmla="*/ 6 h 9"/>
                    <a:gd name="T60" fmla="*/ 9 w 11"/>
                    <a:gd name="T61" fmla="*/ 6 h 9"/>
                    <a:gd name="T62" fmla="*/ 10 w 11"/>
                    <a:gd name="T63" fmla="*/ 4 h 9"/>
                    <a:gd name="T64" fmla="*/ 10 w 11"/>
                    <a:gd name="T65" fmla="*/ 4 h 9"/>
                    <a:gd name="T66" fmla="*/ 11 w 11"/>
                    <a:gd name="T67" fmla="*/ 3 h 9"/>
                    <a:gd name="T68" fmla="*/ 11 w 11"/>
                    <a:gd name="T69" fmla="*/ 2 h 9"/>
                    <a:gd name="T70" fmla="*/ 11 w 11"/>
                    <a:gd name="T71" fmla="*/ 1 h 9"/>
                    <a:gd name="T72" fmla="*/ 10 w 11"/>
                    <a:gd name="T73"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 h="9">
                      <a:moveTo>
                        <a:pt x="10" y="0"/>
                      </a:moveTo>
                      <a:cubicBezTo>
                        <a:pt x="9" y="0"/>
                        <a:pt x="9" y="0"/>
                        <a:pt x="9" y="0"/>
                      </a:cubicBezTo>
                      <a:cubicBezTo>
                        <a:pt x="8" y="1"/>
                        <a:pt x="8" y="1"/>
                        <a:pt x="8" y="1"/>
                      </a:cubicBezTo>
                      <a:cubicBezTo>
                        <a:pt x="8" y="1"/>
                        <a:pt x="8" y="0"/>
                        <a:pt x="8" y="0"/>
                      </a:cubicBezTo>
                      <a:cubicBezTo>
                        <a:pt x="7" y="0"/>
                        <a:pt x="7" y="0"/>
                        <a:pt x="7" y="0"/>
                      </a:cubicBezTo>
                      <a:cubicBezTo>
                        <a:pt x="6" y="0"/>
                        <a:pt x="6" y="0"/>
                        <a:pt x="6" y="0"/>
                      </a:cubicBezTo>
                      <a:cubicBezTo>
                        <a:pt x="5" y="1"/>
                        <a:pt x="5" y="1"/>
                        <a:pt x="5" y="1"/>
                      </a:cubicBezTo>
                      <a:cubicBezTo>
                        <a:pt x="5" y="1"/>
                        <a:pt x="5" y="1"/>
                        <a:pt x="5" y="1"/>
                      </a:cubicBezTo>
                      <a:cubicBezTo>
                        <a:pt x="4" y="1"/>
                        <a:pt x="4" y="1"/>
                        <a:pt x="4" y="1"/>
                      </a:cubicBezTo>
                      <a:cubicBezTo>
                        <a:pt x="3" y="1"/>
                        <a:pt x="3" y="1"/>
                        <a:pt x="3" y="1"/>
                      </a:cubicBezTo>
                      <a:cubicBezTo>
                        <a:pt x="3" y="2"/>
                        <a:pt x="3" y="2"/>
                        <a:pt x="3" y="2"/>
                      </a:cubicBezTo>
                      <a:cubicBezTo>
                        <a:pt x="1" y="3"/>
                        <a:pt x="1" y="3"/>
                        <a:pt x="1" y="3"/>
                      </a:cubicBezTo>
                      <a:cubicBezTo>
                        <a:pt x="0" y="4"/>
                        <a:pt x="0" y="4"/>
                        <a:pt x="0" y="4"/>
                      </a:cubicBezTo>
                      <a:cubicBezTo>
                        <a:pt x="0" y="5"/>
                        <a:pt x="0" y="5"/>
                        <a:pt x="0" y="5"/>
                      </a:cubicBezTo>
                      <a:cubicBezTo>
                        <a:pt x="0" y="6"/>
                        <a:pt x="0" y="6"/>
                        <a:pt x="0" y="6"/>
                      </a:cubicBezTo>
                      <a:cubicBezTo>
                        <a:pt x="1" y="7"/>
                        <a:pt x="1" y="7"/>
                        <a:pt x="1" y="7"/>
                      </a:cubicBezTo>
                      <a:cubicBezTo>
                        <a:pt x="1" y="8"/>
                        <a:pt x="1" y="8"/>
                        <a:pt x="1" y="8"/>
                      </a:cubicBezTo>
                      <a:cubicBezTo>
                        <a:pt x="2" y="8"/>
                        <a:pt x="2" y="8"/>
                        <a:pt x="2" y="8"/>
                      </a:cubicBezTo>
                      <a:cubicBezTo>
                        <a:pt x="3" y="8"/>
                        <a:pt x="3" y="8"/>
                        <a:pt x="3" y="8"/>
                      </a:cubicBezTo>
                      <a:cubicBezTo>
                        <a:pt x="3" y="9"/>
                        <a:pt x="3" y="9"/>
                        <a:pt x="3" y="9"/>
                      </a:cubicBezTo>
                      <a:cubicBezTo>
                        <a:pt x="4" y="9"/>
                        <a:pt x="4" y="9"/>
                        <a:pt x="4" y="9"/>
                      </a:cubicBezTo>
                      <a:cubicBezTo>
                        <a:pt x="5" y="9"/>
                        <a:pt x="5" y="9"/>
                        <a:pt x="5" y="9"/>
                      </a:cubicBezTo>
                      <a:cubicBezTo>
                        <a:pt x="6" y="9"/>
                        <a:pt x="6" y="9"/>
                        <a:pt x="6" y="9"/>
                      </a:cubicBezTo>
                      <a:cubicBezTo>
                        <a:pt x="6" y="8"/>
                        <a:pt x="6" y="8"/>
                        <a:pt x="6" y="8"/>
                      </a:cubicBezTo>
                      <a:cubicBezTo>
                        <a:pt x="7" y="8"/>
                        <a:pt x="7" y="8"/>
                        <a:pt x="7" y="8"/>
                      </a:cubicBezTo>
                      <a:cubicBezTo>
                        <a:pt x="7" y="8"/>
                        <a:pt x="7" y="8"/>
                        <a:pt x="7" y="8"/>
                      </a:cubicBezTo>
                      <a:cubicBezTo>
                        <a:pt x="8" y="8"/>
                        <a:pt x="8" y="8"/>
                        <a:pt x="8" y="8"/>
                      </a:cubicBezTo>
                      <a:cubicBezTo>
                        <a:pt x="8" y="7"/>
                        <a:pt x="8" y="7"/>
                        <a:pt x="8" y="7"/>
                      </a:cubicBezTo>
                      <a:cubicBezTo>
                        <a:pt x="9" y="7"/>
                        <a:pt x="9" y="7"/>
                        <a:pt x="9" y="7"/>
                      </a:cubicBezTo>
                      <a:cubicBezTo>
                        <a:pt x="10" y="6"/>
                        <a:pt x="10" y="6"/>
                        <a:pt x="10" y="6"/>
                      </a:cubicBezTo>
                      <a:cubicBezTo>
                        <a:pt x="9" y="6"/>
                        <a:pt x="9" y="6"/>
                        <a:pt x="9" y="6"/>
                      </a:cubicBezTo>
                      <a:cubicBezTo>
                        <a:pt x="10" y="4"/>
                        <a:pt x="10" y="4"/>
                        <a:pt x="10" y="4"/>
                      </a:cubicBezTo>
                      <a:cubicBezTo>
                        <a:pt x="10" y="4"/>
                        <a:pt x="10" y="4"/>
                        <a:pt x="10" y="4"/>
                      </a:cubicBezTo>
                      <a:cubicBezTo>
                        <a:pt x="11" y="3"/>
                        <a:pt x="11" y="3"/>
                        <a:pt x="11" y="3"/>
                      </a:cubicBezTo>
                      <a:cubicBezTo>
                        <a:pt x="11" y="2"/>
                        <a:pt x="11" y="2"/>
                        <a:pt x="11" y="2"/>
                      </a:cubicBezTo>
                      <a:cubicBezTo>
                        <a:pt x="11" y="1"/>
                        <a:pt x="11" y="1"/>
                        <a:pt x="11" y="1"/>
                      </a:cubicBezTo>
                      <a:lnTo>
                        <a:pt x="10" y="0"/>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Freeform 110">
                  <a:extLst>
                    <a:ext uri="{FF2B5EF4-FFF2-40B4-BE49-F238E27FC236}">
                      <a16:creationId xmlns:a16="http://schemas.microsoft.com/office/drawing/2014/main" id="{D1316EEF-8F8C-52EF-0ABA-CF25F8747C6F}"/>
                    </a:ext>
                  </a:extLst>
                </p:cNvPr>
                <p:cNvSpPr>
                  <a:spLocks/>
                </p:cNvSpPr>
                <p:nvPr/>
              </p:nvSpPr>
              <p:spPr bwMode="auto">
                <a:xfrm>
                  <a:off x="3383" y="1912"/>
                  <a:ext cx="693" cy="470"/>
                </a:xfrm>
                <a:custGeom>
                  <a:avLst/>
                  <a:gdLst>
                    <a:gd name="T0" fmla="*/ 669 w 693"/>
                    <a:gd name="T1" fmla="*/ 83 h 470"/>
                    <a:gd name="T2" fmla="*/ 646 w 693"/>
                    <a:gd name="T3" fmla="*/ 74 h 470"/>
                    <a:gd name="T4" fmla="*/ 627 w 693"/>
                    <a:gd name="T5" fmla="*/ 62 h 470"/>
                    <a:gd name="T6" fmla="*/ 601 w 693"/>
                    <a:gd name="T7" fmla="*/ 55 h 470"/>
                    <a:gd name="T8" fmla="*/ 579 w 693"/>
                    <a:gd name="T9" fmla="*/ 24 h 470"/>
                    <a:gd name="T10" fmla="*/ 563 w 693"/>
                    <a:gd name="T11" fmla="*/ 7 h 470"/>
                    <a:gd name="T12" fmla="*/ 532 w 693"/>
                    <a:gd name="T13" fmla="*/ 3 h 470"/>
                    <a:gd name="T14" fmla="*/ 504 w 693"/>
                    <a:gd name="T15" fmla="*/ 19 h 470"/>
                    <a:gd name="T16" fmla="*/ 511 w 693"/>
                    <a:gd name="T17" fmla="*/ 48 h 470"/>
                    <a:gd name="T18" fmla="*/ 490 w 693"/>
                    <a:gd name="T19" fmla="*/ 69 h 470"/>
                    <a:gd name="T20" fmla="*/ 534 w 693"/>
                    <a:gd name="T21" fmla="*/ 112 h 470"/>
                    <a:gd name="T22" fmla="*/ 504 w 693"/>
                    <a:gd name="T23" fmla="*/ 133 h 470"/>
                    <a:gd name="T24" fmla="*/ 456 w 693"/>
                    <a:gd name="T25" fmla="*/ 159 h 470"/>
                    <a:gd name="T26" fmla="*/ 397 w 693"/>
                    <a:gd name="T27" fmla="*/ 202 h 470"/>
                    <a:gd name="T28" fmla="*/ 300 w 693"/>
                    <a:gd name="T29" fmla="*/ 192 h 470"/>
                    <a:gd name="T30" fmla="*/ 255 w 693"/>
                    <a:gd name="T31" fmla="*/ 159 h 470"/>
                    <a:gd name="T32" fmla="*/ 222 w 693"/>
                    <a:gd name="T33" fmla="*/ 128 h 470"/>
                    <a:gd name="T34" fmla="*/ 191 w 693"/>
                    <a:gd name="T35" fmla="*/ 116 h 470"/>
                    <a:gd name="T36" fmla="*/ 170 w 693"/>
                    <a:gd name="T37" fmla="*/ 116 h 470"/>
                    <a:gd name="T38" fmla="*/ 142 w 693"/>
                    <a:gd name="T39" fmla="*/ 157 h 470"/>
                    <a:gd name="T40" fmla="*/ 123 w 693"/>
                    <a:gd name="T41" fmla="*/ 176 h 470"/>
                    <a:gd name="T42" fmla="*/ 94 w 693"/>
                    <a:gd name="T43" fmla="*/ 197 h 470"/>
                    <a:gd name="T44" fmla="*/ 31 w 693"/>
                    <a:gd name="T45" fmla="*/ 207 h 470"/>
                    <a:gd name="T46" fmla="*/ 19 w 693"/>
                    <a:gd name="T47" fmla="*/ 230 h 470"/>
                    <a:gd name="T48" fmla="*/ 9 w 693"/>
                    <a:gd name="T49" fmla="*/ 266 h 470"/>
                    <a:gd name="T50" fmla="*/ 33 w 693"/>
                    <a:gd name="T51" fmla="*/ 268 h 470"/>
                    <a:gd name="T52" fmla="*/ 61 w 693"/>
                    <a:gd name="T53" fmla="*/ 278 h 470"/>
                    <a:gd name="T54" fmla="*/ 101 w 693"/>
                    <a:gd name="T55" fmla="*/ 287 h 470"/>
                    <a:gd name="T56" fmla="*/ 137 w 693"/>
                    <a:gd name="T57" fmla="*/ 335 h 470"/>
                    <a:gd name="T58" fmla="*/ 163 w 693"/>
                    <a:gd name="T59" fmla="*/ 358 h 470"/>
                    <a:gd name="T60" fmla="*/ 206 w 693"/>
                    <a:gd name="T61" fmla="*/ 370 h 470"/>
                    <a:gd name="T62" fmla="*/ 253 w 693"/>
                    <a:gd name="T63" fmla="*/ 384 h 470"/>
                    <a:gd name="T64" fmla="*/ 303 w 693"/>
                    <a:gd name="T65" fmla="*/ 380 h 470"/>
                    <a:gd name="T66" fmla="*/ 343 w 693"/>
                    <a:gd name="T67" fmla="*/ 372 h 470"/>
                    <a:gd name="T68" fmla="*/ 371 w 693"/>
                    <a:gd name="T69" fmla="*/ 408 h 470"/>
                    <a:gd name="T70" fmla="*/ 376 w 693"/>
                    <a:gd name="T71" fmla="*/ 432 h 470"/>
                    <a:gd name="T72" fmla="*/ 393 w 693"/>
                    <a:gd name="T73" fmla="*/ 458 h 470"/>
                    <a:gd name="T74" fmla="*/ 419 w 693"/>
                    <a:gd name="T75" fmla="*/ 446 h 470"/>
                    <a:gd name="T76" fmla="*/ 456 w 693"/>
                    <a:gd name="T77" fmla="*/ 439 h 470"/>
                    <a:gd name="T78" fmla="*/ 487 w 693"/>
                    <a:gd name="T79" fmla="*/ 455 h 470"/>
                    <a:gd name="T80" fmla="*/ 506 w 693"/>
                    <a:gd name="T81" fmla="*/ 470 h 470"/>
                    <a:gd name="T82" fmla="*/ 516 w 693"/>
                    <a:gd name="T83" fmla="*/ 460 h 470"/>
                    <a:gd name="T84" fmla="*/ 544 w 693"/>
                    <a:gd name="T85" fmla="*/ 444 h 470"/>
                    <a:gd name="T86" fmla="*/ 565 w 693"/>
                    <a:gd name="T87" fmla="*/ 441 h 470"/>
                    <a:gd name="T88" fmla="*/ 587 w 693"/>
                    <a:gd name="T89" fmla="*/ 427 h 470"/>
                    <a:gd name="T90" fmla="*/ 601 w 693"/>
                    <a:gd name="T91" fmla="*/ 415 h 470"/>
                    <a:gd name="T92" fmla="*/ 605 w 693"/>
                    <a:gd name="T93" fmla="*/ 406 h 470"/>
                    <a:gd name="T94" fmla="*/ 610 w 693"/>
                    <a:gd name="T95" fmla="*/ 389 h 470"/>
                    <a:gd name="T96" fmla="*/ 624 w 693"/>
                    <a:gd name="T97" fmla="*/ 372 h 470"/>
                    <a:gd name="T98" fmla="*/ 624 w 693"/>
                    <a:gd name="T99" fmla="*/ 356 h 470"/>
                    <a:gd name="T100" fmla="*/ 601 w 693"/>
                    <a:gd name="T101" fmla="*/ 346 h 470"/>
                    <a:gd name="T102" fmla="*/ 587 w 693"/>
                    <a:gd name="T103" fmla="*/ 323 h 470"/>
                    <a:gd name="T104" fmla="*/ 613 w 693"/>
                    <a:gd name="T105" fmla="*/ 320 h 470"/>
                    <a:gd name="T106" fmla="*/ 584 w 693"/>
                    <a:gd name="T107" fmla="*/ 275 h 470"/>
                    <a:gd name="T108" fmla="*/ 610 w 693"/>
                    <a:gd name="T109" fmla="*/ 256 h 470"/>
                    <a:gd name="T110" fmla="*/ 582 w 693"/>
                    <a:gd name="T111" fmla="*/ 247 h 470"/>
                    <a:gd name="T112" fmla="*/ 551 w 693"/>
                    <a:gd name="T113" fmla="*/ 240 h 470"/>
                    <a:gd name="T114" fmla="*/ 575 w 693"/>
                    <a:gd name="T115" fmla="*/ 211 h 470"/>
                    <a:gd name="T116" fmla="*/ 589 w 693"/>
                    <a:gd name="T117" fmla="*/ 223 h 470"/>
                    <a:gd name="T118" fmla="*/ 601 w 693"/>
                    <a:gd name="T119" fmla="*/ 223 h 470"/>
                    <a:gd name="T120" fmla="*/ 676 w 693"/>
                    <a:gd name="T121" fmla="*/ 161 h 470"/>
                    <a:gd name="T122" fmla="*/ 676 w 693"/>
                    <a:gd name="T123" fmla="*/ 126 h 470"/>
                    <a:gd name="T124" fmla="*/ 693 w 693"/>
                    <a:gd name="T125" fmla="*/ 107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93" h="470">
                      <a:moveTo>
                        <a:pt x="691" y="83"/>
                      </a:moveTo>
                      <a:lnTo>
                        <a:pt x="691" y="83"/>
                      </a:lnTo>
                      <a:lnTo>
                        <a:pt x="691" y="81"/>
                      </a:lnTo>
                      <a:lnTo>
                        <a:pt x="688" y="79"/>
                      </a:lnTo>
                      <a:lnTo>
                        <a:pt x="688" y="79"/>
                      </a:lnTo>
                      <a:lnTo>
                        <a:pt x="688" y="76"/>
                      </a:lnTo>
                      <a:lnTo>
                        <a:pt x="688" y="76"/>
                      </a:lnTo>
                      <a:lnTo>
                        <a:pt x="688" y="74"/>
                      </a:lnTo>
                      <a:lnTo>
                        <a:pt x="686" y="74"/>
                      </a:lnTo>
                      <a:lnTo>
                        <a:pt x="684" y="74"/>
                      </a:lnTo>
                      <a:lnTo>
                        <a:pt x="681" y="71"/>
                      </a:lnTo>
                      <a:lnTo>
                        <a:pt x="681" y="74"/>
                      </a:lnTo>
                      <a:lnTo>
                        <a:pt x="679" y="74"/>
                      </a:lnTo>
                      <a:lnTo>
                        <a:pt x="679" y="74"/>
                      </a:lnTo>
                      <a:lnTo>
                        <a:pt x="676" y="76"/>
                      </a:lnTo>
                      <a:lnTo>
                        <a:pt x="676" y="76"/>
                      </a:lnTo>
                      <a:lnTo>
                        <a:pt x="674" y="76"/>
                      </a:lnTo>
                      <a:lnTo>
                        <a:pt x="674" y="79"/>
                      </a:lnTo>
                      <a:lnTo>
                        <a:pt x="672" y="79"/>
                      </a:lnTo>
                      <a:lnTo>
                        <a:pt x="672" y="79"/>
                      </a:lnTo>
                      <a:lnTo>
                        <a:pt x="669" y="81"/>
                      </a:lnTo>
                      <a:lnTo>
                        <a:pt x="669" y="83"/>
                      </a:lnTo>
                      <a:lnTo>
                        <a:pt x="669" y="83"/>
                      </a:lnTo>
                      <a:lnTo>
                        <a:pt x="669" y="86"/>
                      </a:lnTo>
                      <a:lnTo>
                        <a:pt x="669" y="86"/>
                      </a:lnTo>
                      <a:lnTo>
                        <a:pt x="667" y="86"/>
                      </a:lnTo>
                      <a:lnTo>
                        <a:pt x="665" y="88"/>
                      </a:lnTo>
                      <a:lnTo>
                        <a:pt x="662" y="88"/>
                      </a:lnTo>
                      <a:lnTo>
                        <a:pt x="662" y="88"/>
                      </a:lnTo>
                      <a:lnTo>
                        <a:pt x="660" y="88"/>
                      </a:lnTo>
                      <a:lnTo>
                        <a:pt x="660" y="88"/>
                      </a:lnTo>
                      <a:lnTo>
                        <a:pt x="658" y="90"/>
                      </a:lnTo>
                      <a:lnTo>
                        <a:pt x="658" y="88"/>
                      </a:lnTo>
                      <a:lnTo>
                        <a:pt x="655" y="86"/>
                      </a:lnTo>
                      <a:lnTo>
                        <a:pt x="655" y="86"/>
                      </a:lnTo>
                      <a:lnTo>
                        <a:pt x="653" y="88"/>
                      </a:lnTo>
                      <a:lnTo>
                        <a:pt x="650" y="88"/>
                      </a:lnTo>
                      <a:lnTo>
                        <a:pt x="650" y="88"/>
                      </a:lnTo>
                      <a:lnTo>
                        <a:pt x="648" y="86"/>
                      </a:lnTo>
                      <a:lnTo>
                        <a:pt x="648" y="86"/>
                      </a:lnTo>
                      <a:lnTo>
                        <a:pt x="646" y="81"/>
                      </a:lnTo>
                      <a:lnTo>
                        <a:pt x="646" y="81"/>
                      </a:lnTo>
                      <a:lnTo>
                        <a:pt x="646" y="81"/>
                      </a:lnTo>
                      <a:lnTo>
                        <a:pt x="646" y="79"/>
                      </a:lnTo>
                      <a:lnTo>
                        <a:pt x="646" y="76"/>
                      </a:lnTo>
                      <a:lnTo>
                        <a:pt x="646" y="74"/>
                      </a:lnTo>
                      <a:lnTo>
                        <a:pt x="643" y="74"/>
                      </a:lnTo>
                      <a:lnTo>
                        <a:pt x="643" y="74"/>
                      </a:lnTo>
                      <a:lnTo>
                        <a:pt x="643" y="71"/>
                      </a:lnTo>
                      <a:lnTo>
                        <a:pt x="643" y="71"/>
                      </a:lnTo>
                      <a:lnTo>
                        <a:pt x="643" y="69"/>
                      </a:lnTo>
                      <a:lnTo>
                        <a:pt x="643" y="69"/>
                      </a:lnTo>
                      <a:lnTo>
                        <a:pt x="643" y="69"/>
                      </a:lnTo>
                      <a:lnTo>
                        <a:pt x="641" y="69"/>
                      </a:lnTo>
                      <a:lnTo>
                        <a:pt x="641" y="69"/>
                      </a:lnTo>
                      <a:lnTo>
                        <a:pt x="639" y="71"/>
                      </a:lnTo>
                      <a:lnTo>
                        <a:pt x="636" y="71"/>
                      </a:lnTo>
                      <a:lnTo>
                        <a:pt x="636" y="69"/>
                      </a:lnTo>
                      <a:lnTo>
                        <a:pt x="636" y="69"/>
                      </a:lnTo>
                      <a:lnTo>
                        <a:pt x="634" y="69"/>
                      </a:lnTo>
                      <a:lnTo>
                        <a:pt x="631" y="69"/>
                      </a:lnTo>
                      <a:lnTo>
                        <a:pt x="631" y="67"/>
                      </a:lnTo>
                      <a:lnTo>
                        <a:pt x="631" y="67"/>
                      </a:lnTo>
                      <a:lnTo>
                        <a:pt x="629" y="67"/>
                      </a:lnTo>
                      <a:lnTo>
                        <a:pt x="629" y="64"/>
                      </a:lnTo>
                      <a:lnTo>
                        <a:pt x="629" y="64"/>
                      </a:lnTo>
                      <a:lnTo>
                        <a:pt x="627" y="64"/>
                      </a:lnTo>
                      <a:lnTo>
                        <a:pt x="627" y="62"/>
                      </a:lnTo>
                      <a:lnTo>
                        <a:pt x="627" y="62"/>
                      </a:lnTo>
                      <a:lnTo>
                        <a:pt x="624" y="62"/>
                      </a:lnTo>
                      <a:lnTo>
                        <a:pt x="624" y="62"/>
                      </a:lnTo>
                      <a:lnTo>
                        <a:pt x="624" y="62"/>
                      </a:lnTo>
                      <a:lnTo>
                        <a:pt x="622" y="62"/>
                      </a:lnTo>
                      <a:lnTo>
                        <a:pt x="622" y="62"/>
                      </a:lnTo>
                      <a:lnTo>
                        <a:pt x="620" y="62"/>
                      </a:lnTo>
                      <a:lnTo>
                        <a:pt x="620" y="62"/>
                      </a:lnTo>
                      <a:lnTo>
                        <a:pt x="620" y="62"/>
                      </a:lnTo>
                      <a:lnTo>
                        <a:pt x="617" y="62"/>
                      </a:lnTo>
                      <a:lnTo>
                        <a:pt x="615" y="60"/>
                      </a:lnTo>
                      <a:lnTo>
                        <a:pt x="615" y="60"/>
                      </a:lnTo>
                      <a:lnTo>
                        <a:pt x="615" y="60"/>
                      </a:lnTo>
                      <a:lnTo>
                        <a:pt x="615" y="60"/>
                      </a:lnTo>
                      <a:lnTo>
                        <a:pt x="613" y="60"/>
                      </a:lnTo>
                      <a:lnTo>
                        <a:pt x="613" y="60"/>
                      </a:lnTo>
                      <a:lnTo>
                        <a:pt x="610" y="60"/>
                      </a:lnTo>
                      <a:lnTo>
                        <a:pt x="610" y="60"/>
                      </a:lnTo>
                      <a:lnTo>
                        <a:pt x="608" y="60"/>
                      </a:lnTo>
                      <a:lnTo>
                        <a:pt x="608" y="60"/>
                      </a:lnTo>
                      <a:lnTo>
                        <a:pt x="605" y="60"/>
                      </a:lnTo>
                      <a:lnTo>
                        <a:pt x="605" y="57"/>
                      </a:lnTo>
                      <a:lnTo>
                        <a:pt x="603" y="57"/>
                      </a:lnTo>
                      <a:lnTo>
                        <a:pt x="601" y="55"/>
                      </a:lnTo>
                      <a:lnTo>
                        <a:pt x="598" y="52"/>
                      </a:lnTo>
                      <a:lnTo>
                        <a:pt x="598" y="52"/>
                      </a:lnTo>
                      <a:lnTo>
                        <a:pt x="598" y="50"/>
                      </a:lnTo>
                      <a:lnTo>
                        <a:pt x="598" y="50"/>
                      </a:lnTo>
                      <a:lnTo>
                        <a:pt x="596" y="50"/>
                      </a:lnTo>
                      <a:lnTo>
                        <a:pt x="596" y="48"/>
                      </a:lnTo>
                      <a:lnTo>
                        <a:pt x="596" y="45"/>
                      </a:lnTo>
                      <a:lnTo>
                        <a:pt x="594" y="45"/>
                      </a:lnTo>
                      <a:lnTo>
                        <a:pt x="594" y="43"/>
                      </a:lnTo>
                      <a:lnTo>
                        <a:pt x="589" y="41"/>
                      </a:lnTo>
                      <a:lnTo>
                        <a:pt x="589" y="38"/>
                      </a:lnTo>
                      <a:lnTo>
                        <a:pt x="587" y="36"/>
                      </a:lnTo>
                      <a:lnTo>
                        <a:pt x="587" y="33"/>
                      </a:lnTo>
                      <a:lnTo>
                        <a:pt x="584" y="36"/>
                      </a:lnTo>
                      <a:lnTo>
                        <a:pt x="584" y="33"/>
                      </a:lnTo>
                      <a:lnTo>
                        <a:pt x="584" y="33"/>
                      </a:lnTo>
                      <a:lnTo>
                        <a:pt x="584" y="33"/>
                      </a:lnTo>
                      <a:lnTo>
                        <a:pt x="584" y="31"/>
                      </a:lnTo>
                      <a:lnTo>
                        <a:pt x="582" y="29"/>
                      </a:lnTo>
                      <a:lnTo>
                        <a:pt x="582" y="29"/>
                      </a:lnTo>
                      <a:lnTo>
                        <a:pt x="582" y="29"/>
                      </a:lnTo>
                      <a:lnTo>
                        <a:pt x="579" y="26"/>
                      </a:lnTo>
                      <a:lnTo>
                        <a:pt x="579" y="24"/>
                      </a:lnTo>
                      <a:lnTo>
                        <a:pt x="577" y="24"/>
                      </a:lnTo>
                      <a:lnTo>
                        <a:pt x="577" y="22"/>
                      </a:lnTo>
                      <a:lnTo>
                        <a:pt x="577" y="22"/>
                      </a:lnTo>
                      <a:lnTo>
                        <a:pt x="577" y="19"/>
                      </a:lnTo>
                      <a:lnTo>
                        <a:pt x="575" y="19"/>
                      </a:lnTo>
                      <a:lnTo>
                        <a:pt x="572" y="19"/>
                      </a:lnTo>
                      <a:lnTo>
                        <a:pt x="572" y="17"/>
                      </a:lnTo>
                      <a:lnTo>
                        <a:pt x="572" y="17"/>
                      </a:lnTo>
                      <a:lnTo>
                        <a:pt x="572" y="15"/>
                      </a:lnTo>
                      <a:lnTo>
                        <a:pt x="572" y="15"/>
                      </a:lnTo>
                      <a:lnTo>
                        <a:pt x="570" y="15"/>
                      </a:lnTo>
                      <a:lnTo>
                        <a:pt x="570" y="12"/>
                      </a:lnTo>
                      <a:lnTo>
                        <a:pt x="570" y="12"/>
                      </a:lnTo>
                      <a:lnTo>
                        <a:pt x="568" y="12"/>
                      </a:lnTo>
                      <a:lnTo>
                        <a:pt x="568" y="12"/>
                      </a:lnTo>
                      <a:lnTo>
                        <a:pt x="565" y="10"/>
                      </a:lnTo>
                      <a:lnTo>
                        <a:pt x="568" y="10"/>
                      </a:lnTo>
                      <a:lnTo>
                        <a:pt x="568" y="7"/>
                      </a:lnTo>
                      <a:lnTo>
                        <a:pt x="565" y="7"/>
                      </a:lnTo>
                      <a:lnTo>
                        <a:pt x="563" y="10"/>
                      </a:lnTo>
                      <a:lnTo>
                        <a:pt x="563" y="7"/>
                      </a:lnTo>
                      <a:lnTo>
                        <a:pt x="563" y="7"/>
                      </a:lnTo>
                      <a:lnTo>
                        <a:pt x="563" y="7"/>
                      </a:lnTo>
                      <a:lnTo>
                        <a:pt x="563" y="5"/>
                      </a:lnTo>
                      <a:lnTo>
                        <a:pt x="560" y="5"/>
                      </a:lnTo>
                      <a:lnTo>
                        <a:pt x="560" y="5"/>
                      </a:lnTo>
                      <a:lnTo>
                        <a:pt x="558" y="5"/>
                      </a:lnTo>
                      <a:lnTo>
                        <a:pt x="558" y="3"/>
                      </a:lnTo>
                      <a:lnTo>
                        <a:pt x="556" y="5"/>
                      </a:lnTo>
                      <a:lnTo>
                        <a:pt x="556" y="5"/>
                      </a:lnTo>
                      <a:lnTo>
                        <a:pt x="553" y="3"/>
                      </a:lnTo>
                      <a:lnTo>
                        <a:pt x="553" y="5"/>
                      </a:lnTo>
                      <a:lnTo>
                        <a:pt x="553" y="5"/>
                      </a:lnTo>
                      <a:lnTo>
                        <a:pt x="553" y="5"/>
                      </a:lnTo>
                      <a:lnTo>
                        <a:pt x="551" y="5"/>
                      </a:lnTo>
                      <a:lnTo>
                        <a:pt x="549" y="5"/>
                      </a:lnTo>
                      <a:lnTo>
                        <a:pt x="549" y="5"/>
                      </a:lnTo>
                      <a:lnTo>
                        <a:pt x="546" y="5"/>
                      </a:lnTo>
                      <a:lnTo>
                        <a:pt x="544" y="5"/>
                      </a:lnTo>
                      <a:lnTo>
                        <a:pt x="544" y="3"/>
                      </a:lnTo>
                      <a:lnTo>
                        <a:pt x="539" y="3"/>
                      </a:lnTo>
                      <a:lnTo>
                        <a:pt x="539" y="3"/>
                      </a:lnTo>
                      <a:lnTo>
                        <a:pt x="537" y="0"/>
                      </a:lnTo>
                      <a:lnTo>
                        <a:pt x="534" y="0"/>
                      </a:lnTo>
                      <a:lnTo>
                        <a:pt x="534" y="0"/>
                      </a:lnTo>
                      <a:lnTo>
                        <a:pt x="532" y="3"/>
                      </a:lnTo>
                      <a:lnTo>
                        <a:pt x="530" y="3"/>
                      </a:lnTo>
                      <a:lnTo>
                        <a:pt x="530" y="3"/>
                      </a:lnTo>
                      <a:lnTo>
                        <a:pt x="530" y="5"/>
                      </a:lnTo>
                      <a:lnTo>
                        <a:pt x="527" y="5"/>
                      </a:lnTo>
                      <a:lnTo>
                        <a:pt x="525" y="5"/>
                      </a:lnTo>
                      <a:lnTo>
                        <a:pt x="523" y="5"/>
                      </a:lnTo>
                      <a:lnTo>
                        <a:pt x="523" y="5"/>
                      </a:lnTo>
                      <a:lnTo>
                        <a:pt x="520" y="5"/>
                      </a:lnTo>
                      <a:lnTo>
                        <a:pt x="518" y="7"/>
                      </a:lnTo>
                      <a:lnTo>
                        <a:pt x="518" y="7"/>
                      </a:lnTo>
                      <a:lnTo>
                        <a:pt x="516" y="7"/>
                      </a:lnTo>
                      <a:lnTo>
                        <a:pt x="516" y="7"/>
                      </a:lnTo>
                      <a:lnTo>
                        <a:pt x="513" y="7"/>
                      </a:lnTo>
                      <a:lnTo>
                        <a:pt x="513" y="7"/>
                      </a:lnTo>
                      <a:lnTo>
                        <a:pt x="508" y="7"/>
                      </a:lnTo>
                      <a:lnTo>
                        <a:pt x="508" y="10"/>
                      </a:lnTo>
                      <a:lnTo>
                        <a:pt x="508" y="10"/>
                      </a:lnTo>
                      <a:lnTo>
                        <a:pt x="506" y="12"/>
                      </a:lnTo>
                      <a:lnTo>
                        <a:pt x="506" y="15"/>
                      </a:lnTo>
                      <a:lnTo>
                        <a:pt x="504" y="15"/>
                      </a:lnTo>
                      <a:lnTo>
                        <a:pt x="504" y="17"/>
                      </a:lnTo>
                      <a:lnTo>
                        <a:pt x="504" y="17"/>
                      </a:lnTo>
                      <a:lnTo>
                        <a:pt x="504" y="19"/>
                      </a:lnTo>
                      <a:lnTo>
                        <a:pt x="504" y="22"/>
                      </a:lnTo>
                      <a:lnTo>
                        <a:pt x="506" y="22"/>
                      </a:lnTo>
                      <a:lnTo>
                        <a:pt x="508" y="19"/>
                      </a:lnTo>
                      <a:lnTo>
                        <a:pt x="511" y="19"/>
                      </a:lnTo>
                      <a:lnTo>
                        <a:pt x="511" y="19"/>
                      </a:lnTo>
                      <a:lnTo>
                        <a:pt x="513" y="22"/>
                      </a:lnTo>
                      <a:lnTo>
                        <a:pt x="513" y="24"/>
                      </a:lnTo>
                      <a:lnTo>
                        <a:pt x="516" y="24"/>
                      </a:lnTo>
                      <a:lnTo>
                        <a:pt x="516" y="26"/>
                      </a:lnTo>
                      <a:lnTo>
                        <a:pt x="516" y="26"/>
                      </a:lnTo>
                      <a:lnTo>
                        <a:pt x="516" y="29"/>
                      </a:lnTo>
                      <a:lnTo>
                        <a:pt x="516" y="31"/>
                      </a:lnTo>
                      <a:lnTo>
                        <a:pt x="513" y="33"/>
                      </a:lnTo>
                      <a:lnTo>
                        <a:pt x="513" y="36"/>
                      </a:lnTo>
                      <a:lnTo>
                        <a:pt x="511" y="36"/>
                      </a:lnTo>
                      <a:lnTo>
                        <a:pt x="511" y="38"/>
                      </a:lnTo>
                      <a:lnTo>
                        <a:pt x="508" y="41"/>
                      </a:lnTo>
                      <a:lnTo>
                        <a:pt x="511" y="41"/>
                      </a:lnTo>
                      <a:lnTo>
                        <a:pt x="511" y="43"/>
                      </a:lnTo>
                      <a:lnTo>
                        <a:pt x="511" y="45"/>
                      </a:lnTo>
                      <a:lnTo>
                        <a:pt x="513" y="45"/>
                      </a:lnTo>
                      <a:lnTo>
                        <a:pt x="511" y="48"/>
                      </a:lnTo>
                      <a:lnTo>
                        <a:pt x="511" y="48"/>
                      </a:lnTo>
                      <a:lnTo>
                        <a:pt x="511" y="50"/>
                      </a:lnTo>
                      <a:lnTo>
                        <a:pt x="511" y="52"/>
                      </a:lnTo>
                      <a:lnTo>
                        <a:pt x="511" y="55"/>
                      </a:lnTo>
                      <a:lnTo>
                        <a:pt x="511" y="55"/>
                      </a:lnTo>
                      <a:lnTo>
                        <a:pt x="511" y="60"/>
                      </a:lnTo>
                      <a:lnTo>
                        <a:pt x="511" y="60"/>
                      </a:lnTo>
                      <a:lnTo>
                        <a:pt x="513" y="60"/>
                      </a:lnTo>
                      <a:lnTo>
                        <a:pt x="513" y="60"/>
                      </a:lnTo>
                      <a:lnTo>
                        <a:pt x="513" y="60"/>
                      </a:lnTo>
                      <a:lnTo>
                        <a:pt x="516" y="62"/>
                      </a:lnTo>
                      <a:lnTo>
                        <a:pt x="513" y="64"/>
                      </a:lnTo>
                      <a:lnTo>
                        <a:pt x="513" y="64"/>
                      </a:lnTo>
                      <a:lnTo>
                        <a:pt x="508" y="64"/>
                      </a:lnTo>
                      <a:lnTo>
                        <a:pt x="506" y="67"/>
                      </a:lnTo>
                      <a:lnTo>
                        <a:pt x="501" y="71"/>
                      </a:lnTo>
                      <a:lnTo>
                        <a:pt x="499" y="71"/>
                      </a:lnTo>
                      <a:lnTo>
                        <a:pt x="497" y="71"/>
                      </a:lnTo>
                      <a:lnTo>
                        <a:pt x="494" y="69"/>
                      </a:lnTo>
                      <a:lnTo>
                        <a:pt x="492" y="71"/>
                      </a:lnTo>
                      <a:lnTo>
                        <a:pt x="492" y="69"/>
                      </a:lnTo>
                      <a:lnTo>
                        <a:pt x="490" y="69"/>
                      </a:lnTo>
                      <a:lnTo>
                        <a:pt x="490" y="69"/>
                      </a:lnTo>
                      <a:lnTo>
                        <a:pt x="490" y="69"/>
                      </a:lnTo>
                      <a:lnTo>
                        <a:pt x="487" y="86"/>
                      </a:lnTo>
                      <a:lnTo>
                        <a:pt x="487" y="90"/>
                      </a:lnTo>
                      <a:lnTo>
                        <a:pt x="485" y="93"/>
                      </a:lnTo>
                      <a:lnTo>
                        <a:pt x="487" y="95"/>
                      </a:lnTo>
                      <a:lnTo>
                        <a:pt x="485" y="100"/>
                      </a:lnTo>
                      <a:lnTo>
                        <a:pt x="487" y="102"/>
                      </a:lnTo>
                      <a:lnTo>
                        <a:pt x="492" y="105"/>
                      </a:lnTo>
                      <a:lnTo>
                        <a:pt x="497" y="102"/>
                      </a:lnTo>
                      <a:lnTo>
                        <a:pt x="501" y="102"/>
                      </a:lnTo>
                      <a:lnTo>
                        <a:pt x="506" y="102"/>
                      </a:lnTo>
                      <a:lnTo>
                        <a:pt x="508" y="105"/>
                      </a:lnTo>
                      <a:lnTo>
                        <a:pt x="511" y="100"/>
                      </a:lnTo>
                      <a:lnTo>
                        <a:pt x="511" y="97"/>
                      </a:lnTo>
                      <a:lnTo>
                        <a:pt x="511" y="97"/>
                      </a:lnTo>
                      <a:lnTo>
                        <a:pt x="513" y="95"/>
                      </a:lnTo>
                      <a:lnTo>
                        <a:pt x="513" y="95"/>
                      </a:lnTo>
                      <a:lnTo>
                        <a:pt x="520" y="95"/>
                      </a:lnTo>
                      <a:lnTo>
                        <a:pt x="523" y="100"/>
                      </a:lnTo>
                      <a:lnTo>
                        <a:pt x="527" y="102"/>
                      </a:lnTo>
                      <a:lnTo>
                        <a:pt x="530" y="107"/>
                      </a:lnTo>
                      <a:lnTo>
                        <a:pt x="534" y="109"/>
                      </a:lnTo>
                      <a:lnTo>
                        <a:pt x="534" y="112"/>
                      </a:lnTo>
                      <a:lnTo>
                        <a:pt x="534" y="112"/>
                      </a:lnTo>
                      <a:lnTo>
                        <a:pt x="534" y="114"/>
                      </a:lnTo>
                      <a:lnTo>
                        <a:pt x="534" y="116"/>
                      </a:lnTo>
                      <a:lnTo>
                        <a:pt x="534" y="116"/>
                      </a:lnTo>
                      <a:lnTo>
                        <a:pt x="532" y="119"/>
                      </a:lnTo>
                      <a:lnTo>
                        <a:pt x="532" y="116"/>
                      </a:lnTo>
                      <a:lnTo>
                        <a:pt x="530" y="116"/>
                      </a:lnTo>
                      <a:lnTo>
                        <a:pt x="527" y="116"/>
                      </a:lnTo>
                      <a:lnTo>
                        <a:pt x="527" y="119"/>
                      </a:lnTo>
                      <a:lnTo>
                        <a:pt x="523" y="116"/>
                      </a:lnTo>
                      <a:lnTo>
                        <a:pt x="520" y="116"/>
                      </a:lnTo>
                      <a:lnTo>
                        <a:pt x="520" y="119"/>
                      </a:lnTo>
                      <a:lnTo>
                        <a:pt x="516" y="121"/>
                      </a:lnTo>
                      <a:lnTo>
                        <a:pt x="513" y="124"/>
                      </a:lnTo>
                      <a:lnTo>
                        <a:pt x="513" y="121"/>
                      </a:lnTo>
                      <a:lnTo>
                        <a:pt x="511" y="121"/>
                      </a:lnTo>
                      <a:lnTo>
                        <a:pt x="511" y="124"/>
                      </a:lnTo>
                      <a:lnTo>
                        <a:pt x="511" y="124"/>
                      </a:lnTo>
                      <a:lnTo>
                        <a:pt x="508" y="126"/>
                      </a:lnTo>
                      <a:lnTo>
                        <a:pt x="508" y="124"/>
                      </a:lnTo>
                      <a:lnTo>
                        <a:pt x="506" y="126"/>
                      </a:lnTo>
                      <a:lnTo>
                        <a:pt x="504" y="128"/>
                      </a:lnTo>
                      <a:lnTo>
                        <a:pt x="504" y="131"/>
                      </a:lnTo>
                      <a:lnTo>
                        <a:pt x="504" y="133"/>
                      </a:lnTo>
                      <a:lnTo>
                        <a:pt x="504" y="135"/>
                      </a:lnTo>
                      <a:lnTo>
                        <a:pt x="501" y="135"/>
                      </a:lnTo>
                      <a:lnTo>
                        <a:pt x="497" y="138"/>
                      </a:lnTo>
                      <a:lnTo>
                        <a:pt x="494" y="138"/>
                      </a:lnTo>
                      <a:lnTo>
                        <a:pt x="490" y="138"/>
                      </a:lnTo>
                      <a:lnTo>
                        <a:pt x="490" y="140"/>
                      </a:lnTo>
                      <a:lnTo>
                        <a:pt x="487" y="143"/>
                      </a:lnTo>
                      <a:lnTo>
                        <a:pt x="485" y="145"/>
                      </a:lnTo>
                      <a:lnTo>
                        <a:pt x="482" y="147"/>
                      </a:lnTo>
                      <a:lnTo>
                        <a:pt x="480" y="147"/>
                      </a:lnTo>
                      <a:lnTo>
                        <a:pt x="480" y="150"/>
                      </a:lnTo>
                      <a:lnTo>
                        <a:pt x="480" y="150"/>
                      </a:lnTo>
                      <a:lnTo>
                        <a:pt x="478" y="150"/>
                      </a:lnTo>
                      <a:lnTo>
                        <a:pt x="473" y="147"/>
                      </a:lnTo>
                      <a:lnTo>
                        <a:pt x="471" y="147"/>
                      </a:lnTo>
                      <a:lnTo>
                        <a:pt x="468" y="145"/>
                      </a:lnTo>
                      <a:lnTo>
                        <a:pt x="466" y="145"/>
                      </a:lnTo>
                      <a:lnTo>
                        <a:pt x="461" y="145"/>
                      </a:lnTo>
                      <a:lnTo>
                        <a:pt x="459" y="147"/>
                      </a:lnTo>
                      <a:lnTo>
                        <a:pt x="456" y="150"/>
                      </a:lnTo>
                      <a:lnTo>
                        <a:pt x="456" y="154"/>
                      </a:lnTo>
                      <a:lnTo>
                        <a:pt x="456" y="157"/>
                      </a:lnTo>
                      <a:lnTo>
                        <a:pt x="456" y="159"/>
                      </a:lnTo>
                      <a:lnTo>
                        <a:pt x="461" y="161"/>
                      </a:lnTo>
                      <a:lnTo>
                        <a:pt x="466" y="164"/>
                      </a:lnTo>
                      <a:lnTo>
                        <a:pt x="466" y="164"/>
                      </a:lnTo>
                      <a:lnTo>
                        <a:pt x="466" y="166"/>
                      </a:lnTo>
                      <a:lnTo>
                        <a:pt x="463" y="169"/>
                      </a:lnTo>
                      <a:lnTo>
                        <a:pt x="459" y="173"/>
                      </a:lnTo>
                      <a:lnTo>
                        <a:pt x="456" y="178"/>
                      </a:lnTo>
                      <a:lnTo>
                        <a:pt x="454" y="180"/>
                      </a:lnTo>
                      <a:lnTo>
                        <a:pt x="452" y="180"/>
                      </a:lnTo>
                      <a:lnTo>
                        <a:pt x="449" y="183"/>
                      </a:lnTo>
                      <a:lnTo>
                        <a:pt x="445" y="183"/>
                      </a:lnTo>
                      <a:lnTo>
                        <a:pt x="442" y="185"/>
                      </a:lnTo>
                      <a:lnTo>
                        <a:pt x="440" y="188"/>
                      </a:lnTo>
                      <a:lnTo>
                        <a:pt x="437" y="188"/>
                      </a:lnTo>
                      <a:lnTo>
                        <a:pt x="433" y="188"/>
                      </a:lnTo>
                      <a:lnTo>
                        <a:pt x="428" y="188"/>
                      </a:lnTo>
                      <a:lnTo>
                        <a:pt x="426" y="190"/>
                      </a:lnTo>
                      <a:lnTo>
                        <a:pt x="416" y="192"/>
                      </a:lnTo>
                      <a:lnTo>
                        <a:pt x="411" y="195"/>
                      </a:lnTo>
                      <a:lnTo>
                        <a:pt x="407" y="197"/>
                      </a:lnTo>
                      <a:lnTo>
                        <a:pt x="402" y="199"/>
                      </a:lnTo>
                      <a:lnTo>
                        <a:pt x="400" y="202"/>
                      </a:lnTo>
                      <a:lnTo>
                        <a:pt x="397" y="202"/>
                      </a:lnTo>
                      <a:lnTo>
                        <a:pt x="395" y="202"/>
                      </a:lnTo>
                      <a:lnTo>
                        <a:pt x="395" y="199"/>
                      </a:lnTo>
                      <a:lnTo>
                        <a:pt x="395" y="199"/>
                      </a:lnTo>
                      <a:lnTo>
                        <a:pt x="390" y="199"/>
                      </a:lnTo>
                      <a:lnTo>
                        <a:pt x="385" y="199"/>
                      </a:lnTo>
                      <a:lnTo>
                        <a:pt x="381" y="199"/>
                      </a:lnTo>
                      <a:lnTo>
                        <a:pt x="378" y="197"/>
                      </a:lnTo>
                      <a:lnTo>
                        <a:pt x="371" y="195"/>
                      </a:lnTo>
                      <a:lnTo>
                        <a:pt x="364" y="192"/>
                      </a:lnTo>
                      <a:lnTo>
                        <a:pt x="359" y="190"/>
                      </a:lnTo>
                      <a:lnTo>
                        <a:pt x="357" y="190"/>
                      </a:lnTo>
                      <a:lnTo>
                        <a:pt x="348" y="188"/>
                      </a:lnTo>
                      <a:lnTo>
                        <a:pt x="343" y="188"/>
                      </a:lnTo>
                      <a:lnTo>
                        <a:pt x="340" y="188"/>
                      </a:lnTo>
                      <a:lnTo>
                        <a:pt x="338" y="190"/>
                      </a:lnTo>
                      <a:lnTo>
                        <a:pt x="338" y="190"/>
                      </a:lnTo>
                      <a:lnTo>
                        <a:pt x="333" y="192"/>
                      </a:lnTo>
                      <a:lnTo>
                        <a:pt x="329" y="192"/>
                      </a:lnTo>
                      <a:lnTo>
                        <a:pt x="319" y="190"/>
                      </a:lnTo>
                      <a:lnTo>
                        <a:pt x="312" y="192"/>
                      </a:lnTo>
                      <a:lnTo>
                        <a:pt x="307" y="192"/>
                      </a:lnTo>
                      <a:lnTo>
                        <a:pt x="303" y="192"/>
                      </a:lnTo>
                      <a:lnTo>
                        <a:pt x="300" y="192"/>
                      </a:lnTo>
                      <a:lnTo>
                        <a:pt x="298" y="192"/>
                      </a:lnTo>
                      <a:lnTo>
                        <a:pt x="296" y="188"/>
                      </a:lnTo>
                      <a:lnTo>
                        <a:pt x="296" y="185"/>
                      </a:lnTo>
                      <a:lnTo>
                        <a:pt x="293" y="180"/>
                      </a:lnTo>
                      <a:lnTo>
                        <a:pt x="291" y="180"/>
                      </a:lnTo>
                      <a:lnTo>
                        <a:pt x="291" y="176"/>
                      </a:lnTo>
                      <a:lnTo>
                        <a:pt x="291" y="176"/>
                      </a:lnTo>
                      <a:lnTo>
                        <a:pt x="288" y="173"/>
                      </a:lnTo>
                      <a:lnTo>
                        <a:pt x="286" y="173"/>
                      </a:lnTo>
                      <a:lnTo>
                        <a:pt x="286" y="173"/>
                      </a:lnTo>
                      <a:lnTo>
                        <a:pt x="284" y="171"/>
                      </a:lnTo>
                      <a:lnTo>
                        <a:pt x="284" y="171"/>
                      </a:lnTo>
                      <a:lnTo>
                        <a:pt x="284" y="169"/>
                      </a:lnTo>
                      <a:lnTo>
                        <a:pt x="284" y="169"/>
                      </a:lnTo>
                      <a:lnTo>
                        <a:pt x="279" y="169"/>
                      </a:lnTo>
                      <a:lnTo>
                        <a:pt x="277" y="169"/>
                      </a:lnTo>
                      <a:lnTo>
                        <a:pt x="272" y="166"/>
                      </a:lnTo>
                      <a:lnTo>
                        <a:pt x="272" y="166"/>
                      </a:lnTo>
                      <a:lnTo>
                        <a:pt x="269" y="166"/>
                      </a:lnTo>
                      <a:lnTo>
                        <a:pt x="267" y="164"/>
                      </a:lnTo>
                      <a:lnTo>
                        <a:pt x="267" y="164"/>
                      </a:lnTo>
                      <a:lnTo>
                        <a:pt x="265" y="161"/>
                      </a:lnTo>
                      <a:lnTo>
                        <a:pt x="255" y="159"/>
                      </a:lnTo>
                      <a:lnTo>
                        <a:pt x="255" y="161"/>
                      </a:lnTo>
                      <a:lnTo>
                        <a:pt x="255" y="161"/>
                      </a:lnTo>
                      <a:lnTo>
                        <a:pt x="251" y="161"/>
                      </a:lnTo>
                      <a:lnTo>
                        <a:pt x="246" y="161"/>
                      </a:lnTo>
                      <a:lnTo>
                        <a:pt x="236" y="159"/>
                      </a:lnTo>
                      <a:lnTo>
                        <a:pt x="232" y="159"/>
                      </a:lnTo>
                      <a:lnTo>
                        <a:pt x="229" y="154"/>
                      </a:lnTo>
                      <a:lnTo>
                        <a:pt x="229" y="152"/>
                      </a:lnTo>
                      <a:lnTo>
                        <a:pt x="229" y="152"/>
                      </a:lnTo>
                      <a:lnTo>
                        <a:pt x="232" y="150"/>
                      </a:lnTo>
                      <a:lnTo>
                        <a:pt x="232" y="150"/>
                      </a:lnTo>
                      <a:lnTo>
                        <a:pt x="234" y="147"/>
                      </a:lnTo>
                      <a:lnTo>
                        <a:pt x="232" y="145"/>
                      </a:lnTo>
                      <a:lnTo>
                        <a:pt x="232" y="143"/>
                      </a:lnTo>
                      <a:lnTo>
                        <a:pt x="232" y="143"/>
                      </a:lnTo>
                      <a:lnTo>
                        <a:pt x="232" y="140"/>
                      </a:lnTo>
                      <a:lnTo>
                        <a:pt x="229" y="138"/>
                      </a:lnTo>
                      <a:lnTo>
                        <a:pt x="229" y="138"/>
                      </a:lnTo>
                      <a:lnTo>
                        <a:pt x="227" y="135"/>
                      </a:lnTo>
                      <a:lnTo>
                        <a:pt x="225" y="135"/>
                      </a:lnTo>
                      <a:lnTo>
                        <a:pt x="225" y="133"/>
                      </a:lnTo>
                      <a:lnTo>
                        <a:pt x="225" y="131"/>
                      </a:lnTo>
                      <a:lnTo>
                        <a:pt x="222" y="128"/>
                      </a:lnTo>
                      <a:lnTo>
                        <a:pt x="222" y="128"/>
                      </a:lnTo>
                      <a:lnTo>
                        <a:pt x="222" y="126"/>
                      </a:lnTo>
                      <a:lnTo>
                        <a:pt x="220" y="126"/>
                      </a:lnTo>
                      <a:lnTo>
                        <a:pt x="217" y="124"/>
                      </a:lnTo>
                      <a:lnTo>
                        <a:pt x="217" y="124"/>
                      </a:lnTo>
                      <a:lnTo>
                        <a:pt x="215" y="124"/>
                      </a:lnTo>
                      <a:lnTo>
                        <a:pt x="213" y="124"/>
                      </a:lnTo>
                      <a:lnTo>
                        <a:pt x="213" y="124"/>
                      </a:lnTo>
                      <a:lnTo>
                        <a:pt x="210" y="124"/>
                      </a:lnTo>
                      <a:lnTo>
                        <a:pt x="210" y="124"/>
                      </a:lnTo>
                      <a:lnTo>
                        <a:pt x="208" y="121"/>
                      </a:lnTo>
                      <a:lnTo>
                        <a:pt x="208" y="121"/>
                      </a:lnTo>
                      <a:lnTo>
                        <a:pt x="206" y="121"/>
                      </a:lnTo>
                      <a:lnTo>
                        <a:pt x="203" y="121"/>
                      </a:lnTo>
                      <a:lnTo>
                        <a:pt x="203" y="124"/>
                      </a:lnTo>
                      <a:lnTo>
                        <a:pt x="201" y="124"/>
                      </a:lnTo>
                      <a:lnTo>
                        <a:pt x="201" y="124"/>
                      </a:lnTo>
                      <a:lnTo>
                        <a:pt x="199" y="124"/>
                      </a:lnTo>
                      <a:lnTo>
                        <a:pt x="199" y="121"/>
                      </a:lnTo>
                      <a:lnTo>
                        <a:pt x="199" y="121"/>
                      </a:lnTo>
                      <a:lnTo>
                        <a:pt x="196" y="119"/>
                      </a:lnTo>
                      <a:lnTo>
                        <a:pt x="194" y="116"/>
                      </a:lnTo>
                      <a:lnTo>
                        <a:pt x="191" y="116"/>
                      </a:lnTo>
                      <a:lnTo>
                        <a:pt x="191" y="114"/>
                      </a:lnTo>
                      <a:lnTo>
                        <a:pt x="189" y="114"/>
                      </a:lnTo>
                      <a:lnTo>
                        <a:pt x="189" y="114"/>
                      </a:lnTo>
                      <a:lnTo>
                        <a:pt x="189" y="112"/>
                      </a:lnTo>
                      <a:lnTo>
                        <a:pt x="189" y="109"/>
                      </a:lnTo>
                      <a:lnTo>
                        <a:pt x="189" y="112"/>
                      </a:lnTo>
                      <a:lnTo>
                        <a:pt x="189" y="112"/>
                      </a:lnTo>
                      <a:lnTo>
                        <a:pt x="187" y="112"/>
                      </a:lnTo>
                      <a:lnTo>
                        <a:pt x="187" y="109"/>
                      </a:lnTo>
                      <a:lnTo>
                        <a:pt x="187" y="109"/>
                      </a:lnTo>
                      <a:lnTo>
                        <a:pt x="187" y="107"/>
                      </a:lnTo>
                      <a:lnTo>
                        <a:pt x="187" y="107"/>
                      </a:lnTo>
                      <a:lnTo>
                        <a:pt x="184" y="107"/>
                      </a:lnTo>
                      <a:lnTo>
                        <a:pt x="182" y="105"/>
                      </a:lnTo>
                      <a:lnTo>
                        <a:pt x="182" y="105"/>
                      </a:lnTo>
                      <a:lnTo>
                        <a:pt x="182" y="107"/>
                      </a:lnTo>
                      <a:lnTo>
                        <a:pt x="180" y="107"/>
                      </a:lnTo>
                      <a:lnTo>
                        <a:pt x="177" y="109"/>
                      </a:lnTo>
                      <a:lnTo>
                        <a:pt x="175" y="112"/>
                      </a:lnTo>
                      <a:lnTo>
                        <a:pt x="175" y="114"/>
                      </a:lnTo>
                      <a:lnTo>
                        <a:pt x="175" y="114"/>
                      </a:lnTo>
                      <a:lnTo>
                        <a:pt x="175" y="116"/>
                      </a:lnTo>
                      <a:lnTo>
                        <a:pt x="170" y="116"/>
                      </a:lnTo>
                      <a:lnTo>
                        <a:pt x="168" y="119"/>
                      </a:lnTo>
                      <a:lnTo>
                        <a:pt x="168" y="121"/>
                      </a:lnTo>
                      <a:lnTo>
                        <a:pt x="168" y="126"/>
                      </a:lnTo>
                      <a:lnTo>
                        <a:pt x="170" y="131"/>
                      </a:lnTo>
                      <a:lnTo>
                        <a:pt x="172" y="133"/>
                      </a:lnTo>
                      <a:lnTo>
                        <a:pt x="172" y="133"/>
                      </a:lnTo>
                      <a:lnTo>
                        <a:pt x="170" y="135"/>
                      </a:lnTo>
                      <a:lnTo>
                        <a:pt x="168" y="138"/>
                      </a:lnTo>
                      <a:lnTo>
                        <a:pt x="165" y="140"/>
                      </a:lnTo>
                      <a:lnTo>
                        <a:pt x="163" y="140"/>
                      </a:lnTo>
                      <a:lnTo>
                        <a:pt x="163" y="140"/>
                      </a:lnTo>
                      <a:lnTo>
                        <a:pt x="161" y="138"/>
                      </a:lnTo>
                      <a:lnTo>
                        <a:pt x="161" y="138"/>
                      </a:lnTo>
                      <a:lnTo>
                        <a:pt x="156" y="140"/>
                      </a:lnTo>
                      <a:lnTo>
                        <a:pt x="154" y="140"/>
                      </a:lnTo>
                      <a:lnTo>
                        <a:pt x="149" y="138"/>
                      </a:lnTo>
                      <a:lnTo>
                        <a:pt x="146" y="138"/>
                      </a:lnTo>
                      <a:lnTo>
                        <a:pt x="144" y="138"/>
                      </a:lnTo>
                      <a:lnTo>
                        <a:pt x="144" y="143"/>
                      </a:lnTo>
                      <a:lnTo>
                        <a:pt x="142" y="145"/>
                      </a:lnTo>
                      <a:lnTo>
                        <a:pt x="142" y="147"/>
                      </a:lnTo>
                      <a:lnTo>
                        <a:pt x="142" y="154"/>
                      </a:lnTo>
                      <a:lnTo>
                        <a:pt x="142" y="157"/>
                      </a:lnTo>
                      <a:lnTo>
                        <a:pt x="139" y="159"/>
                      </a:lnTo>
                      <a:lnTo>
                        <a:pt x="142" y="161"/>
                      </a:lnTo>
                      <a:lnTo>
                        <a:pt x="144" y="161"/>
                      </a:lnTo>
                      <a:lnTo>
                        <a:pt x="144" y="164"/>
                      </a:lnTo>
                      <a:lnTo>
                        <a:pt x="144" y="166"/>
                      </a:lnTo>
                      <a:lnTo>
                        <a:pt x="142" y="166"/>
                      </a:lnTo>
                      <a:lnTo>
                        <a:pt x="139" y="166"/>
                      </a:lnTo>
                      <a:lnTo>
                        <a:pt x="139" y="166"/>
                      </a:lnTo>
                      <a:lnTo>
                        <a:pt x="137" y="164"/>
                      </a:lnTo>
                      <a:lnTo>
                        <a:pt x="135" y="166"/>
                      </a:lnTo>
                      <a:lnTo>
                        <a:pt x="132" y="166"/>
                      </a:lnTo>
                      <a:lnTo>
                        <a:pt x="128" y="166"/>
                      </a:lnTo>
                      <a:lnTo>
                        <a:pt x="125" y="169"/>
                      </a:lnTo>
                      <a:lnTo>
                        <a:pt x="123" y="169"/>
                      </a:lnTo>
                      <a:lnTo>
                        <a:pt x="120" y="169"/>
                      </a:lnTo>
                      <a:lnTo>
                        <a:pt x="120" y="169"/>
                      </a:lnTo>
                      <a:lnTo>
                        <a:pt x="118" y="171"/>
                      </a:lnTo>
                      <a:lnTo>
                        <a:pt x="118" y="171"/>
                      </a:lnTo>
                      <a:lnTo>
                        <a:pt x="120" y="173"/>
                      </a:lnTo>
                      <a:lnTo>
                        <a:pt x="123" y="173"/>
                      </a:lnTo>
                      <a:lnTo>
                        <a:pt x="125" y="173"/>
                      </a:lnTo>
                      <a:lnTo>
                        <a:pt x="125" y="173"/>
                      </a:lnTo>
                      <a:lnTo>
                        <a:pt x="123" y="176"/>
                      </a:lnTo>
                      <a:lnTo>
                        <a:pt x="125" y="178"/>
                      </a:lnTo>
                      <a:lnTo>
                        <a:pt x="125" y="180"/>
                      </a:lnTo>
                      <a:lnTo>
                        <a:pt x="125" y="180"/>
                      </a:lnTo>
                      <a:lnTo>
                        <a:pt x="125" y="183"/>
                      </a:lnTo>
                      <a:lnTo>
                        <a:pt x="128" y="185"/>
                      </a:lnTo>
                      <a:lnTo>
                        <a:pt x="130" y="188"/>
                      </a:lnTo>
                      <a:lnTo>
                        <a:pt x="132" y="190"/>
                      </a:lnTo>
                      <a:lnTo>
                        <a:pt x="132" y="195"/>
                      </a:lnTo>
                      <a:lnTo>
                        <a:pt x="130" y="195"/>
                      </a:lnTo>
                      <a:lnTo>
                        <a:pt x="130" y="197"/>
                      </a:lnTo>
                      <a:lnTo>
                        <a:pt x="132" y="199"/>
                      </a:lnTo>
                      <a:lnTo>
                        <a:pt x="130" y="199"/>
                      </a:lnTo>
                      <a:lnTo>
                        <a:pt x="130" y="199"/>
                      </a:lnTo>
                      <a:lnTo>
                        <a:pt x="128" y="202"/>
                      </a:lnTo>
                      <a:lnTo>
                        <a:pt x="128" y="204"/>
                      </a:lnTo>
                      <a:lnTo>
                        <a:pt x="128" y="207"/>
                      </a:lnTo>
                      <a:lnTo>
                        <a:pt x="120" y="204"/>
                      </a:lnTo>
                      <a:lnTo>
                        <a:pt x="116" y="199"/>
                      </a:lnTo>
                      <a:lnTo>
                        <a:pt x="116" y="199"/>
                      </a:lnTo>
                      <a:lnTo>
                        <a:pt x="111" y="197"/>
                      </a:lnTo>
                      <a:lnTo>
                        <a:pt x="104" y="197"/>
                      </a:lnTo>
                      <a:lnTo>
                        <a:pt x="99" y="199"/>
                      </a:lnTo>
                      <a:lnTo>
                        <a:pt x="94" y="197"/>
                      </a:lnTo>
                      <a:lnTo>
                        <a:pt x="87" y="199"/>
                      </a:lnTo>
                      <a:lnTo>
                        <a:pt x="85" y="199"/>
                      </a:lnTo>
                      <a:lnTo>
                        <a:pt x="83" y="199"/>
                      </a:lnTo>
                      <a:lnTo>
                        <a:pt x="80" y="199"/>
                      </a:lnTo>
                      <a:lnTo>
                        <a:pt x="78" y="202"/>
                      </a:lnTo>
                      <a:lnTo>
                        <a:pt x="73" y="199"/>
                      </a:lnTo>
                      <a:lnTo>
                        <a:pt x="68" y="199"/>
                      </a:lnTo>
                      <a:lnTo>
                        <a:pt x="66" y="197"/>
                      </a:lnTo>
                      <a:lnTo>
                        <a:pt x="61" y="197"/>
                      </a:lnTo>
                      <a:lnTo>
                        <a:pt x="61" y="197"/>
                      </a:lnTo>
                      <a:lnTo>
                        <a:pt x="59" y="197"/>
                      </a:lnTo>
                      <a:lnTo>
                        <a:pt x="57" y="197"/>
                      </a:lnTo>
                      <a:lnTo>
                        <a:pt x="54" y="199"/>
                      </a:lnTo>
                      <a:lnTo>
                        <a:pt x="54" y="199"/>
                      </a:lnTo>
                      <a:lnTo>
                        <a:pt x="57" y="202"/>
                      </a:lnTo>
                      <a:lnTo>
                        <a:pt x="57" y="207"/>
                      </a:lnTo>
                      <a:lnTo>
                        <a:pt x="52" y="207"/>
                      </a:lnTo>
                      <a:lnTo>
                        <a:pt x="45" y="207"/>
                      </a:lnTo>
                      <a:lnTo>
                        <a:pt x="38" y="207"/>
                      </a:lnTo>
                      <a:lnTo>
                        <a:pt x="35" y="204"/>
                      </a:lnTo>
                      <a:lnTo>
                        <a:pt x="31" y="204"/>
                      </a:lnTo>
                      <a:lnTo>
                        <a:pt x="28" y="207"/>
                      </a:lnTo>
                      <a:lnTo>
                        <a:pt x="31" y="207"/>
                      </a:lnTo>
                      <a:lnTo>
                        <a:pt x="28" y="209"/>
                      </a:lnTo>
                      <a:lnTo>
                        <a:pt x="28" y="209"/>
                      </a:lnTo>
                      <a:lnTo>
                        <a:pt x="28" y="209"/>
                      </a:lnTo>
                      <a:lnTo>
                        <a:pt x="28" y="211"/>
                      </a:lnTo>
                      <a:lnTo>
                        <a:pt x="26" y="216"/>
                      </a:lnTo>
                      <a:lnTo>
                        <a:pt x="23" y="218"/>
                      </a:lnTo>
                      <a:lnTo>
                        <a:pt x="26" y="221"/>
                      </a:lnTo>
                      <a:lnTo>
                        <a:pt x="31" y="223"/>
                      </a:lnTo>
                      <a:lnTo>
                        <a:pt x="33" y="223"/>
                      </a:lnTo>
                      <a:lnTo>
                        <a:pt x="35" y="225"/>
                      </a:lnTo>
                      <a:lnTo>
                        <a:pt x="35" y="223"/>
                      </a:lnTo>
                      <a:lnTo>
                        <a:pt x="38" y="221"/>
                      </a:lnTo>
                      <a:lnTo>
                        <a:pt x="38" y="221"/>
                      </a:lnTo>
                      <a:lnTo>
                        <a:pt x="45" y="223"/>
                      </a:lnTo>
                      <a:lnTo>
                        <a:pt x="45" y="225"/>
                      </a:lnTo>
                      <a:lnTo>
                        <a:pt x="40" y="230"/>
                      </a:lnTo>
                      <a:lnTo>
                        <a:pt x="38" y="228"/>
                      </a:lnTo>
                      <a:lnTo>
                        <a:pt x="31" y="230"/>
                      </a:lnTo>
                      <a:lnTo>
                        <a:pt x="31" y="228"/>
                      </a:lnTo>
                      <a:lnTo>
                        <a:pt x="28" y="225"/>
                      </a:lnTo>
                      <a:lnTo>
                        <a:pt x="23" y="230"/>
                      </a:lnTo>
                      <a:lnTo>
                        <a:pt x="23" y="230"/>
                      </a:lnTo>
                      <a:lnTo>
                        <a:pt x="19" y="230"/>
                      </a:lnTo>
                      <a:lnTo>
                        <a:pt x="16" y="233"/>
                      </a:lnTo>
                      <a:lnTo>
                        <a:pt x="16" y="235"/>
                      </a:lnTo>
                      <a:lnTo>
                        <a:pt x="19" y="235"/>
                      </a:lnTo>
                      <a:lnTo>
                        <a:pt x="19" y="237"/>
                      </a:lnTo>
                      <a:lnTo>
                        <a:pt x="16" y="240"/>
                      </a:lnTo>
                      <a:lnTo>
                        <a:pt x="12" y="240"/>
                      </a:lnTo>
                      <a:lnTo>
                        <a:pt x="12" y="242"/>
                      </a:lnTo>
                      <a:lnTo>
                        <a:pt x="12" y="242"/>
                      </a:lnTo>
                      <a:lnTo>
                        <a:pt x="9" y="244"/>
                      </a:lnTo>
                      <a:lnTo>
                        <a:pt x="7" y="247"/>
                      </a:lnTo>
                      <a:lnTo>
                        <a:pt x="7" y="247"/>
                      </a:lnTo>
                      <a:lnTo>
                        <a:pt x="0" y="247"/>
                      </a:lnTo>
                      <a:lnTo>
                        <a:pt x="0" y="249"/>
                      </a:lnTo>
                      <a:lnTo>
                        <a:pt x="0" y="252"/>
                      </a:lnTo>
                      <a:lnTo>
                        <a:pt x="2" y="256"/>
                      </a:lnTo>
                      <a:lnTo>
                        <a:pt x="4" y="254"/>
                      </a:lnTo>
                      <a:lnTo>
                        <a:pt x="7" y="254"/>
                      </a:lnTo>
                      <a:lnTo>
                        <a:pt x="7" y="256"/>
                      </a:lnTo>
                      <a:lnTo>
                        <a:pt x="7" y="259"/>
                      </a:lnTo>
                      <a:lnTo>
                        <a:pt x="7" y="261"/>
                      </a:lnTo>
                      <a:lnTo>
                        <a:pt x="9" y="263"/>
                      </a:lnTo>
                      <a:lnTo>
                        <a:pt x="9" y="266"/>
                      </a:lnTo>
                      <a:lnTo>
                        <a:pt x="9" y="266"/>
                      </a:lnTo>
                      <a:lnTo>
                        <a:pt x="7" y="271"/>
                      </a:lnTo>
                      <a:lnTo>
                        <a:pt x="7" y="278"/>
                      </a:lnTo>
                      <a:lnTo>
                        <a:pt x="4" y="278"/>
                      </a:lnTo>
                      <a:lnTo>
                        <a:pt x="7" y="280"/>
                      </a:lnTo>
                      <a:lnTo>
                        <a:pt x="9" y="280"/>
                      </a:lnTo>
                      <a:lnTo>
                        <a:pt x="14" y="280"/>
                      </a:lnTo>
                      <a:lnTo>
                        <a:pt x="16" y="278"/>
                      </a:lnTo>
                      <a:lnTo>
                        <a:pt x="16" y="278"/>
                      </a:lnTo>
                      <a:lnTo>
                        <a:pt x="19" y="278"/>
                      </a:lnTo>
                      <a:lnTo>
                        <a:pt x="19" y="275"/>
                      </a:lnTo>
                      <a:lnTo>
                        <a:pt x="21" y="275"/>
                      </a:lnTo>
                      <a:lnTo>
                        <a:pt x="21" y="278"/>
                      </a:lnTo>
                      <a:lnTo>
                        <a:pt x="26" y="278"/>
                      </a:lnTo>
                      <a:lnTo>
                        <a:pt x="26" y="275"/>
                      </a:lnTo>
                      <a:lnTo>
                        <a:pt x="23" y="275"/>
                      </a:lnTo>
                      <a:lnTo>
                        <a:pt x="23" y="273"/>
                      </a:lnTo>
                      <a:lnTo>
                        <a:pt x="26" y="273"/>
                      </a:lnTo>
                      <a:lnTo>
                        <a:pt x="28" y="273"/>
                      </a:lnTo>
                      <a:lnTo>
                        <a:pt x="28" y="273"/>
                      </a:lnTo>
                      <a:lnTo>
                        <a:pt x="28" y="273"/>
                      </a:lnTo>
                      <a:lnTo>
                        <a:pt x="31" y="273"/>
                      </a:lnTo>
                      <a:lnTo>
                        <a:pt x="33" y="271"/>
                      </a:lnTo>
                      <a:lnTo>
                        <a:pt x="33" y="268"/>
                      </a:lnTo>
                      <a:lnTo>
                        <a:pt x="33" y="266"/>
                      </a:lnTo>
                      <a:lnTo>
                        <a:pt x="35" y="266"/>
                      </a:lnTo>
                      <a:lnTo>
                        <a:pt x="35" y="263"/>
                      </a:lnTo>
                      <a:lnTo>
                        <a:pt x="38" y="261"/>
                      </a:lnTo>
                      <a:lnTo>
                        <a:pt x="40" y="261"/>
                      </a:lnTo>
                      <a:lnTo>
                        <a:pt x="40" y="261"/>
                      </a:lnTo>
                      <a:lnTo>
                        <a:pt x="42" y="263"/>
                      </a:lnTo>
                      <a:lnTo>
                        <a:pt x="42" y="263"/>
                      </a:lnTo>
                      <a:lnTo>
                        <a:pt x="42" y="266"/>
                      </a:lnTo>
                      <a:lnTo>
                        <a:pt x="42" y="268"/>
                      </a:lnTo>
                      <a:lnTo>
                        <a:pt x="45" y="268"/>
                      </a:lnTo>
                      <a:lnTo>
                        <a:pt x="47" y="271"/>
                      </a:lnTo>
                      <a:lnTo>
                        <a:pt x="45" y="273"/>
                      </a:lnTo>
                      <a:lnTo>
                        <a:pt x="47" y="275"/>
                      </a:lnTo>
                      <a:lnTo>
                        <a:pt x="47" y="280"/>
                      </a:lnTo>
                      <a:lnTo>
                        <a:pt x="47" y="282"/>
                      </a:lnTo>
                      <a:lnTo>
                        <a:pt x="47" y="282"/>
                      </a:lnTo>
                      <a:lnTo>
                        <a:pt x="49" y="282"/>
                      </a:lnTo>
                      <a:lnTo>
                        <a:pt x="52" y="282"/>
                      </a:lnTo>
                      <a:lnTo>
                        <a:pt x="54" y="282"/>
                      </a:lnTo>
                      <a:lnTo>
                        <a:pt x="54" y="280"/>
                      </a:lnTo>
                      <a:lnTo>
                        <a:pt x="59" y="280"/>
                      </a:lnTo>
                      <a:lnTo>
                        <a:pt x="61" y="278"/>
                      </a:lnTo>
                      <a:lnTo>
                        <a:pt x="61" y="275"/>
                      </a:lnTo>
                      <a:lnTo>
                        <a:pt x="64" y="275"/>
                      </a:lnTo>
                      <a:lnTo>
                        <a:pt x="68" y="273"/>
                      </a:lnTo>
                      <a:lnTo>
                        <a:pt x="71" y="271"/>
                      </a:lnTo>
                      <a:lnTo>
                        <a:pt x="73" y="273"/>
                      </a:lnTo>
                      <a:lnTo>
                        <a:pt x="75" y="273"/>
                      </a:lnTo>
                      <a:lnTo>
                        <a:pt x="78" y="271"/>
                      </a:lnTo>
                      <a:lnTo>
                        <a:pt x="83" y="271"/>
                      </a:lnTo>
                      <a:lnTo>
                        <a:pt x="83" y="273"/>
                      </a:lnTo>
                      <a:lnTo>
                        <a:pt x="80" y="275"/>
                      </a:lnTo>
                      <a:lnTo>
                        <a:pt x="83" y="275"/>
                      </a:lnTo>
                      <a:lnTo>
                        <a:pt x="80" y="275"/>
                      </a:lnTo>
                      <a:lnTo>
                        <a:pt x="83" y="275"/>
                      </a:lnTo>
                      <a:lnTo>
                        <a:pt x="85" y="275"/>
                      </a:lnTo>
                      <a:lnTo>
                        <a:pt x="85" y="278"/>
                      </a:lnTo>
                      <a:lnTo>
                        <a:pt x="87" y="275"/>
                      </a:lnTo>
                      <a:lnTo>
                        <a:pt x="90" y="275"/>
                      </a:lnTo>
                      <a:lnTo>
                        <a:pt x="90" y="275"/>
                      </a:lnTo>
                      <a:lnTo>
                        <a:pt x="92" y="275"/>
                      </a:lnTo>
                      <a:lnTo>
                        <a:pt x="92" y="275"/>
                      </a:lnTo>
                      <a:lnTo>
                        <a:pt x="94" y="275"/>
                      </a:lnTo>
                      <a:lnTo>
                        <a:pt x="97" y="280"/>
                      </a:lnTo>
                      <a:lnTo>
                        <a:pt x="101" y="287"/>
                      </a:lnTo>
                      <a:lnTo>
                        <a:pt x="104" y="287"/>
                      </a:lnTo>
                      <a:lnTo>
                        <a:pt x="104" y="289"/>
                      </a:lnTo>
                      <a:lnTo>
                        <a:pt x="106" y="292"/>
                      </a:lnTo>
                      <a:lnTo>
                        <a:pt x="106" y="294"/>
                      </a:lnTo>
                      <a:lnTo>
                        <a:pt x="111" y="294"/>
                      </a:lnTo>
                      <a:lnTo>
                        <a:pt x="116" y="294"/>
                      </a:lnTo>
                      <a:lnTo>
                        <a:pt x="118" y="294"/>
                      </a:lnTo>
                      <a:lnTo>
                        <a:pt x="118" y="297"/>
                      </a:lnTo>
                      <a:lnTo>
                        <a:pt x="123" y="299"/>
                      </a:lnTo>
                      <a:lnTo>
                        <a:pt x="128" y="299"/>
                      </a:lnTo>
                      <a:lnTo>
                        <a:pt x="128" y="304"/>
                      </a:lnTo>
                      <a:lnTo>
                        <a:pt x="132" y="308"/>
                      </a:lnTo>
                      <a:lnTo>
                        <a:pt x="135" y="308"/>
                      </a:lnTo>
                      <a:lnTo>
                        <a:pt x="137" y="313"/>
                      </a:lnTo>
                      <a:lnTo>
                        <a:pt x="137" y="318"/>
                      </a:lnTo>
                      <a:lnTo>
                        <a:pt x="139" y="320"/>
                      </a:lnTo>
                      <a:lnTo>
                        <a:pt x="142" y="323"/>
                      </a:lnTo>
                      <a:lnTo>
                        <a:pt x="144" y="327"/>
                      </a:lnTo>
                      <a:lnTo>
                        <a:pt x="144" y="330"/>
                      </a:lnTo>
                      <a:lnTo>
                        <a:pt x="142" y="332"/>
                      </a:lnTo>
                      <a:lnTo>
                        <a:pt x="142" y="332"/>
                      </a:lnTo>
                      <a:lnTo>
                        <a:pt x="139" y="330"/>
                      </a:lnTo>
                      <a:lnTo>
                        <a:pt x="137" y="335"/>
                      </a:lnTo>
                      <a:lnTo>
                        <a:pt x="137" y="335"/>
                      </a:lnTo>
                      <a:lnTo>
                        <a:pt x="137" y="335"/>
                      </a:lnTo>
                      <a:lnTo>
                        <a:pt x="137" y="337"/>
                      </a:lnTo>
                      <a:lnTo>
                        <a:pt x="142" y="337"/>
                      </a:lnTo>
                      <a:lnTo>
                        <a:pt x="139" y="342"/>
                      </a:lnTo>
                      <a:lnTo>
                        <a:pt x="142" y="344"/>
                      </a:lnTo>
                      <a:lnTo>
                        <a:pt x="142" y="344"/>
                      </a:lnTo>
                      <a:lnTo>
                        <a:pt x="142" y="346"/>
                      </a:lnTo>
                      <a:lnTo>
                        <a:pt x="144" y="349"/>
                      </a:lnTo>
                      <a:lnTo>
                        <a:pt x="144" y="349"/>
                      </a:lnTo>
                      <a:lnTo>
                        <a:pt x="144" y="349"/>
                      </a:lnTo>
                      <a:lnTo>
                        <a:pt x="146" y="351"/>
                      </a:lnTo>
                      <a:lnTo>
                        <a:pt x="149" y="353"/>
                      </a:lnTo>
                      <a:lnTo>
                        <a:pt x="149" y="351"/>
                      </a:lnTo>
                      <a:lnTo>
                        <a:pt x="151" y="351"/>
                      </a:lnTo>
                      <a:lnTo>
                        <a:pt x="154" y="351"/>
                      </a:lnTo>
                      <a:lnTo>
                        <a:pt x="156" y="353"/>
                      </a:lnTo>
                      <a:lnTo>
                        <a:pt x="158" y="353"/>
                      </a:lnTo>
                      <a:lnTo>
                        <a:pt x="158" y="356"/>
                      </a:lnTo>
                      <a:lnTo>
                        <a:pt x="161" y="358"/>
                      </a:lnTo>
                      <a:lnTo>
                        <a:pt x="163" y="358"/>
                      </a:lnTo>
                      <a:lnTo>
                        <a:pt x="163" y="361"/>
                      </a:lnTo>
                      <a:lnTo>
                        <a:pt x="163" y="358"/>
                      </a:lnTo>
                      <a:lnTo>
                        <a:pt x="163" y="358"/>
                      </a:lnTo>
                      <a:lnTo>
                        <a:pt x="168" y="361"/>
                      </a:lnTo>
                      <a:lnTo>
                        <a:pt x="168" y="361"/>
                      </a:lnTo>
                      <a:lnTo>
                        <a:pt x="170" y="361"/>
                      </a:lnTo>
                      <a:lnTo>
                        <a:pt x="172" y="363"/>
                      </a:lnTo>
                      <a:lnTo>
                        <a:pt x="172" y="361"/>
                      </a:lnTo>
                      <a:lnTo>
                        <a:pt x="175" y="361"/>
                      </a:lnTo>
                      <a:lnTo>
                        <a:pt x="180" y="361"/>
                      </a:lnTo>
                      <a:lnTo>
                        <a:pt x="182" y="363"/>
                      </a:lnTo>
                      <a:lnTo>
                        <a:pt x="184" y="363"/>
                      </a:lnTo>
                      <a:lnTo>
                        <a:pt x="184" y="363"/>
                      </a:lnTo>
                      <a:lnTo>
                        <a:pt x="189" y="368"/>
                      </a:lnTo>
                      <a:lnTo>
                        <a:pt x="191" y="368"/>
                      </a:lnTo>
                      <a:lnTo>
                        <a:pt x="194" y="368"/>
                      </a:lnTo>
                      <a:lnTo>
                        <a:pt x="194" y="370"/>
                      </a:lnTo>
                      <a:lnTo>
                        <a:pt x="196" y="370"/>
                      </a:lnTo>
                      <a:lnTo>
                        <a:pt x="199" y="372"/>
                      </a:lnTo>
                      <a:lnTo>
                        <a:pt x="199" y="372"/>
                      </a:lnTo>
                      <a:lnTo>
                        <a:pt x="199" y="370"/>
                      </a:lnTo>
                      <a:lnTo>
                        <a:pt x="201" y="368"/>
                      </a:lnTo>
                      <a:lnTo>
                        <a:pt x="201" y="370"/>
                      </a:lnTo>
                      <a:lnTo>
                        <a:pt x="203" y="370"/>
                      </a:lnTo>
                      <a:lnTo>
                        <a:pt x="206" y="370"/>
                      </a:lnTo>
                      <a:lnTo>
                        <a:pt x="206" y="375"/>
                      </a:lnTo>
                      <a:lnTo>
                        <a:pt x="208" y="377"/>
                      </a:lnTo>
                      <a:lnTo>
                        <a:pt x="213" y="375"/>
                      </a:lnTo>
                      <a:lnTo>
                        <a:pt x="215" y="375"/>
                      </a:lnTo>
                      <a:lnTo>
                        <a:pt x="215" y="380"/>
                      </a:lnTo>
                      <a:lnTo>
                        <a:pt x="215" y="382"/>
                      </a:lnTo>
                      <a:lnTo>
                        <a:pt x="217" y="382"/>
                      </a:lnTo>
                      <a:lnTo>
                        <a:pt x="222" y="384"/>
                      </a:lnTo>
                      <a:lnTo>
                        <a:pt x="222" y="382"/>
                      </a:lnTo>
                      <a:lnTo>
                        <a:pt x="225" y="382"/>
                      </a:lnTo>
                      <a:lnTo>
                        <a:pt x="227" y="380"/>
                      </a:lnTo>
                      <a:lnTo>
                        <a:pt x="232" y="380"/>
                      </a:lnTo>
                      <a:lnTo>
                        <a:pt x="234" y="382"/>
                      </a:lnTo>
                      <a:lnTo>
                        <a:pt x="234" y="384"/>
                      </a:lnTo>
                      <a:lnTo>
                        <a:pt x="239" y="384"/>
                      </a:lnTo>
                      <a:lnTo>
                        <a:pt x="241" y="387"/>
                      </a:lnTo>
                      <a:lnTo>
                        <a:pt x="243" y="389"/>
                      </a:lnTo>
                      <a:lnTo>
                        <a:pt x="246" y="387"/>
                      </a:lnTo>
                      <a:lnTo>
                        <a:pt x="246" y="387"/>
                      </a:lnTo>
                      <a:lnTo>
                        <a:pt x="251" y="387"/>
                      </a:lnTo>
                      <a:lnTo>
                        <a:pt x="251" y="387"/>
                      </a:lnTo>
                      <a:lnTo>
                        <a:pt x="253" y="387"/>
                      </a:lnTo>
                      <a:lnTo>
                        <a:pt x="253" y="384"/>
                      </a:lnTo>
                      <a:lnTo>
                        <a:pt x="255" y="384"/>
                      </a:lnTo>
                      <a:lnTo>
                        <a:pt x="258" y="387"/>
                      </a:lnTo>
                      <a:lnTo>
                        <a:pt x="258" y="389"/>
                      </a:lnTo>
                      <a:lnTo>
                        <a:pt x="260" y="391"/>
                      </a:lnTo>
                      <a:lnTo>
                        <a:pt x="260" y="391"/>
                      </a:lnTo>
                      <a:lnTo>
                        <a:pt x="262" y="389"/>
                      </a:lnTo>
                      <a:lnTo>
                        <a:pt x="265" y="384"/>
                      </a:lnTo>
                      <a:lnTo>
                        <a:pt x="269" y="382"/>
                      </a:lnTo>
                      <a:lnTo>
                        <a:pt x="274" y="382"/>
                      </a:lnTo>
                      <a:lnTo>
                        <a:pt x="274" y="384"/>
                      </a:lnTo>
                      <a:lnTo>
                        <a:pt x="281" y="384"/>
                      </a:lnTo>
                      <a:lnTo>
                        <a:pt x="284" y="384"/>
                      </a:lnTo>
                      <a:lnTo>
                        <a:pt x="286" y="384"/>
                      </a:lnTo>
                      <a:lnTo>
                        <a:pt x="288" y="384"/>
                      </a:lnTo>
                      <a:lnTo>
                        <a:pt x="291" y="387"/>
                      </a:lnTo>
                      <a:lnTo>
                        <a:pt x="291" y="387"/>
                      </a:lnTo>
                      <a:lnTo>
                        <a:pt x="293" y="387"/>
                      </a:lnTo>
                      <a:lnTo>
                        <a:pt x="296" y="384"/>
                      </a:lnTo>
                      <a:lnTo>
                        <a:pt x="298" y="384"/>
                      </a:lnTo>
                      <a:lnTo>
                        <a:pt x="300" y="382"/>
                      </a:lnTo>
                      <a:lnTo>
                        <a:pt x="300" y="382"/>
                      </a:lnTo>
                      <a:lnTo>
                        <a:pt x="303" y="382"/>
                      </a:lnTo>
                      <a:lnTo>
                        <a:pt x="303" y="380"/>
                      </a:lnTo>
                      <a:lnTo>
                        <a:pt x="305" y="380"/>
                      </a:lnTo>
                      <a:lnTo>
                        <a:pt x="307" y="377"/>
                      </a:lnTo>
                      <a:lnTo>
                        <a:pt x="307" y="375"/>
                      </a:lnTo>
                      <a:lnTo>
                        <a:pt x="310" y="375"/>
                      </a:lnTo>
                      <a:lnTo>
                        <a:pt x="314" y="375"/>
                      </a:lnTo>
                      <a:lnTo>
                        <a:pt x="317" y="372"/>
                      </a:lnTo>
                      <a:lnTo>
                        <a:pt x="317" y="370"/>
                      </a:lnTo>
                      <a:lnTo>
                        <a:pt x="319" y="370"/>
                      </a:lnTo>
                      <a:lnTo>
                        <a:pt x="322" y="368"/>
                      </a:lnTo>
                      <a:lnTo>
                        <a:pt x="324" y="370"/>
                      </a:lnTo>
                      <a:lnTo>
                        <a:pt x="326" y="370"/>
                      </a:lnTo>
                      <a:lnTo>
                        <a:pt x="331" y="370"/>
                      </a:lnTo>
                      <a:lnTo>
                        <a:pt x="331" y="370"/>
                      </a:lnTo>
                      <a:lnTo>
                        <a:pt x="331" y="368"/>
                      </a:lnTo>
                      <a:lnTo>
                        <a:pt x="336" y="365"/>
                      </a:lnTo>
                      <a:lnTo>
                        <a:pt x="338" y="365"/>
                      </a:lnTo>
                      <a:lnTo>
                        <a:pt x="340" y="368"/>
                      </a:lnTo>
                      <a:lnTo>
                        <a:pt x="340" y="368"/>
                      </a:lnTo>
                      <a:lnTo>
                        <a:pt x="340" y="368"/>
                      </a:lnTo>
                      <a:lnTo>
                        <a:pt x="340" y="370"/>
                      </a:lnTo>
                      <a:lnTo>
                        <a:pt x="340" y="372"/>
                      </a:lnTo>
                      <a:lnTo>
                        <a:pt x="343" y="372"/>
                      </a:lnTo>
                      <a:lnTo>
                        <a:pt x="343" y="372"/>
                      </a:lnTo>
                      <a:lnTo>
                        <a:pt x="343" y="372"/>
                      </a:lnTo>
                      <a:lnTo>
                        <a:pt x="345" y="375"/>
                      </a:lnTo>
                      <a:lnTo>
                        <a:pt x="345" y="377"/>
                      </a:lnTo>
                      <a:lnTo>
                        <a:pt x="343" y="377"/>
                      </a:lnTo>
                      <a:lnTo>
                        <a:pt x="345" y="380"/>
                      </a:lnTo>
                      <a:lnTo>
                        <a:pt x="348" y="380"/>
                      </a:lnTo>
                      <a:lnTo>
                        <a:pt x="348" y="380"/>
                      </a:lnTo>
                      <a:lnTo>
                        <a:pt x="350" y="380"/>
                      </a:lnTo>
                      <a:lnTo>
                        <a:pt x="352" y="382"/>
                      </a:lnTo>
                      <a:lnTo>
                        <a:pt x="355" y="382"/>
                      </a:lnTo>
                      <a:lnTo>
                        <a:pt x="357" y="382"/>
                      </a:lnTo>
                      <a:lnTo>
                        <a:pt x="359" y="382"/>
                      </a:lnTo>
                      <a:lnTo>
                        <a:pt x="362" y="382"/>
                      </a:lnTo>
                      <a:lnTo>
                        <a:pt x="362" y="384"/>
                      </a:lnTo>
                      <a:lnTo>
                        <a:pt x="364" y="387"/>
                      </a:lnTo>
                      <a:lnTo>
                        <a:pt x="364" y="389"/>
                      </a:lnTo>
                      <a:lnTo>
                        <a:pt x="366" y="389"/>
                      </a:lnTo>
                      <a:lnTo>
                        <a:pt x="369" y="391"/>
                      </a:lnTo>
                      <a:lnTo>
                        <a:pt x="369" y="394"/>
                      </a:lnTo>
                      <a:lnTo>
                        <a:pt x="371" y="399"/>
                      </a:lnTo>
                      <a:lnTo>
                        <a:pt x="371" y="401"/>
                      </a:lnTo>
                      <a:lnTo>
                        <a:pt x="371" y="406"/>
                      </a:lnTo>
                      <a:lnTo>
                        <a:pt x="371" y="408"/>
                      </a:lnTo>
                      <a:lnTo>
                        <a:pt x="371" y="408"/>
                      </a:lnTo>
                      <a:lnTo>
                        <a:pt x="369" y="410"/>
                      </a:lnTo>
                      <a:lnTo>
                        <a:pt x="369" y="410"/>
                      </a:lnTo>
                      <a:lnTo>
                        <a:pt x="366" y="410"/>
                      </a:lnTo>
                      <a:lnTo>
                        <a:pt x="366" y="413"/>
                      </a:lnTo>
                      <a:lnTo>
                        <a:pt x="366" y="415"/>
                      </a:lnTo>
                      <a:lnTo>
                        <a:pt x="366" y="415"/>
                      </a:lnTo>
                      <a:lnTo>
                        <a:pt x="364" y="415"/>
                      </a:lnTo>
                      <a:lnTo>
                        <a:pt x="364" y="417"/>
                      </a:lnTo>
                      <a:lnTo>
                        <a:pt x="362" y="420"/>
                      </a:lnTo>
                      <a:lnTo>
                        <a:pt x="364" y="420"/>
                      </a:lnTo>
                      <a:lnTo>
                        <a:pt x="362" y="422"/>
                      </a:lnTo>
                      <a:lnTo>
                        <a:pt x="362" y="422"/>
                      </a:lnTo>
                      <a:lnTo>
                        <a:pt x="364" y="425"/>
                      </a:lnTo>
                      <a:lnTo>
                        <a:pt x="364" y="425"/>
                      </a:lnTo>
                      <a:lnTo>
                        <a:pt x="366" y="427"/>
                      </a:lnTo>
                      <a:lnTo>
                        <a:pt x="366" y="429"/>
                      </a:lnTo>
                      <a:lnTo>
                        <a:pt x="366" y="432"/>
                      </a:lnTo>
                      <a:lnTo>
                        <a:pt x="369" y="429"/>
                      </a:lnTo>
                      <a:lnTo>
                        <a:pt x="376" y="429"/>
                      </a:lnTo>
                      <a:lnTo>
                        <a:pt x="376" y="429"/>
                      </a:lnTo>
                      <a:lnTo>
                        <a:pt x="376" y="432"/>
                      </a:lnTo>
                      <a:lnTo>
                        <a:pt x="376" y="432"/>
                      </a:lnTo>
                      <a:lnTo>
                        <a:pt x="378" y="432"/>
                      </a:lnTo>
                      <a:lnTo>
                        <a:pt x="381" y="434"/>
                      </a:lnTo>
                      <a:lnTo>
                        <a:pt x="378" y="436"/>
                      </a:lnTo>
                      <a:lnTo>
                        <a:pt x="381" y="436"/>
                      </a:lnTo>
                      <a:lnTo>
                        <a:pt x="383" y="439"/>
                      </a:lnTo>
                      <a:lnTo>
                        <a:pt x="383" y="439"/>
                      </a:lnTo>
                      <a:lnTo>
                        <a:pt x="383" y="441"/>
                      </a:lnTo>
                      <a:lnTo>
                        <a:pt x="383" y="439"/>
                      </a:lnTo>
                      <a:lnTo>
                        <a:pt x="388" y="439"/>
                      </a:lnTo>
                      <a:lnTo>
                        <a:pt x="390" y="441"/>
                      </a:lnTo>
                      <a:lnTo>
                        <a:pt x="390" y="441"/>
                      </a:lnTo>
                      <a:lnTo>
                        <a:pt x="388" y="444"/>
                      </a:lnTo>
                      <a:lnTo>
                        <a:pt x="388" y="446"/>
                      </a:lnTo>
                      <a:lnTo>
                        <a:pt x="385" y="448"/>
                      </a:lnTo>
                      <a:lnTo>
                        <a:pt x="383" y="451"/>
                      </a:lnTo>
                      <a:lnTo>
                        <a:pt x="385" y="451"/>
                      </a:lnTo>
                      <a:lnTo>
                        <a:pt x="385" y="451"/>
                      </a:lnTo>
                      <a:lnTo>
                        <a:pt x="390" y="451"/>
                      </a:lnTo>
                      <a:lnTo>
                        <a:pt x="390" y="453"/>
                      </a:lnTo>
                      <a:lnTo>
                        <a:pt x="393" y="451"/>
                      </a:lnTo>
                      <a:lnTo>
                        <a:pt x="393" y="453"/>
                      </a:lnTo>
                      <a:lnTo>
                        <a:pt x="393" y="455"/>
                      </a:lnTo>
                      <a:lnTo>
                        <a:pt x="393" y="458"/>
                      </a:lnTo>
                      <a:lnTo>
                        <a:pt x="397" y="458"/>
                      </a:lnTo>
                      <a:lnTo>
                        <a:pt x="397" y="458"/>
                      </a:lnTo>
                      <a:lnTo>
                        <a:pt x="400" y="458"/>
                      </a:lnTo>
                      <a:lnTo>
                        <a:pt x="404" y="455"/>
                      </a:lnTo>
                      <a:lnTo>
                        <a:pt x="407" y="455"/>
                      </a:lnTo>
                      <a:lnTo>
                        <a:pt x="407" y="458"/>
                      </a:lnTo>
                      <a:lnTo>
                        <a:pt x="404" y="460"/>
                      </a:lnTo>
                      <a:lnTo>
                        <a:pt x="407" y="458"/>
                      </a:lnTo>
                      <a:lnTo>
                        <a:pt x="407" y="460"/>
                      </a:lnTo>
                      <a:lnTo>
                        <a:pt x="409" y="460"/>
                      </a:lnTo>
                      <a:lnTo>
                        <a:pt x="411" y="460"/>
                      </a:lnTo>
                      <a:lnTo>
                        <a:pt x="414" y="460"/>
                      </a:lnTo>
                      <a:lnTo>
                        <a:pt x="414" y="458"/>
                      </a:lnTo>
                      <a:lnTo>
                        <a:pt x="414" y="455"/>
                      </a:lnTo>
                      <a:lnTo>
                        <a:pt x="411" y="453"/>
                      </a:lnTo>
                      <a:lnTo>
                        <a:pt x="411" y="451"/>
                      </a:lnTo>
                      <a:lnTo>
                        <a:pt x="414" y="448"/>
                      </a:lnTo>
                      <a:lnTo>
                        <a:pt x="414" y="448"/>
                      </a:lnTo>
                      <a:lnTo>
                        <a:pt x="419" y="448"/>
                      </a:lnTo>
                      <a:lnTo>
                        <a:pt x="419" y="448"/>
                      </a:lnTo>
                      <a:lnTo>
                        <a:pt x="419" y="448"/>
                      </a:lnTo>
                      <a:lnTo>
                        <a:pt x="419" y="446"/>
                      </a:lnTo>
                      <a:lnTo>
                        <a:pt x="419" y="446"/>
                      </a:lnTo>
                      <a:lnTo>
                        <a:pt x="421" y="446"/>
                      </a:lnTo>
                      <a:lnTo>
                        <a:pt x="421" y="444"/>
                      </a:lnTo>
                      <a:lnTo>
                        <a:pt x="423" y="444"/>
                      </a:lnTo>
                      <a:lnTo>
                        <a:pt x="426" y="444"/>
                      </a:lnTo>
                      <a:lnTo>
                        <a:pt x="426" y="446"/>
                      </a:lnTo>
                      <a:lnTo>
                        <a:pt x="426" y="446"/>
                      </a:lnTo>
                      <a:lnTo>
                        <a:pt x="428" y="446"/>
                      </a:lnTo>
                      <a:lnTo>
                        <a:pt x="428" y="444"/>
                      </a:lnTo>
                      <a:lnTo>
                        <a:pt x="430" y="444"/>
                      </a:lnTo>
                      <a:lnTo>
                        <a:pt x="433" y="446"/>
                      </a:lnTo>
                      <a:lnTo>
                        <a:pt x="433" y="444"/>
                      </a:lnTo>
                      <a:lnTo>
                        <a:pt x="435" y="444"/>
                      </a:lnTo>
                      <a:lnTo>
                        <a:pt x="435" y="446"/>
                      </a:lnTo>
                      <a:lnTo>
                        <a:pt x="437" y="444"/>
                      </a:lnTo>
                      <a:lnTo>
                        <a:pt x="437" y="444"/>
                      </a:lnTo>
                      <a:lnTo>
                        <a:pt x="440" y="441"/>
                      </a:lnTo>
                      <a:lnTo>
                        <a:pt x="442" y="444"/>
                      </a:lnTo>
                      <a:lnTo>
                        <a:pt x="447" y="441"/>
                      </a:lnTo>
                      <a:lnTo>
                        <a:pt x="447" y="439"/>
                      </a:lnTo>
                      <a:lnTo>
                        <a:pt x="449" y="436"/>
                      </a:lnTo>
                      <a:lnTo>
                        <a:pt x="452" y="436"/>
                      </a:lnTo>
                      <a:lnTo>
                        <a:pt x="454" y="436"/>
                      </a:lnTo>
                      <a:lnTo>
                        <a:pt x="456" y="439"/>
                      </a:lnTo>
                      <a:lnTo>
                        <a:pt x="456" y="439"/>
                      </a:lnTo>
                      <a:lnTo>
                        <a:pt x="459" y="439"/>
                      </a:lnTo>
                      <a:lnTo>
                        <a:pt x="459" y="441"/>
                      </a:lnTo>
                      <a:lnTo>
                        <a:pt x="463" y="441"/>
                      </a:lnTo>
                      <a:lnTo>
                        <a:pt x="466" y="441"/>
                      </a:lnTo>
                      <a:lnTo>
                        <a:pt x="468" y="441"/>
                      </a:lnTo>
                      <a:lnTo>
                        <a:pt x="471" y="441"/>
                      </a:lnTo>
                      <a:lnTo>
                        <a:pt x="471" y="444"/>
                      </a:lnTo>
                      <a:lnTo>
                        <a:pt x="468" y="444"/>
                      </a:lnTo>
                      <a:lnTo>
                        <a:pt x="466" y="448"/>
                      </a:lnTo>
                      <a:lnTo>
                        <a:pt x="468" y="448"/>
                      </a:lnTo>
                      <a:lnTo>
                        <a:pt x="468" y="451"/>
                      </a:lnTo>
                      <a:lnTo>
                        <a:pt x="473" y="453"/>
                      </a:lnTo>
                      <a:lnTo>
                        <a:pt x="473" y="453"/>
                      </a:lnTo>
                      <a:lnTo>
                        <a:pt x="475" y="455"/>
                      </a:lnTo>
                      <a:lnTo>
                        <a:pt x="478" y="455"/>
                      </a:lnTo>
                      <a:lnTo>
                        <a:pt x="480" y="455"/>
                      </a:lnTo>
                      <a:lnTo>
                        <a:pt x="482" y="455"/>
                      </a:lnTo>
                      <a:lnTo>
                        <a:pt x="482" y="455"/>
                      </a:lnTo>
                      <a:lnTo>
                        <a:pt x="485" y="455"/>
                      </a:lnTo>
                      <a:lnTo>
                        <a:pt x="485" y="455"/>
                      </a:lnTo>
                      <a:lnTo>
                        <a:pt x="487" y="455"/>
                      </a:lnTo>
                      <a:lnTo>
                        <a:pt x="487" y="455"/>
                      </a:lnTo>
                      <a:lnTo>
                        <a:pt x="490" y="455"/>
                      </a:lnTo>
                      <a:lnTo>
                        <a:pt x="490" y="455"/>
                      </a:lnTo>
                      <a:lnTo>
                        <a:pt x="490" y="453"/>
                      </a:lnTo>
                      <a:lnTo>
                        <a:pt x="492" y="455"/>
                      </a:lnTo>
                      <a:lnTo>
                        <a:pt x="494" y="455"/>
                      </a:lnTo>
                      <a:lnTo>
                        <a:pt x="494" y="455"/>
                      </a:lnTo>
                      <a:lnTo>
                        <a:pt x="497" y="458"/>
                      </a:lnTo>
                      <a:lnTo>
                        <a:pt x="499" y="458"/>
                      </a:lnTo>
                      <a:lnTo>
                        <a:pt x="499" y="458"/>
                      </a:lnTo>
                      <a:lnTo>
                        <a:pt x="501" y="455"/>
                      </a:lnTo>
                      <a:lnTo>
                        <a:pt x="504" y="458"/>
                      </a:lnTo>
                      <a:lnTo>
                        <a:pt x="504" y="458"/>
                      </a:lnTo>
                      <a:lnTo>
                        <a:pt x="506" y="458"/>
                      </a:lnTo>
                      <a:lnTo>
                        <a:pt x="506" y="458"/>
                      </a:lnTo>
                      <a:lnTo>
                        <a:pt x="504" y="458"/>
                      </a:lnTo>
                      <a:lnTo>
                        <a:pt x="504" y="460"/>
                      </a:lnTo>
                      <a:lnTo>
                        <a:pt x="501" y="463"/>
                      </a:lnTo>
                      <a:lnTo>
                        <a:pt x="501" y="463"/>
                      </a:lnTo>
                      <a:lnTo>
                        <a:pt x="506" y="467"/>
                      </a:lnTo>
                      <a:lnTo>
                        <a:pt x="506" y="467"/>
                      </a:lnTo>
                      <a:lnTo>
                        <a:pt x="506" y="470"/>
                      </a:lnTo>
                      <a:lnTo>
                        <a:pt x="506" y="470"/>
                      </a:lnTo>
                      <a:lnTo>
                        <a:pt x="506" y="470"/>
                      </a:lnTo>
                      <a:lnTo>
                        <a:pt x="508" y="470"/>
                      </a:lnTo>
                      <a:lnTo>
                        <a:pt x="511" y="470"/>
                      </a:lnTo>
                      <a:lnTo>
                        <a:pt x="511" y="470"/>
                      </a:lnTo>
                      <a:lnTo>
                        <a:pt x="511" y="470"/>
                      </a:lnTo>
                      <a:lnTo>
                        <a:pt x="513" y="467"/>
                      </a:lnTo>
                      <a:lnTo>
                        <a:pt x="513" y="467"/>
                      </a:lnTo>
                      <a:lnTo>
                        <a:pt x="513" y="467"/>
                      </a:lnTo>
                      <a:lnTo>
                        <a:pt x="513" y="465"/>
                      </a:lnTo>
                      <a:lnTo>
                        <a:pt x="511" y="465"/>
                      </a:lnTo>
                      <a:lnTo>
                        <a:pt x="511" y="465"/>
                      </a:lnTo>
                      <a:lnTo>
                        <a:pt x="508" y="463"/>
                      </a:lnTo>
                      <a:lnTo>
                        <a:pt x="508" y="460"/>
                      </a:lnTo>
                      <a:lnTo>
                        <a:pt x="511" y="460"/>
                      </a:lnTo>
                      <a:lnTo>
                        <a:pt x="511" y="458"/>
                      </a:lnTo>
                      <a:lnTo>
                        <a:pt x="511" y="458"/>
                      </a:lnTo>
                      <a:lnTo>
                        <a:pt x="511" y="458"/>
                      </a:lnTo>
                      <a:lnTo>
                        <a:pt x="513" y="458"/>
                      </a:lnTo>
                      <a:lnTo>
                        <a:pt x="513" y="458"/>
                      </a:lnTo>
                      <a:lnTo>
                        <a:pt x="513" y="458"/>
                      </a:lnTo>
                      <a:lnTo>
                        <a:pt x="513" y="458"/>
                      </a:lnTo>
                      <a:lnTo>
                        <a:pt x="513" y="458"/>
                      </a:lnTo>
                      <a:lnTo>
                        <a:pt x="513" y="458"/>
                      </a:lnTo>
                      <a:lnTo>
                        <a:pt x="516" y="460"/>
                      </a:lnTo>
                      <a:lnTo>
                        <a:pt x="513" y="460"/>
                      </a:lnTo>
                      <a:lnTo>
                        <a:pt x="516" y="460"/>
                      </a:lnTo>
                      <a:lnTo>
                        <a:pt x="516" y="458"/>
                      </a:lnTo>
                      <a:lnTo>
                        <a:pt x="518" y="458"/>
                      </a:lnTo>
                      <a:lnTo>
                        <a:pt x="518" y="458"/>
                      </a:lnTo>
                      <a:lnTo>
                        <a:pt x="520" y="458"/>
                      </a:lnTo>
                      <a:lnTo>
                        <a:pt x="523" y="458"/>
                      </a:lnTo>
                      <a:lnTo>
                        <a:pt x="525" y="455"/>
                      </a:lnTo>
                      <a:lnTo>
                        <a:pt x="525" y="453"/>
                      </a:lnTo>
                      <a:lnTo>
                        <a:pt x="527" y="455"/>
                      </a:lnTo>
                      <a:lnTo>
                        <a:pt x="527" y="453"/>
                      </a:lnTo>
                      <a:lnTo>
                        <a:pt x="530" y="455"/>
                      </a:lnTo>
                      <a:lnTo>
                        <a:pt x="532" y="453"/>
                      </a:lnTo>
                      <a:lnTo>
                        <a:pt x="534" y="453"/>
                      </a:lnTo>
                      <a:lnTo>
                        <a:pt x="537" y="451"/>
                      </a:lnTo>
                      <a:lnTo>
                        <a:pt x="539" y="448"/>
                      </a:lnTo>
                      <a:lnTo>
                        <a:pt x="539" y="448"/>
                      </a:lnTo>
                      <a:lnTo>
                        <a:pt x="539" y="448"/>
                      </a:lnTo>
                      <a:lnTo>
                        <a:pt x="539" y="451"/>
                      </a:lnTo>
                      <a:lnTo>
                        <a:pt x="542" y="448"/>
                      </a:lnTo>
                      <a:lnTo>
                        <a:pt x="542" y="448"/>
                      </a:lnTo>
                      <a:lnTo>
                        <a:pt x="544" y="446"/>
                      </a:lnTo>
                      <a:lnTo>
                        <a:pt x="544" y="444"/>
                      </a:lnTo>
                      <a:lnTo>
                        <a:pt x="544" y="441"/>
                      </a:lnTo>
                      <a:lnTo>
                        <a:pt x="544" y="441"/>
                      </a:lnTo>
                      <a:lnTo>
                        <a:pt x="542" y="439"/>
                      </a:lnTo>
                      <a:lnTo>
                        <a:pt x="544" y="441"/>
                      </a:lnTo>
                      <a:lnTo>
                        <a:pt x="546" y="441"/>
                      </a:lnTo>
                      <a:lnTo>
                        <a:pt x="546" y="444"/>
                      </a:lnTo>
                      <a:lnTo>
                        <a:pt x="549" y="446"/>
                      </a:lnTo>
                      <a:lnTo>
                        <a:pt x="551" y="446"/>
                      </a:lnTo>
                      <a:lnTo>
                        <a:pt x="549" y="446"/>
                      </a:lnTo>
                      <a:lnTo>
                        <a:pt x="549" y="446"/>
                      </a:lnTo>
                      <a:lnTo>
                        <a:pt x="549" y="448"/>
                      </a:lnTo>
                      <a:lnTo>
                        <a:pt x="553" y="446"/>
                      </a:lnTo>
                      <a:lnTo>
                        <a:pt x="553" y="444"/>
                      </a:lnTo>
                      <a:lnTo>
                        <a:pt x="556" y="444"/>
                      </a:lnTo>
                      <a:lnTo>
                        <a:pt x="556" y="444"/>
                      </a:lnTo>
                      <a:lnTo>
                        <a:pt x="558" y="444"/>
                      </a:lnTo>
                      <a:lnTo>
                        <a:pt x="558" y="444"/>
                      </a:lnTo>
                      <a:lnTo>
                        <a:pt x="560" y="441"/>
                      </a:lnTo>
                      <a:lnTo>
                        <a:pt x="560" y="441"/>
                      </a:lnTo>
                      <a:lnTo>
                        <a:pt x="563" y="441"/>
                      </a:lnTo>
                      <a:lnTo>
                        <a:pt x="563" y="441"/>
                      </a:lnTo>
                      <a:lnTo>
                        <a:pt x="565" y="444"/>
                      </a:lnTo>
                      <a:lnTo>
                        <a:pt x="565" y="441"/>
                      </a:lnTo>
                      <a:lnTo>
                        <a:pt x="565" y="441"/>
                      </a:lnTo>
                      <a:lnTo>
                        <a:pt x="568" y="441"/>
                      </a:lnTo>
                      <a:lnTo>
                        <a:pt x="568" y="441"/>
                      </a:lnTo>
                      <a:lnTo>
                        <a:pt x="570" y="441"/>
                      </a:lnTo>
                      <a:lnTo>
                        <a:pt x="570" y="441"/>
                      </a:lnTo>
                      <a:lnTo>
                        <a:pt x="572" y="439"/>
                      </a:lnTo>
                      <a:lnTo>
                        <a:pt x="572" y="439"/>
                      </a:lnTo>
                      <a:lnTo>
                        <a:pt x="575" y="439"/>
                      </a:lnTo>
                      <a:lnTo>
                        <a:pt x="575" y="439"/>
                      </a:lnTo>
                      <a:lnTo>
                        <a:pt x="575" y="439"/>
                      </a:lnTo>
                      <a:lnTo>
                        <a:pt x="577" y="439"/>
                      </a:lnTo>
                      <a:lnTo>
                        <a:pt x="579" y="436"/>
                      </a:lnTo>
                      <a:lnTo>
                        <a:pt x="577" y="436"/>
                      </a:lnTo>
                      <a:lnTo>
                        <a:pt x="579" y="434"/>
                      </a:lnTo>
                      <a:lnTo>
                        <a:pt x="579" y="432"/>
                      </a:lnTo>
                      <a:lnTo>
                        <a:pt x="577" y="432"/>
                      </a:lnTo>
                      <a:lnTo>
                        <a:pt x="579" y="432"/>
                      </a:lnTo>
                      <a:lnTo>
                        <a:pt x="579" y="429"/>
                      </a:lnTo>
                      <a:lnTo>
                        <a:pt x="582" y="429"/>
                      </a:lnTo>
                      <a:lnTo>
                        <a:pt x="584" y="429"/>
                      </a:lnTo>
                      <a:lnTo>
                        <a:pt x="584" y="429"/>
                      </a:lnTo>
                      <a:lnTo>
                        <a:pt x="587" y="427"/>
                      </a:lnTo>
                      <a:lnTo>
                        <a:pt x="587" y="427"/>
                      </a:lnTo>
                      <a:lnTo>
                        <a:pt x="587" y="427"/>
                      </a:lnTo>
                      <a:lnTo>
                        <a:pt x="589" y="427"/>
                      </a:lnTo>
                      <a:lnTo>
                        <a:pt x="589" y="427"/>
                      </a:lnTo>
                      <a:lnTo>
                        <a:pt x="589" y="427"/>
                      </a:lnTo>
                      <a:lnTo>
                        <a:pt x="591" y="425"/>
                      </a:lnTo>
                      <a:lnTo>
                        <a:pt x="591" y="427"/>
                      </a:lnTo>
                      <a:lnTo>
                        <a:pt x="591" y="425"/>
                      </a:lnTo>
                      <a:lnTo>
                        <a:pt x="594" y="425"/>
                      </a:lnTo>
                      <a:lnTo>
                        <a:pt x="594" y="422"/>
                      </a:lnTo>
                      <a:lnTo>
                        <a:pt x="591" y="422"/>
                      </a:lnTo>
                      <a:lnTo>
                        <a:pt x="591" y="422"/>
                      </a:lnTo>
                      <a:lnTo>
                        <a:pt x="589" y="420"/>
                      </a:lnTo>
                      <a:lnTo>
                        <a:pt x="591" y="420"/>
                      </a:lnTo>
                      <a:lnTo>
                        <a:pt x="594" y="417"/>
                      </a:lnTo>
                      <a:lnTo>
                        <a:pt x="594" y="420"/>
                      </a:lnTo>
                      <a:lnTo>
                        <a:pt x="596" y="417"/>
                      </a:lnTo>
                      <a:lnTo>
                        <a:pt x="598" y="420"/>
                      </a:lnTo>
                      <a:lnTo>
                        <a:pt x="598" y="417"/>
                      </a:lnTo>
                      <a:lnTo>
                        <a:pt x="598" y="417"/>
                      </a:lnTo>
                      <a:lnTo>
                        <a:pt x="596" y="415"/>
                      </a:lnTo>
                      <a:lnTo>
                        <a:pt x="596" y="415"/>
                      </a:lnTo>
                      <a:lnTo>
                        <a:pt x="598" y="415"/>
                      </a:lnTo>
                      <a:lnTo>
                        <a:pt x="601" y="415"/>
                      </a:lnTo>
                      <a:lnTo>
                        <a:pt x="601" y="415"/>
                      </a:lnTo>
                      <a:lnTo>
                        <a:pt x="598" y="415"/>
                      </a:lnTo>
                      <a:lnTo>
                        <a:pt x="598" y="413"/>
                      </a:lnTo>
                      <a:lnTo>
                        <a:pt x="598" y="413"/>
                      </a:lnTo>
                      <a:lnTo>
                        <a:pt x="598" y="410"/>
                      </a:lnTo>
                      <a:lnTo>
                        <a:pt x="601" y="413"/>
                      </a:lnTo>
                      <a:lnTo>
                        <a:pt x="601" y="413"/>
                      </a:lnTo>
                      <a:lnTo>
                        <a:pt x="601" y="413"/>
                      </a:lnTo>
                      <a:lnTo>
                        <a:pt x="601" y="410"/>
                      </a:lnTo>
                      <a:lnTo>
                        <a:pt x="601" y="410"/>
                      </a:lnTo>
                      <a:lnTo>
                        <a:pt x="601" y="408"/>
                      </a:lnTo>
                      <a:lnTo>
                        <a:pt x="601" y="408"/>
                      </a:lnTo>
                      <a:lnTo>
                        <a:pt x="601" y="408"/>
                      </a:lnTo>
                      <a:lnTo>
                        <a:pt x="603" y="408"/>
                      </a:lnTo>
                      <a:lnTo>
                        <a:pt x="603" y="410"/>
                      </a:lnTo>
                      <a:lnTo>
                        <a:pt x="605" y="410"/>
                      </a:lnTo>
                      <a:lnTo>
                        <a:pt x="605" y="413"/>
                      </a:lnTo>
                      <a:lnTo>
                        <a:pt x="605" y="410"/>
                      </a:lnTo>
                      <a:lnTo>
                        <a:pt x="605" y="408"/>
                      </a:lnTo>
                      <a:lnTo>
                        <a:pt x="603" y="408"/>
                      </a:lnTo>
                      <a:lnTo>
                        <a:pt x="603" y="406"/>
                      </a:lnTo>
                      <a:lnTo>
                        <a:pt x="605" y="406"/>
                      </a:lnTo>
                      <a:lnTo>
                        <a:pt x="605" y="406"/>
                      </a:lnTo>
                      <a:lnTo>
                        <a:pt x="603" y="403"/>
                      </a:lnTo>
                      <a:lnTo>
                        <a:pt x="605" y="403"/>
                      </a:lnTo>
                      <a:lnTo>
                        <a:pt x="605" y="401"/>
                      </a:lnTo>
                      <a:lnTo>
                        <a:pt x="603" y="401"/>
                      </a:lnTo>
                      <a:lnTo>
                        <a:pt x="603" y="403"/>
                      </a:lnTo>
                      <a:lnTo>
                        <a:pt x="603" y="401"/>
                      </a:lnTo>
                      <a:lnTo>
                        <a:pt x="605" y="399"/>
                      </a:lnTo>
                      <a:lnTo>
                        <a:pt x="608" y="399"/>
                      </a:lnTo>
                      <a:lnTo>
                        <a:pt x="608" y="396"/>
                      </a:lnTo>
                      <a:lnTo>
                        <a:pt x="605" y="399"/>
                      </a:lnTo>
                      <a:lnTo>
                        <a:pt x="603" y="396"/>
                      </a:lnTo>
                      <a:lnTo>
                        <a:pt x="605" y="396"/>
                      </a:lnTo>
                      <a:lnTo>
                        <a:pt x="605" y="394"/>
                      </a:lnTo>
                      <a:lnTo>
                        <a:pt x="603" y="394"/>
                      </a:lnTo>
                      <a:lnTo>
                        <a:pt x="603" y="391"/>
                      </a:lnTo>
                      <a:lnTo>
                        <a:pt x="603" y="391"/>
                      </a:lnTo>
                      <a:lnTo>
                        <a:pt x="605" y="391"/>
                      </a:lnTo>
                      <a:lnTo>
                        <a:pt x="605" y="389"/>
                      </a:lnTo>
                      <a:lnTo>
                        <a:pt x="605" y="391"/>
                      </a:lnTo>
                      <a:lnTo>
                        <a:pt x="605" y="389"/>
                      </a:lnTo>
                      <a:lnTo>
                        <a:pt x="605" y="391"/>
                      </a:lnTo>
                      <a:lnTo>
                        <a:pt x="608" y="391"/>
                      </a:lnTo>
                      <a:lnTo>
                        <a:pt x="610" y="389"/>
                      </a:lnTo>
                      <a:lnTo>
                        <a:pt x="610" y="389"/>
                      </a:lnTo>
                      <a:lnTo>
                        <a:pt x="613" y="389"/>
                      </a:lnTo>
                      <a:lnTo>
                        <a:pt x="613" y="387"/>
                      </a:lnTo>
                      <a:lnTo>
                        <a:pt x="610" y="387"/>
                      </a:lnTo>
                      <a:lnTo>
                        <a:pt x="610" y="384"/>
                      </a:lnTo>
                      <a:lnTo>
                        <a:pt x="613" y="387"/>
                      </a:lnTo>
                      <a:lnTo>
                        <a:pt x="615" y="384"/>
                      </a:lnTo>
                      <a:lnTo>
                        <a:pt x="615" y="384"/>
                      </a:lnTo>
                      <a:lnTo>
                        <a:pt x="615" y="382"/>
                      </a:lnTo>
                      <a:lnTo>
                        <a:pt x="615" y="382"/>
                      </a:lnTo>
                      <a:lnTo>
                        <a:pt x="615" y="380"/>
                      </a:lnTo>
                      <a:lnTo>
                        <a:pt x="615" y="380"/>
                      </a:lnTo>
                      <a:lnTo>
                        <a:pt x="615" y="377"/>
                      </a:lnTo>
                      <a:lnTo>
                        <a:pt x="615" y="377"/>
                      </a:lnTo>
                      <a:lnTo>
                        <a:pt x="613" y="375"/>
                      </a:lnTo>
                      <a:lnTo>
                        <a:pt x="615" y="377"/>
                      </a:lnTo>
                      <a:lnTo>
                        <a:pt x="617" y="375"/>
                      </a:lnTo>
                      <a:lnTo>
                        <a:pt x="617" y="372"/>
                      </a:lnTo>
                      <a:lnTo>
                        <a:pt x="620" y="372"/>
                      </a:lnTo>
                      <a:lnTo>
                        <a:pt x="620" y="375"/>
                      </a:lnTo>
                      <a:lnTo>
                        <a:pt x="622" y="375"/>
                      </a:lnTo>
                      <a:lnTo>
                        <a:pt x="622" y="372"/>
                      </a:lnTo>
                      <a:lnTo>
                        <a:pt x="624" y="372"/>
                      </a:lnTo>
                      <a:lnTo>
                        <a:pt x="622" y="370"/>
                      </a:lnTo>
                      <a:lnTo>
                        <a:pt x="620" y="370"/>
                      </a:lnTo>
                      <a:lnTo>
                        <a:pt x="620" y="368"/>
                      </a:lnTo>
                      <a:lnTo>
                        <a:pt x="620" y="368"/>
                      </a:lnTo>
                      <a:lnTo>
                        <a:pt x="622" y="368"/>
                      </a:lnTo>
                      <a:lnTo>
                        <a:pt x="622" y="368"/>
                      </a:lnTo>
                      <a:lnTo>
                        <a:pt x="622" y="365"/>
                      </a:lnTo>
                      <a:lnTo>
                        <a:pt x="620" y="365"/>
                      </a:lnTo>
                      <a:lnTo>
                        <a:pt x="622" y="363"/>
                      </a:lnTo>
                      <a:lnTo>
                        <a:pt x="622" y="365"/>
                      </a:lnTo>
                      <a:lnTo>
                        <a:pt x="622" y="363"/>
                      </a:lnTo>
                      <a:lnTo>
                        <a:pt x="622" y="363"/>
                      </a:lnTo>
                      <a:lnTo>
                        <a:pt x="617" y="363"/>
                      </a:lnTo>
                      <a:lnTo>
                        <a:pt x="617" y="361"/>
                      </a:lnTo>
                      <a:lnTo>
                        <a:pt x="620" y="361"/>
                      </a:lnTo>
                      <a:lnTo>
                        <a:pt x="622" y="361"/>
                      </a:lnTo>
                      <a:lnTo>
                        <a:pt x="624" y="361"/>
                      </a:lnTo>
                      <a:lnTo>
                        <a:pt x="624" y="358"/>
                      </a:lnTo>
                      <a:lnTo>
                        <a:pt x="624" y="361"/>
                      </a:lnTo>
                      <a:lnTo>
                        <a:pt x="624" y="361"/>
                      </a:lnTo>
                      <a:lnTo>
                        <a:pt x="627" y="358"/>
                      </a:lnTo>
                      <a:lnTo>
                        <a:pt x="627" y="358"/>
                      </a:lnTo>
                      <a:lnTo>
                        <a:pt x="624" y="356"/>
                      </a:lnTo>
                      <a:lnTo>
                        <a:pt x="624" y="353"/>
                      </a:lnTo>
                      <a:lnTo>
                        <a:pt x="622" y="356"/>
                      </a:lnTo>
                      <a:lnTo>
                        <a:pt x="624" y="356"/>
                      </a:lnTo>
                      <a:lnTo>
                        <a:pt x="624" y="356"/>
                      </a:lnTo>
                      <a:lnTo>
                        <a:pt x="622" y="356"/>
                      </a:lnTo>
                      <a:lnTo>
                        <a:pt x="617" y="358"/>
                      </a:lnTo>
                      <a:lnTo>
                        <a:pt x="617" y="358"/>
                      </a:lnTo>
                      <a:lnTo>
                        <a:pt x="617" y="356"/>
                      </a:lnTo>
                      <a:lnTo>
                        <a:pt x="620" y="356"/>
                      </a:lnTo>
                      <a:lnTo>
                        <a:pt x="624" y="351"/>
                      </a:lnTo>
                      <a:lnTo>
                        <a:pt x="624" y="351"/>
                      </a:lnTo>
                      <a:lnTo>
                        <a:pt x="622" y="351"/>
                      </a:lnTo>
                      <a:lnTo>
                        <a:pt x="622" y="351"/>
                      </a:lnTo>
                      <a:lnTo>
                        <a:pt x="620" y="351"/>
                      </a:lnTo>
                      <a:lnTo>
                        <a:pt x="617" y="346"/>
                      </a:lnTo>
                      <a:lnTo>
                        <a:pt x="615" y="346"/>
                      </a:lnTo>
                      <a:lnTo>
                        <a:pt x="610" y="349"/>
                      </a:lnTo>
                      <a:lnTo>
                        <a:pt x="608" y="349"/>
                      </a:lnTo>
                      <a:lnTo>
                        <a:pt x="605" y="346"/>
                      </a:lnTo>
                      <a:lnTo>
                        <a:pt x="605" y="346"/>
                      </a:lnTo>
                      <a:lnTo>
                        <a:pt x="603" y="349"/>
                      </a:lnTo>
                      <a:lnTo>
                        <a:pt x="601" y="349"/>
                      </a:lnTo>
                      <a:lnTo>
                        <a:pt x="601" y="346"/>
                      </a:lnTo>
                      <a:lnTo>
                        <a:pt x="603" y="344"/>
                      </a:lnTo>
                      <a:lnTo>
                        <a:pt x="605" y="344"/>
                      </a:lnTo>
                      <a:lnTo>
                        <a:pt x="608" y="344"/>
                      </a:lnTo>
                      <a:lnTo>
                        <a:pt x="610" y="346"/>
                      </a:lnTo>
                      <a:lnTo>
                        <a:pt x="613" y="344"/>
                      </a:lnTo>
                      <a:lnTo>
                        <a:pt x="613" y="342"/>
                      </a:lnTo>
                      <a:lnTo>
                        <a:pt x="613" y="342"/>
                      </a:lnTo>
                      <a:lnTo>
                        <a:pt x="615" y="342"/>
                      </a:lnTo>
                      <a:lnTo>
                        <a:pt x="617" y="339"/>
                      </a:lnTo>
                      <a:lnTo>
                        <a:pt x="620" y="339"/>
                      </a:lnTo>
                      <a:lnTo>
                        <a:pt x="620" y="337"/>
                      </a:lnTo>
                      <a:lnTo>
                        <a:pt x="617" y="335"/>
                      </a:lnTo>
                      <a:lnTo>
                        <a:pt x="613" y="330"/>
                      </a:lnTo>
                      <a:lnTo>
                        <a:pt x="608" y="327"/>
                      </a:lnTo>
                      <a:lnTo>
                        <a:pt x="603" y="325"/>
                      </a:lnTo>
                      <a:lnTo>
                        <a:pt x="601" y="325"/>
                      </a:lnTo>
                      <a:lnTo>
                        <a:pt x="598" y="327"/>
                      </a:lnTo>
                      <a:lnTo>
                        <a:pt x="596" y="325"/>
                      </a:lnTo>
                      <a:lnTo>
                        <a:pt x="594" y="323"/>
                      </a:lnTo>
                      <a:lnTo>
                        <a:pt x="594" y="323"/>
                      </a:lnTo>
                      <a:lnTo>
                        <a:pt x="591" y="323"/>
                      </a:lnTo>
                      <a:lnTo>
                        <a:pt x="589" y="323"/>
                      </a:lnTo>
                      <a:lnTo>
                        <a:pt x="587" y="323"/>
                      </a:lnTo>
                      <a:lnTo>
                        <a:pt x="584" y="323"/>
                      </a:lnTo>
                      <a:lnTo>
                        <a:pt x="579" y="327"/>
                      </a:lnTo>
                      <a:lnTo>
                        <a:pt x="584" y="323"/>
                      </a:lnTo>
                      <a:lnTo>
                        <a:pt x="584" y="320"/>
                      </a:lnTo>
                      <a:lnTo>
                        <a:pt x="587" y="323"/>
                      </a:lnTo>
                      <a:lnTo>
                        <a:pt x="589" y="323"/>
                      </a:lnTo>
                      <a:lnTo>
                        <a:pt x="589" y="320"/>
                      </a:lnTo>
                      <a:lnTo>
                        <a:pt x="591" y="323"/>
                      </a:lnTo>
                      <a:lnTo>
                        <a:pt x="594" y="320"/>
                      </a:lnTo>
                      <a:lnTo>
                        <a:pt x="594" y="323"/>
                      </a:lnTo>
                      <a:lnTo>
                        <a:pt x="596" y="325"/>
                      </a:lnTo>
                      <a:lnTo>
                        <a:pt x="598" y="325"/>
                      </a:lnTo>
                      <a:lnTo>
                        <a:pt x="601" y="323"/>
                      </a:lnTo>
                      <a:lnTo>
                        <a:pt x="603" y="323"/>
                      </a:lnTo>
                      <a:lnTo>
                        <a:pt x="605" y="325"/>
                      </a:lnTo>
                      <a:lnTo>
                        <a:pt x="608" y="325"/>
                      </a:lnTo>
                      <a:lnTo>
                        <a:pt x="610" y="327"/>
                      </a:lnTo>
                      <a:lnTo>
                        <a:pt x="613" y="325"/>
                      </a:lnTo>
                      <a:lnTo>
                        <a:pt x="617" y="327"/>
                      </a:lnTo>
                      <a:lnTo>
                        <a:pt x="620" y="327"/>
                      </a:lnTo>
                      <a:lnTo>
                        <a:pt x="617" y="323"/>
                      </a:lnTo>
                      <a:lnTo>
                        <a:pt x="615" y="323"/>
                      </a:lnTo>
                      <a:lnTo>
                        <a:pt x="613" y="320"/>
                      </a:lnTo>
                      <a:lnTo>
                        <a:pt x="613" y="320"/>
                      </a:lnTo>
                      <a:lnTo>
                        <a:pt x="613" y="318"/>
                      </a:lnTo>
                      <a:lnTo>
                        <a:pt x="610" y="318"/>
                      </a:lnTo>
                      <a:lnTo>
                        <a:pt x="608" y="318"/>
                      </a:lnTo>
                      <a:lnTo>
                        <a:pt x="605" y="313"/>
                      </a:lnTo>
                      <a:lnTo>
                        <a:pt x="605" y="311"/>
                      </a:lnTo>
                      <a:lnTo>
                        <a:pt x="601" y="308"/>
                      </a:lnTo>
                      <a:lnTo>
                        <a:pt x="601" y="306"/>
                      </a:lnTo>
                      <a:lnTo>
                        <a:pt x="598" y="304"/>
                      </a:lnTo>
                      <a:lnTo>
                        <a:pt x="598" y="301"/>
                      </a:lnTo>
                      <a:lnTo>
                        <a:pt x="598" y="301"/>
                      </a:lnTo>
                      <a:lnTo>
                        <a:pt x="594" y="294"/>
                      </a:lnTo>
                      <a:lnTo>
                        <a:pt x="589" y="292"/>
                      </a:lnTo>
                      <a:lnTo>
                        <a:pt x="587" y="294"/>
                      </a:lnTo>
                      <a:lnTo>
                        <a:pt x="587" y="292"/>
                      </a:lnTo>
                      <a:lnTo>
                        <a:pt x="582" y="289"/>
                      </a:lnTo>
                      <a:lnTo>
                        <a:pt x="579" y="289"/>
                      </a:lnTo>
                      <a:lnTo>
                        <a:pt x="579" y="285"/>
                      </a:lnTo>
                      <a:lnTo>
                        <a:pt x="582" y="280"/>
                      </a:lnTo>
                      <a:lnTo>
                        <a:pt x="579" y="278"/>
                      </a:lnTo>
                      <a:lnTo>
                        <a:pt x="582" y="275"/>
                      </a:lnTo>
                      <a:lnTo>
                        <a:pt x="582" y="275"/>
                      </a:lnTo>
                      <a:lnTo>
                        <a:pt x="584" y="275"/>
                      </a:lnTo>
                      <a:lnTo>
                        <a:pt x="584" y="273"/>
                      </a:lnTo>
                      <a:lnTo>
                        <a:pt x="587" y="273"/>
                      </a:lnTo>
                      <a:lnTo>
                        <a:pt x="589" y="271"/>
                      </a:lnTo>
                      <a:lnTo>
                        <a:pt x="587" y="271"/>
                      </a:lnTo>
                      <a:lnTo>
                        <a:pt x="584" y="268"/>
                      </a:lnTo>
                      <a:lnTo>
                        <a:pt x="587" y="266"/>
                      </a:lnTo>
                      <a:lnTo>
                        <a:pt x="591" y="266"/>
                      </a:lnTo>
                      <a:lnTo>
                        <a:pt x="591" y="266"/>
                      </a:lnTo>
                      <a:lnTo>
                        <a:pt x="594" y="263"/>
                      </a:lnTo>
                      <a:lnTo>
                        <a:pt x="594" y="263"/>
                      </a:lnTo>
                      <a:lnTo>
                        <a:pt x="591" y="261"/>
                      </a:lnTo>
                      <a:lnTo>
                        <a:pt x="594" y="261"/>
                      </a:lnTo>
                      <a:lnTo>
                        <a:pt x="596" y="261"/>
                      </a:lnTo>
                      <a:lnTo>
                        <a:pt x="596" y="261"/>
                      </a:lnTo>
                      <a:lnTo>
                        <a:pt x="598" y="261"/>
                      </a:lnTo>
                      <a:lnTo>
                        <a:pt x="598" y="259"/>
                      </a:lnTo>
                      <a:lnTo>
                        <a:pt x="601" y="259"/>
                      </a:lnTo>
                      <a:lnTo>
                        <a:pt x="603" y="256"/>
                      </a:lnTo>
                      <a:lnTo>
                        <a:pt x="603" y="259"/>
                      </a:lnTo>
                      <a:lnTo>
                        <a:pt x="605" y="256"/>
                      </a:lnTo>
                      <a:lnTo>
                        <a:pt x="605" y="259"/>
                      </a:lnTo>
                      <a:lnTo>
                        <a:pt x="608" y="259"/>
                      </a:lnTo>
                      <a:lnTo>
                        <a:pt x="610" y="256"/>
                      </a:lnTo>
                      <a:lnTo>
                        <a:pt x="610" y="256"/>
                      </a:lnTo>
                      <a:lnTo>
                        <a:pt x="610" y="256"/>
                      </a:lnTo>
                      <a:lnTo>
                        <a:pt x="608" y="254"/>
                      </a:lnTo>
                      <a:lnTo>
                        <a:pt x="610" y="254"/>
                      </a:lnTo>
                      <a:lnTo>
                        <a:pt x="613" y="254"/>
                      </a:lnTo>
                      <a:lnTo>
                        <a:pt x="610" y="252"/>
                      </a:lnTo>
                      <a:lnTo>
                        <a:pt x="610" y="249"/>
                      </a:lnTo>
                      <a:lnTo>
                        <a:pt x="613" y="249"/>
                      </a:lnTo>
                      <a:lnTo>
                        <a:pt x="610" y="249"/>
                      </a:lnTo>
                      <a:lnTo>
                        <a:pt x="608" y="249"/>
                      </a:lnTo>
                      <a:lnTo>
                        <a:pt x="605" y="249"/>
                      </a:lnTo>
                      <a:lnTo>
                        <a:pt x="605" y="249"/>
                      </a:lnTo>
                      <a:lnTo>
                        <a:pt x="603" y="249"/>
                      </a:lnTo>
                      <a:lnTo>
                        <a:pt x="601" y="249"/>
                      </a:lnTo>
                      <a:lnTo>
                        <a:pt x="594" y="249"/>
                      </a:lnTo>
                      <a:lnTo>
                        <a:pt x="594" y="249"/>
                      </a:lnTo>
                      <a:lnTo>
                        <a:pt x="591" y="247"/>
                      </a:lnTo>
                      <a:lnTo>
                        <a:pt x="591" y="247"/>
                      </a:lnTo>
                      <a:lnTo>
                        <a:pt x="589" y="244"/>
                      </a:lnTo>
                      <a:lnTo>
                        <a:pt x="589" y="244"/>
                      </a:lnTo>
                      <a:lnTo>
                        <a:pt x="584" y="247"/>
                      </a:lnTo>
                      <a:lnTo>
                        <a:pt x="582" y="247"/>
                      </a:lnTo>
                      <a:lnTo>
                        <a:pt x="582" y="247"/>
                      </a:lnTo>
                      <a:lnTo>
                        <a:pt x="582" y="249"/>
                      </a:lnTo>
                      <a:lnTo>
                        <a:pt x="579" y="252"/>
                      </a:lnTo>
                      <a:lnTo>
                        <a:pt x="577" y="252"/>
                      </a:lnTo>
                      <a:lnTo>
                        <a:pt x="577" y="252"/>
                      </a:lnTo>
                      <a:lnTo>
                        <a:pt x="579" y="254"/>
                      </a:lnTo>
                      <a:lnTo>
                        <a:pt x="577" y="254"/>
                      </a:lnTo>
                      <a:lnTo>
                        <a:pt x="577" y="256"/>
                      </a:lnTo>
                      <a:lnTo>
                        <a:pt x="575" y="254"/>
                      </a:lnTo>
                      <a:lnTo>
                        <a:pt x="572" y="256"/>
                      </a:lnTo>
                      <a:lnTo>
                        <a:pt x="570" y="256"/>
                      </a:lnTo>
                      <a:lnTo>
                        <a:pt x="565" y="252"/>
                      </a:lnTo>
                      <a:lnTo>
                        <a:pt x="565" y="247"/>
                      </a:lnTo>
                      <a:lnTo>
                        <a:pt x="565" y="247"/>
                      </a:lnTo>
                      <a:lnTo>
                        <a:pt x="563" y="247"/>
                      </a:lnTo>
                      <a:lnTo>
                        <a:pt x="560" y="247"/>
                      </a:lnTo>
                      <a:lnTo>
                        <a:pt x="560" y="247"/>
                      </a:lnTo>
                      <a:lnTo>
                        <a:pt x="560" y="247"/>
                      </a:lnTo>
                      <a:lnTo>
                        <a:pt x="558" y="247"/>
                      </a:lnTo>
                      <a:lnTo>
                        <a:pt x="558" y="247"/>
                      </a:lnTo>
                      <a:lnTo>
                        <a:pt x="558" y="247"/>
                      </a:lnTo>
                      <a:lnTo>
                        <a:pt x="556" y="244"/>
                      </a:lnTo>
                      <a:lnTo>
                        <a:pt x="556" y="242"/>
                      </a:lnTo>
                      <a:lnTo>
                        <a:pt x="551" y="240"/>
                      </a:lnTo>
                      <a:lnTo>
                        <a:pt x="549" y="240"/>
                      </a:lnTo>
                      <a:lnTo>
                        <a:pt x="549" y="237"/>
                      </a:lnTo>
                      <a:lnTo>
                        <a:pt x="549" y="235"/>
                      </a:lnTo>
                      <a:lnTo>
                        <a:pt x="549" y="235"/>
                      </a:lnTo>
                      <a:lnTo>
                        <a:pt x="549" y="233"/>
                      </a:lnTo>
                      <a:lnTo>
                        <a:pt x="549" y="233"/>
                      </a:lnTo>
                      <a:lnTo>
                        <a:pt x="549" y="230"/>
                      </a:lnTo>
                      <a:lnTo>
                        <a:pt x="551" y="228"/>
                      </a:lnTo>
                      <a:lnTo>
                        <a:pt x="551" y="228"/>
                      </a:lnTo>
                      <a:lnTo>
                        <a:pt x="556" y="228"/>
                      </a:lnTo>
                      <a:lnTo>
                        <a:pt x="560" y="228"/>
                      </a:lnTo>
                      <a:lnTo>
                        <a:pt x="563" y="228"/>
                      </a:lnTo>
                      <a:lnTo>
                        <a:pt x="563" y="228"/>
                      </a:lnTo>
                      <a:lnTo>
                        <a:pt x="563" y="225"/>
                      </a:lnTo>
                      <a:lnTo>
                        <a:pt x="565" y="225"/>
                      </a:lnTo>
                      <a:lnTo>
                        <a:pt x="563" y="223"/>
                      </a:lnTo>
                      <a:lnTo>
                        <a:pt x="563" y="223"/>
                      </a:lnTo>
                      <a:lnTo>
                        <a:pt x="563" y="221"/>
                      </a:lnTo>
                      <a:lnTo>
                        <a:pt x="565" y="216"/>
                      </a:lnTo>
                      <a:lnTo>
                        <a:pt x="570" y="214"/>
                      </a:lnTo>
                      <a:lnTo>
                        <a:pt x="572" y="214"/>
                      </a:lnTo>
                      <a:lnTo>
                        <a:pt x="572" y="211"/>
                      </a:lnTo>
                      <a:lnTo>
                        <a:pt x="575" y="211"/>
                      </a:lnTo>
                      <a:lnTo>
                        <a:pt x="575" y="207"/>
                      </a:lnTo>
                      <a:lnTo>
                        <a:pt x="577" y="204"/>
                      </a:lnTo>
                      <a:lnTo>
                        <a:pt x="577" y="202"/>
                      </a:lnTo>
                      <a:lnTo>
                        <a:pt x="579" y="202"/>
                      </a:lnTo>
                      <a:lnTo>
                        <a:pt x="579" y="199"/>
                      </a:lnTo>
                      <a:lnTo>
                        <a:pt x="582" y="199"/>
                      </a:lnTo>
                      <a:lnTo>
                        <a:pt x="584" y="199"/>
                      </a:lnTo>
                      <a:lnTo>
                        <a:pt x="587" y="199"/>
                      </a:lnTo>
                      <a:lnTo>
                        <a:pt x="587" y="199"/>
                      </a:lnTo>
                      <a:lnTo>
                        <a:pt x="589" y="202"/>
                      </a:lnTo>
                      <a:lnTo>
                        <a:pt x="596" y="204"/>
                      </a:lnTo>
                      <a:lnTo>
                        <a:pt x="596" y="207"/>
                      </a:lnTo>
                      <a:lnTo>
                        <a:pt x="594" y="207"/>
                      </a:lnTo>
                      <a:lnTo>
                        <a:pt x="594" y="209"/>
                      </a:lnTo>
                      <a:lnTo>
                        <a:pt x="591" y="211"/>
                      </a:lnTo>
                      <a:lnTo>
                        <a:pt x="591" y="214"/>
                      </a:lnTo>
                      <a:lnTo>
                        <a:pt x="589" y="214"/>
                      </a:lnTo>
                      <a:lnTo>
                        <a:pt x="589" y="216"/>
                      </a:lnTo>
                      <a:lnTo>
                        <a:pt x="589" y="218"/>
                      </a:lnTo>
                      <a:lnTo>
                        <a:pt x="591" y="221"/>
                      </a:lnTo>
                      <a:lnTo>
                        <a:pt x="591" y="221"/>
                      </a:lnTo>
                      <a:lnTo>
                        <a:pt x="589" y="221"/>
                      </a:lnTo>
                      <a:lnTo>
                        <a:pt x="589" y="223"/>
                      </a:lnTo>
                      <a:lnTo>
                        <a:pt x="591" y="223"/>
                      </a:lnTo>
                      <a:lnTo>
                        <a:pt x="594" y="223"/>
                      </a:lnTo>
                      <a:lnTo>
                        <a:pt x="596" y="221"/>
                      </a:lnTo>
                      <a:lnTo>
                        <a:pt x="594" y="223"/>
                      </a:lnTo>
                      <a:lnTo>
                        <a:pt x="594" y="225"/>
                      </a:lnTo>
                      <a:lnTo>
                        <a:pt x="594" y="225"/>
                      </a:lnTo>
                      <a:lnTo>
                        <a:pt x="594" y="225"/>
                      </a:lnTo>
                      <a:lnTo>
                        <a:pt x="594" y="228"/>
                      </a:lnTo>
                      <a:lnTo>
                        <a:pt x="594" y="228"/>
                      </a:lnTo>
                      <a:lnTo>
                        <a:pt x="591" y="228"/>
                      </a:lnTo>
                      <a:lnTo>
                        <a:pt x="589" y="228"/>
                      </a:lnTo>
                      <a:lnTo>
                        <a:pt x="587" y="228"/>
                      </a:lnTo>
                      <a:lnTo>
                        <a:pt x="587" y="230"/>
                      </a:lnTo>
                      <a:lnTo>
                        <a:pt x="589" y="230"/>
                      </a:lnTo>
                      <a:lnTo>
                        <a:pt x="589" y="233"/>
                      </a:lnTo>
                      <a:lnTo>
                        <a:pt x="589" y="233"/>
                      </a:lnTo>
                      <a:lnTo>
                        <a:pt x="591" y="230"/>
                      </a:lnTo>
                      <a:lnTo>
                        <a:pt x="594" y="230"/>
                      </a:lnTo>
                      <a:lnTo>
                        <a:pt x="594" y="228"/>
                      </a:lnTo>
                      <a:lnTo>
                        <a:pt x="598" y="228"/>
                      </a:lnTo>
                      <a:lnTo>
                        <a:pt x="598" y="225"/>
                      </a:lnTo>
                      <a:lnTo>
                        <a:pt x="596" y="225"/>
                      </a:lnTo>
                      <a:lnTo>
                        <a:pt x="601" y="223"/>
                      </a:lnTo>
                      <a:lnTo>
                        <a:pt x="605" y="218"/>
                      </a:lnTo>
                      <a:lnTo>
                        <a:pt x="605" y="218"/>
                      </a:lnTo>
                      <a:lnTo>
                        <a:pt x="608" y="218"/>
                      </a:lnTo>
                      <a:lnTo>
                        <a:pt x="610" y="218"/>
                      </a:lnTo>
                      <a:lnTo>
                        <a:pt x="613" y="216"/>
                      </a:lnTo>
                      <a:lnTo>
                        <a:pt x="613" y="216"/>
                      </a:lnTo>
                      <a:lnTo>
                        <a:pt x="615" y="216"/>
                      </a:lnTo>
                      <a:lnTo>
                        <a:pt x="617" y="216"/>
                      </a:lnTo>
                      <a:lnTo>
                        <a:pt x="620" y="211"/>
                      </a:lnTo>
                      <a:lnTo>
                        <a:pt x="622" y="214"/>
                      </a:lnTo>
                      <a:lnTo>
                        <a:pt x="622" y="214"/>
                      </a:lnTo>
                      <a:lnTo>
                        <a:pt x="627" y="211"/>
                      </a:lnTo>
                      <a:lnTo>
                        <a:pt x="660" y="190"/>
                      </a:lnTo>
                      <a:lnTo>
                        <a:pt x="662" y="176"/>
                      </a:lnTo>
                      <a:lnTo>
                        <a:pt x="672" y="169"/>
                      </a:lnTo>
                      <a:lnTo>
                        <a:pt x="674" y="166"/>
                      </a:lnTo>
                      <a:lnTo>
                        <a:pt x="674" y="166"/>
                      </a:lnTo>
                      <a:lnTo>
                        <a:pt x="672" y="166"/>
                      </a:lnTo>
                      <a:lnTo>
                        <a:pt x="672" y="164"/>
                      </a:lnTo>
                      <a:lnTo>
                        <a:pt x="672" y="164"/>
                      </a:lnTo>
                      <a:lnTo>
                        <a:pt x="674" y="161"/>
                      </a:lnTo>
                      <a:lnTo>
                        <a:pt x="676" y="161"/>
                      </a:lnTo>
                      <a:lnTo>
                        <a:pt x="676" y="161"/>
                      </a:lnTo>
                      <a:lnTo>
                        <a:pt x="676" y="161"/>
                      </a:lnTo>
                      <a:lnTo>
                        <a:pt x="676" y="159"/>
                      </a:lnTo>
                      <a:lnTo>
                        <a:pt x="676" y="159"/>
                      </a:lnTo>
                      <a:lnTo>
                        <a:pt x="676" y="157"/>
                      </a:lnTo>
                      <a:lnTo>
                        <a:pt x="676" y="154"/>
                      </a:lnTo>
                      <a:lnTo>
                        <a:pt x="676" y="154"/>
                      </a:lnTo>
                      <a:lnTo>
                        <a:pt x="676" y="152"/>
                      </a:lnTo>
                      <a:lnTo>
                        <a:pt x="676" y="150"/>
                      </a:lnTo>
                      <a:lnTo>
                        <a:pt x="676" y="147"/>
                      </a:lnTo>
                      <a:lnTo>
                        <a:pt x="674" y="145"/>
                      </a:lnTo>
                      <a:lnTo>
                        <a:pt x="676" y="143"/>
                      </a:lnTo>
                      <a:lnTo>
                        <a:pt x="674" y="140"/>
                      </a:lnTo>
                      <a:lnTo>
                        <a:pt x="674" y="140"/>
                      </a:lnTo>
                      <a:lnTo>
                        <a:pt x="672" y="138"/>
                      </a:lnTo>
                      <a:lnTo>
                        <a:pt x="669" y="135"/>
                      </a:lnTo>
                      <a:lnTo>
                        <a:pt x="669" y="133"/>
                      </a:lnTo>
                      <a:lnTo>
                        <a:pt x="669" y="133"/>
                      </a:lnTo>
                      <a:lnTo>
                        <a:pt x="672" y="131"/>
                      </a:lnTo>
                      <a:lnTo>
                        <a:pt x="672" y="131"/>
                      </a:lnTo>
                      <a:lnTo>
                        <a:pt x="674" y="131"/>
                      </a:lnTo>
                      <a:lnTo>
                        <a:pt x="674" y="128"/>
                      </a:lnTo>
                      <a:lnTo>
                        <a:pt x="676" y="126"/>
                      </a:lnTo>
                      <a:lnTo>
                        <a:pt x="676" y="126"/>
                      </a:lnTo>
                      <a:lnTo>
                        <a:pt x="679" y="126"/>
                      </a:lnTo>
                      <a:lnTo>
                        <a:pt x="681" y="126"/>
                      </a:lnTo>
                      <a:lnTo>
                        <a:pt x="688" y="128"/>
                      </a:lnTo>
                      <a:lnTo>
                        <a:pt x="688" y="128"/>
                      </a:lnTo>
                      <a:lnTo>
                        <a:pt x="691" y="128"/>
                      </a:lnTo>
                      <a:lnTo>
                        <a:pt x="691" y="126"/>
                      </a:lnTo>
                      <a:lnTo>
                        <a:pt x="691" y="126"/>
                      </a:lnTo>
                      <a:lnTo>
                        <a:pt x="691" y="124"/>
                      </a:lnTo>
                      <a:lnTo>
                        <a:pt x="688" y="124"/>
                      </a:lnTo>
                      <a:lnTo>
                        <a:pt x="691" y="121"/>
                      </a:lnTo>
                      <a:lnTo>
                        <a:pt x="688" y="121"/>
                      </a:lnTo>
                      <a:lnTo>
                        <a:pt x="688" y="121"/>
                      </a:lnTo>
                      <a:lnTo>
                        <a:pt x="691" y="119"/>
                      </a:lnTo>
                      <a:lnTo>
                        <a:pt x="691" y="116"/>
                      </a:lnTo>
                      <a:lnTo>
                        <a:pt x="691" y="116"/>
                      </a:lnTo>
                      <a:lnTo>
                        <a:pt x="691" y="114"/>
                      </a:lnTo>
                      <a:lnTo>
                        <a:pt x="691" y="114"/>
                      </a:lnTo>
                      <a:lnTo>
                        <a:pt x="691" y="114"/>
                      </a:lnTo>
                      <a:lnTo>
                        <a:pt x="691" y="112"/>
                      </a:lnTo>
                      <a:lnTo>
                        <a:pt x="691" y="112"/>
                      </a:lnTo>
                      <a:lnTo>
                        <a:pt x="691" y="109"/>
                      </a:lnTo>
                      <a:lnTo>
                        <a:pt x="691" y="109"/>
                      </a:lnTo>
                      <a:lnTo>
                        <a:pt x="693" y="107"/>
                      </a:lnTo>
                      <a:lnTo>
                        <a:pt x="693" y="107"/>
                      </a:lnTo>
                      <a:lnTo>
                        <a:pt x="691" y="107"/>
                      </a:lnTo>
                      <a:lnTo>
                        <a:pt x="691" y="105"/>
                      </a:lnTo>
                      <a:lnTo>
                        <a:pt x="691" y="102"/>
                      </a:lnTo>
                      <a:lnTo>
                        <a:pt x="691" y="102"/>
                      </a:lnTo>
                      <a:lnTo>
                        <a:pt x="691" y="100"/>
                      </a:lnTo>
                      <a:lnTo>
                        <a:pt x="691" y="100"/>
                      </a:lnTo>
                      <a:lnTo>
                        <a:pt x="691" y="100"/>
                      </a:lnTo>
                      <a:lnTo>
                        <a:pt x="691" y="97"/>
                      </a:lnTo>
                      <a:lnTo>
                        <a:pt x="691" y="97"/>
                      </a:lnTo>
                      <a:lnTo>
                        <a:pt x="688" y="97"/>
                      </a:lnTo>
                      <a:lnTo>
                        <a:pt x="691" y="95"/>
                      </a:lnTo>
                      <a:lnTo>
                        <a:pt x="691" y="93"/>
                      </a:lnTo>
                      <a:lnTo>
                        <a:pt x="691" y="93"/>
                      </a:lnTo>
                      <a:lnTo>
                        <a:pt x="688" y="93"/>
                      </a:lnTo>
                      <a:lnTo>
                        <a:pt x="688" y="90"/>
                      </a:lnTo>
                      <a:lnTo>
                        <a:pt x="691" y="90"/>
                      </a:lnTo>
                      <a:lnTo>
                        <a:pt x="693" y="88"/>
                      </a:lnTo>
                      <a:lnTo>
                        <a:pt x="693" y="88"/>
                      </a:lnTo>
                      <a:lnTo>
                        <a:pt x="693" y="86"/>
                      </a:lnTo>
                      <a:lnTo>
                        <a:pt x="693" y="83"/>
                      </a:lnTo>
                      <a:lnTo>
                        <a:pt x="691" y="83"/>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Freeform 111">
                  <a:extLst>
                    <a:ext uri="{FF2B5EF4-FFF2-40B4-BE49-F238E27FC236}">
                      <a16:creationId xmlns:a16="http://schemas.microsoft.com/office/drawing/2014/main" id="{8AD84C3B-2C18-F804-57CC-2E155EE7839D}"/>
                    </a:ext>
                  </a:extLst>
                </p:cNvPr>
                <p:cNvSpPr>
                  <a:spLocks/>
                </p:cNvSpPr>
                <p:nvPr/>
              </p:nvSpPr>
              <p:spPr bwMode="auto">
                <a:xfrm>
                  <a:off x="4000" y="2320"/>
                  <a:ext cx="19" cy="43"/>
                </a:xfrm>
                <a:custGeom>
                  <a:avLst/>
                  <a:gdLst>
                    <a:gd name="T0" fmla="*/ 17 w 19"/>
                    <a:gd name="T1" fmla="*/ 2 h 43"/>
                    <a:gd name="T2" fmla="*/ 17 w 19"/>
                    <a:gd name="T3" fmla="*/ 2 h 43"/>
                    <a:gd name="T4" fmla="*/ 14 w 19"/>
                    <a:gd name="T5" fmla="*/ 0 h 43"/>
                    <a:gd name="T6" fmla="*/ 12 w 19"/>
                    <a:gd name="T7" fmla="*/ 0 h 43"/>
                    <a:gd name="T8" fmla="*/ 12 w 19"/>
                    <a:gd name="T9" fmla="*/ 0 h 43"/>
                    <a:gd name="T10" fmla="*/ 12 w 19"/>
                    <a:gd name="T11" fmla="*/ 2 h 43"/>
                    <a:gd name="T12" fmla="*/ 10 w 19"/>
                    <a:gd name="T13" fmla="*/ 2 h 43"/>
                    <a:gd name="T14" fmla="*/ 7 w 19"/>
                    <a:gd name="T15" fmla="*/ 5 h 43"/>
                    <a:gd name="T16" fmla="*/ 5 w 19"/>
                    <a:gd name="T17" fmla="*/ 9 h 43"/>
                    <a:gd name="T18" fmla="*/ 5 w 19"/>
                    <a:gd name="T19" fmla="*/ 9 h 43"/>
                    <a:gd name="T20" fmla="*/ 5 w 19"/>
                    <a:gd name="T21" fmla="*/ 12 h 43"/>
                    <a:gd name="T22" fmla="*/ 3 w 19"/>
                    <a:gd name="T23" fmla="*/ 12 h 43"/>
                    <a:gd name="T24" fmla="*/ 0 w 19"/>
                    <a:gd name="T25" fmla="*/ 17 h 43"/>
                    <a:gd name="T26" fmla="*/ 0 w 19"/>
                    <a:gd name="T27" fmla="*/ 19 h 43"/>
                    <a:gd name="T28" fmla="*/ 0 w 19"/>
                    <a:gd name="T29" fmla="*/ 19 h 43"/>
                    <a:gd name="T30" fmla="*/ 0 w 19"/>
                    <a:gd name="T31" fmla="*/ 21 h 43"/>
                    <a:gd name="T32" fmla="*/ 0 w 19"/>
                    <a:gd name="T33" fmla="*/ 26 h 43"/>
                    <a:gd name="T34" fmla="*/ 0 w 19"/>
                    <a:gd name="T35" fmla="*/ 28 h 43"/>
                    <a:gd name="T36" fmla="*/ 3 w 19"/>
                    <a:gd name="T37" fmla="*/ 31 h 43"/>
                    <a:gd name="T38" fmla="*/ 3 w 19"/>
                    <a:gd name="T39" fmla="*/ 31 h 43"/>
                    <a:gd name="T40" fmla="*/ 0 w 19"/>
                    <a:gd name="T41" fmla="*/ 31 h 43"/>
                    <a:gd name="T42" fmla="*/ 0 w 19"/>
                    <a:gd name="T43" fmla="*/ 33 h 43"/>
                    <a:gd name="T44" fmla="*/ 3 w 19"/>
                    <a:gd name="T45" fmla="*/ 33 h 43"/>
                    <a:gd name="T46" fmla="*/ 3 w 19"/>
                    <a:gd name="T47" fmla="*/ 36 h 43"/>
                    <a:gd name="T48" fmla="*/ 5 w 19"/>
                    <a:gd name="T49" fmla="*/ 36 h 43"/>
                    <a:gd name="T50" fmla="*/ 7 w 19"/>
                    <a:gd name="T51" fmla="*/ 36 h 43"/>
                    <a:gd name="T52" fmla="*/ 10 w 19"/>
                    <a:gd name="T53" fmla="*/ 38 h 43"/>
                    <a:gd name="T54" fmla="*/ 10 w 19"/>
                    <a:gd name="T55" fmla="*/ 40 h 43"/>
                    <a:gd name="T56" fmla="*/ 10 w 19"/>
                    <a:gd name="T57" fmla="*/ 43 h 43"/>
                    <a:gd name="T58" fmla="*/ 10 w 19"/>
                    <a:gd name="T59" fmla="*/ 43 h 43"/>
                    <a:gd name="T60" fmla="*/ 12 w 19"/>
                    <a:gd name="T61" fmla="*/ 43 h 43"/>
                    <a:gd name="T62" fmla="*/ 12 w 19"/>
                    <a:gd name="T63" fmla="*/ 40 h 43"/>
                    <a:gd name="T64" fmla="*/ 12 w 19"/>
                    <a:gd name="T65" fmla="*/ 38 h 43"/>
                    <a:gd name="T66" fmla="*/ 12 w 19"/>
                    <a:gd name="T67" fmla="*/ 36 h 43"/>
                    <a:gd name="T68" fmla="*/ 12 w 19"/>
                    <a:gd name="T69" fmla="*/ 33 h 43"/>
                    <a:gd name="T70" fmla="*/ 17 w 19"/>
                    <a:gd name="T71" fmla="*/ 28 h 43"/>
                    <a:gd name="T72" fmla="*/ 17 w 19"/>
                    <a:gd name="T73" fmla="*/ 26 h 43"/>
                    <a:gd name="T74" fmla="*/ 17 w 19"/>
                    <a:gd name="T75" fmla="*/ 26 h 43"/>
                    <a:gd name="T76" fmla="*/ 17 w 19"/>
                    <a:gd name="T77" fmla="*/ 26 h 43"/>
                    <a:gd name="T78" fmla="*/ 17 w 19"/>
                    <a:gd name="T79" fmla="*/ 21 h 43"/>
                    <a:gd name="T80" fmla="*/ 17 w 19"/>
                    <a:gd name="T81" fmla="*/ 19 h 43"/>
                    <a:gd name="T82" fmla="*/ 17 w 19"/>
                    <a:gd name="T83" fmla="*/ 17 h 43"/>
                    <a:gd name="T84" fmla="*/ 17 w 19"/>
                    <a:gd name="T85" fmla="*/ 14 h 43"/>
                    <a:gd name="T86" fmla="*/ 17 w 19"/>
                    <a:gd name="T87" fmla="*/ 9 h 43"/>
                    <a:gd name="T88" fmla="*/ 19 w 19"/>
                    <a:gd name="T89" fmla="*/ 5 h 43"/>
                    <a:gd name="T90" fmla="*/ 19 w 19"/>
                    <a:gd name="T91" fmla="*/ 5 h 43"/>
                    <a:gd name="T92" fmla="*/ 19 w 19"/>
                    <a:gd name="T93" fmla="*/ 5 h 43"/>
                    <a:gd name="T94" fmla="*/ 17 w 19"/>
                    <a:gd name="T95" fmla="*/ 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 h="43">
                      <a:moveTo>
                        <a:pt x="17" y="2"/>
                      </a:moveTo>
                      <a:lnTo>
                        <a:pt x="17" y="2"/>
                      </a:lnTo>
                      <a:lnTo>
                        <a:pt x="14" y="0"/>
                      </a:lnTo>
                      <a:lnTo>
                        <a:pt x="12" y="0"/>
                      </a:lnTo>
                      <a:lnTo>
                        <a:pt x="12" y="0"/>
                      </a:lnTo>
                      <a:lnTo>
                        <a:pt x="12" y="2"/>
                      </a:lnTo>
                      <a:lnTo>
                        <a:pt x="10" y="2"/>
                      </a:lnTo>
                      <a:lnTo>
                        <a:pt x="7" y="5"/>
                      </a:lnTo>
                      <a:lnTo>
                        <a:pt x="5" y="9"/>
                      </a:lnTo>
                      <a:lnTo>
                        <a:pt x="5" y="9"/>
                      </a:lnTo>
                      <a:lnTo>
                        <a:pt x="5" y="12"/>
                      </a:lnTo>
                      <a:lnTo>
                        <a:pt x="3" y="12"/>
                      </a:lnTo>
                      <a:lnTo>
                        <a:pt x="0" y="17"/>
                      </a:lnTo>
                      <a:lnTo>
                        <a:pt x="0" y="19"/>
                      </a:lnTo>
                      <a:lnTo>
                        <a:pt x="0" y="19"/>
                      </a:lnTo>
                      <a:lnTo>
                        <a:pt x="0" y="21"/>
                      </a:lnTo>
                      <a:lnTo>
                        <a:pt x="0" y="26"/>
                      </a:lnTo>
                      <a:lnTo>
                        <a:pt x="0" y="28"/>
                      </a:lnTo>
                      <a:lnTo>
                        <a:pt x="3" y="31"/>
                      </a:lnTo>
                      <a:lnTo>
                        <a:pt x="3" y="31"/>
                      </a:lnTo>
                      <a:lnTo>
                        <a:pt x="0" y="31"/>
                      </a:lnTo>
                      <a:lnTo>
                        <a:pt x="0" y="33"/>
                      </a:lnTo>
                      <a:lnTo>
                        <a:pt x="3" y="33"/>
                      </a:lnTo>
                      <a:lnTo>
                        <a:pt x="3" y="36"/>
                      </a:lnTo>
                      <a:lnTo>
                        <a:pt x="5" y="36"/>
                      </a:lnTo>
                      <a:lnTo>
                        <a:pt x="7" y="36"/>
                      </a:lnTo>
                      <a:lnTo>
                        <a:pt x="10" y="38"/>
                      </a:lnTo>
                      <a:lnTo>
                        <a:pt x="10" y="40"/>
                      </a:lnTo>
                      <a:lnTo>
                        <a:pt x="10" y="43"/>
                      </a:lnTo>
                      <a:lnTo>
                        <a:pt x="10" y="43"/>
                      </a:lnTo>
                      <a:lnTo>
                        <a:pt x="12" y="43"/>
                      </a:lnTo>
                      <a:lnTo>
                        <a:pt x="12" y="40"/>
                      </a:lnTo>
                      <a:lnTo>
                        <a:pt x="12" y="38"/>
                      </a:lnTo>
                      <a:lnTo>
                        <a:pt x="12" y="36"/>
                      </a:lnTo>
                      <a:lnTo>
                        <a:pt x="12" y="33"/>
                      </a:lnTo>
                      <a:lnTo>
                        <a:pt x="17" y="28"/>
                      </a:lnTo>
                      <a:lnTo>
                        <a:pt x="17" y="26"/>
                      </a:lnTo>
                      <a:lnTo>
                        <a:pt x="17" y="26"/>
                      </a:lnTo>
                      <a:lnTo>
                        <a:pt x="17" y="26"/>
                      </a:lnTo>
                      <a:lnTo>
                        <a:pt x="17" y="21"/>
                      </a:lnTo>
                      <a:lnTo>
                        <a:pt x="17" y="19"/>
                      </a:lnTo>
                      <a:lnTo>
                        <a:pt x="17" y="17"/>
                      </a:lnTo>
                      <a:lnTo>
                        <a:pt x="17" y="14"/>
                      </a:lnTo>
                      <a:lnTo>
                        <a:pt x="17" y="9"/>
                      </a:lnTo>
                      <a:lnTo>
                        <a:pt x="19" y="5"/>
                      </a:lnTo>
                      <a:lnTo>
                        <a:pt x="19" y="5"/>
                      </a:lnTo>
                      <a:lnTo>
                        <a:pt x="19" y="5"/>
                      </a:lnTo>
                      <a:lnTo>
                        <a:pt x="17" y="2"/>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 name="Freeform 112">
                  <a:extLst>
                    <a:ext uri="{FF2B5EF4-FFF2-40B4-BE49-F238E27FC236}">
                      <a16:creationId xmlns:a16="http://schemas.microsoft.com/office/drawing/2014/main" id="{0E2EF6E2-2839-5338-FFE0-F2A50112FCB5}"/>
                    </a:ext>
                  </a:extLst>
                </p:cNvPr>
                <p:cNvSpPr>
                  <a:spLocks noEditPoints="1"/>
                </p:cNvSpPr>
                <p:nvPr/>
              </p:nvSpPr>
              <p:spPr bwMode="auto">
                <a:xfrm>
                  <a:off x="3011" y="2545"/>
                  <a:ext cx="119" cy="104"/>
                </a:xfrm>
                <a:custGeom>
                  <a:avLst/>
                  <a:gdLst>
                    <a:gd name="T0" fmla="*/ 31 w 119"/>
                    <a:gd name="T1" fmla="*/ 12 h 104"/>
                    <a:gd name="T2" fmla="*/ 33 w 119"/>
                    <a:gd name="T3" fmla="*/ 10 h 104"/>
                    <a:gd name="T4" fmla="*/ 36 w 119"/>
                    <a:gd name="T5" fmla="*/ 7 h 104"/>
                    <a:gd name="T6" fmla="*/ 43 w 119"/>
                    <a:gd name="T7" fmla="*/ 0 h 104"/>
                    <a:gd name="T8" fmla="*/ 48 w 119"/>
                    <a:gd name="T9" fmla="*/ 0 h 104"/>
                    <a:gd name="T10" fmla="*/ 48 w 119"/>
                    <a:gd name="T11" fmla="*/ 7 h 104"/>
                    <a:gd name="T12" fmla="*/ 52 w 119"/>
                    <a:gd name="T13" fmla="*/ 10 h 104"/>
                    <a:gd name="T14" fmla="*/ 57 w 119"/>
                    <a:gd name="T15" fmla="*/ 10 h 104"/>
                    <a:gd name="T16" fmla="*/ 67 w 119"/>
                    <a:gd name="T17" fmla="*/ 10 h 104"/>
                    <a:gd name="T18" fmla="*/ 74 w 119"/>
                    <a:gd name="T19" fmla="*/ 17 h 104"/>
                    <a:gd name="T20" fmla="*/ 76 w 119"/>
                    <a:gd name="T21" fmla="*/ 19 h 104"/>
                    <a:gd name="T22" fmla="*/ 83 w 119"/>
                    <a:gd name="T23" fmla="*/ 19 h 104"/>
                    <a:gd name="T24" fmla="*/ 88 w 119"/>
                    <a:gd name="T25" fmla="*/ 19 h 104"/>
                    <a:gd name="T26" fmla="*/ 93 w 119"/>
                    <a:gd name="T27" fmla="*/ 19 h 104"/>
                    <a:gd name="T28" fmla="*/ 97 w 119"/>
                    <a:gd name="T29" fmla="*/ 14 h 104"/>
                    <a:gd name="T30" fmla="*/ 100 w 119"/>
                    <a:gd name="T31" fmla="*/ 14 h 104"/>
                    <a:gd name="T32" fmla="*/ 107 w 119"/>
                    <a:gd name="T33" fmla="*/ 12 h 104"/>
                    <a:gd name="T34" fmla="*/ 109 w 119"/>
                    <a:gd name="T35" fmla="*/ 14 h 104"/>
                    <a:gd name="T36" fmla="*/ 116 w 119"/>
                    <a:gd name="T37" fmla="*/ 14 h 104"/>
                    <a:gd name="T38" fmla="*/ 109 w 119"/>
                    <a:gd name="T39" fmla="*/ 24 h 104"/>
                    <a:gd name="T40" fmla="*/ 116 w 119"/>
                    <a:gd name="T41" fmla="*/ 71 h 104"/>
                    <a:gd name="T42" fmla="*/ 111 w 119"/>
                    <a:gd name="T43" fmla="*/ 76 h 104"/>
                    <a:gd name="T44" fmla="*/ 109 w 119"/>
                    <a:gd name="T45" fmla="*/ 78 h 104"/>
                    <a:gd name="T46" fmla="*/ 107 w 119"/>
                    <a:gd name="T47" fmla="*/ 81 h 104"/>
                    <a:gd name="T48" fmla="*/ 102 w 119"/>
                    <a:gd name="T49" fmla="*/ 83 h 104"/>
                    <a:gd name="T50" fmla="*/ 100 w 119"/>
                    <a:gd name="T51" fmla="*/ 83 h 104"/>
                    <a:gd name="T52" fmla="*/ 97 w 119"/>
                    <a:gd name="T53" fmla="*/ 88 h 104"/>
                    <a:gd name="T54" fmla="*/ 97 w 119"/>
                    <a:gd name="T55" fmla="*/ 90 h 104"/>
                    <a:gd name="T56" fmla="*/ 95 w 119"/>
                    <a:gd name="T57" fmla="*/ 95 h 104"/>
                    <a:gd name="T58" fmla="*/ 90 w 119"/>
                    <a:gd name="T59" fmla="*/ 102 h 104"/>
                    <a:gd name="T60" fmla="*/ 85 w 119"/>
                    <a:gd name="T61" fmla="*/ 104 h 104"/>
                    <a:gd name="T62" fmla="*/ 71 w 119"/>
                    <a:gd name="T63" fmla="*/ 95 h 104"/>
                    <a:gd name="T64" fmla="*/ 71 w 119"/>
                    <a:gd name="T65" fmla="*/ 93 h 104"/>
                    <a:gd name="T66" fmla="*/ 29 w 119"/>
                    <a:gd name="T67" fmla="*/ 67 h 104"/>
                    <a:gd name="T68" fmla="*/ 26 w 119"/>
                    <a:gd name="T69" fmla="*/ 57 h 104"/>
                    <a:gd name="T70" fmla="*/ 31 w 119"/>
                    <a:gd name="T71" fmla="*/ 52 h 104"/>
                    <a:gd name="T72" fmla="*/ 33 w 119"/>
                    <a:gd name="T73" fmla="*/ 48 h 104"/>
                    <a:gd name="T74" fmla="*/ 36 w 119"/>
                    <a:gd name="T75" fmla="*/ 45 h 104"/>
                    <a:gd name="T76" fmla="*/ 38 w 119"/>
                    <a:gd name="T77" fmla="*/ 43 h 104"/>
                    <a:gd name="T78" fmla="*/ 41 w 119"/>
                    <a:gd name="T79" fmla="*/ 40 h 104"/>
                    <a:gd name="T80" fmla="*/ 43 w 119"/>
                    <a:gd name="T81" fmla="*/ 36 h 104"/>
                    <a:gd name="T82" fmla="*/ 41 w 119"/>
                    <a:gd name="T83" fmla="*/ 31 h 104"/>
                    <a:gd name="T84" fmla="*/ 41 w 119"/>
                    <a:gd name="T85" fmla="*/ 29 h 104"/>
                    <a:gd name="T86" fmla="*/ 38 w 119"/>
                    <a:gd name="T87" fmla="*/ 26 h 104"/>
                    <a:gd name="T88" fmla="*/ 36 w 119"/>
                    <a:gd name="T89" fmla="*/ 21 h 104"/>
                    <a:gd name="T90" fmla="*/ 33 w 119"/>
                    <a:gd name="T91" fmla="*/ 19 h 104"/>
                    <a:gd name="T92" fmla="*/ 31 w 119"/>
                    <a:gd name="T93" fmla="*/ 17 h 104"/>
                    <a:gd name="T94" fmla="*/ 29 w 119"/>
                    <a:gd name="T95" fmla="*/ 12 h 104"/>
                    <a:gd name="T96" fmla="*/ 29 w 119"/>
                    <a:gd name="T97" fmla="*/ 12 h 104"/>
                    <a:gd name="T98" fmla="*/ 0 w 119"/>
                    <a:gd name="T99" fmla="*/ 67 h 104"/>
                    <a:gd name="T100" fmla="*/ 10 w 119"/>
                    <a:gd name="T101" fmla="*/ 67 h 104"/>
                    <a:gd name="T102" fmla="*/ 0 w 119"/>
                    <a:gd name="T103" fmla="*/ 67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9" h="104">
                      <a:moveTo>
                        <a:pt x="29" y="12"/>
                      </a:moveTo>
                      <a:lnTo>
                        <a:pt x="31" y="12"/>
                      </a:lnTo>
                      <a:lnTo>
                        <a:pt x="31" y="10"/>
                      </a:lnTo>
                      <a:lnTo>
                        <a:pt x="33" y="10"/>
                      </a:lnTo>
                      <a:lnTo>
                        <a:pt x="36" y="7"/>
                      </a:lnTo>
                      <a:lnTo>
                        <a:pt x="36" y="7"/>
                      </a:lnTo>
                      <a:lnTo>
                        <a:pt x="38" y="5"/>
                      </a:lnTo>
                      <a:lnTo>
                        <a:pt x="43" y="0"/>
                      </a:lnTo>
                      <a:lnTo>
                        <a:pt x="45" y="0"/>
                      </a:lnTo>
                      <a:lnTo>
                        <a:pt x="48" y="0"/>
                      </a:lnTo>
                      <a:lnTo>
                        <a:pt x="48" y="0"/>
                      </a:lnTo>
                      <a:lnTo>
                        <a:pt x="48" y="7"/>
                      </a:lnTo>
                      <a:lnTo>
                        <a:pt x="50" y="10"/>
                      </a:lnTo>
                      <a:lnTo>
                        <a:pt x="52" y="10"/>
                      </a:lnTo>
                      <a:lnTo>
                        <a:pt x="55" y="10"/>
                      </a:lnTo>
                      <a:lnTo>
                        <a:pt x="57" y="10"/>
                      </a:lnTo>
                      <a:lnTo>
                        <a:pt x="64" y="10"/>
                      </a:lnTo>
                      <a:lnTo>
                        <a:pt x="67" y="10"/>
                      </a:lnTo>
                      <a:lnTo>
                        <a:pt x="71" y="14"/>
                      </a:lnTo>
                      <a:lnTo>
                        <a:pt x="74" y="17"/>
                      </a:lnTo>
                      <a:lnTo>
                        <a:pt x="76" y="19"/>
                      </a:lnTo>
                      <a:lnTo>
                        <a:pt x="76" y="19"/>
                      </a:lnTo>
                      <a:lnTo>
                        <a:pt x="81" y="19"/>
                      </a:lnTo>
                      <a:lnTo>
                        <a:pt x="83" y="19"/>
                      </a:lnTo>
                      <a:lnTo>
                        <a:pt x="85" y="19"/>
                      </a:lnTo>
                      <a:lnTo>
                        <a:pt x="88" y="19"/>
                      </a:lnTo>
                      <a:lnTo>
                        <a:pt x="90" y="19"/>
                      </a:lnTo>
                      <a:lnTo>
                        <a:pt x="93" y="19"/>
                      </a:lnTo>
                      <a:lnTo>
                        <a:pt x="95" y="17"/>
                      </a:lnTo>
                      <a:lnTo>
                        <a:pt x="97" y="14"/>
                      </a:lnTo>
                      <a:lnTo>
                        <a:pt x="100" y="14"/>
                      </a:lnTo>
                      <a:lnTo>
                        <a:pt x="100" y="14"/>
                      </a:lnTo>
                      <a:lnTo>
                        <a:pt x="102" y="12"/>
                      </a:lnTo>
                      <a:lnTo>
                        <a:pt x="107" y="12"/>
                      </a:lnTo>
                      <a:lnTo>
                        <a:pt x="109" y="12"/>
                      </a:lnTo>
                      <a:lnTo>
                        <a:pt x="109" y="14"/>
                      </a:lnTo>
                      <a:lnTo>
                        <a:pt x="111" y="17"/>
                      </a:lnTo>
                      <a:lnTo>
                        <a:pt x="116" y="14"/>
                      </a:lnTo>
                      <a:lnTo>
                        <a:pt x="119" y="14"/>
                      </a:lnTo>
                      <a:lnTo>
                        <a:pt x="109" y="24"/>
                      </a:lnTo>
                      <a:lnTo>
                        <a:pt x="109" y="64"/>
                      </a:lnTo>
                      <a:lnTo>
                        <a:pt x="116" y="71"/>
                      </a:lnTo>
                      <a:lnTo>
                        <a:pt x="116" y="71"/>
                      </a:lnTo>
                      <a:lnTo>
                        <a:pt x="111" y="76"/>
                      </a:lnTo>
                      <a:lnTo>
                        <a:pt x="111" y="76"/>
                      </a:lnTo>
                      <a:lnTo>
                        <a:pt x="109" y="78"/>
                      </a:lnTo>
                      <a:lnTo>
                        <a:pt x="111" y="78"/>
                      </a:lnTo>
                      <a:lnTo>
                        <a:pt x="107" y="81"/>
                      </a:lnTo>
                      <a:lnTo>
                        <a:pt x="104" y="83"/>
                      </a:lnTo>
                      <a:lnTo>
                        <a:pt x="102" y="83"/>
                      </a:lnTo>
                      <a:lnTo>
                        <a:pt x="100" y="83"/>
                      </a:lnTo>
                      <a:lnTo>
                        <a:pt x="100" y="83"/>
                      </a:lnTo>
                      <a:lnTo>
                        <a:pt x="97" y="85"/>
                      </a:lnTo>
                      <a:lnTo>
                        <a:pt x="97" y="88"/>
                      </a:lnTo>
                      <a:lnTo>
                        <a:pt x="100" y="88"/>
                      </a:lnTo>
                      <a:lnTo>
                        <a:pt x="97" y="90"/>
                      </a:lnTo>
                      <a:lnTo>
                        <a:pt x="95" y="93"/>
                      </a:lnTo>
                      <a:lnTo>
                        <a:pt x="95" y="95"/>
                      </a:lnTo>
                      <a:lnTo>
                        <a:pt x="93" y="97"/>
                      </a:lnTo>
                      <a:lnTo>
                        <a:pt x="90" y="102"/>
                      </a:lnTo>
                      <a:lnTo>
                        <a:pt x="88" y="104"/>
                      </a:lnTo>
                      <a:lnTo>
                        <a:pt x="85" y="104"/>
                      </a:lnTo>
                      <a:lnTo>
                        <a:pt x="71" y="95"/>
                      </a:lnTo>
                      <a:lnTo>
                        <a:pt x="71" y="95"/>
                      </a:lnTo>
                      <a:lnTo>
                        <a:pt x="71" y="93"/>
                      </a:lnTo>
                      <a:lnTo>
                        <a:pt x="71" y="93"/>
                      </a:lnTo>
                      <a:lnTo>
                        <a:pt x="69" y="88"/>
                      </a:lnTo>
                      <a:lnTo>
                        <a:pt x="29" y="67"/>
                      </a:lnTo>
                      <a:lnTo>
                        <a:pt x="24" y="67"/>
                      </a:lnTo>
                      <a:lnTo>
                        <a:pt x="26" y="57"/>
                      </a:lnTo>
                      <a:lnTo>
                        <a:pt x="29" y="55"/>
                      </a:lnTo>
                      <a:lnTo>
                        <a:pt x="31" y="52"/>
                      </a:lnTo>
                      <a:lnTo>
                        <a:pt x="31" y="50"/>
                      </a:lnTo>
                      <a:lnTo>
                        <a:pt x="33" y="48"/>
                      </a:lnTo>
                      <a:lnTo>
                        <a:pt x="33" y="45"/>
                      </a:lnTo>
                      <a:lnTo>
                        <a:pt x="36" y="45"/>
                      </a:lnTo>
                      <a:lnTo>
                        <a:pt x="36" y="43"/>
                      </a:lnTo>
                      <a:lnTo>
                        <a:pt x="38" y="43"/>
                      </a:lnTo>
                      <a:lnTo>
                        <a:pt x="41" y="40"/>
                      </a:lnTo>
                      <a:lnTo>
                        <a:pt x="41" y="40"/>
                      </a:lnTo>
                      <a:lnTo>
                        <a:pt x="43" y="38"/>
                      </a:lnTo>
                      <a:lnTo>
                        <a:pt x="43" y="36"/>
                      </a:lnTo>
                      <a:lnTo>
                        <a:pt x="43" y="33"/>
                      </a:lnTo>
                      <a:lnTo>
                        <a:pt x="41" y="31"/>
                      </a:lnTo>
                      <a:lnTo>
                        <a:pt x="41" y="31"/>
                      </a:lnTo>
                      <a:lnTo>
                        <a:pt x="41" y="29"/>
                      </a:lnTo>
                      <a:lnTo>
                        <a:pt x="38" y="29"/>
                      </a:lnTo>
                      <a:lnTo>
                        <a:pt x="38" y="26"/>
                      </a:lnTo>
                      <a:lnTo>
                        <a:pt x="36" y="24"/>
                      </a:lnTo>
                      <a:lnTo>
                        <a:pt x="36" y="21"/>
                      </a:lnTo>
                      <a:lnTo>
                        <a:pt x="33" y="19"/>
                      </a:lnTo>
                      <a:lnTo>
                        <a:pt x="33" y="19"/>
                      </a:lnTo>
                      <a:lnTo>
                        <a:pt x="33" y="17"/>
                      </a:lnTo>
                      <a:lnTo>
                        <a:pt x="31" y="17"/>
                      </a:lnTo>
                      <a:lnTo>
                        <a:pt x="31" y="14"/>
                      </a:lnTo>
                      <a:lnTo>
                        <a:pt x="29" y="12"/>
                      </a:lnTo>
                      <a:lnTo>
                        <a:pt x="29" y="12"/>
                      </a:lnTo>
                      <a:lnTo>
                        <a:pt x="29" y="12"/>
                      </a:lnTo>
                      <a:lnTo>
                        <a:pt x="29" y="12"/>
                      </a:lnTo>
                      <a:close/>
                      <a:moveTo>
                        <a:pt x="0" y="67"/>
                      </a:moveTo>
                      <a:lnTo>
                        <a:pt x="5" y="67"/>
                      </a:lnTo>
                      <a:lnTo>
                        <a:pt x="10" y="67"/>
                      </a:lnTo>
                      <a:lnTo>
                        <a:pt x="0" y="67"/>
                      </a:lnTo>
                      <a:lnTo>
                        <a:pt x="0" y="67"/>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 name="Freeform 113">
                  <a:extLst>
                    <a:ext uri="{FF2B5EF4-FFF2-40B4-BE49-F238E27FC236}">
                      <a16:creationId xmlns:a16="http://schemas.microsoft.com/office/drawing/2014/main" id="{AF551C25-0A09-2096-7AC3-258938F37866}"/>
                    </a:ext>
                  </a:extLst>
                </p:cNvPr>
                <p:cNvSpPr>
                  <a:spLocks/>
                </p:cNvSpPr>
                <p:nvPr/>
              </p:nvSpPr>
              <p:spPr bwMode="auto">
                <a:xfrm>
                  <a:off x="2988" y="2557"/>
                  <a:ext cx="66" cy="59"/>
                </a:xfrm>
                <a:custGeom>
                  <a:avLst/>
                  <a:gdLst>
                    <a:gd name="T0" fmla="*/ 52 w 66"/>
                    <a:gd name="T1" fmla="*/ 43 h 59"/>
                    <a:gd name="T2" fmla="*/ 54 w 66"/>
                    <a:gd name="T3" fmla="*/ 38 h 59"/>
                    <a:gd name="T4" fmla="*/ 56 w 66"/>
                    <a:gd name="T5" fmla="*/ 33 h 59"/>
                    <a:gd name="T6" fmla="*/ 59 w 66"/>
                    <a:gd name="T7" fmla="*/ 31 h 59"/>
                    <a:gd name="T8" fmla="*/ 64 w 66"/>
                    <a:gd name="T9" fmla="*/ 28 h 59"/>
                    <a:gd name="T10" fmla="*/ 66 w 66"/>
                    <a:gd name="T11" fmla="*/ 26 h 59"/>
                    <a:gd name="T12" fmla="*/ 66 w 66"/>
                    <a:gd name="T13" fmla="*/ 21 h 59"/>
                    <a:gd name="T14" fmla="*/ 64 w 66"/>
                    <a:gd name="T15" fmla="*/ 19 h 59"/>
                    <a:gd name="T16" fmla="*/ 61 w 66"/>
                    <a:gd name="T17" fmla="*/ 17 h 59"/>
                    <a:gd name="T18" fmla="*/ 59 w 66"/>
                    <a:gd name="T19" fmla="*/ 12 h 59"/>
                    <a:gd name="T20" fmla="*/ 56 w 66"/>
                    <a:gd name="T21" fmla="*/ 7 h 59"/>
                    <a:gd name="T22" fmla="*/ 56 w 66"/>
                    <a:gd name="T23" fmla="*/ 5 h 59"/>
                    <a:gd name="T24" fmla="*/ 54 w 66"/>
                    <a:gd name="T25" fmla="*/ 2 h 59"/>
                    <a:gd name="T26" fmla="*/ 49 w 66"/>
                    <a:gd name="T27" fmla="*/ 2 h 59"/>
                    <a:gd name="T28" fmla="*/ 47 w 66"/>
                    <a:gd name="T29" fmla="*/ 5 h 59"/>
                    <a:gd name="T30" fmla="*/ 40 w 66"/>
                    <a:gd name="T31" fmla="*/ 5 h 59"/>
                    <a:gd name="T32" fmla="*/ 35 w 66"/>
                    <a:gd name="T33" fmla="*/ 5 h 59"/>
                    <a:gd name="T34" fmla="*/ 33 w 66"/>
                    <a:gd name="T35" fmla="*/ 5 h 59"/>
                    <a:gd name="T36" fmla="*/ 30 w 66"/>
                    <a:gd name="T37" fmla="*/ 9 h 59"/>
                    <a:gd name="T38" fmla="*/ 28 w 66"/>
                    <a:gd name="T39" fmla="*/ 7 h 59"/>
                    <a:gd name="T40" fmla="*/ 26 w 66"/>
                    <a:gd name="T41" fmla="*/ 5 h 59"/>
                    <a:gd name="T42" fmla="*/ 21 w 66"/>
                    <a:gd name="T43" fmla="*/ 5 h 59"/>
                    <a:gd name="T44" fmla="*/ 16 w 66"/>
                    <a:gd name="T45" fmla="*/ 5 h 59"/>
                    <a:gd name="T46" fmla="*/ 16 w 66"/>
                    <a:gd name="T47" fmla="*/ 7 h 59"/>
                    <a:gd name="T48" fmla="*/ 16 w 66"/>
                    <a:gd name="T49" fmla="*/ 7 h 59"/>
                    <a:gd name="T50" fmla="*/ 16 w 66"/>
                    <a:gd name="T51" fmla="*/ 12 h 59"/>
                    <a:gd name="T52" fmla="*/ 14 w 66"/>
                    <a:gd name="T53" fmla="*/ 19 h 59"/>
                    <a:gd name="T54" fmla="*/ 16 w 66"/>
                    <a:gd name="T55" fmla="*/ 21 h 59"/>
                    <a:gd name="T56" fmla="*/ 19 w 66"/>
                    <a:gd name="T57" fmla="*/ 24 h 59"/>
                    <a:gd name="T58" fmla="*/ 11 w 66"/>
                    <a:gd name="T59" fmla="*/ 33 h 59"/>
                    <a:gd name="T60" fmla="*/ 7 w 66"/>
                    <a:gd name="T61" fmla="*/ 38 h 59"/>
                    <a:gd name="T62" fmla="*/ 2 w 66"/>
                    <a:gd name="T63" fmla="*/ 45 h 59"/>
                    <a:gd name="T64" fmla="*/ 2 w 66"/>
                    <a:gd name="T65" fmla="*/ 52 h 59"/>
                    <a:gd name="T66" fmla="*/ 0 w 66"/>
                    <a:gd name="T67" fmla="*/ 59 h 59"/>
                    <a:gd name="T68" fmla="*/ 0 w 66"/>
                    <a:gd name="T69" fmla="*/ 59 h 59"/>
                    <a:gd name="T70" fmla="*/ 4 w 66"/>
                    <a:gd name="T71" fmla="*/ 57 h 59"/>
                    <a:gd name="T72" fmla="*/ 7 w 66"/>
                    <a:gd name="T73" fmla="*/ 59 h 59"/>
                    <a:gd name="T74" fmla="*/ 9 w 66"/>
                    <a:gd name="T75" fmla="*/ 59 h 59"/>
                    <a:gd name="T76" fmla="*/ 11 w 66"/>
                    <a:gd name="T77" fmla="*/ 57 h 59"/>
                    <a:gd name="T78" fmla="*/ 11 w 66"/>
                    <a:gd name="T79" fmla="*/ 57 h 59"/>
                    <a:gd name="T80" fmla="*/ 14 w 66"/>
                    <a:gd name="T81" fmla="*/ 55 h 59"/>
                    <a:gd name="T82" fmla="*/ 23 w 66"/>
                    <a:gd name="T83" fmla="*/ 55 h 59"/>
                    <a:gd name="T84" fmla="*/ 47 w 66"/>
                    <a:gd name="T85" fmla="*/ 55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59">
                      <a:moveTo>
                        <a:pt x="49" y="45"/>
                      </a:moveTo>
                      <a:lnTo>
                        <a:pt x="52" y="43"/>
                      </a:lnTo>
                      <a:lnTo>
                        <a:pt x="54" y="40"/>
                      </a:lnTo>
                      <a:lnTo>
                        <a:pt x="54" y="38"/>
                      </a:lnTo>
                      <a:lnTo>
                        <a:pt x="56" y="36"/>
                      </a:lnTo>
                      <a:lnTo>
                        <a:pt x="56" y="33"/>
                      </a:lnTo>
                      <a:lnTo>
                        <a:pt x="59" y="33"/>
                      </a:lnTo>
                      <a:lnTo>
                        <a:pt x="59" y="31"/>
                      </a:lnTo>
                      <a:lnTo>
                        <a:pt x="61" y="31"/>
                      </a:lnTo>
                      <a:lnTo>
                        <a:pt x="64" y="28"/>
                      </a:lnTo>
                      <a:lnTo>
                        <a:pt x="64" y="28"/>
                      </a:lnTo>
                      <a:lnTo>
                        <a:pt x="66" y="26"/>
                      </a:lnTo>
                      <a:lnTo>
                        <a:pt x="66" y="24"/>
                      </a:lnTo>
                      <a:lnTo>
                        <a:pt x="66" y="21"/>
                      </a:lnTo>
                      <a:lnTo>
                        <a:pt x="64" y="19"/>
                      </a:lnTo>
                      <a:lnTo>
                        <a:pt x="64" y="19"/>
                      </a:lnTo>
                      <a:lnTo>
                        <a:pt x="64" y="17"/>
                      </a:lnTo>
                      <a:lnTo>
                        <a:pt x="61" y="17"/>
                      </a:lnTo>
                      <a:lnTo>
                        <a:pt x="61" y="14"/>
                      </a:lnTo>
                      <a:lnTo>
                        <a:pt x="59" y="12"/>
                      </a:lnTo>
                      <a:lnTo>
                        <a:pt x="59" y="9"/>
                      </a:lnTo>
                      <a:lnTo>
                        <a:pt x="56" y="7"/>
                      </a:lnTo>
                      <a:lnTo>
                        <a:pt x="56" y="7"/>
                      </a:lnTo>
                      <a:lnTo>
                        <a:pt x="56" y="5"/>
                      </a:lnTo>
                      <a:lnTo>
                        <a:pt x="54" y="5"/>
                      </a:lnTo>
                      <a:lnTo>
                        <a:pt x="54" y="2"/>
                      </a:lnTo>
                      <a:lnTo>
                        <a:pt x="52" y="0"/>
                      </a:lnTo>
                      <a:lnTo>
                        <a:pt x="49" y="2"/>
                      </a:lnTo>
                      <a:lnTo>
                        <a:pt x="49" y="5"/>
                      </a:lnTo>
                      <a:lnTo>
                        <a:pt x="47" y="5"/>
                      </a:lnTo>
                      <a:lnTo>
                        <a:pt x="42" y="5"/>
                      </a:lnTo>
                      <a:lnTo>
                        <a:pt x="40" y="5"/>
                      </a:lnTo>
                      <a:lnTo>
                        <a:pt x="37" y="5"/>
                      </a:lnTo>
                      <a:lnTo>
                        <a:pt x="35" y="5"/>
                      </a:lnTo>
                      <a:lnTo>
                        <a:pt x="35" y="5"/>
                      </a:lnTo>
                      <a:lnTo>
                        <a:pt x="33" y="5"/>
                      </a:lnTo>
                      <a:lnTo>
                        <a:pt x="30" y="7"/>
                      </a:lnTo>
                      <a:lnTo>
                        <a:pt x="30" y="9"/>
                      </a:lnTo>
                      <a:lnTo>
                        <a:pt x="30" y="9"/>
                      </a:lnTo>
                      <a:lnTo>
                        <a:pt x="28" y="7"/>
                      </a:lnTo>
                      <a:lnTo>
                        <a:pt x="28" y="7"/>
                      </a:lnTo>
                      <a:lnTo>
                        <a:pt x="26" y="5"/>
                      </a:lnTo>
                      <a:lnTo>
                        <a:pt x="23" y="7"/>
                      </a:lnTo>
                      <a:lnTo>
                        <a:pt x="21" y="5"/>
                      </a:lnTo>
                      <a:lnTo>
                        <a:pt x="19" y="5"/>
                      </a:lnTo>
                      <a:lnTo>
                        <a:pt x="16" y="5"/>
                      </a:lnTo>
                      <a:lnTo>
                        <a:pt x="16" y="7"/>
                      </a:lnTo>
                      <a:lnTo>
                        <a:pt x="16" y="7"/>
                      </a:lnTo>
                      <a:lnTo>
                        <a:pt x="16" y="7"/>
                      </a:lnTo>
                      <a:lnTo>
                        <a:pt x="16" y="7"/>
                      </a:lnTo>
                      <a:lnTo>
                        <a:pt x="16" y="9"/>
                      </a:lnTo>
                      <a:lnTo>
                        <a:pt x="16" y="12"/>
                      </a:lnTo>
                      <a:lnTo>
                        <a:pt x="16" y="14"/>
                      </a:lnTo>
                      <a:lnTo>
                        <a:pt x="14" y="19"/>
                      </a:lnTo>
                      <a:lnTo>
                        <a:pt x="14" y="21"/>
                      </a:lnTo>
                      <a:lnTo>
                        <a:pt x="16" y="21"/>
                      </a:lnTo>
                      <a:lnTo>
                        <a:pt x="16" y="24"/>
                      </a:lnTo>
                      <a:lnTo>
                        <a:pt x="19" y="24"/>
                      </a:lnTo>
                      <a:lnTo>
                        <a:pt x="19" y="26"/>
                      </a:lnTo>
                      <a:lnTo>
                        <a:pt x="11" y="33"/>
                      </a:lnTo>
                      <a:lnTo>
                        <a:pt x="9" y="36"/>
                      </a:lnTo>
                      <a:lnTo>
                        <a:pt x="7" y="38"/>
                      </a:lnTo>
                      <a:lnTo>
                        <a:pt x="2" y="45"/>
                      </a:lnTo>
                      <a:lnTo>
                        <a:pt x="2" y="45"/>
                      </a:lnTo>
                      <a:lnTo>
                        <a:pt x="2" y="50"/>
                      </a:lnTo>
                      <a:lnTo>
                        <a:pt x="2" y="52"/>
                      </a:lnTo>
                      <a:lnTo>
                        <a:pt x="0" y="57"/>
                      </a:lnTo>
                      <a:lnTo>
                        <a:pt x="0" y="59"/>
                      </a:lnTo>
                      <a:lnTo>
                        <a:pt x="0" y="59"/>
                      </a:lnTo>
                      <a:lnTo>
                        <a:pt x="0" y="59"/>
                      </a:lnTo>
                      <a:lnTo>
                        <a:pt x="2" y="59"/>
                      </a:lnTo>
                      <a:lnTo>
                        <a:pt x="4" y="57"/>
                      </a:lnTo>
                      <a:lnTo>
                        <a:pt x="4" y="57"/>
                      </a:lnTo>
                      <a:lnTo>
                        <a:pt x="7" y="59"/>
                      </a:lnTo>
                      <a:lnTo>
                        <a:pt x="9" y="59"/>
                      </a:lnTo>
                      <a:lnTo>
                        <a:pt x="9" y="59"/>
                      </a:lnTo>
                      <a:lnTo>
                        <a:pt x="9" y="57"/>
                      </a:lnTo>
                      <a:lnTo>
                        <a:pt x="11" y="57"/>
                      </a:lnTo>
                      <a:lnTo>
                        <a:pt x="11" y="57"/>
                      </a:lnTo>
                      <a:lnTo>
                        <a:pt x="11" y="57"/>
                      </a:lnTo>
                      <a:lnTo>
                        <a:pt x="14" y="57"/>
                      </a:lnTo>
                      <a:lnTo>
                        <a:pt x="14" y="55"/>
                      </a:lnTo>
                      <a:lnTo>
                        <a:pt x="23" y="55"/>
                      </a:lnTo>
                      <a:lnTo>
                        <a:pt x="23" y="55"/>
                      </a:lnTo>
                      <a:lnTo>
                        <a:pt x="33" y="55"/>
                      </a:lnTo>
                      <a:lnTo>
                        <a:pt x="47" y="55"/>
                      </a:lnTo>
                      <a:lnTo>
                        <a:pt x="49" y="45"/>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Freeform 114">
                  <a:extLst>
                    <a:ext uri="{FF2B5EF4-FFF2-40B4-BE49-F238E27FC236}">
                      <a16:creationId xmlns:a16="http://schemas.microsoft.com/office/drawing/2014/main" id="{D92C0893-BB86-F9F8-2538-5DFDDB43F7AA}"/>
                    </a:ext>
                  </a:extLst>
                </p:cNvPr>
                <p:cNvSpPr>
                  <a:spLocks/>
                </p:cNvSpPr>
                <p:nvPr/>
              </p:nvSpPr>
              <p:spPr bwMode="auto">
                <a:xfrm>
                  <a:off x="2817" y="2486"/>
                  <a:ext cx="149" cy="90"/>
                </a:xfrm>
                <a:custGeom>
                  <a:avLst/>
                  <a:gdLst>
                    <a:gd name="T0" fmla="*/ 95 w 149"/>
                    <a:gd name="T1" fmla="*/ 5 h 90"/>
                    <a:gd name="T2" fmla="*/ 102 w 149"/>
                    <a:gd name="T3" fmla="*/ 14 h 90"/>
                    <a:gd name="T4" fmla="*/ 102 w 149"/>
                    <a:gd name="T5" fmla="*/ 21 h 90"/>
                    <a:gd name="T6" fmla="*/ 107 w 149"/>
                    <a:gd name="T7" fmla="*/ 24 h 90"/>
                    <a:gd name="T8" fmla="*/ 109 w 149"/>
                    <a:gd name="T9" fmla="*/ 28 h 90"/>
                    <a:gd name="T10" fmla="*/ 119 w 149"/>
                    <a:gd name="T11" fmla="*/ 31 h 90"/>
                    <a:gd name="T12" fmla="*/ 123 w 149"/>
                    <a:gd name="T13" fmla="*/ 35 h 90"/>
                    <a:gd name="T14" fmla="*/ 121 w 149"/>
                    <a:gd name="T15" fmla="*/ 40 h 90"/>
                    <a:gd name="T16" fmla="*/ 128 w 149"/>
                    <a:gd name="T17" fmla="*/ 43 h 90"/>
                    <a:gd name="T18" fmla="*/ 133 w 149"/>
                    <a:gd name="T19" fmla="*/ 47 h 90"/>
                    <a:gd name="T20" fmla="*/ 138 w 149"/>
                    <a:gd name="T21" fmla="*/ 52 h 90"/>
                    <a:gd name="T22" fmla="*/ 145 w 149"/>
                    <a:gd name="T23" fmla="*/ 57 h 90"/>
                    <a:gd name="T24" fmla="*/ 149 w 149"/>
                    <a:gd name="T25" fmla="*/ 64 h 90"/>
                    <a:gd name="T26" fmla="*/ 142 w 149"/>
                    <a:gd name="T27" fmla="*/ 62 h 90"/>
                    <a:gd name="T28" fmla="*/ 133 w 149"/>
                    <a:gd name="T29" fmla="*/ 62 h 90"/>
                    <a:gd name="T30" fmla="*/ 126 w 149"/>
                    <a:gd name="T31" fmla="*/ 62 h 90"/>
                    <a:gd name="T32" fmla="*/ 123 w 149"/>
                    <a:gd name="T33" fmla="*/ 62 h 90"/>
                    <a:gd name="T34" fmla="*/ 116 w 149"/>
                    <a:gd name="T35" fmla="*/ 64 h 90"/>
                    <a:gd name="T36" fmla="*/ 114 w 149"/>
                    <a:gd name="T37" fmla="*/ 64 h 90"/>
                    <a:gd name="T38" fmla="*/ 104 w 149"/>
                    <a:gd name="T39" fmla="*/ 66 h 90"/>
                    <a:gd name="T40" fmla="*/ 97 w 149"/>
                    <a:gd name="T41" fmla="*/ 66 h 90"/>
                    <a:gd name="T42" fmla="*/ 90 w 149"/>
                    <a:gd name="T43" fmla="*/ 69 h 90"/>
                    <a:gd name="T44" fmla="*/ 88 w 149"/>
                    <a:gd name="T45" fmla="*/ 73 h 90"/>
                    <a:gd name="T46" fmla="*/ 81 w 149"/>
                    <a:gd name="T47" fmla="*/ 71 h 90"/>
                    <a:gd name="T48" fmla="*/ 71 w 149"/>
                    <a:gd name="T49" fmla="*/ 71 h 90"/>
                    <a:gd name="T50" fmla="*/ 64 w 149"/>
                    <a:gd name="T51" fmla="*/ 66 h 90"/>
                    <a:gd name="T52" fmla="*/ 57 w 149"/>
                    <a:gd name="T53" fmla="*/ 64 h 90"/>
                    <a:gd name="T54" fmla="*/ 52 w 149"/>
                    <a:gd name="T55" fmla="*/ 66 h 90"/>
                    <a:gd name="T56" fmla="*/ 50 w 149"/>
                    <a:gd name="T57" fmla="*/ 69 h 90"/>
                    <a:gd name="T58" fmla="*/ 48 w 149"/>
                    <a:gd name="T59" fmla="*/ 73 h 90"/>
                    <a:gd name="T60" fmla="*/ 45 w 149"/>
                    <a:gd name="T61" fmla="*/ 78 h 90"/>
                    <a:gd name="T62" fmla="*/ 41 w 149"/>
                    <a:gd name="T63" fmla="*/ 76 h 90"/>
                    <a:gd name="T64" fmla="*/ 31 w 149"/>
                    <a:gd name="T65" fmla="*/ 78 h 90"/>
                    <a:gd name="T66" fmla="*/ 19 w 149"/>
                    <a:gd name="T67" fmla="*/ 90 h 90"/>
                    <a:gd name="T68" fmla="*/ 19 w 149"/>
                    <a:gd name="T69" fmla="*/ 85 h 90"/>
                    <a:gd name="T70" fmla="*/ 10 w 149"/>
                    <a:gd name="T71" fmla="*/ 76 h 90"/>
                    <a:gd name="T72" fmla="*/ 3 w 149"/>
                    <a:gd name="T73" fmla="*/ 69 h 90"/>
                    <a:gd name="T74" fmla="*/ 3 w 149"/>
                    <a:gd name="T75" fmla="*/ 57 h 90"/>
                    <a:gd name="T76" fmla="*/ 3 w 149"/>
                    <a:gd name="T77" fmla="*/ 50 h 90"/>
                    <a:gd name="T78" fmla="*/ 10 w 149"/>
                    <a:gd name="T79" fmla="*/ 40 h 90"/>
                    <a:gd name="T80" fmla="*/ 14 w 149"/>
                    <a:gd name="T81" fmla="*/ 38 h 90"/>
                    <a:gd name="T82" fmla="*/ 22 w 149"/>
                    <a:gd name="T83" fmla="*/ 38 h 90"/>
                    <a:gd name="T84" fmla="*/ 26 w 149"/>
                    <a:gd name="T85" fmla="*/ 33 h 90"/>
                    <a:gd name="T86" fmla="*/ 33 w 149"/>
                    <a:gd name="T87" fmla="*/ 35 h 90"/>
                    <a:gd name="T88" fmla="*/ 48 w 149"/>
                    <a:gd name="T89" fmla="*/ 31 h 90"/>
                    <a:gd name="T90" fmla="*/ 52 w 149"/>
                    <a:gd name="T91" fmla="*/ 26 h 90"/>
                    <a:gd name="T92" fmla="*/ 52 w 149"/>
                    <a:gd name="T93" fmla="*/ 21 h 90"/>
                    <a:gd name="T94" fmla="*/ 64 w 149"/>
                    <a:gd name="T95" fmla="*/ 21 h 90"/>
                    <a:gd name="T96" fmla="*/ 71 w 149"/>
                    <a:gd name="T97" fmla="*/ 19 h 90"/>
                    <a:gd name="T98" fmla="*/ 74 w 149"/>
                    <a:gd name="T99" fmla="*/ 12 h 90"/>
                    <a:gd name="T100" fmla="*/ 81 w 149"/>
                    <a:gd name="T101" fmla="*/ 7 h 90"/>
                    <a:gd name="T102" fmla="*/ 83 w 149"/>
                    <a:gd name="T103" fmla="*/ 2 h 90"/>
                    <a:gd name="T104" fmla="*/ 93 w 149"/>
                    <a:gd name="T105" fmla="*/ 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9" h="90">
                      <a:moveTo>
                        <a:pt x="93" y="0"/>
                      </a:moveTo>
                      <a:lnTo>
                        <a:pt x="95" y="2"/>
                      </a:lnTo>
                      <a:lnTo>
                        <a:pt x="95" y="2"/>
                      </a:lnTo>
                      <a:lnTo>
                        <a:pt x="95" y="5"/>
                      </a:lnTo>
                      <a:lnTo>
                        <a:pt x="97" y="5"/>
                      </a:lnTo>
                      <a:lnTo>
                        <a:pt x="97" y="7"/>
                      </a:lnTo>
                      <a:lnTo>
                        <a:pt x="100" y="9"/>
                      </a:lnTo>
                      <a:lnTo>
                        <a:pt x="102" y="14"/>
                      </a:lnTo>
                      <a:lnTo>
                        <a:pt x="102" y="16"/>
                      </a:lnTo>
                      <a:lnTo>
                        <a:pt x="102" y="19"/>
                      </a:lnTo>
                      <a:lnTo>
                        <a:pt x="102" y="19"/>
                      </a:lnTo>
                      <a:lnTo>
                        <a:pt x="102" y="21"/>
                      </a:lnTo>
                      <a:lnTo>
                        <a:pt x="102" y="24"/>
                      </a:lnTo>
                      <a:lnTo>
                        <a:pt x="102" y="26"/>
                      </a:lnTo>
                      <a:lnTo>
                        <a:pt x="104" y="26"/>
                      </a:lnTo>
                      <a:lnTo>
                        <a:pt x="107" y="24"/>
                      </a:lnTo>
                      <a:lnTo>
                        <a:pt x="109" y="24"/>
                      </a:lnTo>
                      <a:lnTo>
                        <a:pt x="111" y="26"/>
                      </a:lnTo>
                      <a:lnTo>
                        <a:pt x="109" y="26"/>
                      </a:lnTo>
                      <a:lnTo>
                        <a:pt x="109" y="28"/>
                      </a:lnTo>
                      <a:lnTo>
                        <a:pt x="111" y="31"/>
                      </a:lnTo>
                      <a:lnTo>
                        <a:pt x="114" y="31"/>
                      </a:lnTo>
                      <a:lnTo>
                        <a:pt x="116" y="31"/>
                      </a:lnTo>
                      <a:lnTo>
                        <a:pt x="119" y="31"/>
                      </a:lnTo>
                      <a:lnTo>
                        <a:pt x="119" y="33"/>
                      </a:lnTo>
                      <a:lnTo>
                        <a:pt x="121" y="33"/>
                      </a:lnTo>
                      <a:lnTo>
                        <a:pt x="123" y="35"/>
                      </a:lnTo>
                      <a:lnTo>
                        <a:pt x="123" y="35"/>
                      </a:lnTo>
                      <a:lnTo>
                        <a:pt x="123" y="38"/>
                      </a:lnTo>
                      <a:lnTo>
                        <a:pt x="121" y="38"/>
                      </a:lnTo>
                      <a:lnTo>
                        <a:pt x="121" y="38"/>
                      </a:lnTo>
                      <a:lnTo>
                        <a:pt x="121" y="40"/>
                      </a:lnTo>
                      <a:lnTo>
                        <a:pt x="123" y="43"/>
                      </a:lnTo>
                      <a:lnTo>
                        <a:pt x="126" y="43"/>
                      </a:lnTo>
                      <a:lnTo>
                        <a:pt x="126" y="43"/>
                      </a:lnTo>
                      <a:lnTo>
                        <a:pt x="128" y="43"/>
                      </a:lnTo>
                      <a:lnTo>
                        <a:pt x="128" y="43"/>
                      </a:lnTo>
                      <a:lnTo>
                        <a:pt x="133" y="45"/>
                      </a:lnTo>
                      <a:lnTo>
                        <a:pt x="133" y="45"/>
                      </a:lnTo>
                      <a:lnTo>
                        <a:pt x="133" y="47"/>
                      </a:lnTo>
                      <a:lnTo>
                        <a:pt x="135" y="50"/>
                      </a:lnTo>
                      <a:lnTo>
                        <a:pt x="138" y="50"/>
                      </a:lnTo>
                      <a:lnTo>
                        <a:pt x="138" y="52"/>
                      </a:lnTo>
                      <a:lnTo>
                        <a:pt x="138" y="52"/>
                      </a:lnTo>
                      <a:lnTo>
                        <a:pt x="138" y="54"/>
                      </a:lnTo>
                      <a:lnTo>
                        <a:pt x="142" y="54"/>
                      </a:lnTo>
                      <a:lnTo>
                        <a:pt x="145" y="57"/>
                      </a:lnTo>
                      <a:lnTo>
                        <a:pt x="145" y="57"/>
                      </a:lnTo>
                      <a:lnTo>
                        <a:pt x="145" y="59"/>
                      </a:lnTo>
                      <a:lnTo>
                        <a:pt x="145" y="62"/>
                      </a:lnTo>
                      <a:lnTo>
                        <a:pt x="147" y="62"/>
                      </a:lnTo>
                      <a:lnTo>
                        <a:pt x="149" y="64"/>
                      </a:lnTo>
                      <a:lnTo>
                        <a:pt x="149" y="64"/>
                      </a:lnTo>
                      <a:lnTo>
                        <a:pt x="147" y="64"/>
                      </a:lnTo>
                      <a:lnTo>
                        <a:pt x="145" y="62"/>
                      </a:lnTo>
                      <a:lnTo>
                        <a:pt x="142" y="62"/>
                      </a:lnTo>
                      <a:lnTo>
                        <a:pt x="140" y="64"/>
                      </a:lnTo>
                      <a:lnTo>
                        <a:pt x="140" y="64"/>
                      </a:lnTo>
                      <a:lnTo>
                        <a:pt x="135" y="64"/>
                      </a:lnTo>
                      <a:lnTo>
                        <a:pt x="133" y="62"/>
                      </a:lnTo>
                      <a:lnTo>
                        <a:pt x="130" y="62"/>
                      </a:lnTo>
                      <a:lnTo>
                        <a:pt x="130" y="62"/>
                      </a:lnTo>
                      <a:lnTo>
                        <a:pt x="128" y="62"/>
                      </a:lnTo>
                      <a:lnTo>
                        <a:pt x="126" y="62"/>
                      </a:lnTo>
                      <a:lnTo>
                        <a:pt x="126" y="62"/>
                      </a:lnTo>
                      <a:lnTo>
                        <a:pt x="123" y="62"/>
                      </a:lnTo>
                      <a:lnTo>
                        <a:pt x="123" y="62"/>
                      </a:lnTo>
                      <a:lnTo>
                        <a:pt x="123" y="62"/>
                      </a:lnTo>
                      <a:lnTo>
                        <a:pt x="123" y="64"/>
                      </a:lnTo>
                      <a:lnTo>
                        <a:pt x="121" y="64"/>
                      </a:lnTo>
                      <a:lnTo>
                        <a:pt x="121" y="64"/>
                      </a:lnTo>
                      <a:lnTo>
                        <a:pt x="116" y="64"/>
                      </a:lnTo>
                      <a:lnTo>
                        <a:pt x="116" y="66"/>
                      </a:lnTo>
                      <a:lnTo>
                        <a:pt x="114" y="66"/>
                      </a:lnTo>
                      <a:lnTo>
                        <a:pt x="114" y="64"/>
                      </a:lnTo>
                      <a:lnTo>
                        <a:pt x="114" y="64"/>
                      </a:lnTo>
                      <a:lnTo>
                        <a:pt x="114" y="64"/>
                      </a:lnTo>
                      <a:lnTo>
                        <a:pt x="111" y="64"/>
                      </a:lnTo>
                      <a:lnTo>
                        <a:pt x="107" y="64"/>
                      </a:lnTo>
                      <a:lnTo>
                        <a:pt x="104" y="66"/>
                      </a:lnTo>
                      <a:lnTo>
                        <a:pt x="104" y="66"/>
                      </a:lnTo>
                      <a:lnTo>
                        <a:pt x="100" y="66"/>
                      </a:lnTo>
                      <a:lnTo>
                        <a:pt x="97" y="69"/>
                      </a:lnTo>
                      <a:lnTo>
                        <a:pt x="97" y="66"/>
                      </a:lnTo>
                      <a:lnTo>
                        <a:pt x="95" y="66"/>
                      </a:lnTo>
                      <a:lnTo>
                        <a:pt x="93" y="66"/>
                      </a:lnTo>
                      <a:lnTo>
                        <a:pt x="90" y="69"/>
                      </a:lnTo>
                      <a:lnTo>
                        <a:pt x="90" y="69"/>
                      </a:lnTo>
                      <a:lnTo>
                        <a:pt x="90" y="71"/>
                      </a:lnTo>
                      <a:lnTo>
                        <a:pt x="90" y="71"/>
                      </a:lnTo>
                      <a:lnTo>
                        <a:pt x="90" y="73"/>
                      </a:lnTo>
                      <a:lnTo>
                        <a:pt x="88" y="73"/>
                      </a:lnTo>
                      <a:lnTo>
                        <a:pt x="85" y="73"/>
                      </a:lnTo>
                      <a:lnTo>
                        <a:pt x="83" y="71"/>
                      </a:lnTo>
                      <a:lnTo>
                        <a:pt x="81" y="71"/>
                      </a:lnTo>
                      <a:lnTo>
                        <a:pt x="81" y="71"/>
                      </a:lnTo>
                      <a:lnTo>
                        <a:pt x="78" y="71"/>
                      </a:lnTo>
                      <a:lnTo>
                        <a:pt x="76" y="71"/>
                      </a:lnTo>
                      <a:lnTo>
                        <a:pt x="74" y="71"/>
                      </a:lnTo>
                      <a:lnTo>
                        <a:pt x="71" y="71"/>
                      </a:lnTo>
                      <a:lnTo>
                        <a:pt x="69" y="71"/>
                      </a:lnTo>
                      <a:lnTo>
                        <a:pt x="69" y="69"/>
                      </a:lnTo>
                      <a:lnTo>
                        <a:pt x="67" y="66"/>
                      </a:lnTo>
                      <a:lnTo>
                        <a:pt x="64" y="66"/>
                      </a:lnTo>
                      <a:lnTo>
                        <a:pt x="62" y="64"/>
                      </a:lnTo>
                      <a:lnTo>
                        <a:pt x="59" y="64"/>
                      </a:lnTo>
                      <a:lnTo>
                        <a:pt x="57" y="64"/>
                      </a:lnTo>
                      <a:lnTo>
                        <a:pt x="57" y="64"/>
                      </a:lnTo>
                      <a:lnTo>
                        <a:pt x="57" y="64"/>
                      </a:lnTo>
                      <a:lnTo>
                        <a:pt x="55" y="64"/>
                      </a:lnTo>
                      <a:lnTo>
                        <a:pt x="52" y="66"/>
                      </a:lnTo>
                      <a:lnTo>
                        <a:pt x="52" y="66"/>
                      </a:lnTo>
                      <a:lnTo>
                        <a:pt x="50" y="66"/>
                      </a:lnTo>
                      <a:lnTo>
                        <a:pt x="50" y="66"/>
                      </a:lnTo>
                      <a:lnTo>
                        <a:pt x="50" y="69"/>
                      </a:lnTo>
                      <a:lnTo>
                        <a:pt x="50" y="69"/>
                      </a:lnTo>
                      <a:lnTo>
                        <a:pt x="48" y="71"/>
                      </a:lnTo>
                      <a:lnTo>
                        <a:pt x="48" y="71"/>
                      </a:lnTo>
                      <a:lnTo>
                        <a:pt x="48" y="71"/>
                      </a:lnTo>
                      <a:lnTo>
                        <a:pt x="48" y="73"/>
                      </a:lnTo>
                      <a:lnTo>
                        <a:pt x="48" y="73"/>
                      </a:lnTo>
                      <a:lnTo>
                        <a:pt x="48" y="76"/>
                      </a:lnTo>
                      <a:lnTo>
                        <a:pt x="48" y="78"/>
                      </a:lnTo>
                      <a:lnTo>
                        <a:pt x="45" y="78"/>
                      </a:lnTo>
                      <a:lnTo>
                        <a:pt x="45" y="78"/>
                      </a:lnTo>
                      <a:lnTo>
                        <a:pt x="43" y="78"/>
                      </a:lnTo>
                      <a:lnTo>
                        <a:pt x="43" y="76"/>
                      </a:lnTo>
                      <a:lnTo>
                        <a:pt x="41" y="76"/>
                      </a:lnTo>
                      <a:lnTo>
                        <a:pt x="38" y="76"/>
                      </a:lnTo>
                      <a:lnTo>
                        <a:pt x="38" y="78"/>
                      </a:lnTo>
                      <a:lnTo>
                        <a:pt x="36" y="78"/>
                      </a:lnTo>
                      <a:lnTo>
                        <a:pt x="31" y="78"/>
                      </a:lnTo>
                      <a:lnTo>
                        <a:pt x="31" y="80"/>
                      </a:lnTo>
                      <a:lnTo>
                        <a:pt x="29" y="80"/>
                      </a:lnTo>
                      <a:lnTo>
                        <a:pt x="24" y="83"/>
                      </a:lnTo>
                      <a:lnTo>
                        <a:pt x="19" y="90"/>
                      </a:lnTo>
                      <a:lnTo>
                        <a:pt x="19" y="90"/>
                      </a:lnTo>
                      <a:lnTo>
                        <a:pt x="19" y="90"/>
                      </a:lnTo>
                      <a:lnTo>
                        <a:pt x="19" y="88"/>
                      </a:lnTo>
                      <a:lnTo>
                        <a:pt x="19" y="85"/>
                      </a:lnTo>
                      <a:lnTo>
                        <a:pt x="14" y="83"/>
                      </a:lnTo>
                      <a:lnTo>
                        <a:pt x="14" y="83"/>
                      </a:lnTo>
                      <a:lnTo>
                        <a:pt x="12" y="78"/>
                      </a:lnTo>
                      <a:lnTo>
                        <a:pt x="10" y="76"/>
                      </a:lnTo>
                      <a:lnTo>
                        <a:pt x="10" y="73"/>
                      </a:lnTo>
                      <a:lnTo>
                        <a:pt x="7" y="71"/>
                      </a:lnTo>
                      <a:lnTo>
                        <a:pt x="5" y="69"/>
                      </a:lnTo>
                      <a:lnTo>
                        <a:pt x="3" y="69"/>
                      </a:lnTo>
                      <a:lnTo>
                        <a:pt x="3" y="64"/>
                      </a:lnTo>
                      <a:lnTo>
                        <a:pt x="3" y="62"/>
                      </a:lnTo>
                      <a:lnTo>
                        <a:pt x="3" y="59"/>
                      </a:lnTo>
                      <a:lnTo>
                        <a:pt x="3" y="57"/>
                      </a:lnTo>
                      <a:lnTo>
                        <a:pt x="0" y="54"/>
                      </a:lnTo>
                      <a:lnTo>
                        <a:pt x="0" y="52"/>
                      </a:lnTo>
                      <a:lnTo>
                        <a:pt x="3" y="52"/>
                      </a:lnTo>
                      <a:lnTo>
                        <a:pt x="3" y="50"/>
                      </a:lnTo>
                      <a:lnTo>
                        <a:pt x="5" y="47"/>
                      </a:lnTo>
                      <a:lnTo>
                        <a:pt x="7" y="45"/>
                      </a:lnTo>
                      <a:lnTo>
                        <a:pt x="10" y="43"/>
                      </a:lnTo>
                      <a:lnTo>
                        <a:pt x="10" y="40"/>
                      </a:lnTo>
                      <a:lnTo>
                        <a:pt x="12" y="40"/>
                      </a:lnTo>
                      <a:lnTo>
                        <a:pt x="14" y="35"/>
                      </a:lnTo>
                      <a:lnTo>
                        <a:pt x="14" y="35"/>
                      </a:lnTo>
                      <a:lnTo>
                        <a:pt x="14" y="38"/>
                      </a:lnTo>
                      <a:lnTo>
                        <a:pt x="14" y="40"/>
                      </a:lnTo>
                      <a:lnTo>
                        <a:pt x="17" y="40"/>
                      </a:lnTo>
                      <a:lnTo>
                        <a:pt x="19" y="38"/>
                      </a:lnTo>
                      <a:lnTo>
                        <a:pt x="22" y="38"/>
                      </a:lnTo>
                      <a:lnTo>
                        <a:pt x="24" y="35"/>
                      </a:lnTo>
                      <a:lnTo>
                        <a:pt x="24" y="35"/>
                      </a:lnTo>
                      <a:lnTo>
                        <a:pt x="24" y="33"/>
                      </a:lnTo>
                      <a:lnTo>
                        <a:pt x="26" y="33"/>
                      </a:lnTo>
                      <a:lnTo>
                        <a:pt x="26" y="35"/>
                      </a:lnTo>
                      <a:lnTo>
                        <a:pt x="29" y="38"/>
                      </a:lnTo>
                      <a:lnTo>
                        <a:pt x="29" y="38"/>
                      </a:lnTo>
                      <a:lnTo>
                        <a:pt x="33" y="35"/>
                      </a:lnTo>
                      <a:lnTo>
                        <a:pt x="36" y="33"/>
                      </a:lnTo>
                      <a:lnTo>
                        <a:pt x="38" y="33"/>
                      </a:lnTo>
                      <a:lnTo>
                        <a:pt x="45" y="31"/>
                      </a:lnTo>
                      <a:lnTo>
                        <a:pt x="48" y="31"/>
                      </a:lnTo>
                      <a:lnTo>
                        <a:pt x="50" y="28"/>
                      </a:lnTo>
                      <a:lnTo>
                        <a:pt x="52" y="28"/>
                      </a:lnTo>
                      <a:lnTo>
                        <a:pt x="52" y="26"/>
                      </a:lnTo>
                      <a:lnTo>
                        <a:pt x="52" y="26"/>
                      </a:lnTo>
                      <a:lnTo>
                        <a:pt x="50" y="24"/>
                      </a:lnTo>
                      <a:lnTo>
                        <a:pt x="50" y="21"/>
                      </a:lnTo>
                      <a:lnTo>
                        <a:pt x="52" y="21"/>
                      </a:lnTo>
                      <a:lnTo>
                        <a:pt x="52" y="21"/>
                      </a:lnTo>
                      <a:lnTo>
                        <a:pt x="55" y="21"/>
                      </a:lnTo>
                      <a:lnTo>
                        <a:pt x="57" y="21"/>
                      </a:lnTo>
                      <a:lnTo>
                        <a:pt x="59" y="21"/>
                      </a:lnTo>
                      <a:lnTo>
                        <a:pt x="64" y="21"/>
                      </a:lnTo>
                      <a:lnTo>
                        <a:pt x="69" y="21"/>
                      </a:lnTo>
                      <a:lnTo>
                        <a:pt x="69" y="19"/>
                      </a:lnTo>
                      <a:lnTo>
                        <a:pt x="71" y="19"/>
                      </a:lnTo>
                      <a:lnTo>
                        <a:pt x="71" y="19"/>
                      </a:lnTo>
                      <a:lnTo>
                        <a:pt x="71" y="16"/>
                      </a:lnTo>
                      <a:lnTo>
                        <a:pt x="74" y="14"/>
                      </a:lnTo>
                      <a:lnTo>
                        <a:pt x="74" y="14"/>
                      </a:lnTo>
                      <a:lnTo>
                        <a:pt x="74" y="12"/>
                      </a:lnTo>
                      <a:lnTo>
                        <a:pt x="76" y="9"/>
                      </a:lnTo>
                      <a:lnTo>
                        <a:pt x="76" y="12"/>
                      </a:lnTo>
                      <a:lnTo>
                        <a:pt x="78" y="12"/>
                      </a:lnTo>
                      <a:lnTo>
                        <a:pt x="81" y="7"/>
                      </a:lnTo>
                      <a:lnTo>
                        <a:pt x="81" y="7"/>
                      </a:lnTo>
                      <a:lnTo>
                        <a:pt x="81" y="5"/>
                      </a:lnTo>
                      <a:lnTo>
                        <a:pt x="81" y="5"/>
                      </a:lnTo>
                      <a:lnTo>
                        <a:pt x="83" y="2"/>
                      </a:lnTo>
                      <a:lnTo>
                        <a:pt x="85" y="2"/>
                      </a:lnTo>
                      <a:lnTo>
                        <a:pt x="88" y="2"/>
                      </a:lnTo>
                      <a:lnTo>
                        <a:pt x="90" y="2"/>
                      </a:lnTo>
                      <a:lnTo>
                        <a:pt x="93" y="2"/>
                      </a:lnTo>
                      <a:lnTo>
                        <a:pt x="93" y="0"/>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Freeform 115">
                  <a:extLst>
                    <a:ext uri="{FF2B5EF4-FFF2-40B4-BE49-F238E27FC236}">
                      <a16:creationId xmlns:a16="http://schemas.microsoft.com/office/drawing/2014/main" id="{9A3C7BA4-AAD7-E070-484C-3F3710BECF8D}"/>
                    </a:ext>
                  </a:extLst>
                </p:cNvPr>
                <p:cNvSpPr>
                  <a:spLocks/>
                </p:cNvSpPr>
                <p:nvPr/>
              </p:nvSpPr>
              <p:spPr bwMode="auto">
                <a:xfrm>
                  <a:off x="2758" y="2249"/>
                  <a:ext cx="175" cy="147"/>
                </a:xfrm>
                <a:custGeom>
                  <a:avLst/>
                  <a:gdLst>
                    <a:gd name="T0" fmla="*/ 163 w 175"/>
                    <a:gd name="T1" fmla="*/ 144 h 147"/>
                    <a:gd name="T2" fmla="*/ 170 w 175"/>
                    <a:gd name="T3" fmla="*/ 43 h 147"/>
                    <a:gd name="T4" fmla="*/ 168 w 175"/>
                    <a:gd name="T5" fmla="*/ 33 h 147"/>
                    <a:gd name="T6" fmla="*/ 170 w 175"/>
                    <a:gd name="T7" fmla="*/ 26 h 147"/>
                    <a:gd name="T8" fmla="*/ 168 w 175"/>
                    <a:gd name="T9" fmla="*/ 21 h 147"/>
                    <a:gd name="T10" fmla="*/ 170 w 175"/>
                    <a:gd name="T11" fmla="*/ 16 h 147"/>
                    <a:gd name="T12" fmla="*/ 168 w 175"/>
                    <a:gd name="T13" fmla="*/ 12 h 147"/>
                    <a:gd name="T14" fmla="*/ 163 w 175"/>
                    <a:gd name="T15" fmla="*/ 12 h 147"/>
                    <a:gd name="T16" fmla="*/ 154 w 175"/>
                    <a:gd name="T17" fmla="*/ 9 h 147"/>
                    <a:gd name="T18" fmla="*/ 147 w 175"/>
                    <a:gd name="T19" fmla="*/ 7 h 147"/>
                    <a:gd name="T20" fmla="*/ 147 w 175"/>
                    <a:gd name="T21" fmla="*/ 7 h 147"/>
                    <a:gd name="T22" fmla="*/ 142 w 175"/>
                    <a:gd name="T23" fmla="*/ 2 h 147"/>
                    <a:gd name="T24" fmla="*/ 137 w 175"/>
                    <a:gd name="T25" fmla="*/ 2 h 147"/>
                    <a:gd name="T26" fmla="*/ 135 w 175"/>
                    <a:gd name="T27" fmla="*/ 2 h 147"/>
                    <a:gd name="T28" fmla="*/ 130 w 175"/>
                    <a:gd name="T29" fmla="*/ 2 h 147"/>
                    <a:gd name="T30" fmla="*/ 121 w 175"/>
                    <a:gd name="T31" fmla="*/ 5 h 147"/>
                    <a:gd name="T32" fmla="*/ 114 w 175"/>
                    <a:gd name="T33" fmla="*/ 7 h 147"/>
                    <a:gd name="T34" fmla="*/ 111 w 175"/>
                    <a:gd name="T35" fmla="*/ 12 h 147"/>
                    <a:gd name="T36" fmla="*/ 114 w 175"/>
                    <a:gd name="T37" fmla="*/ 19 h 147"/>
                    <a:gd name="T38" fmla="*/ 114 w 175"/>
                    <a:gd name="T39" fmla="*/ 26 h 147"/>
                    <a:gd name="T40" fmla="*/ 111 w 175"/>
                    <a:gd name="T41" fmla="*/ 31 h 147"/>
                    <a:gd name="T42" fmla="*/ 104 w 175"/>
                    <a:gd name="T43" fmla="*/ 33 h 147"/>
                    <a:gd name="T44" fmla="*/ 95 w 175"/>
                    <a:gd name="T45" fmla="*/ 28 h 147"/>
                    <a:gd name="T46" fmla="*/ 88 w 175"/>
                    <a:gd name="T47" fmla="*/ 24 h 147"/>
                    <a:gd name="T48" fmla="*/ 76 w 175"/>
                    <a:gd name="T49" fmla="*/ 21 h 147"/>
                    <a:gd name="T50" fmla="*/ 69 w 175"/>
                    <a:gd name="T51" fmla="*/ 21 h 147"/>
                    <a:gd name="T52" fmla="*/ 62 w 175"/>
                    <a:gd name="T53" fmla="*/ 14 h 147"/>
                    <a:gd name="T54" fmla="*/ 59 w 175"/>
                    <a:gd name="T55" fmla="*/ 7 h 147"/>
                    <a:gd name="T56" fmla="*/ 47 w 175"/>
                    <a:gd name="T57" fmla="*/ 2 h 147"/>
                    <a:gd name="T58" fmla="*/ 38 w 175"/>
                    <a:gd name="T59" fmla="*/ 2 h 147"/>
                    <a:gd name="T60" fmla="*/ 26 w 175"/>
                    <a:gd name="T61" fmla="*/ 2 h 147"/>
                    <a:gd name="T62" fmla="*/ 21 w 175"/>
                    <a:gd name="T63" fmla="*/ 0 h 147"/>
                    <a:gd name="T64" fmla="*/ 21 w 175"/>
                    <a:gd name="T65" fmla="*/ 5 h 147"/>
                    <a:gd name="T66" fmla="*/ 19 w 175"/>
                    <a:gd name="T67" fmla="*/ 9 h 147"/>
                    <a:gd name="T68" fmla="*/ 12 w 175"/>
                    <a:gd name="T69" fmla="*/ 14 h 147"/>
                    <a:gd name="T70" fmla="*/ 7 w 175"/>
                    <a:gd name="T71" fmla="*/ 16 h 147"/>
                    <a:gd name="T72" fmla="*/ 7 w 175"/>
                    <a:gd name="T73" fmla="*/ 19 h 147"/>
                    <a:gd name="T74" fmla="*/ 7 w 175"/>
                    <a:gd name="T75" fmla="*/ 24 h 147"/>
                    <a:gd name="T76" fmla="*/ 7 w 175"/>
                    <a:gd name="T77" fmla="*/ 26 h 147"/>
                    <a:gd name="T78" fmla="*/ 5 w 175"/>
                    <a:gd name="T79" fmla="*/ 28 h 147"/>
                    <a:gd name="T80" fmla="*/ 3 w 175"/>
                    <a:gd name="T81" fmla="*/ 31 h 147"/>
                    <a:gd name="T82" fmla="*/ 0 w 175"/>
                    <a:gd name="T83" fmla="*/ 31 h 147"/>
                    <a:gd name="T84" fmla="*/ 0 w 175"/>
                    <a:gd name="T85" fmla="*/ 33 h 147"/>
                    <a:gd name="T86" fmla="*/ 0 w 175"/>
                    <a:gd name="T87" fmla="*/ 35 h 147"/>
                    <a:gd name="T88" fmla="*/ 3 w 175"/>
                    <a:gd name="T89" fmla="*/ 45 h 147"/>
                    <a:gd name="T90" fmla="*/ 3 w 175"/>
                    <a:gd name="T91" fmla="*/ 50 h 147"/>
                    <a:gd name="T92" fmla="*/ 5 w 175"/>
                    <a:gd name="T93" fmla="*/ 59 h 147"/>
                    <a:gd name="T94" fmla="*/ 3 w 175"/>
                    <a:gd name="T95" fmla="*/ 64 h 147"/>
                    <a:gd name="T96" fmla="*/ 5 w 175"/>
                    <a:gd name="T97" fmla="*/ 71 h 147"/>
                    <a:gd name="T98" fmla="*/ 0 w 175"/>
                    <a:gd name="T99" fmla="*/ 73 h 147"/>
                    <a:gd name="T100" fmla="*/ 0 w 175"/>
                    <a:gd name="T101" fmla="*/ 76 h 147"/>
                    <a:gd name="T102" fmla="*/ 3 w 175"/>
                    <a:gd name="T103" fmla="*/ 80 h 147"/>
                    <a:gd name="T104" fmla="*/ 7 w 175"/>
                    <a:gd name="T105" fmla="*/ 85 h 147"/>
                    <a:gd name="T106" fmla="*/ 7 w 175"/>
                    <a:gd name="T107" fmla="*/ 90 h 147"/>
                    <a:gd name="T108" fmla="*/ 7 w 175"/>
                    <a:gd name="T109" fmla="*/ 92 h 147"/>
                    <a:gd name="T110" fmla="*/ 10 w 175"/>
                    <a:gd name="T111" fmla="*/ 97 h 147"/>
                    <a:gd name="T112" fmla="*/ 19 w 175"/>
                    <a:gd name="T113" fmla="*/ 97 h 147"/>
                    <a:gd name="T114" fmla="*/ 21 w 175"/>
                    <a:gd name="T115" fmla="*/ 99 h 147"/>
                    <a:gd name="T116" fmla="*/ 26 w 175"/>
                    <a:gd name="T117" fmla="*/ 104 h 147"/>
                    <a:gd name="T118" fmla="*/ 29 w 175"/>
                    <a:gd name="T119" fmla="*/ 109 h 147"/>
                    <a:gd name="T120" fmla="*/ 50 w 175"/>
                    <a:gd name="T121" fmla="*/ 114 h 147"/>
                    <a:gd name="T122" fmla="*/ 163 w 175"/>
                    <a:gd name="T123" fmla="*/ 147 h 147"/>
                    <a:gd name="T124" fmla="*/ 163 w 175"/>
                    <a:gd name="T125" fmla="*/ 1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5" h="147">
                      <a:moveTo>
                        <a:pt x="163" y="147"/>
                      </a:moveTo>
                      <a:lnTo>
                        <a:pt x="163" y="144"/>
                      </a:lnTo>
                      <a:lnTo>
                        <a:pt x="175" y="142"/>
                      </a:lnTo>
                      <a:lnTo>
                        <a:pt x="170" y="43"/>
                      </a:lnTo>
                      <a:lnTo>
                        <a:pt x="168" y="35"/>
                      </a:lnTo>
                      <a:lnTo>
                        <a:pt x="168" y="33"/>
                      </a:lnTo>
                      <a:lnTo>
                        <a:pt x="168" y="31"/>
                      </a:lnTo>
                      <a:lnTo>
                        <a:pt x="170" y="26"/>
                      </a:lnTo>
                      <a:lnTo>
                        <a:pt x="170" y="24"/>
                      </a:lnTo>
                      <a:lnTo>
                        <a:pt x="168" y="21"/>
                      </a:lnTo>
                      <a:lnTo>
                        <a:pt x="170" y="16"/>
                      </a:lnTo>
                      <a:lnTo>
                        <a:pt x="170" y="16"/>
                      </a:lnTo>
                      <a:lnTo>
                        <a:pt x="170" y="14"/>
                      </a:lnTo>
                      <a:lnTo>
                        <a:pt x="168" y="12"/>
                      </a:lnTo>
                      <a:lnTo>
                        <a:pt x="166" y="12"/>
                      </a:lnTo>
                      <a:lnTo>
                        <a:pt x="163" y="12"/>
                      </a:lnTo>
                      <a:lnTo>
                        <a:pt x="156" y="9"/>
                      </a:lnTo>
                      <a:lnTo>
                        <a:pt x="154" y="9"/>
                      </a:lnTo>
                      <a:lnTo>
                        <a:pt x="152" y="9"/>
                      </a:lnTo>
                      <a:lnTo>
                        <a:pt x="147" y="7"/>
                      </a:lnTo>
                      <a:lnTo>
                        <a:pt x="147" y="7"/>
                      </a:lnTo>
                      <a:lnTo>
                        <a:pt x="147" y="7"/>
                      </a:lnTo>
                      <a:lnTo>
                        <a:pt x="147" y="5"/>
                      </a:lnTo>
                      <a:lnTo>
                        <a:pt x="142" y="2"/>
                      </a:lnTo>
                      <a:lnTo>
                        <a:pt x="140" y="2"/>
                      </a:lnTo>
                      <a:lnTo>
                        <a:pt x="137" y="2"/>
                      </a:lnTo>
                      <a:lnTo>
                        <a:pt x="135" y="2"/>
                      </a:lnTo>
                      <a:lnTo>
                        <a:pt x="135" y="2"/>
                      </a:lnTo>
                      <a:lnTo>
                        <a:pt x="133" y="2"/>
                      </a:lnTo>
                      <a:lnTo>
                        <a:pt x="130" y="2"/>
                      </a:lnTo>
                      <a:lnTo>
                        <a:pt x="128" y="2"/>
                      </a:lnTo>
                      <a:lnTo>
                        <a:pt x="121" y="5"/>
                      </a:lnTo>
                      <a:lnTo>
                        <a:pt x="116" y="5"/>
                      </a:lnTo>
                      <a:lnTo>
                        <a:pt x="114" y="7"/>
                      </a:lnTo>
                      <a:lnTo>
                        <a:pt x="114" y="12"/>
                      </a:lnTo>
                      <a:lnTo>
                        <a:pt x="111" y="12"/>
                      </a:lnTo>
                      <a:lnTo>
                        <a:pt x="111" y="16"/>
                      </a:lnTo>
                      <a:lnTo>
                        <a:pt x="114" y="19"/>
                      </a:lnTo>
                      <a:lnTo>
                        <a:pt x="116" y="24"/>
                      </a:lnTo>
                      <a:lnTo>
                        <a:pt x="114" y="26"/>
                      </a:lnTo>
                      <a:lnTo>
                        <a:pt x="111" y="28"/>
                      </a:lnTo>
                      <a:lnTo>
                        <a:pt x="111" y="31"/>
                      </a:lnTo>
                      <a:lnTo>
                        <a:pt x="107" y="33"/>
                      </a:lnTo>
                      <a:lnTo>
                        <a:pt x="104" y="33"/>
                      </a:lnTo>
                      <a:lnTo>
                        <a:pt x="100" y="33"/>
                      </a:lnTo>
                      <a:lnTo>
                        <a:pt x="95" y="28"/>
                      </a:lnTo>
                      <a:lnTo>
                        <a:pt x="92" y="26"/>
                      </a:lnTo>
                      <a:lnTo>
                        <a:pt x="88" y="24"/>
                      </a:lnTo>
                      <a:lnTo>
                        <a:pt x="78" y="21"/>
                      </a:lnTo>
                      <a:lnTo>
                        <a:pt x="76" y="21"/>
                      </a:lnTo>
                      <a:lnTo>
                        <a:pt x="73" y="21"/>
                      </a:lnTo>
                      <a:lnTo>
                        <a:pt x="69" y="21"/>
                      </a:lnTo>
                      <a:lnTo>
                        <a:pt x="66" y="19"/>
                      </a:lnTo>
                      <a:lnTo>
                        <a:pt x="62" y="14"/>
                      </a:lnTo>
                      <a:lnTo>
                        <a:pt x="62" y="9"/>
                      </a:lnTo>
                      <a:lnTo>
                        <a:pt x="59" y="7"/>
                      </a:lnTo>
                      <a:lnTo>
                        <a:pt x="52" y="5"/>
                      </a:lnTo>
                      <a:lnTo>
                        <a:pt x="47" y="2"/>
                      </a:lnTo>
                      <a:lnTo>
                        <a:pt x="43" y="2"/>
                      </a:lnTo>
                      <a:lnTo>
                        <a:pt x="38" y="2"/>
                      </a:lnTo>
                      <a:lnTo>
                        <a:pt x="31" y="2"/>
                      </a:lnTo>
                      <a:lnTo>
                        <a:pt x="26" y="2"/>
                      </a:lnTo>
                      <a:lnTo>
                        <a:pt x="24" y="0"/>
                      </a:lnTo>
                      <a:lnTo>
                        <a:pt x="21" y="0"/>
                      </a:lnTo>
                      <a:lnTo>
                        <a:pt x="19" y="0"/>
                      </a:lnTo>
                      <a:lnTo>
                        <a:pt x="21" y="5"/>
                      </a:lnTo>
                      <a:lnTo>
                        <a:pt x="21" y="5"/>
                      </a:lnTo>
                      <a:lnTo>
                        <a:pt x="19" y="9"/>
                      </a:lnTo>
                      <a:lnTo>
                        <a:pt x="12" y="12"/>
                      </a:lnTo>
                      <a:lnTo>
                        <a:pt x="12" y="14"/>
                      </a:lnTo>
                      <a:lnTo>
                        <a:pt x="10" y="16"/>
                      </a:lnTo>
                      <a:lnTo>
                        <a:pt x="7" y="16"/>
                      </a:lnTo>
                      <a:lnTo>
                        <a:pt x="7" y="16"/>
                      </a:lnTo>
                      <a:lnTo>
                        <a:pt x="7" y="19"/>
                      </a:lnTo>
                      <a:lnTo>
                        <a:pt x="5" y="19"/>
                      </a:lnTo>
                      <a:lnTo>
                        <a:pt x="7" y="24"/>
                      </a:lnTo>
                      <a:lnTo>
                        <a:pt x="7" y="26"/>
                      </a:lnTo>
                      <a:lnTo>
                        <a:pt x="7" y="26"/>
                      </a:lnTo>
                      <a:lnTo>
                        <a:pt x="7" y="26"/>
                      </a:lnTo>
                      <a:lnTo>
                        <a:pt x="5" y="28"/>
                      </a:lnTo>
                      <a:lnTo>
                        <a:pt x="5" y="31"/>
                      </a:lnTo>
                      <a:lnTo>
                        <a:pt x="3" y="31"/>
                      </a:lnTo>
                      <a:lnTo>
                        <a:pt x="3" y="31"/>
                      </a:lnTo>
                      <a:lnTo>
                        <a:pt x="0" y="31"/>
                      </a:lnTo>
                      <a:lnTo>
                        <a:pt x="0" y="31"/>
                      </a:lnTo>
                      <a:lnTo>
                        <a:pt x="0" y="33"/>
                      </a:lnTo>
                      <a:lnTo>
                        <a:pt x="0" y="35"/>
                      </a:lnTo>
                      <a:lnTo>
                        <a:pt x="0" y="35"/>
                      </a:lnTo>
                      <a:lnTo>
                        <a:pt x="3" y="38"/>
                      </a:lnTo>
                      <a:lnTo>
                        <a:pt x="3" y="45"/>
                      </a:lnTo>
                      <a:lnTo>
                        <a:pt x="3" y="50"/>
                      </a:lnTo>
                      <a:lnTo>
                        <a:pt x="3" y="50"/>
                      </a:lnTo>
                      <a:lnTo>
                        <a:pt x="3" y="54"/>
                      </a:lnTo>
                      <a:lnTo>
                        <a:pt x="5" y="59"/>
                      </a:lnTo>
                      <a:lnTo>
                        <a:pt x="3" y="64"/>
                      </a:lnTo>
                      <a:lnTo>
                        <a:pt x="3" y="64"/>
                      </a:lnTo>
                      <a:lnTo>
                        <a:pt x="5" y="69"/>
                      </a:lnTo>
                      <a:lnTo>
                        <a:pt x="5" y="71"/>
                      </a:lnTo>
                      <a:lnTo>
                        <a:pt x="3" y="73"/>
                      </a:lnTo>
                      <a:lnTo>
                        <a:pt x="0" y="73"/>
                      </a:lnTo>
                      <a:lnTo>
                        <a:pt x="0" y="76"/>
                      </a:lnTo>
                      <a:lnTo>
                        <a:pt x="0" y="76"/>
                      </a:lnTo>
                      <a:lnTo>
                        <a:pt x="0" y="78"/>
                      </a:lnTo>
                      <a:lnTo>
                        <a:pt x="3" y="80"/>
                      </a:lnTo>
                      <a:lnTo>
                        <a:pt x="5" y="85"/>
                      </a:lnTo>
                      <a:lnTo>
                        <a:pt x="7" y="85"/>
                      </a:lnTo>
                      <a:lnTo>
                        <a:pt x="7" y="88"/>
                      </a:lnTo>
                      <a:lnTo>
                        <a:pt x="7" y="90"/>
                      </a:lnTo>
                      <a:lnTo>
                        <a:pt x="7" y="92"/>
                      </a:lnTo>
                      <a:lnTo>
                        <a:pt x="7" y="92"/>
                      </a:lnTo>
                      <a:lnTo>
                        <a:pt x="10" y="95"/>
                      </a:lnTo>
                      <a:lnTo>
                        <a:pt x="10" y="97"/>
                      </a:lnTo>
                      <a:lnTo>
                        <a:pt x="14" y="97"/>
                      </a:lnTo>
                      <a:lnTo>
                        <a:pt x="19" y="97"/>
                      </a:lnTo>
                      <a:lnTo>
                        <a:pt x="21" y="97"/>
                      </a:lnTo>
                      <a:lnTo>
                        <a:pt x="21" y="99"/>
                      </a:lnTo>
                      <a:lnTo>
                        <a:pt x="24" y="104"/>
                      </a:lnTo>
                      <a:lnTo>
                        <a:pt x="26" y="104"/>
                      </a:lnTo>
                      <a:lnTo>
                        <a:pt x="26" y="107"/>
                      </a:lnTo>
                      <a:lnTo>
                        <a:pt x="29" y="109"/>
                      </a:lnTo>
                      <a:lnTo>
                        <a:pt x="47" y="111"/>
                      </a:lnTo>
                      <a:lnTo>
                        <a:pt x="50" y="114"/>
                      </a:lnTo>
                      <a:lnTo>
                        <a:pt x="73" y="107"/>
                      </a:lnTo>
                      <a:lnTo>
                        <a:pt x="163" y="147"/>
                      </a:lnTo>
                      <a:lnTo>
                        <a:pt x="163" y="147"/>
                      </a:lnTo>
                      <a:lnTo>
                        <a:pt x="163" y="147"/>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Freeform 116">
                  <a:extLst>
                    <a:ext uri="{FF2B5EF4-FFF2-40B4-BE49-F238E27FC236}">
                      <a16:creationId xmlns:a16="http://schemas.microsoft.com/office/drawing/2014/main" id="{106FF08A-63B3-0190-65B0-59DA08AAC89A}"/>
                    </a:ext>
                  </a:extLst>
                </p:cNvPr>
                <p:cNvSpPr>
                  <a:spLocks noEditPoints="1"/>
                </p:cNvSpPr>
                <p:nvPr/>
              </p:nvSpPr>
              <p:spPr bwMode="auto">
                <a:xfrm>
                  <a:off x="2734" y="2201"/>
                  <a:ext cx="45" cy="79"/>
                </a:xfrm>
                <a:custGeom>
                  <a:avLst/>
                  <a:gdLst>
                    <a:gd name="T0" fmla="*/ 27 w 45"/>
                    <a:gd name="T1" fmla="*/ 79 h 79"/>
                    <a:gd name="T2" fmla="*/ 29 w 45"/>
                    <a:gd name="T3" fmla="*/ 79 h 79"/>
                    <a:gd name="T4" fmla="*/ 31 w 45"/>
                    <a:gd name="T5" fmla="*/ 74 h 79"/>
                    <a:gd name="T6" fmla="*/ 31 w 45"/>
                    <a:gd name="T7" fmla="*/ 74 h 79"/>
                    <a:gd name="T8" fmla="*/ 29 w 45"/>
                    <a:gd name="T9" fmla="*/ 67 h 79"/>
                    <a:gd name="T10" fmla="*/ 31 w 45"/>
                    <a:gd name="T11" fmla="*/ 64 h 79"/>
                    <a:gd name="T12" fmla="*/ 34 w 45"/>
                    <a:gd name="T13" fmla="*/ 64 h 79"/>
                    <a:gd name="T14" fmla="*/ 36 w 45"/>
                    <a:gd name="T15" fmla="*/ 60 h 79"/>
                    <a:gd name="T16" fmla="*/ 45 w 45"/>
                    <a:gd name="T17" fmla="*/ 53 h 79"/>
                    <a:gd name="T18" fmla="*/ 43 w 45"/>
                    <a:gd name="T19" fmla="*/ 48 h 79"/>
                    <a:gd name="T20" fmla="*/ 43 w 45"/>
                    <a:gd name="T21" fmla="*/ 48 h 79"/>
                    <a:gd name="T22" fmla="*/ 38 w 45"/>
                    <a:gd name="T23" fmla="*/ 46 h 79"/>
                    <a:gd name="T24" fmla="*/ 38 w 45"/>
                    <a:gd name="T25" fmla="*/ 43 h 79"/>
                    <a:gd name="T26" fmla="*/ 36 w 45"/>
                    <a:gd name="T27" fmla="*/ 43 h 79"/>
                    <a:gd name="T28" fmla="*/ 34 w 45"/>
                    <a:gd name="T29" fmla="*/ 43 h 79"/>
                    <a:gd name="T30" fmla="*/ 34 w 45"/>
                    <a:gd name="T31" fmla="*/ 43 h 79"/>
                    <a:gd name="T32" fmla="*/ 27 w 45"/>
                    <a:gd name="T33" fmla="*/ 36 h 79"/>
                    <a:gd name="T34" fmla="*/ 34 w 45"/>
                    <a:gd name="T35" fmla="*/ 31 h 79"/>
                    <a:gd name="T36" fmla="*/ 38 w 45"/>
                    <a:gd name="T37" fmla="*/ 27 h 79"/>
                    <a:gd name="T38" fmla="*/ 38 w 45"/>
                    <a:gd name="T39" fmla="*/ 24 h 79"/>
                    <a:gd name="T40" fmla="*/ 36 w 45"/>
                    <a:gd name="T41" fmla="*/ 22 h 79"/>
                    <a:gd name="T42" fmla="*/ 34 w 45"/>
                    <a:gd name="T43" fmla="*/ 17 h 79"/>
                    <a:gd name="T44" fmla="*/ 31 w 45"/>
                    <a:gd name="T45" fmla="*/ 12 h 79"/>
                    <a:gd name="T46" fmla="*/ 34 w 45"/>
                    <a:gd name="T47" fmla="*/ 8 h 79"/>
                    <a:gd name="T48" fmla="*/ 36 w 45"/>
                    <a:gd name="T49" fmla="*/ 3 h 79"/>
                    <a:gd name="T50" fmla="*/ 31 w 45"/>
                    <a:gd name="T51" fmla="*/ 5 h 79"/>
                    <a:gd name="T52" fmla="*/ 29 w 45"/>
                    <a:gd name="T53" fmla="*/ 8 h 79"/>
                    <a:gd name="T54" fmla="*/ 27 w 45"/>
                    <a:gd name="T55" fmla="*/ 3 h 79"/>
                    <a:gd name="T56" fmla="*/ 24 w 45"/>
                    <a:gd name="T57" fmla="*/ 0 h 79"/>
                    <a:gd name="T58" fmla="*/ 22 w 45"/>
                    <a:gd name="T59" fmla="*/ 0 h 79"/>
                    <a:gd name="T60" fmla="*/ 19 w 45"/>
                    <a:gd name="T61" fmla="*/ 0 h 79"/>
                    <a:gd name="T62" fmla="*/ 12 w 45"/>
                    <a:gd name="T63" fmla="*/ 5 h 79"/>
                    <a:gd name="T64" fmla="*/ 10 w 45"/>
                    <a:gd name="T65" fmla="*/ 5 h 79"/>
                    <a:gd name="T66" fmla="*/ 10 w 45"/>
                    <a:gd name="T67" fmla="*/ 10 h 79"/>
                    <a:gd name="T68" fmla="*/ 10 w 45"/>
                    <a:gd name="T69" fmla="*/ 19 h 79"/>
                    <a:gd name="T70" fmla="*/ 10 w 45"/>
                    <a:gd name="T71" fmla="*/ 22 h 79"/>
                    <a:gd name="T72" fmla="*/ 10 w 45"/>
                    <a:gd name="T73" fmla="*/ 24 h 79"/>
                    <a:gd name="T74" fmla="*/ 10 w 45"/>
                    <a:gd name="T75" fmla="*/ 27 h 79"/>
                    <a:gd name="T76" fmla="*/ 10 w 45"/>
                    <a:gd name="T77" fmla="*/ 31 h 79"/>
                    <a:gd name="T78" fmla="*/ 8 w 45"/>
                    <a:gd name="T79" fmla="*/ 34 h 79"/>
                    <a:gd name="T80" fmla="*/ 3 w 45"/>
                    <a:gd name="T81" fmla="*/ 36 h 79"/>
                    <a:gd name="T82" fmla="*/ 3 w 45"/>
                    <a:gd name="T83" fmla="*/ 43 h 79"/>
                    <a:gd name="T84" fmla="*/ 3 w 45"/>
                    <a:gd name="T85" fmla="*/ 46 h 79"/>
                    <a:gd name="T86" fmla="*/ 5 w 45"/>
                    <a:gd name="T87" fmla="*/ 48 h 79"/>
                    <a:gd name="T88" fmla="*/ 10 w 45"/>
                    <a:gd name="T89" fmla="*/ 53 h 79"/>
                    <a:gd name="T90" fmla="*/ 12 w 45"/>
                    <a:gd name="T91" fmla="*/ 55 h 79"/>
                    <a:gd name="T92" fmla="*/ 17 w 45"/>
                    <a:gd name="T93" fmla="*/ 60 h 79"/>
                    <a:gd name="T94" fmla="*/ 24 w 45"/>
                    <a:gd name="T95" fmla="*/ 79 h 79"/>
                    <a:gd name="T96" fmla="*/ 36 w 45"/>
                    <a:gd name="T97" fmla="*/ 41 h 79"/>
                    <a:gd name="T98" fmla="*/ 38 w 45"/>
                    <a:gd name="T99" fmla="*/ 41 h 79"/>
                    <a:gd name="T100" fmla="*/ 34 w 45"/>
                    <a:gd name="T101" fmla="*/ 41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5" h="79">
                      <a:moveTo>
                        <a:pt x="24" y="79"/>
                      </a:moveTo>
                      <a:lnTo>
                        <a:pt x="27" y="79"/>
                      </a:lnTo>
                      <a:lnTo>
                        <a:pt x="27" y="79"/>
                      </a:lnTo>
                      <a:lnTo>
                        <a:pt x="29" y="79"/>
                      </a:lnTo>
                      <a:lnTo>
                        <a:pt x="29" y="76"/>
                      </a:lnTo>
                      <a:lnTo>
                        <a:pt x="31" y="74"/>
                      </a:lnTo>
                      <a:lnTo>
                        <a:pt x="31" y="74"/>
                      </a:lnTo>
                      <a:lnTo>
                        <a:pt x="31" y="74"/>
                      </a:lnTo>
                      <a:lnTo>
                        <a:pt x="31" y="72"/>
                      </a:lnTo>
                      <a:lnTo>
                        <a:pt x="29" y="67"/>
                      </a:lnTo>
                      <a:lnTo>
                        <a:pt x="31" y="67"/>
                      </a:lnTo>
                      <a:lnTo>
                        <a:pt x="31" y="64"/>
                      </a:lnTo>
                      <a:lnTo>
                        <a:pt x="31" y="64"/>
                      </a:lnTo>
                      <a:lnTo>
                        <a:pt x="34" y="64"/>
                      </a:lnTo>
                      <a:lnTo>
                        <a:pt x="36" y="62"/>
                      </a:lnTo>
                      <a:lnTo>
                        <a:pt x="36" y="60"/>
                      </a:lnTo>
                      <a:lnTo>
                        <a:pt x="43" y="57"/>
                      </a:lnTo>
                      <a:lnTo>
                        <a:pt x="45" y="53"/>
                      </a:lnTo>
                      <a:lnTo>
                        <a:pt x="45" y="53"/>
                      </a:lnTo>
                      <a:lnTo>
                        <a:pt x="43" y="48"/>
                      </a:lnTo>
                      <a:lnTo>
                        <a:pt x="45" y="48"/>
                      </a:lnTo>
                      <a:lnTo>
                        <a:pt x="43" y="48"/>
                      </a:lnTo>
                      <a:lnTo>
                        <a:pt x="41" y="46"/>
                      </a:lnTo>
                      <a:lnTo>
                        <a:pt x="38" y="46"/>
                      </a:lnTo>
                      <a:lnTo>
                        <a:pt x="38" y="43"/>
                      </a:lnTo>
                      <a:lnTo>
                        <a:pt x="38" y="43"/>
                      </a:lnTo>
                      <a:lnTo>
                        <a:pt x="36" y="43"/>
                      </a:lnTo>
                      <a:lnTo>
                        <a:pt x="36" y="43"/>
                      </a:lnTo>
                      <a:lnTo>
                        <a:pt x="36" y="43"/>
                      </a:lnTo>
                      <a:lnTo>
                        <a:pt x="34" y="43"/>
                      </a:lnTo>
                      <a:lnTo>
                        <a:pt x="34" y="41"/>
                      </a:lnTo>
                      <a:lnTo>
                        <a:pt x="34" y="43"/>
                      </a:lnTo>
                      <a:lnTo>
                        <a:pt x="29" y="41"/>
                      </a:lnTo>
                      <a:lnTo>
                        <a:pt x="27" y="36"/>
                      </a:lnTo>
                      <a:lnTo>
                        <a:pt x="29" y="34"/>
                      </a:lnTo>
                      <a:lnTo>
                        <a:pt x="34" y="31"/>
                      </a:lnTo>
                      <a:lnTo>
                        <a:pt x="36" y="27"/>
                      </a:lnTo>
                      <a:lnTo>
                        <a:pt x="38" y="27"/>
                      </a:lnTo>
                      <a:lnTo>
                        <a:pt x="36" y="27"/>
                      </a:lnTo>
                      <a:lnTo>
                        <a:pt x="38" y="24"/>
                      </a:lnTo>
                      <a:lnTo>
                        <a:pt x="38" y="22"/>
                      </a:lnTo>
                      <a:lnTo>
                        <a:pt x="36" y="22"/>
                      </a:lnTo>
                      <a:lnTo>
                        <a:pt x="36" y="19"/>
                      </a:lnTo>
                      <a:lnTo>
                        <a:pt x="34" y="17"/>
                      </a:lnTo>
                      <a:lnTo>
                        <a:pt x="31" y="15"/>
                      </a:lnTo>
                      <a:lnTo>
                        <a:pt x="31" y="12"/>
                      </a:lnTo>
                      <a:lnTo>
                        <a:pt x="34" y="10"/>
                      </a:lnTo>
                      <a:lnTo>
                        <a:pt x="34" y="8"/>
                      </a:lnTo>
                      <a:lnTo>
                        <a:pt x="36" y="5"/>
                      </a:lnTo>
                      <a:lnTo>
                        <a:pt x="36" y="3"/>
                      </a:lnTo>
                      <a:lnTo>
                        <a:pt x="36" y="3"/>
                      </a:lnTo>
                      <a:lnTo>
                        <a:pt x="31" y="5"/>
                      </a:lnTo>
                      <a:lnTo>
                        <a:pt x="31" y="8"/>
                      </a:lnTo>
                      <a:lnTo>
                        <a:pt x="29" y="8"/>
                      </a:lnTo>
                      <a:lnTo>
                        <a:pt x="27" y="3"/>
                      </a:lnTo>
                      <a:lnTo>
                        <a:pt x="27" y="3"/>
                      </a:lnTo>
                      <a:lnTo>
                        <a:pt x="27" y="0"/>
                      </a:lnTo>
                      <a:lnTo>
                        <a:pt x="24" y="0"/>
                      </a:lnTo>
                      <a:lnTo>
                        <a:pt x="22" y="0"/>
                      </a:lnTo>
                      <a:lnTo>
                        <a:pt x="22" y="0"/>
                      </a:lnTo>
                      <a:lnTo>
                        <a:pt x="22" y="0"/>
                      </a:lnTo>
                      <a:lnTo>
                        <a:pt x="19" y="0"/>
                      </a:lnTo>
                      <a:lnTo>
                        <a:pt x="15" y="3"/>
                      </a:lnTo>
                      <a:lnTo>
                        <a:pt x="12" y="5"/>
                      </a:lnTo>
                      <a:lnTo>
                        <a:pt x="12" y="5"/>
                      </a:lnTo>
                      <a:lnTo>
                        <a:pt x="10" y="5"/>
                      </a:lnTo>
                      <a:lnTo>
                        <a:pt x="12" y="8"/>
                      </a:lnTo>
                      <a:lnTo>
                        <a:pt x="10" y="10"/>
                      </a:lnTo>
                      <a:lnTo>
                        <a:pt x="10" y="15"/>
                      </a:lnTo>
                      <a:lnTo>
                        <a:pt x="10" y="19"/>
                      </a:lnTo>
                      <a:lnTo>
                        <a:pt x="10" y="22"/>
                      </a:lnTo>
                      <a:lnTo>
                        <a:pt x="10" y="22"/>
                      </a:lnTo>
                      <a:lnTo>
                        <a:pt x="12" y="24"/>
                      </a:lnTo>
                      <a:lnTo>
                        <a:pt x="10" y="24"/>
                      </a:lnTo>
                      <a:lnTo>
                        <a:pt x="10" y="27"/>
                      </a:lnTo>
                      <a:lnTo>
                        <a:pt x="10" y="27"/>
                      </a:lnTo>
                      <a:lnTo>
                        <a:pt x="10" y="29"/>
                      </a:lnTo>
                      <a:lnTo>
                        <a:pt x="10" y="31"/>
                      </a:lnTo>
                      <a:lnTo>
                        <a:pt x="8" y="34"/>
                      </a:lnTo>
                      <a:lnTo>
                        <a:pt x="8" y="34"/>
                      </a:lnTo>
                      <a:lnTo>
                        <a:pt x="5" y="34"/>
                      </a:lnTo>
                      <a:lnTo>
                        <a:pt x="3" y="36"/>
                      </a:lnTo>
                      <a:lnTo>
                        <a:pt x="0" y="41"/>
                      </a:lnTo>
                      <a:lnTo>
                        <a:pt x="3" y="43"/>
                      </a:lnTo>
                      <a:lnTo>
                        <a:pt x="3" y="46"/>
                      </a:lnTo>
                      <a:lnTo>
                        <a:pt x="3" y="46"/>
                      </a:lnTo>
                      <a:lnTo>
                        <a:pt x="5" y="48"/>
                      </a:lnTo>
                      <a:lnTo>
                        <a:pt x="5" y="48"/>
                      </a:lnTo>
                      <a:lnTo>
                        <a:pt x="8" y="50"/>
                      </a:lnTo>
                      <a:lnTo>
                        <a:pt x="10" y="53"/>
                      </a:lnTo>
                      <a:lnTo>
                        <a:pt x="12" y="55"/>
                      </a:lnTo>
                      <a:lnTo>
                        <a:pt x="12" y="55"/>
                      </a:lnTo>
                      <a:lnTo>
                        <a:pt x="15" y="55"/>
                      </a:lnTo>
                      <a:lnTo>
                        <a:pt x="17" y="60"/>
                      </a:lnTo>
                      <a:lnTo>
                        <a:pt x="24" y="79"/>
                      </a:lnTo>
                      <a:lnTo>
                        <a:pt x="24" y="79"/>
                      </a:lnTo>
                      <a:close/>
                      <a:moveTo>
                        <a:pt x="34" y="41"/>
                      </a:moveTo>
                      <a:lnTo>
                        <a:pt x="36" y="41"/>
                      </a:lnTo>
                      <a:lnTo>
                        <a:pt x="38" y="41"/>
                      </a:lnTo>
                      <a:lnTo>
                        <a:pt x="38" y="41"/>
                      </a:lnTo>
                      <a:lnTo>
                        <a:pt x="36" y="41"/>
                      </a:lnTo>
                      <a:lnTo>
                        <a:pt x="34" y="41"/>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2" name="Freeform 117">
                  <a:extLst>
                    <a:ext uri="{FF2B5EF4-FFF2-40B4-BE49-F238E27FC236}">
                      <a16:creationId xmlns:a16="http://schemas.microsoft.com/office/drawing/2014/main" id="{C9D6A0B2-32A1-FE6A-B717-686B83F0EFB1}"/>
                    </a:ext>
                  </a:extLst>
                </p:cNvPr>
                <p:cNvSpPr>
                  <a:spLocks/>
                </p:cNvSpPr>
                <p:nvPr/>
              </p:nvSpPr>
              <p:spPr bwMode="auto">
                <a:xfrm>
                  <a:off x="2559" y="2204"/>
                  <a:ext cx="228" cy="199"/>
                </a:xfrm>
                <a:custGeom>
                  <a:avLst/>
                  <a:gdLst>
                    <a:gd name="T0" fmla="*/ 225 w 228"/>
                    <a:gd name="T1" fmla="*/ 149 h 199"/>
                    <a:gd name="T2" fmla="*/ 220 w 228"/>
                    <a:gd name="T3" fmla="*/ 142 h 199"/>
                    <a:gd name="T4" fmla="*/ 209 w 228"/>
                    <a:gd name="T5" fmla="*/ 142 h 199"/>
                    <a:gd name="T6" fmla="*/ 206 w 228"/>
                    <a:gd name="T7" fmla="*/ 137 h 199"/>
                    <a:gd name="T8" fmla="*/ 206 w 228"/>
                    <a:gd name="T9" fmla="*/ 130 h 199"/>
                    <a:gd name="T10" fmla="*/ 199 w 228"/>
                    <a:gd name="T11" fmla="*/ 123 h 199"/>
                    <a:gd name="T12" fmla="*/ 199 w 228"/>
                    <a:gd name="T13" fmla="*/ 118 h 199"/>
                    <a:gd name="T14" fmla="*/ 204 w 228"/>
                    <a:gd name="T15" fmla="*/ 114 h 199"/>
                    <a:gd name="T16" fmla="*/ 204 w 228"/>
                    <a:gd name="T17" fmla="*/ 104 h 199"/>
                    <a:gd name="T18" fmla="*/ 202 w 228"/>
                    <a:gd name="T19" fmla="*/ 95 h 199"/>
                    <a:gd name="T20" fmla="*/ 199 w 228"/>
                    <a:gd name="T21" fmla="*/ 80 h 199"/>
                    <a:gd name="T22" fmla="*/ 199 w 228"/>
                    <a:gd name="T23" fmla="*/ 76 h 199"/>
                    <a:gd name="T24" fmla="*/ 187 w 228"/>
                    <a:gd name="T25" fmla="*/ 52 h 199"/>
                    <a:gd name="T26" fmla="*/ 183 w 228"/>
                    <a:gd name="T27" fmla="*/ 47 h 199"/>
                    <a:gd name="T28" fmla="*/ 178 w 228"/>
                    <a:gd name="T29" fmla="*/ 43 h 199"/>
                    <a:gd name="T30" fmla="*/ 175 w 228"/>
                    <a:gd name="T31" fmla="*/ 38 h 199"/>
                    <a:gd name="T32" fmla="*/ 183 w 228"/>
                    <a:gd name="T33" fmla="*/ 31 h 199"/>
                    <a:gd name="T34" fmla="*/ 185 w 228"/>
                    <a:gd name="T35" fmla="*/ 26 h 199"/>
                    <a:gd name="T36" fmla="*/ 185 w 228"/>
                    <a:gd name="T37" fmla="*/ 21 h 199"/>
                    <a:gd name="T38" fmla="*/ 185 w 228"/>
                    <a:gd name="T39" fmla="*/ 19 h 199"/>
                    <a:gd name="T40" fmla="*/ 185 w 228"/>
                    <a:gd name="T41" fmla="*/ 7 h 199"/>
                    <a:gd name="T42" fmla="*/ 187 w 228"/>
                    <a:gd name="T43" fmla="*/ 2 h 199"/>
                    <a:gd name="T44" fmla="*/ 180 w 228"/>
                    <a:gd name="T45" fmla="*/ 2 h 199"/>
                    <a:gd name="T46" fmla="*/ 171 w 228"/>
                    <a:gd name="T47" fmla="*/ 0 h 199"/>
                    <a:gd name="T48" fmla="*/ 164 w 228"/>
                    <a:gd name="T49" fmla="*/ 2 h 199"/>
                    <a:gd name="T50" fmla="*/ 159 w 228"/>
                    <a:gd name="T51" fmla="*/ 0 h 199"/>
                    <a:gd name="T52" fmla="*/ 157 w 228"/>
                    <a:gd name="T53" fmla="*/ 2 h 199"/>
                    <a:gd name="T54" fmla="*/ 152 w 228"/>
                    <a:gd name="T55" fmla="*/ 5 h 199"/>
                    <a:gd name="T56" fmla="*/ 145 w 228"/>
                    <a:gd name="T57" fmla="*/ 2 h 199"/>
                    <a:gd name="T58" fmla="*/ 138 w 228"/>
                    <a:gd name="T59" fmla="*/ 2 h 199"/>
                    <a:gd name="T60" fmla="*/ 133 w 228"/>
                    <a:gd name="T61" fmla="*/ 2 h 199"/>
                    <a:gd name="T62" fmla="*/ 126 w 228"/>
                    <a:gd name="T63" fmla="*/ 2 h 199"/>
                    <a:gd name="T64" fmla="*/ 119 w 228"/>
                    <a:gd name="T65" fmla="*/ 5 h 199"/>
                    <a:gd name="T66" fmla="*/ 109 w 228"/>
                    <a:gd name="T67" fmla="*/ 5 h 199"/>
                    <a:gd name="T68" fmla="*/ 100 w 228"/>
                    <a:gd name="T69" fmla="*/ 9 h 199"/>
                    <a:gd name="T70" fmla="*/ 95 w 228"/>
                    <a:gd name="T71" fmla="*/ 14 h 199"/>
                    <a:gd name="T72" fmla="*/ 93 w 228"/>
                    <a:gd name="T73" fmla="*/ 14 h 199"/>
                    <a:gd name="T74" fmla="*/ 88 w 228"/>
                    <a:gd name="T75" fmla="*/ 14 h 199"/>
                    <a:gd name="T76" fmla="*/ 83 w 228"/>
                    <a:gd name="T77" fmla="*/ 19 h 199"/>
                    <a:gd name="T78" fmla="*/ 74 w 228"/>
                    <a:gd name="T79" fmla="*/ 21 h 199"/>
                    <a:gd name="T80" fmla="*/ 76 w 228"/>
                    <a:gd name="T81" fmla="*/ 26 h 199"/>
                    <a:gd name="T82" fmla="*/ 78 w 228"/>
                    <a:gd name="T83" fmla="*/ 31 h 199"/>
                    <a:gd name="T84" fmla="*/ 78 w 228"/>
                    <a:gd name="T85" fmla="*/ 45 h 199"/>
                    <a:gd name="T86" fmla="*/ 83 w 228"/>
                    <a:gd name="T87" fmla="*/ 50 h 199"/>
                    <a:gd name="T88" fmla="*/ 86 w 228"/>
                    <a:gd name="T89" fmla="*/ 52 h 199"/>
                    <a:gd name="T90" fmla="*/ 83 w 228"/>
                    <a:gd name="T91" fmla="*/ 57 h 199"/>
                    <a:gd name="T92" fmla="*/ 64 w 228"/>
                    <a:gd name="T93" fmla="*/ 61 h 199"/>
                    <a:gd name="T94" fmla="*/ 62 w 228"/>
                    <a:gd name="T95" fmla="*/ 69 h 199"/>
                    <a:gd name="T96" fmla="*/ 41 w 228"/>
                    <a:gd name="T97" fmla="*/ 83 h 199"/>
                    <a:gd name="T98" fmla="*/ 22 w 228"/>
                    <a:gd name="T99" fmla="*/ 88 h 199"/>
                    <a:gd name="T100" fmla="*/ 12 w 228"/>
                    <a:gd name="T101" fmla="*/ 90 h 199"/>
                    <a:gd name="T102" fmla="*/ 0 w 228"/>
                    <a:gd name="T103" fmla="*/ 97 h 199"/>
                    <a:gd name="T104" fmla="*/ 0 w 228"/>
                    <a:gd name="T105" fmla="*/ 109 h 199"/>
                    <a:gd name="T106" fmla="*/ 41 w 228"/>
                    <a:gd name="T107" fmla="*/ 135 h 199"/>
                    <a:gd name="T108" fmla="*/ 116 w 228"/>
                    <a:gd name="T109" fmla="*/ 185 h 199"/>
                    <a:gd name="T110" fmla="*/ 126 w 228"/>
                    <a:gd name="T111" fmla="*/ 187 h 199"/>
                    <a:gd name="T112" fmla="*/ 133 w 228"/>
                    <a:gd name="T113" fmla="*/ 192 h 199"/>
                    <a:gd name="T114" fmla="*/ 133 w 228"/>
                    <a:gd name="T115" fmla="*/ 197 h 199"/>
                    <a:gd name="T116" fmla="*/ 145 w 228"/>
                    <a:gd name="T117" fmla="*/ 197 h 199"/>
                    <a:gd name="T118" fmla="*/ 161 w 228"/>
                    <a:gd name="T119" fmla="*/ 194 h 199"/>
                    <a:gd name="T120" fmla="*/ 228 w 228"/>
                    <a:gd name="T121" fmla="*/ 154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8" h="199">
                      <a:moveTo>
                        <a:pt x="228" y="154"/>
                      </a:moveTo>
                      <a:lnTo>
                        <a:pt x="225" y="152"/>
                      </a:lnTo>
                      <a:lnTo>
                        <a:pt x="225" y="149"/>
                      </a:lnTo>
                      <a:lnTo>
                        <a:pt x="223" y="149"/>
                      </a:lnTo>
                      <a:lnTo>
                        <a:pt x="220" y="144"/>
                      </a:lnTo>
                      <a:lnTo>
                        <a:pt x="220" y="142"/>
                      </a:lnTo>
                      <a:lnTo>
                        <a:pt x="218" y="142"/>
                      </a:lnTo>
                      <a:lnTo>
                        <a:pt x="213" y="142"/>
                      </a:lnTo>
                      <a:lnTo>
                        <a:pt x="209" y="142"/>
                      </a:lnTo>
                      <a:lnTo>
                        <a:pt x="209" y="140"/>
                      </a:lnTo>
                      <a:lnTo>
                        <a:pt x="206" y="137"/>
                      </a:lnTo>
                      <a:lnTo>
                        <a:pt x="206" y="137"/>
                      </a:lnTo>
                      <a:lnTo>
                        <a:pt x="206" y="135"/>
                      </a:lnTo>
                      <a:lnTo>
                        <a:pt x="206" y="133"/>
                      </a:lnTo>
                      <a:lnTo>
                        <a:pt x="206" y="130"/>
                      </a:lnTo>
                      <a:lnTo>
                        <a:pt x="204" y="130"/>
                      </a:lnTo>
                      <a:lnTo>
                        <a:pt x="202" y="125"/>
                      </a:lnTo>
                      <a:lnTo>
                        <a:pt x="199" y="123"/>
                      </a:lnTo>
                      <a:lnTo>
                        <a:pt x="199" y="121"/>
                      </a:lnTo>
                      <a:lnTo>
                        <a:pt x="199" y="121"/>
                      </a:lnTo>
                      <a:lnTo>
                        <a:pt x="199" y="118"/>
                      </a:lnTo>
                      <a:lnTo>
                        <a:pt x="202" y="118"/>
                      </a:lnTo>
                      <a:lnTo>
                        <a:pt x="204" y="116"/>
                      </a:lnTo>
                      <a:lnTo>
                        <a:pt x="204" y="114"/>
                      </a:lnTo>
                      <a:lnTo>
                        <a:pt x="202" y="109"/>
                      </a:lnTo>
                      <a:lnTo>
                        <a:pt x="202" y="109"/>
                      </a:lnTo>
                      <a:lnTo>
                        <a:pt x="204" y="104"/>
                      </a:lnTo>
                      <a:lnTo>
                        <a:pt x="202" y="99"/>
                      </a:lnTo>
                      <a:lnTo>
                        <a:pt x="202" y="95"/>
                      </a:lnTo>
                      <a:lnTo>
                        <a:pt x="202" y="95"/>
                      </a:lnTo>
                      <a:lnTo>
                        <a:pt x="202" y="90"/>
                      </a:lnTo>
                      <a:lnTo>
                        <a:pt x="202" y="83"/>
                      </a:lnTo>
                      <a:lnTo>
                        <a:pt x="199" y="80"/>
                      </a:lnTo>
                      <a:lnTo>
                        <a:pt x="199" y="80"/>
                      </a:lnTo>
                      <a:lnTo>
                        <a:pt x="199" y="78"/>
                      </a:lnTo>
                      <a:lnTo>
                        <a:pt x="199" y="76"/>
                      </a:lnTo>
                      <a:lnTo>
                        <a:pt x="192" y="57"/>
                      </a:lnTo>
                      <a:lnTo>
                        <a:pt x="190" y="52"/>
                      </a:lnTo>
                      <a:lnTo>
                        <a:pt x="187" y="52"/>
                      </a:lnTo>
                      <a:lnTo>
                        <a:pt x="187" y="52"/>
                      </a:lnTo>
                      <a:lnTo>
                        <a:pt x="185" y="50"/>
                      </a:lnTo>
                      <a:lnTo>
                        <a:pt x="183" y="47"/>
                      </a:lnTo>
                      <a:lnTo>
                        <a:pt x="180" y="45"/>
                      </a:lnTo>
                      <a:lnTo>
                        <a:pt x="180" y="45"/>
                      </a:lnTo>
                      <a:lnTo>
                        <a:pt x="178" y="43"/>
                      </a:lnTo>
                      <a:lnTo>
                        <a:pt x="178" y="43"/>
                      </a:lnTo>
                      <a:lnTo>
                        <a:pt x="178" y="40"/>
                      </a:lnTo>
                      <a:lnTo>
                        <a:pt x="175" y="38"/>
                      </a:lnTo>
                      <a:lnTo>
                        <a:pt x="178" y="33"/>
                      </a:lnTo>
                      <a:lnTo>
                        <a:pt x="180" y="31"/>
                      </a:lnTo>
                      <a:lnTo>
                        <a:pt x="183" y="31"/>
                      </a:lnTo>
                      <a:lnTo>
                        <a:pt x="183" y="31"/>
                      </a:lnTo>
                      <a:lnTo>
                        <a:pt x="185" y="28"/>
                      </a:lnTo>
                      <a:lnTo>
                        <a:pt x="185" y="26"/>
                      </a:lnTo>
                      <a:lnTo>
                        <a:pt x="185" y="24"/>
                      </a:lnTo>
                      <a:lnTo>
                        <a:pt x="185" y="24"/>
                      </a:lnTo>
                      <a:lnTo>
                        <a:pt x="185" y="21"/>
                      </a:lnTo>
                      <a:lnTo>
                        <a:pt x="187" y="21"/>
                      </a:lnTo>
                      <a:lnTo>
                        <a:pt x="185" y="19"/>
                      </a:lnTo>
                      <a:lnTo>
                        <a:pt x="185" y="19"/>
                      </a:lnTo>
                      <a:lnTo>
                        <a:pt x="185" y="16"/>
                      </a:lnTo>
                      <a:lnTo>
                        <a:pt x="185" y="12"/>
                      </a:lnTo>
                      <a:lnTo>
                        <a:pt x="185" y="7"/>
                      </a:lnTo>
                      <a:lnTo>
                        <a:pt x="187" y="5"/>
                      </a:lnTo>
                      <a:lnTo>
                        <a:pt x="185" y="2"/>
                      </a:lnTo>
                      <a:lnTo>
                        <a:pt x="187" y="2"/>
                      </a:lnTo>
                      <a:lnTo>
                        <a:pt x="185" y="2"/>
                      </a:lnTo>
                      <a:lnTo>
                        <a:pt x="183" y="2"/>
                      </a:lnTo>
                      <a:lnTo>
                        <a:pt x="180" y="2"/>
                      </a:lnTo>
                      <a:lnTo>
                        <a:pt x="175" y="2"/>
                      </a:lnTo>
                      <a:lnTo>
                        <a:pt x="173" y="0"/>
                      </a:lnTo>
                      <a:lnTo>
                        <a:pt x="171" y="0"/>
                      </a:lnTo>
                      <a:lnTo>
                        <a:pt x="171" y="0"/>
                      </a:lnTo>
                      <a:lnTo>
                        <a:pt x="168" y="2"/>
                      </a:lnTo>
                      <a:lnTo>
                        <a:pt x="164" y="2"/>
                      </a:lnTo>
                      <a:lnTo>
                        <a:pt x="164" y="0"/>
                      </a:lnTo>
                      <a:lnTo>
                        <a:pt x="164" y="0"/>
                      </a:lnTo>
                      <a:lnTo>
                        <a:pt x="159" y="0"/>
                      </a:lnTo>
                      <a:lnTo>
                        <a:pt x="159" y="2"/>
                      </a:lnTo>
                      <a:lnTo>
                        <a:pt x="157" y="2"/>
                      </a:lnTo>
                      <a:lnTo>
                        <a:pt x="157" y="2"/>
                      </a:lnTo>
                      <a:lnTo>
                        <a:pt x="154" y="2"/>
                      </a:lnTo>
                      <a:lnTo>
                        <a:pt x="154" y="2"/>
                      </a:lnTo>
                      <a:lnTo>
                        <a:pt x="152" y="5"/>
                      </a:lnTo>
                      <a:lnTo>
                        <a:pt x="149" y="5"/>
                      </a:lnTo>
                      <a:lnTo>
                        <a:pt x="147" y="2"/>
                      </a:lnTo>
                      <a:lnTo>
                        <a:pt x="145" y="2"/>
                      </a:lnTo>
                      <a:lnTo>
                        <a:pt x="142" y="2"/>
                      </a:lnTo>
                      <a:lnTo>
                        <a:pt x="140" y="2"/>
                      </a:lnTo>
                      <a:lnTo>
                        <a:pt x="138" y="2"/>
                      </a:lnTo>
                      <a:lnTo>
                        <a:pt x="135" y="2"/>
                      </a:lnTo>
                      <a:lnTo>
                        <a:pt x="133" y="2"/>
                      </a:lnTo>
                      <a:lnTo>
                        <a:pt x="133" y="2"/>
                      </a:lnTo>
                      <a:lnTo>
                        <a:pt x="131" y="5"/>
                      </a:lnTo>
                      <a:lnTo>
                        <a:pt x="128" y="5"/>
                      </a:lnTo>
                      <a:lnTo>
                        <a:pt x="126" y="2"/>
                      </a:lnTo>
                      <a:lnTo>
                        <a:pt x="123" y="5"/>
                      </a:lnTo>
                      <a:lnTo>
                        <a:pt x="121" y="5"/>
                      </a:lnTo>
                      <a:lnTo>
                        <a:pt x="119" y="5"/>
                      </a:lnTo>
                      <a:lnTo>
                        <a:pt x="116" y="5"/>
                      </a:lnTo>
                      <a:lnTo>
                        <a:pt x="114" y="5"/>
                      </a:lnTo>
                      <a:lnTo>
                        <a:pt x="109" y="5"/>
                      </a:lnTo>
                      <a:lnTo>
                        <a:pt x="104" y="9"/>
                      </a:lnTo>
                      <a:lnTo>
                        <a:pt x="102" y="9"/>
                      </a:lnTo>
                      <a:lnTo>
                        <a:pt x="100" y="9"/>
                      </a:lnTo>
                      <a:lnTo>
                        <a:pt x="97" y="12"/>
                      </a:lnTo>
                      <a:lnTo>
                        <a:pt x="97" y="12"/>
                      </a:lnTo>
                      <a:lnTo>
                        <a:pt x="95" y="14"/>
                      </a:lnTo>
                      <a:lnTo>
                        <a:pt x="95" y="14"/>
                      </a:lnTo>
                      <a:lnTo>
                        <a:pt x="95" y="14"/>
                      </a:lnTo>
                      <a:lnTo>
                        <a:pt x="93" y="14"/>
                      </a:lnTo>
                      <a:lnTo>
                        <a:pt x="90" y="14"/>
                      </a:lnTo>
                      <a:lnTo>
                        <a:pt x="90" y="14"/>
                      </a:lnTo>
                      <a:lnTo>
                        <a:pt x="88" y="14"/>
                      </a:lnTo>
                      <a:lnTo>
                        <a:pt x="86" y="16"/>
                      </a:lnTo>
                      <a:lnTo>
                        <a:pt x="83" y="16"/>
                      </a:lnTo>
                      <a:lnTo>
                        <a:pt x="83" y="19"/>
                      </a:lnTo>
                      <a:lnTo>
                        <a:pt x="81" y="21"/>
                      </a:lnTo>
                      <a:lnTo>
                        <a:pt x="76" y="21"/>
                      </a:lnTo>
                      <a:lnTo>
                        <a:pt x="74" y="21"/>
                      </a:lnTo>
                      <a:lnTo>
                        <a:pt x="74" y="24"/>
                      </a:lnTo>
                      <a:lnTo>
                        <a:pt x="76" y="24"/>
                      </a:lnTo>
                      <a:lnTo>
                        <a:pt x="76" y="26"/>
                      </a:lnTo>
                      <a:lnTo>
                        <a:pt x="76" y="28"/>
                      </a:lnTo>
                      <a:lnTo>
                        <a:pt x="78" y="28"/>
                      </a:lnTo>
                      <a:lnTo>
                        <a:pt x="78" y="31"/>
                      </a:lnTo>
                      <a:lnTo>
                        <a:pt x="78" y="35"/>
                      </a:lnTo>
                      <a:lnTo>
                        <a:pt x="78" y="38"/>
                      </a:lnTo>
                      <a:lnTo>
                        <a:pt x="78" y="45"/>
                      </a:lnTo>
                      <a:lnTo>
                        <a:pt x="81" y="47"/>
                      </a:lnTo>
                      <a:lnTo>
                        <a:pt x="81" y="50"/>
                      </a:lnTo>
                      <a:lnTo>
                        <a:pt x="83" y="50"/>
                      </a:lnTo>
                      <a:lnTo>
                        <a:pt x="83" y="52"/>
                      </a:lnTo>
                      <a:lnTo>
                        <a:pt x="86" y="52"/>
                      </a:lnTo>
                      <a:lnTo>
                        <a:pt x="86" y="52"/>
                      </a:lnTo>
                      <a:lnTo>
                        <a:pt x="86" y="54"/>
                      </a:lnTo>
                      <a:lnTo>
                        <a:pt x="86" y="54"/>
                      </a:lnTo>
                      <a:lnTo>
                        <a:pt x="83" y="57"/>
                      </a:lnTo>
                      <a:lnTo>
                        <a:pt x="71" y="57"/>
                      </a:lnTo>
                      <a:lnTo>
                        <a:pt x="67" y="57"/>
                      </a:lnTo>
                      <a:lnTo>
                        <a:pt x="64" y="61"/>
                      </a:lnTo>
                      <a:lnTo>
                        <a:pt x="62" y="64"/>
                      </a:lnTo>
                      <a:lnTo>
                        <a:pt x="62" y="66"/>
                      </a:lnTo>
                      <a:lnTo>
                        <a:pt x="62" y="69"/>
                      </a:lnTo>
                      <a:lnTo>
                        <a:pt x="60" y="71"/>
                      </a:lnTo>
                      <a:lnTo>
                        <a:pt x="52" y="76"/>
                      </a:lnTo>
                      <a:lnTo>
                        <a:pt x="41" y="83"/>
                      </a:lnTo>
                      <a:lnTo>
                        <a:pt x="31" y="88"/>
                      </a:lnTo>
                      <a:lnTo>
                        <a:pt x="26" y="88"/>
                      </a:lnTo>
                      <a:lnTo>
                        <a:pt x="22" y="88"/>
                      </a:lnTo>
                      <a:lnTo>
                        <a:pt x="22" y="90"/>
                      </a:lnTo>
                      <a:lnTo>
                        <a:pt x="17" y="90"/>
                      </a:lnTo>
                      <a:lnTo>
                        <a:pt x="12" y="90"/>
                      </a:lnTo>
                      <a:lnTo>
                        <a:pt x="7" y="92"/>
                      </a:lnTo>
                      <a:lnTo>
                        <a:pt x="5" y="95"/>
                      </a:lnTo>
                      <a:lnTo>
                        <a:pt x="0" y="97"/>
                      </a:lnTo>
                      <a:lnTo>
                        <a:pt x="0" y="107"/>
                      </a:lnTo>
                      <a:lnTo>
                        <a:pt x="0" y="107"/>
                      </a:lnTo>
                      <a:lnTo>
                        <a:pt x="0" y="109"/>
                      </a:lnTo>
                      <a:lnTo>
                        <a:pt x="0" y="109"/>
                      </a:lnTo>
                      <a:lnTo>
                        <a:pt x="0" y="109"/>
                      </a:lnTo>
                      <a:lnTo>
                        <a:pt x="41" y="135"/>
                      </a:lnTo>
                      <a:lnTo>
                        <a:pt x="41" y="135"/>
                      </a:lnTo>
                      <a:lnTo>
                        <a:pt x="116" y="180"/>
                      </a:lnTo>
                      <a:lnTo>
                        <a:pt x="116" y="185"/>
                      </a:lnTo>
                      <a:lnTo>
                        <a:pt x="119" y="185"/>
                      </a:lnTo>
                      <a:lnTo>
                        <a:pt x="123" y="185"/>
                      </a:lnTo>
                      <a:lnTo>
                        <a:pt x="126" y="187"/>
                      </a:lnTo>
                      <a:lnTo>
                        <a:pt x="128" y="189"/>
                      </a:lnTo>
                      <a:lnTo>
                        <a:pt x="131" y="189"/>
                      </a:lnTo>
                      <a:lnTo>
                        <a:pt x="133" y="192"/>
                      </a:lnTo>
                      <a:lnTo>
                        <a:pt x="133" y="192"/>
                      </a:lnTo>
                      <a:lnTo>
                        <a:pt x="133" y="197"/>
                      </a:lnTo>
                      <a:lnTo>
                        <a:pt x="133" y="197"/>
                      </a:lnTo>
                      <a:lnTo>
                        <a:pt x="135" y="199"/>
                      </a:lnTo>
                      <a:lnTo>
                        <a:pt x="140" y="199"/>
                      </a:lnTo>
                      <a:lnTo>
                        <a:pt x="145" y="197"/>
                      </a:lnTo>
                      <a:lnTo>
                        <a:pt x="145" y="197"/>
                      </a:lnTo>
                      <a:lnTo>
                        <a:pt x="145" y="197"/>
                      </a:lnTo>
                      <a:lnTo>
                        <a:pt x="161" y="194"/>
                      </a:lnTo>
                      <a:lnTo>
                        <a:pt x="175" y="182"/>
                      </a:lnTo>
                      <a:lnTo>
                        <a:pt x="228" y="154"/>
                      </a:lnTo>
                      <a:lnTo>
                        <a:pt x="228" y="154"/>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118">
                  <a:extLst>
                    <a:ext uri="{FF2B5EF4-FFF2-40B4-BE49-F238E27FC236}">
                      <a16:creationId xmlns:a16="http://schemas.microsoft.com/office/drawing/2014/main" id="{1C6DEEB9-543B-0420-3873-38F1AECA5F64}"/>
                    </a:ext>
                  </a:extLst>
                </p:cNvPr>
                <p:cNvSpPr>
                  <a:spLocks/>
                </p:cNvSpPr>
                <p:nvPr/>
              </p:nvSpPr>
              <p:spPr bwMode="auto">
                <a:xfrm>
                  <a:off x="2514" y="2216"/>
                  <a:ext cx="131" cy="95"/>
                </a:xfrm>
                <a:custGeom>
                  <a:avLst/>
                  <a:gdLst>
                    <a:gd name="T0" fmla="*/ 45 w 131"/>
                    <a:gd name="T1" fmla="*/ 85 h 95"/>
                    <a:gd name="T2" fmla="*/ 52 w 131"/>
                    <a:gd name="T3" fmla="*/ 80 h 95"/>
                    <a:gd name="T4" fmla="*/ 62 w 131"/>
                    <a:gd name="T5" fmla="*/ 78 h 95"/>
                    <a:gd name="T6" fmla="*/ 67 w 131"/>
                    <a:gd name="T7" fmla="*/ 76 h 95"/>
                    <a:gd name="T8" fmla="*/ 76 w 131"/>
                    <a:gd name="T9" fmla="*/ 76 h 95"/>
                    <a:gd name="T10" fmla="*/ 97 w 131"/>
                    <a:gd name="T11" fmla="*/ 64 h 95"/>
                    <a:gd name="T12" fmla="*/ 107 w 131"/>
                    <a:gd name="T13" fmla="*/ 57 h 95"/>
                    <a:gd name="T14" fmla="*/ 107 w 131"/>
                    <a:gd name="T15" fmla="*/ 52 h 95"/>
                    <a:gd name="T16" fmla="*/ 112 w 131"/>
                    <a:gd name="T17" fmla="*/ 45 h 95"/>
                    <a:gd name="T18" fmla="*/ 128 w 131"/>
                    <a:gd name="T19" fmla="*/ 45 h 95"/>
                    <a:gd name="T20" fmla="*/ 131 w 131"/>
                    <a:gd name="T21" fmla="*/ 42 h 95"/>
                    <a:gd name="T22" fmla="*/ 131 w 131"/>
                    <a:gd name="T23" fmla="*/ 40 h 95"/>
                    <a:gd name="T24" fmla="*/ 128 w 131"/>
                    <a:gd name="T25" fmla="*/ 38 h 95"/>
                    <a:gd name="T26" fmla="*/ 126 w 131"/>
                    <a:gd name="T27" fmla="*/ 35 h 95"/>
                    <a:gd name="T28" fmla="*/ 123 w 131"/>
                    <a:gd name="T29" fmla="*/ 26 h 95"/>
                    <a:gd name="T30" fmla="*/ 123 w 131"/>
                    <a:gd name="T31" fmla="*/ 19 h 95"/>
                    <a:gd name="T32" fmla="*/ 121 w 131"/>
                    <a:gd name="T33" fmla="*/ 16 h 95"/>
                    <a:gd name="T34" fmla="*/ 121 w 131"/>
                    <a:gd name="T35" fmla="*/ 12 h 95"/>
                    <a:gd name="T36" fmla="*/ 119 w 131"/>
                    <a:gd name="T37" fmla="*/ 9 h 95"/>
                    <a:gd name="T38" fmla="*/ 112 w 131"/>
                    <a:gd name="T39" fmla="*/ 9 h 95"/>
                    <a:gd name="T40" fmla="*/ 109 w 131"/>
                    <a:gd name="T41" fmla="*/ 7 h 95"/>
                    <a:gd name="T42" fmla="*/ 109 w 131"/>
                    <a:gd name="T43" fmla="*/ 7 h 95"/>
                    <a:gd name="T44" fmla="*/ 102 w 131"/>
                    <a:gd name="T45" fmla="*/ 9 h 95"/>
                    <a:gd name="T46" fmla="*/ 97 w 131"/>
                    <a:gd name="T47" fmla="*/ 7 h 95"/>
                    <a:gd name="T48" fmla="*/ 90 w 131"/>
                    <a:gd name="T49" fmla="*/ 9 h 95"/>
                    <a:gd name="T50" fmla="*/ 86 w 131"/>
                    <a:gd name="T51" fmla="*/ 7 h 95"/>
                    <a:gd name="T52" fmla="*/ 83 w 131"/>
                    <a:gd name="T53" fmla="*/ 2 h 95"/>
                    <a:gd name="T54" fmla="*/ 83 w 131"/>
                    <a:gd name="T55" fmla="*/ 2 h 95"/>
                    <a:gd name="T56" fmla="*/ 81 w 131"/>
                    <a:gd name="T57" fmla="*/ 2 h 95"/>
                    <a:gd name="T58" fmla="*/ 79 w 131"/>
                    <a:gd name="T59" fmla="*/ 2 h 95"/>
                    <a:gd name="T60" fmla="*/ 76 w 131"/>
                    <a:gd name="T61" fmla="*/ 9 h 95"/>
                    <a:gd name="T62" fmla="*/ 74 w 131"/>
                    <a:gd name="T63" fmla="*/ 16 h 95"/>
                    <a:gd name="T64" fmla="*/ 67 w 131"/>
                    <a:gd name="T65" fmla="*/ 23 h 95"/>
                    <a:gd name="T66" fmla="*/ 62 w 131"/>
                    <a:gd name="T67" fmla="*/ 26 h 95"/>
                    <a:gd name="T68" fmla="*/ 55 w 131"/>
                    <a:gd name="T69" fmla="*/ 31 h 95"/>
                    <a:gd name="T70" fmla="*/ 50 w 131"/>
                    <a:gd name="T71" fmla="*/ 33 h 95"/>
                    <a:gd name="T72" fmla="*/ 45 w 131"/>
                    <a:gd name="T73" fmla="*/ 35 h 95"/>
                    <a:gd name="T74" fmla="*/ 43 w 131"/>
                    <a:gd name="T75" fmla="*/ 42 h 95"/>
                    <a:gd name="T76" fmla="*/ 38 w 131"/>
                    <a:gd name="T77" fmla="*/ 49 h 95"/>
                    <a:gd name="T78" fmla="*/ 34 w 131"/>
                    <a:gd name="T79" fmla="*/ 57 h 95"/>
                    <a:gd name="T80" fmla="*/ 36 w 131"/>
                    <a:gd name="T81" fmla="*/ 64 h 95"/>
                    <a:gd name="T82" fmla="*/ 36 w 131"/>
                    <a:gd name="T83" fmla="*/ 66 h 95"/>
                    <a:gd name="T84" fmla="*/ 29 w 131"/>
                    <a:gd name="T85" fmla="*/ 76 h 95"/>
                    <a:gd name="T86" fmla="*/ 24 w 131"/>
                    <a:gd name="T87" fmla="*/ 83 h 95"/>
                    <a:gd name="T88" fmla="*/ 15 w 131"/>
                    <a:gd name="T89" fmla="*/ 90 h 95"/>
                    <a:gd name="T90" fmla="*/ 0 w 131"/>
                    <a:gd name="T91" fmla="*/ 95 h 95"/>
                    <a:gd name="T92" fmla="*/ 45 w 131"/>
                    <a:gd name="T93" fmla="*/ 9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31" h="95">
                      <a:moveTo>
                        <a:pt x="45" y="95"/>
                      </a:moveTo>
                      <a:lnTo>
                        <a:pt x="45" y="85"/>
                      </a:lnTo>
                      <a:lnTo>
                        <a:pt x="50" y="83"/>
                      </a:lnTo>
                      <a:lnTo>
                        <a:pt x="52" y="80"/>
                      </a:lnTo>
                      <a:lnTo>
                        <a:pt x="57" y="78"/>
                      </a:lnTo>
                      <a:lnTo>
                        <a:pt x="62" y="78"/>
                      </a:lnTo>
                      <a:lnTo>
                        <a:pt x="67" y="78"/>
                      </a:lnTo>
                      <a:lnTo>
                        <a:pt x="67" y="76"/>
                      </a:lnTo>
                      <a:lnTo>
                        <a:pt x="71" y="76"/>
                      </a:lnTo>
                      <a:lnTo>
                        <a:pt x="76" y="76"/>
                      </a:lnTo>
                      <a:lnTo>
                        <a:pt x="86" y="71"/>
                      </a:lnTo>
                      <a:lnTo>
                        <a:pt x="97" y="64"/>
                      </a:lnTo>
                      <a:lnTo>
                        <a:pt x="105" y="59"/>
                      </a:lnTo>
                      <a:lnTo>
                        <a:pt x="107" y="57"/>
                      </a:lnTo>
                      <a:lnTo>
                        <a:pt x="107" y="54"/>
                      </a:lnTo>
                      <a:lnTo>
                        <a:pt x="107" y="52"/>
                      </a:lnTo>
                      <a:lnTo>
                        <a:pt x="109" y="49"/>
                      </a:lnTo>
                      <a:lnTo>
                        <a:pt x="112" y="45"/>
                      </a:lnTo>
                      <a:lnTo>
                        <a:pt x="116" y="45"/>
                      </a:lnTo>
                      <a:lnTo>
                        <a:pt x="128" y="45"/>
                      </a:lnTo>
                      <a:lnTo>
                        <a:pt x="131" y="42"/>
                      </a:lnTo>
                      <a:lnTo>
                        <a:pt x="131" y="42"/>
                      </a:lnTo>
                      <a:lnTo>
                        <a:pt x="131" y="40"/>
                      </a:lnTo>
                      <a:lnTo>
                        <a:pt x="131" y="40"/>
                      </a:lnTo>
                      <a:lnTo>
                        <a:pt x="128" y="40"/>
                      </a:lnTo>
                      <a:lnTo>
                        <a:pt x="128" y="38"/>
                      </a:lnTo>
                      <a:lnTo>
                        <a:pt x="126" y="38"/>
                      </a:lnTo>
                      <a:lnTo>
                        <a:pt x="126" y="35"/>
                      </a:lnTo>
                      <a:lnTo>
                        <a:pt x="123" y="33"/>
                      </a:lnTo>
                      <a:lnTo>
                        <a:pt x="123" y="26"/>
                      </a:lnTo>
                      <a:lnTo>
                        <a:pt x="123" y="23"/>
                      </a:lnTo>
                      <a:lnTo>
                        <a:pt x="123" y="19"/>
                      </a:lnTo>
                      <a:lnTo>
                        <a:pt x="123" y="16"/>
                      </a:lnTo>
                      <a:lnTo>
                        <a:pt x="121" y="16"/>
                      </a:lnTo>
                      <a:lnTo>
                        <a:pt x="121" y="14"/>
                      </a:lnTo>
                      <a:lnTo>
                        <a:pt x="121" y="12"/>
                      </a:lnTo>
                      <a:lnTo>
                        <a:pt x="119" y="12"/>
                      </a:lnTo>
                      <a:lnTo>
                        <a:pt x="119" y="9"/>
                      </a:lnTo>
                      <a:lnTo>
                        <a:pt x="116" y="9"/>
                      </a:lnTo>
                      <a:lnTo>
                        <a:pt x="112" y="9"/>
                      </a:lnTo>
                      <a:lnTo>
                        <a:pt x="109" y="9"/>
                      </a:lnTo>
                      <a:lnTo>
                        <a:pt x="109" y="7"/>
                      </a:lnTo>
                      <a:lnTo>
                        <a:pt x="109" y="7"/>
                      </a:lnTo>
                      <a:lnTo>
                        <a:pt x="109" y="7"/>
                      </a:lnTo>
                      <a:lnTo>
                        <a:pt x="107" y="7"/>
                      </a:lnTo>
                      <a:lnTo>
                        <a:pt x="102" y="9"/>
                      </a:lnTo>
                      <a:lnTo>
                        <a:pt x="100" y="7"/>
                      </a:lnTo>
                      <a:lnTo>
                        <a:pt x="97" y="7"/>
                      </a:lnTo>
                      <a:lnTo>
                        <a:pt x="95" y="9"/>
                      </a:lnTo>
                      <a:lnTo>
                        <a:pt x="90" y="9"/>
                      </a:lnTo>
                      <a:lnTo>
                        <a:pt x="88" y="9"/>
                      </a:lnTo>
                      <a:lnTo>
                        <a:pt x="86" y="7"/>
                      </a:lnTo>
                      <a:lnTo>
                        <a:pt x="86" y="4"/>
                      </a:lnTo>
                      <a:lnTo>
                        <a:pt x="83" y="2"/>
                      </a:lnTo>
                      <a:lnTo>
                        <a:pt x="83" y="2"/>
                      </a:lnTo>
                      <a:lnTo>
                        <a:pt x="83" y="2"/>
                      </a:lnTo>
                      <a:lnTo>
                        <a:pt x="83" y="0"/>
                      </a:lnTo>
                      <a:lnTo>
                        <a:pt x="81" y="2"/>
                      </a:lnTo>
                      <a:lnTo>
                        <a:pt x="81" y="2"/>
                      </a:lnTo>
                      <a:lnTo>
                        <a:pt x="79" y="2"/>
                      </a:lnTo>
                      <a:lnTo>
                        <a:pt x="76" y="4"/>
                      </a:lnTo>
                      <a:lnTo>
                        <a:pt x="76" y="9"/>
                      </a:lnTo>
                      <a:lnTo>
                        <a:pt x="74" y="12"/>
                      </a:lnTo>
                      <a:lnTo>
                        <a:pt x="74" y="16"/>
                      </a:lnTo>
                      <a:lnTo>
                        <a:pt x="71" y="19"/>
                      </a:lnTo>
                      <a:lnTo>
                        <a:pt x="67" y="23"/>
                      </a:lnTo>
                      <a:lnTo>
                        <a:pt x="64" y="23"/>
                      </a:lnTo>
                      <a:lnTo>
                        <a:pt x="62" y="26"/>
                      </a:lnTo>
                      <a:lnTo>
                        <a:pt x="60" y="26"/>
                      </a:lnTo>
                      <a:lnTo>
                        <a:pt x="55" y="31"/>
                      </a:lnTo>
                      <a:lnTo>
                        <a:pt x="55" y="31"/>
                      </a:lnTo>
                      <a:lnTo>
                        <a:pt x="50" y="33"/>
                      </a:lnTo>
                      <a:lnTo>
                        <a:pt x="48" y="33"/>
                      </a:lnTo>
                      <a:lnTo>
                        <a:pt x="45" y="35"/>
                      </a:lnTo>
                      <a:lnTo>
                        <a:pt x="41" y="40"/>
                      </a:lnTo>
                      <a:lnTo>
                        <a:pt x="43" y="42"/>
                      </a:lnTo>
                      <a:lnTo>
                        <a:pt x="43" y="45"/>
                      </a:lnTo>
                      <a:lnTo>
                        <a:pt x="38" y="49"/>
                      </a:lnTo>
                      <a:lnTo>
                        <a:pt x="34" y="54"/>
                      </a:lnTo>
                      <a:lnTo>
                        <a:pt x="34" y="57"/>
                      </a:lnTo>
                      <a:lnTo>
                        <a:pt x="36" y="59"/>
                      </a:lnTo>
                      <a:lnTo>
                        <a:pt x="36" y="64"/>
                      </a:lnTo>
                      <a:lnTo>
                        <a:pt x="36" y="64"/>
                      </a:lnTo>
                      <a:lnTo>
                        <a:pt x="36" y="66"/>
                      </a:lnTo>
                      <a:lnTo>
                        <a:pt x="36" y="68"/>
                      </a:lnTo>
                      <a:lnTo>
                        <a:pt x="29" y="76"/>
                      </a:lnTo>
                      <a:lnTo>
                        <a:pt x="29" y="78"/>
                      </a:lnTo>
                      <a:lnTo>
                        <a:pt x="24" y="83"/>
                      </a:lnTo>
                      <a:lnTo>
                        <a:pt x="22" y="83"/>
                      </a:lnTo>
                      <a:lnTo>
                        <a:pt x="15" y="90"/>
                      </a:lnTo>
                      <a:lnTo>
                        <a:pt x="3" y="90"/>
                      </a:lnTo>
                      <a:lnTo>
                        <a:pt x="0" y="95"/>
                      </a:lnTo>
                      <a:lnTo>
                        <a:pt x="45" y="95"/>
                      </a:lnTo>
                      <a:lnTo>
                        <a:pt x="45" y="95"/>
                      </a:lnTo>
                      <a:lnTo>
                        <a:pt x="45" y="95"/>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Freeform 119">
                  <a:extLst>
                    <a:ext uri="{FF2B5EF4-FFF2-40B4-BE49-F238E27FC236}">
                      <a16:creationId xmlns:a16="http://schemas.microsoft.com/office/drawing/2014/main" id="{5C521695-BE35-D295-8656-835109867F72}"/>
                    </a:ext>
                  </a:extLst>
                </p:cNvPr>
                <p:cNvSpPr>
                  <a:spLocks/>
                </p:cNvSpPr>
                <p:nvPr/>
              </p:nvSpPr>
              <p:spPr bwMode="auto">
                <a:xfrm>
                  <a:off x="2467" y="2311"/>
                  <a:ext cx="92" cy="68"/>
                </a:xfrm>
                <a:custGeom>
                  <a:avLst/>
                  <a:gdLst>
                    <a:gd name="T0" fmla="*/ 92 w 92"/>
                    <a:gd name="T1" fmla="*/ 2 h 68"/>
                    <a:gd name="T2" fmla="*/ 92 w 92"/>
                    <a:gd name="T3" fmla="*/ 0 h 68"/>
                    <a:gd name="T4" fmla="*/ 47 w 92"/>
                    <a:gd name="T5" fmla="*/ 0 h 68"/>
                    <a:gd name="T6" fmla="*/ 43 w 92"/>
                    <a:gd name="T7" fmla="*/ 4 h 68"/>
                    <a:gd name="T8" fmla="*/ 43 w 92"/>
                    <a:gd name="T9" fmla="*/ 9 h 68"/>
                    <a:gd name="T10" fmla="*/ 40 w 92"/>
                    <a:gd name="T11" fmla="*/ 9 h 68"/>
                    <a:gd name="T12" fmla="*/ 33 w 92"/>
                    <a:gd name="T13" fmla="*/ 11 h 68"/>
                    <a:gd name="T14" fmla="*/ 31 w 92"/>
                    <a:gd name="T15" fmla="*/ 14 h 68"/>
                    <a:gd name="T16" fmla="*/ 29 w 92"/>
                    <a:gd name="T17" fmla="*/ 16 h 68"/>
                    <a:gd name="T18" fmla="*/ 31 w 92"/>
                    <a:gd name="T19" fmla="*/ 18 h 68"/>
                    <a:gd name="T20" fmla="*/ 24 w 92"/>
                    <a:gd name="T21" fmla="*/ 28 h 68"/>
                    <a:gd name="T22" fmla="*/ 21 w 92"/>
                    <a:gd name="T23" fmla="*/ 30 h 68"/>
                    <a:gd name="T24" fmla="*/ 17 w 92"/>
                    <a:gd name="T25" fmla="*/ 35 h 68"/>
                    <a:gd name="T26" fmla="*/ 14 w 92"/>
                    <a:gd name="T27" fmla="*/ 35 h 68"/>
                    <a:gd name="T28" fmla="*/ 12 w 92"/>
                    <a:gd name="T29" fmla="*/ 42 h 68"/>
                    <a:gd name="T30" fmla="*/ 12 w 92"/>
                    <a:gd name="T31" fmla="*/ 42 h 68"/>
                    <a:gd name="T32" fmla="*/ 7 w 92"/>
                    <a:gd name="T33" fmla="*/ 49 h 68"/>
                    <a:gd name="T34" fmla="*/ 7 w 92"/>
                    <a:gd name="T35" fmla="*/ 49 h 68"/>
                    <a:gd name="T36" fmla="*/ 10 w 92"/>
                    <a:gd name="T37" fmla="*/ 52 h 68"/>
                    <a:gd name="T38" fmla="*/ 7 w 92"/>
                    <a:gd name="T39" fmla="*/ 52 h 68"/>
                    <a:gd name="T40" fmla="*/ 5 w 92"/>
                    <a:gd name="T41" fmla="*/ 56 h 68"/>
                    <a:gd name="T42" fmla="*/ 2 w 92"/>
                    <a:gd name="T43" fmla="*/ 59 h 68"/>
                    <a:gd name="T44" fmla="*/ 0 w 92"/>
                    <a:gd name="T45" fmla="*/ 59 h 68"/>
                    <a:gd name="T46" fmla="*/ 0 w 92"/>
                    <a:gd name="T47" fmla="*/ 61 h 68"/>
                    <a:gd name="T48" fmla="*/ 0 w 92"/>
                    <a:gd name="T49" fmla="*/ 64 h 68"/>
                    <a:gd name="T50" fmla="*/ 0 w 92"/>
                    <a:gd name="T51" fmla="*/ 68 h 68"/>
                    <a:gd name="T52" fmla="*/ 45 w 92"/>
                    <a:gd name="T53" fmla="*/ 66 h 68"/>
                    <a:gd name="T54" fmla="*/ 45 w 92"/>
                    <a:gd name="T55" fmla="*/ 49 h 68"/>
                    <a:gd name="T56" fmla="*/ 47 w 92"/>
                    <a:gd name="T57" fmla="*/ 45 h 68"/>
                    <a:gd name="T58" fmla="*/ 50 w 92"/>
                    <a:gd name="T59" fmla="*/ 45 h 68"/>
                    <a:gd name="T60" fmla="*/ 52 w 92"/>
                    <a:gd name="T61" fmla="*/ 45 h 68"/>
                    <a:gd name="T62" fmla="*/ 55 w 92"/>
                    <a:gd name="T63" fmla="*/ 45 h 68"/>
                    <a:gd name="T64" fmla="*/ 57 w 92"/>
                    <a:gd name="T65" fmla="*/ 16 h 68"/>
                    <a:gd name="T66" fmla="*/ 92 w 92"/>
                    <a:gd name="T67" fmla="*/ 16 h 68"/>
                    <a:gd name="T68" fmla="*/ 92 w 92"/>
                    <a:gd name="T69" fmla="*/ 2 h 68"/>
                    <a:gd name="T70" fmla="*/ 92 w 92"/>
                    <a:gd name="T71" fmla="*/ 2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2" h="68">
                      <a:moveTo>
                        <a:pt x="92" y="2"/>
                      </a:moveTo>
                      <a:lnTo>
                        <a:pt x="92" y="0"/>
                      </a:lnTo>
                      <a:lnTo>
                        <a:pt x="47" y="0"/>
                      </a:lnTo>
                      <a:lnTo>
                        <a:pt x="43" y="4"/>
                      </a:lnTo>
                      <a:lnTo>
                        <a:pt x="43" y="9"/>
                      </a:lnTo>
                      <a:lnTo>
                        <a:pt x="40" y="9"/>
                      </a:lnTo>
                      <a:lnTo>
                        <a:pt x="33" y="11"/>
                      </a:lnTo>
                      <a:lnTo>
                        <a:pt x="31" y="14"/>
                      </a:lnTo>
                      <a:lnTo>
                        <a:pt x="29" y="16"/>
                      </a:lnTo>
                      <a:lnTo>
                        <a:pt x="31" y="18"/>
                      </a:lnTo>
                      <a:lnTo>
                        <a:pt x="24" y="28"/>
                      </a:lnTo>
                      <a:lnTo>
                        <a:pt x="21" y="30"/>
                      </a:lnTo>
                      <a:lnTo>
                        <a:pt x="17" y="35"/>
                      </a:lnTo>
                      <a:lnTo>
                        <a:pt x="14" y="35"/>
                      </a:lnTo>
                      <a:lnTo>
                        <a:pt x="12" y="42"/>
                      </a:lnTo>
                      <a:lnTo>
                        <a:pt x="12" y="42"/>
                      </a:lnTo>
                      <a:lnTo>
                        <a:pt x="7" y="49"/>
                      </a:lnTo>
                      <a:lnTo>
                        <a:pt x="7" y="49"/>
                      </a:lnTo>
                      <a:lnTo>
                        <a:pt x="10" y="52"/>
                      </a:lnTo>
                      <a:lnTo>
                        <a:pt x="7" y="52"/>
                      </a:lnTo>
                      <a:lnTo>
                        <a:pt x="5" y="56"/>
                      </a:lnTo>
                      <a:lnTo>
                        <a:pt x="2" y="59"/>
                      </a:lnTo>
                      <a:lnTo>
                        <a:pt x="0" y="59"/>
                      </a:lnTo>
                      <a:lnTo>
                        <a:pt x="0" y="61"/>
                      </a:lnTo>
                      <a:lnTo>
                        <a:pt x="0" y="64"/>
                      </a:lnTo>
                      <a:lnTo>
                        <a:pt x="0" y="68"/>
                      </a:lnTo>
                      <a:lnTo>
                        <a:pt x="45" y="66"/>
                      </a:lnTo>
                      <a:lnTo>
                        <a:pt x="45" y="49"/>
                      </a:lnTo>
                      <a:lnTo>
                        <a:pt x="47" y="45"/>
                      </a:lnTo>
                      <a:lnTo>
                        <a:pt x="50" y="45"/>
                      </a:lnTo>
                      <a:lnTo>
                        <a:pt x="52" y="45"/>
                      </a:lnTo>
                      <a:lnTo>
                        <a:pt x="55" y="45"/>
                      </a:lnTo>
                      <a:lnTo>
                        <a:pt x="57" y="16"/>
                      </a:lnTo>
                      <a:lnTo>
                        <a:pt x="92" y="16"/>
                      </a:lnTo>
                      <a:lnTo>
                        <a:pt x="92" y="2"/>
                      </a:lnTo>
                      <a:lnTo>
                        <a:pt x="92" y="2"/>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Freeform 120">
                  <a:extLst>
                    <a:ext uri="{FF2B5EF4-FFF2-40B4-BE49-F238E27FC236}">
                      <a16:creationId xmlns:a16="http://schemas.microsoft.com/office/drawing/2014/main" id="{4490F194-AEA0-00C6-4F67-A9E41F1DC9C9}"/>
                    </a:ext>
                  </a:extLst>
                </p:cNvPr>
                <p:cNvSpPr>
                  <a:spLocks/>
                </p:cNvSpPr>
                <p:nvPr/>
              </p:nvSpPr>
              <p:spPr bwMode="auto">
                <a:xfrm>
                  <a:off x="2467" y="2313"/>
                  <a:ext cx="133" cy="135"/>
                </a:xfrm>
                <a:custGeom>
                  <a:avLst/>
                  <a:gdLst>
                    <a:gd name="T0" fmla="*/ 45 w 133"/>
                    <a:gd name="T1" fmla="*/ 64 h 135"/>
                    <a:gd name="T2" fmla="*/ 47 w 133"/>
                    <a:gd name="T3" fmla="*/ 43 h 135"/>
                    <a:gd name="T4" fmla="*/ 52 w 133"/>
                    <a:gd name="T5" fmla="*/ 43 h 135"/>
                    <a:gd name="T6" fmla="*/ 57 w 133"/>
                    <a:gd name="T7" fmla="*/ 14 h 135"/>
                    <a:gd name="T8" fmla="*/ 92 w 133"/>
                    <a:gd name="T9" fmla="*/ 0 h 135"/>
                    <a:gd name="T10" fmla="*/ 133 w 133"/>
                    <a:gd name="T11" fmla="*/ 26 h 135"/>
                    <a:gd name="T12" fmla="*/ 121 w 133"/>
                    <a:gd name="T13" fmla="*/ 26 h 135"/>
                    <a:gd name="T14" fmla="*/ 133 w 133"/>
                    <a:gd name="T15" fmla="*/ 118 h 135"/>
                    <a:gd name="T16" fmla="*/ 88 w 133"/>
                    <a:gd name="T17" fmla="*/ 128 h 135"/>
                    <a:gd name="T18" fmla="*/ 85 w 133"/>
                    <a:gd name="T19" fmla="*/ 126 h 135"/>
                    <a:gd name="T20" fmla="*/ 83 w 133"/>
                    <a:gd name="T21" fmla="*/ 128 h 135"/>
                    <a:gd name="T22" fmla="*/ 81 w 133"/>
                    <a:gd name="T23" fmla="*/ 123 h 135"/>
                    <a:gd name="T24" fmla="*/ 71 w 133"/>
                    <a:gd name="T25" fmla="*/ 126 h 135"/>
                    <a:gd name="T26" fmla="*/ 69 w 133"/>
                    <a:gd name="T27" fmla="*/ 128 h 135"/>
                    <a:gd name="T28" fmla="*/ 66 w 133"/>
                    <a:gd name="T29" fmla="*/ 123 h 135"/>
                    <a:gd name="T30" fmla="*/ 59 w 133"/>
                    <a:gd name="T31" fmla="*/ 123 h 135"/>
                    <a:gd name="T32" fmla="*/ 59 w 133"/>
                    <a:gd name="T33" fmla="*/ 128 h 135"/>
                    <a:gd name="T34" fmla="*/ 55 w 133"/>
                    <a:gd name="T35" fmla="*/ 133 h 135"/>
                    <a:gd name="T36" fmla="*/ 52 w 133"/>
                    <a:gd name="T37" fmla="*/ 135 h 135"/>
                    <a:gd name="T38" fmla="*/ 50 w 133"/>
                    <a:gd name="T39" fmla="*/ 130 h 135"/>
                    <a:gd name="T40" fmla="*/ 47 w 133"/>
                    <a:gd name="T41" fmla="*/ 128 h 135"/>
                    <a:gd name="T42" fmla="*/ 43 w 133"/>
                    <a:gd name="T43" fmla="*/ 126 h 135"/>
                    <a:gd name="T44" fmla="*/ 40 w 133"/>
                    <a:gd name="T45" fmla="*/ 121 h 135"/>
                    <a:gd name="T46" fmla="*/ 38 w 133"/>
                    <a:gd name="T47" fmla="*/ 121 h 135"/>
                    <a:gd name="T48" fmla="*/ 36 w 133"/>
                    <a:gd name="T49" fmla="*/ 121 h 135"/>
                    <a:gd name="T50" fmla="*/ 33 w 133"/>
                    <a:gd name="T51" fmla="*/ 118 h 135"/>
                    <a:gd name="T52" fmla="*/ 29 w 133"/>
                    <a:gd name="T53" fmla="*/ 116 h 135"/>
                    <a:gd name="T54" fmla="*/ 21 w 133"/>
                    <a:gd name="T55" fmla="*/ 114 h 135"/>
                    <a:gd name="T56" fmla="*/ 10 w 133"/>
                    <a:gd name="T57" fmla="*/ 116 h 135"/>
                    <a:gd name="T58" fmla="*/ 5 w 133"/>
                    <a:gd name="T59" fmla="*/ 118 h 135"/>
                    <a:gd name="T60" fmla="*/ 5 w 133"/>
                    <a:gd name="T61" fmla="*/ 116 h 135"/>
                    <a:gd name="T62" fmla="*/ 10 w 133"/>
                    <a:gd name="T63" fmla="*/ 107 h 135"/>
                    <a:gd name="T64" fmla="*/ 7 w 133"/>
                    <a:gd name="T65" fmla="*/ 88 h 135"/>
                    <a:gd name="T66" fmla="*/ 5 w 133"/>
                    <a:gd name="T67" fmla="*/ 83 h 135"/>
                    <a:gd name="T68" fmla="*/ 7 w 133"/>
                    <a:gd name="T69" fmla="*/ 78 h 135"/>
                    <a:gd name="T70" fmla="*/ 7 w 133"/>
                    <a:gd name="T71" fmla="*/ 76 h 135"/>
                    <a:gd name="T72" fmla="*/ 2 w 133"/>
                    <a:gd name="T73" fmla="*/ 73 h 135"/>
                    <a:gd name="T74" fmla="*/ 2 w 133"/>
                    <a:gd name="T75" fmla="*/ 69 h 135"/>
                    <a:gd name="T76" fmla="*/ 0 w 133"/>
                    <a:gd name="T77" fmla="*/ 69 h 135"/>
                    <a:gd name="T78" fmla="*/ 0 w 133"/>
                    <a:gd name="T79" fmla="*/ 66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3" h="135">
                      <a:moveTo>
                        <a:pt x="0" y="66"/>
                      </a:moveTo>
                      <a:lnTo>
                        <a:pt x="45" y="64"/>
                      </a:lnTo>
                      <a:lnTo>
                        <a:pt x="45" y="47"/>
                      </a:lnTo>
                      <a:lnTo>
                        <a:pt x="47" y="43"/>
                      </a:lnTo>
                      <a:lnTo>
                        <a:pt x="50" y="43"/>
                      </a:lnTo>
                      <a:lnTo>
                        <a:pt x="52" y="43"/>
                      </a:lnTo>
                      <a:lnTo>
                        <a:pt x="55" y="43"/>
                      </a:lnTo>
                      <a:lnTo>
                        <a:pt x="57" y="14"/>
                      </a:lnTo>
                      <a:lnTo>
                        <a:pt x="92" y="14"/>
                      </a:lnTo>
                      <a:lnTo>
                        <a:pt x="92" y="0"/>
                      </a:lnTo>
                      <a:lnTo>
                        <a:pt x="133" y="26"/>
                      </a:lnTo>
                      <a:lnTo>
                        <a:pt x="133" y="26"/>
                      </a:lnTo>
                      <a:lnTo>
                        <a:pt x="133" y="26"/>
                      </a:lnTo>
                      <a:lnTo>
                        <a:pt x="121" y="26"/>
                      </a:lnTo>
                      <a:lnTo>
                        <a:pt x="128" y="116"/>
                      </a:lnTo>
                      <a:lnTo>
                        <a:pt x="133" y="118"/>
                      </a:lnTo>
                      <a:lnTo>
                        <a:pt x="128" y="128"/>
                      </a:lnTo>
                      <a:lnTo>
                        <a:pt x="88" y="128"/>
                      </a:lnTo>
                      <a:lnTo>
                        <a:pt x="88" y="128"/>
                      </a:lnTo>
                      <a:lnTo>
                        <a:pt x="85" y="126"/>
                      </a:lnTo>
                      <a:lnTo>
                        <a:pt x="83" y="126"/>
                      </a:lnTo>
                      <a:lnTo>
                        <a:pt x="83" y="128"/>
                      </a:lnTo>
                      <a:lnTo>
                        <a:pt x="81" y="126"/>
                      </a:lnTo>
                      <a:lnTo>
                        <a:pt x="81" y="123"/>
                      </a:lnTo>
                      <a:lnTo>
                        <a:pt x="78" y="123"/>
                      </a:lnTo>
                      <a:lnTo>
                        <a:pt x="71" y="126"/>
                      </a:lnTo>
                      <a:lnTo>
                        <a:pt x="69" y="130"/>
                      </a:lnTo>
                      <a:lnTo>
                        <a:pt x="69" y="128"/>
                      </a:lnTo>
                      <a:lnTo>
                        <a:pt x="66" y="126"/>
                      </a:lnTo>
                      <a:lnTo>
                        <a:pt x="66" y="123"/>
                      </a:lnTo>
                      <a:lnTo>
                        <a:pt x="64" y="123"/>
                      </a:lnTo>
                      <a:lnTo>
                        <a:pt x="59" y="123"/>
                      </a:lnTo>
                      <a:lnTo>
                        <a:pt x="59" y="128"/>
                      </a:lnTo>
                      <a:lnTo>
                        <a:pt x="59" y="128"/>
                      </a:lnTo>
                      <a:lnTo>
                        <a:pt x="59" y="133"/>
                      </a:lnTo>
                      <a:lnTo>
                        <a:pt x="55" y="133"/>
                      </a:lnTo>
                      <a:lnTo>
                        <a:pt x="52" y="135"/>
                      </a:lnTo>
                      <a:lnTo>
                        <a:pt x="52" y="135"/>
                      </a:lnTo>
                      <a:lnTo>
                        <a:pt x="52" y="133"/>
                      </a:lnTo>
                      <a:lnTo>
                        <a:pt x="50" y="130"/>
                      </a:lnTo>
                      <a:lnTo>
                        <a:pt x="47" y="130"/>
                      </a:lnTo>
                      <a:lnTo>
                        <a:pt x="47" y="128"/>
                      </a:lnTo>
                      <a:lnTo>
                        <a:pt x="43" y="128"/>
                      </a:lnTo>
                      <a:lnTo>
                        <a:pt x="43" y="126"/>
                      </a:lnTo>
                      <a:lnTo>
                        <a:pt x="40" y="123"/>
                      </a:lnTo>
                      <a:lnTo>
                        <a:pt x="40" y="121"/>
                      </a:lnTo>
                      <a:lnTo>
                        <a:pt x="40" y="121"/>
                      </a:lnTo>
                      <a:lnTo>
                        <a:pt x="38" y="121"/>
                      </a:lnTo>
                      <a:lnTo>
                        <a:pt x="38" y="121"/>
                      </a:lnTo>
                      <a:lnTo>
                        <a:pt x="36" y="121"/>
                      </a:lnTo>
                      <a:lnTo>
                        <a:pt x="33" y="121"/>
                      </a:lnTo>
                      <a:lnTo>
                        <a:pt x="33" y="118"/>
                      </a:lnTo>
                      <a:lnTo>
                        <a:pt x="31" y="116"/>
                      </a:lnTo>
                      <a:lnTo>
                        <a:pt x="29" y="116"/>
                      </a:lnTo>
                      <a:lnTo>
                        <a:pt x="24" y="114"/>
                      </a:lnTo>
                      <a:lnTo>
                        <a:pt x="21" y="114"/>
                      </a:lnTo>
                      <a:lnTo>
                        <a:pt x="17" y="116"/>
                      </a:lnTo>
                      <a:lnTo>
                        <a:pt x="10" y="116"/>
                      </a:lnTo>
                      <a:lnTo>
                        <a:pt x="7" y="118"/>
                      </a:lnTo>
                      <a:lnTo>
                        <a:pt x="5" y="118"/>
                      </a:lnTo>
                      <a:lnTo>
                        <a:pt x="2" y="121"/>
                      </a:lnTo>
                      <a:lnTo>
                        <a:pt x="5" y="116"/>
                      </a:lnTo>
                      <a:lnTo>
                        <a:pt x="7" y="109"/>
                      </a:lnTo>
                      <a:lnTo>
                        <a:pt x="10" y="107"/>
                      </a:lnTo>
                      <a:lnTo>
                        <a:pt x="10" y="99"/>
                      </a:lnTo>
                      <a:lnTo>
                        <a:pt x="7" y="88"/>
                      </a:lnTo>
                      <a:lnTo>
                        <a:pt x="5" y="83"/>
                      </a:lnTo>
                      <a:lnTo>
                        <a:pt x="5" y="83"/>
                      </a:lnTo>
                      <a:lnTo>
                        <a:pt x="7" y="83"/>
                      </a:lnTo>
                      <a:lnTo>
                        <a:pt x="7" y="78"/>
                      </a:lnTo>
                      <a:lnTo>
                        <a:pt x="7" y="78"/>
                      </a:lnTo>
                      <a:lnTo>
                        <a:pt x="7" y="76"/>
                      </a:lnTo>
                      <a:lnTo>
                        <a:pt x="5" y="71"/>
                      </a:lnTo>
                      <a:lnTo>
                        <a:pt x="2" y="73"/>
                      </a:lnTo>
                      <a:lnTo>
                        <a:pt x="2" y="71"/>
                      </a:lnTo>
                      <a:lnTo>
                        <a:pt x="2" y="69"/>
                      </a:lnTo>
                      <a:lnTo>
                        <a:pt x="0" y="71"/>
                      </a:lnTo>
                      <a:lnTo>
                        <a:pt x="0" y="69"/>
                      </a:lnTo>
                      <a:lnTo>
                        <a:pt x="0" y="66"/>
                      </a:lnTo>
                      <a:lnTo>
                        <a:pt x="0" y="66"/>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Freeform 121">
                  <a:extLst>
                    <a:ext uri="{FF2B5EF4-FFF2-40B4-BE49-F238E27FC236}">
                      <a16:creationId xmlns:a16="http://schemas.microsoft.com/office/drawing/2014/main" id="{205059DE-3A61-B891-4B18-BD17530192D3}"/>
                    </a:ext>
                  </a:extLst>
                </p:cNvPr>
                <p:cNvSpPr>
                  <a:spLocks/>
                </p:cNvSpPr>
                <p:nvPr/>
              </p:nvSpPr>
              <p:spPr bwMode="auto">
                <a:xfrm>
                  <a:off x="2519" y="2339"/>
                  <a:ext cx="185" cy="154"/>
                </a:xfrm>
                <a:custGeom>
                  <a:avLst/>
                  <a:gdLst>
                    <a:gd name="T0" fmla="*/ 7 w 185"/>
                    <a:gd name="T1" fmla="*/ 107 h 154"/>
                    <a:gd name="T2" fmla="*/ 7 w 185"/>
                    <a:gd name="T3" fmla="*/ 97 h 154"/>
                    <a:gd name="T4" fmla="*/ 14 w 185"/>
                    <a:gd name="T5" fmla="*/ 100 h 154"/>
                    <a:gd name="T6" fmla="*/ 19 w 185"/>
                    <a:gd name="T7" fmla="*/ 100 h 154"/>
                    <a:gd name="T8" fmla="*/ 29 w 185"/>
                    <a:gd name="T9" fmla="*/ 100 h 154"/>
                    <a:gd name="T10" fmla="*/ 33 w 185"/>
                    <a:gd name="T11" fmla="*/ 100 h 154"/>
                    <a:gd name="T12" fmla="*/ 76 w 185"/>
                    <a:gd name="T13" fmla="*/ 102 h 154"/>
                    <a:gd name="T14" fmla="*/ 69 w 185"/>
                    <a:gd name="T15" fmla="*/ 0 h 154"/>
                    <a:gd name="T16" fmla="*/ 156 w 185"/>
                    <a:gd name="T17" fmla="*/ 50 h 154"/>
                    <a:gd name="T18" fmla="*/ 166 w 185"/>
                    <a:gd name="T19" fmla="*/ 52 h 154"/>
                    <a:gd name="T20" fmla="*/ 173 w 185"/>
                    <a:gd name="T21" fmla="*/ 57 h 154"/>
                    <a:gd name="T22" fmla="*/ 173 w 185"/>
                    <a:gd name="T23" fmla="*/ 62 h 154"/>
                    <a:gd name="T24" fmla="*/ 185 w 185"/>
                    <a:gd name="T25" fmla="*/ 62 h 154"/>
                    <a:gd name="T26" fmla="*/ 185 w 185"/>
                    <a:gd name="T27" fmla="*/ 90 h 154"/>
                    <a:gd name="T28" fmla="*/ 180 w 185"/>
                    <a:gd name="T29" fmla="*/ 97 h 154"/>
                    <a:gd name="T30" fmla="*/ 168 w 185"/>
                    <a:gd name="T31" fmla="*/ 102 h 154"/>
                    <a:gd name="T32" fmla="*/ 159 w 185"/>
                    <a:gd name="T33" fmla="*/ 104 h 154"/>
                    <a:gd name="T34" fmla="*/ 144 w 185"/>
                    <a:gd name="T35" fmla="*/ 107 h 154"/>
                    <a:gd name="T36" fmla="*/ 142 w 185"/>
                    <a:gd name="T37" fmla="*/ 104 h 154"/>
                    <a:gd name="T38" fmla="*/ 133 w 185"/>
                    <a:gd name="T39" fmla="*/ 104 h 154"/>
                    <a:gd name="T40" fmla="*/ 121 w 185"/>
                    <a:gd name="T41" fmla="*/ 109 h 154"/>
                    <a:gd name="T42" fmla="*/ 104 w 185"/>
                    <a:gd name="T43" fmla="*/ 118 h 154"/>
                    <a:gd name="T44" fmla="*/ 95 w 185"/>
                    <a:gd name="T45" fmla="*/ 121 h 154"/>
                    <a:gd name="T46" fmla="*/ 90 w 185"/>
                    <a:gd name="T47" fmla="*/ 126 h 154"/>
                    <a:gd name="T48" fmla="*/ 85 w 185"/>
                    <a:gd name="T49" fmla="*/ 137 h 154"/>
                    <a:gd name="T50" fmla="*/ 81 w 185"/>
                    <a:gd name="T51" fmla="*/ 142 h 154"/>
                    <a:gd name="T52" fmla="*/ 78 w 185"/>
                    <a:gd name="T53" fmla="*/ 147 h 154"/>
                    <a:gd name="T54" fmla="*/ 78 w 185"/>
                    <a:gd name="T55" fmla="*/ 152 h 154"/>
                    <a:gd name="T56" fmla="*/ 71 w 185"/>
                    <a:gd name="T57" fmla="*/ 152 h 154"/>
                    <a:gd name="T58" fmla="*/ 64 w 185"/>
                    <a:gd name="T59" fmla="*/ 152 h 154"/>
                    <a:gd name="T60" fmla="*/ 59 w 185"/>
                    <a:gd name="T61" fmla="*/ 154 h 154"/>
                    <a:gd name="T62" fmla="*/ 52 w 185"/>
                    <a:gd name="T63" fmla="*/ 154 h 154"/>
                    <a:gd name="T64" fmla="*/ 47 w 185"/>
                    <a:gd name="T65" fmla="*/ 152 h 154"/>
                    <a:gd name="T66" fmla="*/ 47 w 185"/>
                    <a:gd name="T67" fmla="*/ 147 h 154"/>
                    <a:gd name="T68" fmla="*/ 43 w 185"/>
                    <a:gd name="T69" fmla="*/ 149 h 154"/>
                    <a:gd name="T70" fmla="*/ 45 w 185"/>
                    <a:gd name="T71" fmla="*/ 142 h 154"/>
                    <a:gd name="T72" fmla="*/ 43 w 185"/>
                    <a:gd name="T73" fmla="*/ 137 h 154"/>
                    <a:gd name="T74" fmla="*/ 38 w 185"/>
                    <a:gd name="T75" fmla="*/ 133 h 154"/>
                    <a:gd name="T76" fmla="*/ 33 w 185"/>
                    <a:gd name="T77" fmla="*/ 133 h 154"/>
                    <a:gd name="T78" fmla="*/ 26 w 185"/>
                    <a:gd name="T79" fmla="*/ 137 h 154"/>
                    <a:gd name="T80" fmla="*/ 19 w 185"/>
                    <a:gd name="T81" fmla="*/ 137 h 154"/>
                    <a:gd name="T82" fmla="*/ 14 w 185"/>
                    <a:gd name="T83" fmla="*/ 135 h 154"/>
                    <a:gd name="T84" fmla="*/ 14 w 185"/>
                    <a:gd name="T85" fmla="*/ 133 h 154"/>
                    <a:gd name="T86" fmla="*/ 12 w 185"/>
                    <a:gd name="T87" fmla="*/ 128 h 154"/>
                    <a:gd name="T88" fmla="*/ 10 w 185"/>
                    <a:gd name="T89" fmla="*/ 126 h 154"/>
                    <a:gd name="T90" fmla="*/ 5 w 185"/>
                    <a:gd name="T91" fmla="*/ 123 h 154"/>
                    <a:gd name="T92" fmla="*/ 3 w 185"/>
                    <a:gd name="T93" fmla="*/ 116 h 154"/>
                    <a:gd name="T94" fmla="*/ 3 w 185"/>
                    <a:gd name="T95" fmla="*/ 109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5" h="154">
                      <a:moveTo>
                        <a:pt x="0" y="109"/>
                      </a:moveTo>
                      <a:lnTo>
                        <a:pt x="3" y="107"/>
                      </a:lnTo>
                      <a:lnTo>
                        <a:pt x="7" y="107"/>
                      </a:lnTo>
                      <a:lnTo>
                        <a:pt x="7" y="102"/>
                      </a:lnTo>
                      <a:lnTo>
                        <a:pt x="7" y="102"/>
                      </a:lnTo>
                      <a:lnTo>
                        <a:pt x="7" y="97"/>
                      </a:lnTo>
                      <a:lnTo>
                        <a:pt x="12" y="97"/>
                      </a:lnTo>
                      <a:lnTo>
                        <a:pt x="14" y="97"/>
                      </a:lnTo>
                      <a:lnTo>
                        <a:pt x="14" y="100"/>
                      </a:lnTo>
                      <a:lnTo>
                        <a:pt x="17" y="102"/>
                      </a:lnTo>
                      <a:lnTo>
                        <a:pt x="17" y="104"/>
                      </a:lnTo>
                      <a:lnTo>
                        <a:pt x="19" y="100"/>
                      </a:lnTo>
                      <a:lnTo>
                        <a:pt x="26" y="97"/>
                      </a:lnTo>
                      <a:lnTo>
                        <a:pt x="29" y="97"/>
                      </a:lnTo>
                      <a:lnTo>
                        <a:pt x="29" y="100"/>
                      </a:lnTo>
                      <a:lnTo>
                        <a:pt x="31" y="102"/>
                      </a:lnTo>
                      <a:lnTo>
                        <a:pt x="31" y="100"/>
                      </a:lnTo>
                      <a:lnTo>
                        <a:pt x="33" y="100"/>
                      </a:lnTo>
                      <a:lnTo>
                        <a:pt x="36" y="102"/>
                      </a:lnTo>
                      <a:lnTo>
                        <a:pt x="36" y="102"/>
                      </a:lnTo>
                      <a:lnTo>
                        <a:pt x="76" y="102"/>
                      </a:lnTo>
                      <a:lnTo>
                        <a:pt x="81" y="92"/>
                      </a:lnTo>
                      <a:lnTo>
                        <a:pt x="76" y="90"/>
                      </a:lnTo>
                      <a:lnTo>
                        <a:pt x="69" y="0"/>
                      </a:lnTo>
                      <a:lnTo>
                        <a:pt x="81" y="0"/>
                      </a:lnTo>
                      <a:lnTo>
                        <a:pt x="156" y="45"/>
                      </a:lnTo>
                      <a:lnTo>
                        <a:pt x="156" y="50"/>
                      </a:lnTo>
                      <a:lnTo>
                        <a:pt x="159" y="50"/>
                      </a:lnTo>
                      <a:lnTo>
                        <a:pt x="163" y="50"/>
                      </a:lnTo>
                      <a:lnTo>
                        <a:pt x="166" y="52"/>
                      </a:lnTo>
                      <a:lnTo>
                        <a:pt x="168" y="54"/>
                      </a:lnTo>
                      <a:lnTo>
                        <a:pt x="171" y="54"/>
                      </a:lnTo>
                      <a:lnTo>
                        <a:pt x="173" y="57"/>
                      </a:lnTo>
                      <a:lnTo>
                        <a:pt x="173" y="57"/>
                      </a:lnTo>
                      <a:lnTo>
                        <a:pt x="173" y="62"/>
                      </a:lnTo>
                      <a:lnTo>
                        <a:pt x="173" y="62"/>
                      </a:lnTo>
                      <a:lnTo>
                        <a:pt x="175" y="64"/>
                      </a:lnTo>
                      <a:lnTo>
                        <a:pt x="180" y="64"/>
                      </a:lnTo>
                      <a:lnTo>
                        <a:pt x="185" y="62"/>
                      </a:lnTo>
                      <a:lnTo>
                        <a:pt x="185" y="62"/>
                      </a:lnTo>
                      <a:lnTo>
                        <a:pt x="185" y="81"/>
                      </a:lnTo>
                      <a:lnTo>
                        <a:pt x="185" y="90"/>
                      </a:lnTo>
                      <a:lnTo>
                        <a:pt x="182" y="92"/>
                      </a:lnTo>
                      <a:lnTo>
                        <a:pt x="182" y="95"/>
                      </a:lnTo>
                      <a:lnTo>
                        <a:pt x="180" y="97"/>
                      </a:lnTo>
                      <a:lnTo>
                        <a:pt x="175" y="100"/>
                      </a:lnTo>
                      <a:lnTo>
                        <a:pt x="173" y="102"/>
                      </a:lnTo>
                      <a:lnTo>
                        <a:pt x="168" y="102"/>
                      </a:lnTo>
                      <a:lnTo>
                        <a:pt x="166" y="104"/>
                      </a:lnTo>
                      <a:lnTo>
                        <a:pt x="163" y="104"/>
                      </a:lnTo>
                      <a:lnTo>
                        <a:pt x="159" y="104"/>
                      </a:lnTo>
                      <a:lnTo>
                        <a:pt x="156" y="107"/>
                      </a:lnTo>
                      <a:lnTo>
                        <a:pt x="152" y="104"/>
                      </a:lnTo>
                      <a:lnTo>
                        <a:pt x="144" y="107"/>
                      </a:lnTo>
                      <a:lnTo>
                        <a:pt x="142" y="104"/>
                      </a:lnTo>
                      <a:lnTo>
                        <a:pt x="142" y="107"/>
                      </a:lnTo>
                      <a:lnTo>
                        <a:pt x="142" y="104"/>
                      </a:lnTo>
                      <a:lnTo>
                        <a:pt x="140" y="104"/>
                      </a:lnTo>
                      <a:lnTo>
                        <a:pt x="135" y="104"/>
                      </a:lnTo>
                      <a:lnTo>
                        <a:pt x="133" y="104"/>
                      </a:lnTo>
                      <a:lnTo>
                        <a:pt x="128" y="104"/>
                      </a:lnTo>
                      <a:lnTo>
                        <a:pt x="123" y="107"/>
                      </a:lnTo>
                      <a:lnTo>
                        <a:pt x="121" y="109"/>
                      </a:lnTo>
                      <a:lnTo>
                        <a:pt x="111" y="114"/>
                      </a:lnTo>
                      <a:lnTo>
                        <a:pt x="107" y="116"/>
                      </a:lnTo>
                      <a:lnTo>
                        <a:pt x="104" y="118"/>
                      </a:lnTo>
                      <a:lnTo>
                        <a:pt x="100" y="121"/>
                      </a:lnTo>
                      <a:lnTo>
                        <a:pt x="97" y="121"/>
                      </a:lnTo>
                      <a:lnTo>
                        <a:pt x="95" y="121"/>
                      </a:lnTo>
                      <a:lnTo>
                        <a:pt x="95" y="121"/>
                      </a:lnTo>
                      <a:lnTo>
                        <a:pt x="92" y="123"/>
                      </a:lnTo>
                      <a:lnTo>
                        <a:pt x="90" y="126"/>
                      </a:lnTo>
                      <a:lnTo>
                        <a:pt x="90" y="128"/>
                      </a:lnTo>
                      <a:lnTo>
                        <a:pt x="88" y="130"/>
                      </a:lnTo>
                      <a:lnTo>
                        <a:pt x="85" y="137"/>
                      </a:lnTo>
                      <a:lnTo>
                        <a:pt x="81" y="137"/>
                      </a:lnTo>
                      <a:lnTo>
                        <a:pt x="81" y="140"/>
                      </a:lnTo>
                      <a:lnTo>
                        <a:pt x="81" y="142"/>
                      </a:lnTo>
                      <a:lnTo>
                        <a:pt x="81" y="145"/>
                      </a:lnTo>
                      <a:lnTo>
                        <a:pt x="78" y="145"/>
                      </a:lnTo>
                      <a:lnTo>
                        <a:pt x="78" y="147"/>
                      </a:lnTo>
                      <a:lnTo>
                        <a:pt x="78" y="149"/>
                      </a:lnTo>
                      <a:lnTo>
                        <a:pt x="78" y="152"/>
                      </a:lnTo>
                      <a:lnTo>
                        <a:pt x="78" y="152"/>
                      </a:lnTo>
                      <a:lnTo>
                        <a:pt x="76" y="154"/>
                      </a:lnTo>
                      <a:lnTo>
                        <a:pt x="71" y="154"/>
                      </a:lnTo>
                      <a:lnTo>
                        <a:pt x="71" y="152"/>
                      </a:lnTo>
                      <a:lnTo>
                        <a:pt x="71" y="152"/>
                      </a:lnTo>
                      <a:lnTo>
                        <a:pt x="69" y="152"/>
                      </a:lnTo>
                      <a:lnTo>
                        <a:pt x="64" y="152"/>
                      </a:lnTo>
                      <a:lnTo>
                        <a:pt x="64" y="154"/>
                      </a:lnTo>
                      <a:lnTo>
                        <a:pt x="64" y="154"/>
                      </a:lnTo>
                      <a:lnTo>
                        <a:pt x="59" y="154"/>
                      </a:lnTo>
                      <a:lnTo>
                        <a:pt x="57" y="152"/>
                      </a:lnTo>
                      <a:lnTo>
                        <a:pt x="55" y="152"/>
                      </a:lnTo>
                      <a:lnTo>
                        <a:pt x="52" y="154"/>
                      </a:lnTo>
                      <a:lnTo>
                        <a:pt x="52" y="154"/>
                      </a:lnTo>
                      <a:lnTo>
                        <a:pt x="50" y="152"/>
                      </a:lnTo>
                      <a:lnTo>
                        <a:pt x="47" y="152"/>
                      </a:lnTo>
                      <a:lnTo>
                        <a:pt x="47" y="152"/>
                      </a:lnTo>
                      <a:lnTo>
                        <a:pt x="47" y="149"/>
                      </a:lnTo>
                      <a:lnTo>
                        <a:pt x="47" y="147"/>
                      </a:lnTo>
                      <a:lnTo>
                        <a:pt x="45" y="147"/>
                      </a:lnTo>
                      <a:lnTo>
                        <a:pt x="45" y="149"/>
                      </a:lnTo>
                      <a:lnTo>
                        <a:pt x="43" y="149"/>
                      </a:lnTo>
                      <a:lnTo>
                        <a:pt x="43" y="147"/>
                      </a:lnTo>
                      <a:lnTo>
                        <a:pt x="45" y="145"/>
                      </a:lnTo>
                      <a:lnTo>
                        <a:pt x="45" y="142"/>
                      </a:lnTo>
                      <a:lnTo>
                        <a:pt x="43" y="142"/>
                      </a:lnTo>
                      <a:lnTo>
                        <a:pt x="40" y="142"/>
                      </a:lnTo>
                      <a:lnTo>
                        <a:pt x="43" y="137"/>
                      </a:lnTo>
                      <a:lnTo>
                        <a:pt x="40" y="135"/>
                      </a:lnTo>
                      <a:lnTo>
                        <a:pt x="38" y="135"/>
                      </a:lnTo>
                      <a:lnTo>
                        <a:pt x="38" y="133"/>
                      </a:lnTo>
                      <a:lnTo>
                        <a:pt x="36" y="133"/>
                      </a:lnTo>
                      <a:lnTo>
                        <a:pt x="36" y="135"/>
                      </a:lnTo>
                      <a:lnTo>
                        <a:pt x="33" y="133"/>
                      </a:lnTo>
                      <a:lnTo>
                        <a:pt x="31" y="133"/>
                      </a:lnTo>
                      <a:lnTo>
                        <a:pt x="29" y="137"/>
                      </a:lnTo>
                      <a:lnTo>
                        <a:pt x="26" y="137"/>
                      </a:lnTo>
                      <a:lnTo>
                        <a:pt x="24" y="137"/>
                      </a:lnTo>
                      <a:lnTo>
                        <a:pt x="21" y="137"/>
                      </a:lnTo>
                      <a:lnTo>
                        <a:pt x="19" y="137"/>
                      </a:lnTo>
                      <a:lnTo>
                        <a:pt x="17" y="135"/>
                      </a:lnTo>
                      <a:lnTo>
                        <a:pt x="14" y="137"/>
                      </a:lnTo>
                      <a:lnTo>
                        <a:pt x="14" y="135"/>
                      </a:lnTo>
                      <a:lnTo>
                        <a:pt x="14" y="135"/>
                      </a:lnTo>
                      <a:lnTo>
                        <a:pt x="14" y="135"/>
                      </a:lnTo>
                      <a:lnTo>
                        <a:pt x="14" y="133"/>
                      </a:lnTo>
                      <a:lnTo>
                        <a:pt x="12" y="133"/>
                      </a:lnTo>
                      <a:lnTo>
                        <a:pt x="12" y="130"/>
                      </a:lnTo>
                      <a:lnTo>
                        <a:pt x="12" y="128"/>
                      </a:lnTo>
                      <a:lnTo>
                        <a:pt x="12" y="128"/>
                      </a:lnTo>
                      <a:lnTo>
                        <a:pt x="10" y="126"/>
                      </a:lnTo>
                      <a:lnTo>
                        <a:pt x="10" y="126"/>
                      </a:lnTo>
                      <a:lnTo>
                        <a:pt x="10" y="123"/>
                      </a:lnTo>
                      <a:lnTo>
                        <a:pt x="7" y="123"/>
                      </a:lnTo>
                      <a:lnTo>
                        <a:pt x="5" y="123"/>
                      </a:lnTo>
                      <a:lnTo>
                        <a:pt x="5" y="121"/>
                      </a:lnTo>
                      <a:lnTo>
                        <a:pt x="3" y="118"/>
                      </a:lnTo>
                      <a:lnTo>
                        <a:pt x="3" y="116"/>
                      </a:lnTo>
                      <a:lnTo>
                        <a:pt x="3" y="111"/>
                      </a:lnTo>
                      <a:lnTo>
                        <a:pt x="3" y="111"/>
                      </a:lnTo>
                      <a:lnTo>
                        <a:pt x="3" y="109"/>
                      </a:lnTo>
                      <a:lnTo>
                        <a:pt x="0" y="109"/>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Freeform 122">
                  <a:extLst>
                    <a:ext uri="{FF2B5EF4-FFF2-40B4-BE49-F238E27FC236}">
                      <a16:creationId xmlns:a16="http://schemas.microsoft.com/office/drawing/2014/main" id="{953A184D-81EA-1806-8D2C-F65ABD4902DF}"/>
                    </a:ext>
                  </a:extLst>
                </p:cNvPr>
                <p:cNvSpPr>
                  <a:spLocks/>
                </p:cNvSpPr>
                <p:nvPr/>
              </p:nvSpPr>
              <p:spPr bwMode="auto">
                <a:xfrm>
                  <a:off x="2597" y="2443"/>
                  <a:ext cx="85" cy="57"/>
                </a:xfrm>
                <a:custGeom>
                  <a:avLst/>
                  <a:gdLst>
                    <a:gd name="T0" fmla="*/ 0 w 85"/>
                    <a:gd name="T1" fmla="*/ 45 h 57"/>
                    <a:gd name="T2" fmla="*/ 0 w 85"/>
                    <a:gd name="T3" fmla="*/ 41 h 57"/>
                    <a:gd name="T4" fmla="*/ 3 w 85"/>
                    <a:gd name="T5" fmla="*/ 38 h 57"/>
                    <a:gd name="T6" fmla="*/ 3 w 85"/>
                    <a:gd name="T7" fmla="*/ 33 h 57"/>
                    <a:gd name="T8" fmla="*/ 10 w 85"/>
                    <a:gd name="T9" fmla="*/ 26 h 57"/>
                    <a:gd name="T10" fmla="*/ 12 w 85"/>
                    <a:gd name="T11" fmla="*/ 22 h 57"/>
                    <a:gd name="T12" fmla="*/ 17 w 85"/>
                    <a:gd name="T13" fmla="*/ 17 h 57"/>
                    <a:gd name="T14" fmla="*/ 19 w 85"/>
                    <a:gd name="T15" fmla="*/ 17 h 57"/>
                    <a:gd name="T16" fmla="*/ 26 w 85"/>
                    <a:gd name="T17" fmla="*/ 14 h 57"/>
                    <a:gd name="T18" fmla="*/ 33 w 85"/>
                    <a:gd name="T19" fmla="*/ 10 h 57"/>
                    <a:gd name="T20" fmla="*/ 45 w 85"/>
                    <a:gd name="T21" fmla="*/ 3 h 57"/>
                    <a:gd name="T22" fmla="*/ 55 w 85"/>
                    <a:gd name="T23" fmla="*/ 0 h 57"/>
                    <a:gd name="T24" fmla="*/ 62 w 85"/>
                    <a:gd name="T25" fmla="*/ 0 h 57"/>
                    <a:gd name="T26" fmla="*/ 64 w 85"/>
                    <a:gd name="T27" fmla="*/ 3 h 57"/>
                    <a:gd name="T28" fmla="*/ 64 w 85"/>
                    <a:gd name="T29" fmla="*/ 5 h 57"/>
                    <a:gd name="T30" fmla="*/ 62 w 85"/>
                    <a:gd name="T31" fmla="*/ 10 h 57"/>
                    <a:gd name="T32" fmla="*/ 74 w 85"/>
                    <a:gd name="T33" fmla="*/ 22 h 57"/>
                    <a:gd name="T34" fmla="*/ 81 w 85"/>
                    <a:gd name="T35" fmla="*/ 22 h 57"/>
                    <a:gd name="T36" fmla="*/ 83 w 85"/>
                    <a:gd name="T37" fmla="*/ 24 h 57"/>
                    <a:gd name="T38" fmla="*/ 83 w 85"/>
                    <a:gd name="T39" fmla="*/ 26 h 57"/>
                    <a:gd name="T40" fmla="*/ 85 w 85"/>
                    <a:gd name="T41" fmla="*/ 31 h 57"/>
                    <a:gd name="T42" fmla="*/ 85 w 85"/>
                    <a:gd name="T43" fmla="*/ 33 h 57"/>
                    <a:gd name="T44" fmla="*/ 81 w 85"/>
                    <a:gd name="T45" fmla="*/ 36 h 57"/>
                    <a:gd name="T46" fmla="*/ 76 w 85"/>
                    <a:gd name="T47" fmla="*/ 36 h 57"/>
                    <a:gd name="T48" fmla="*/ 74 w 85"/>
                    <a:gd name="T49" fmla="*/ 38 h 57"/>
                    <a:gd name="T50" fmla="*/ 74 w 85"/>
                    <a:gd name="T51" fmla="*/ 43 h 57"/>
                    <a:gd name="T52" fmla="*/ 69 w 85"/>
                    <a:gd name="T53" fmla="*/ 43 h 57"/>
                    <a:gd name="T54" fmla="*/ 57 w 85"/>
                    <a:gd name="T55" fmla="*/ 41 h 57"/>
                    <a:gd name="T56" fmla="*/ 57 w 85"/>
                    <a:gd name="T57" fmla="*/ 41 h 57"/>
                    <a:gd name="T58" fmla="*/ 52 w 85"/>
                    <a:gd name="T59" fmla="*/ 43 h 57"/>
                    <a:gd name="T60" fmla="*/ 40 w 85"/>
                    <a:gd name="T61" fmla="*/ 43 h 57"/>
                    <a:gd name="T62" fmla="*/ 31 w 85"/>
                    <a:gd name="T63" fmla="*/ 43 h 57"/>
                    <a:gd name="T64" fmla="*/ 29 w 85"/>
                    <a:gd name="T65" fmla="*/ 45 h 57"/>
                    <a:gd name="T66" fmla="*/ 29 w 85"/>
                    <a:gd name="T67" fmla="*/ 50 h 57"/>
                    <a:gd name="T68" fmla="*/ 31 w 85"/>
                    <a:gd name="T69" fmla="*/ 57 h 57"/>
                    <a:gd name="T70" fmla="*/ 26 w 85"/>
                    <a:gd name="T71" fmla="*/ 55 h 57"/>
                    <a:gd name="T72" fmla="*/ 24 w 85"/>
                    <a:gd name="T73" fmla="*/ 55 h 57"/>
                    <a:gd name="T74" fmla="*/ 17 w 85"/>
                    <a:gd name="T75" fmla="*/ 55 h 57"/>
                    <a:gd name="T76" fmla="*/ 12 w 85"/>
                    <a:gd name="T77" fmla="*/ 52 h 57"/>
                    <a:gd name="T78" fmla="*/ 10 w 85"/>
                    <a:gd name="T79" fmla="*/ 52 h 57"/>
                    <a:gd name="T80" fmla="*/ 5 w 85"/>
                    <a:gd name="T81" fmla="*/ 50 h 57"/>
                    <a:gd name="T82" fmla="*/ 0 w 85"/>
                    <a:gd name="T83" fmla="*/ 4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5" h="57">
                      <a:moveTo>
                        <a:pt x="0" y="48"/>
                      </a:moveTo>
                      <a:lnTo>
                        <a:pt x="0" y="45"/>
                      </a:lnTo>
                      <a:lnTo>
                        <a:pt x="0" y="43"/>
                      </a:lnTo>
                      <a:lnTo>
                        <a:pt x="0" y="41"/>
                      </a:lnTo>
                      <a:lnTo>
                        <a:pt x="3" y="41"/>
                      </a:lnTo>
                      <a:lnTo>
                        <a:pt x="3" y="38"/>
                      </a:lnTo>
                      <a:lnTo>
                        <a:pt x="3" y="36"/>
                      </a:lnTo>
                      <a:lnTo>
                        <a:pt x="3" y="33"/>
                      </a:lnTo>
                      <a:lnTo>
                        <a:pt x="7" y="33"/>
                      </a:lnTo>
                      <a:lnTo>
                        <a:pt x="10" y="26"/>
                      </a:lnTo>
                      <a:lnTo>
                        <a:pt x="12" y="24"/>
                      </a:lnTo>
                      <a:lnTo>
                        <a:pt x="12" y="22"/>
                      </a:lnTo>
                      <a:lnTo>
                        <a:pt x="14" y="19"/>
                      </a:lnTo>
                      <a:lnTo>
                        <a:pt x="17" y="17"/>
                      </a:lnTo>
                      <a:lnTo>
                        <a:pt x="17" y="17"/>
                      </a:lnTo>
                      <a:lnTo>
                        <a:pt x="19" y="17"/>
                      </a:lnTo>
                      <a:lnTo>
                        <a:pt x="22" y="17"/>
                      </a:lnTo>
                      <a:lnTo>
                        <a:pt x="26" y="14"/>
                      </a:lnTo>
                      <a:lnTo>
                        <a:pt x="29" y="12"/>
                      </a:lnTo>
                      <a:lnTo>
                        <a:pt x="33" y="10"/>
                      </a:lnTo>
                      <a:lnTo>
                        <a:pt x="43" y="5"/>
                      </a:lnTo>
                      <a:lnTo>
                        <a:pt x="45" y="3"/>
                      </a:lnTo>
                      <a:lnTo>
                        <a:pt x="50" y="0"/>
                      </a:lnTo>
                      <a:lnTo>
                        <a:pt x="55" y="0"/>
                      </a:lnTo>
                      <a:lnTo>
                        <a:pt x="57" y="0"/>
                      </a:lnTo>
                      <a:lnTo>
                        <a:pt x="62" y="0"/>
                      </a:lnTo>
                      <a:lnTo>
                        <a:pt x="64" y="0"/>
                      </a:lnTo>
                      <a:lnTo>
                        <a:pt x="64" y="3"/>
                      </a:lnTo>
                      <a:lnTo>
                        <a:pt x="64" y="3"/>
                      </a:lnTo>
                      <a:lnTo>
                        <a:pt x="64" y="5"/>
                      </a:lnTo>
                      <a:lnTo>
                        <a:pt x="62" y="7"/>
                      </a:lnTo>
                      <a:lnTo>
                        <a:pt x="62" y="10"/>
                      </a:lnTo>
                      <a:lnTo>
                        <a:pt x="71" y="17"/>
                      </a:lnTo>
                      <a:lnTo>
                        <a:pt x="74" y="22"/>
                      </a:lnTo>
                      <a:lnTo>
                        <a:pt x="76" y="24"/>
                      </a:lnTo>
                      <a:lnTo>
                        <a:pt x="81" y="22"/>
                      </a:lnTo>
                      <a:lnTo>
                        <a:pt x="83" y="22"/>
                      </a:lnTo>
                      <a:lnTo>
                        <a:pt x="83" y="24"/>
                      </a:lnTo>
                      <a:lnTo>
                        <a:pt x="83" y="24"/>
                      </a:lnTo>
                      <a:lnTo>
                        <a:pt x="83" y="26"/>
                      </a:lnTo>
                      <a:lnTo>
                        <a:pt x="83" y="29"/>
                      </a:lnTo>
                      <a:lnTo>
                        <a:pt x="85" y="31"/>
                      </a:lnTo>
                      <a:lnTo>
                        <a:pt x="85" y="31"/>
                      </a:lnTo>
                      <a:lnTo>
                        <a:pt x="85" y="33"/>
                      </a:lnTo>
                      <a:lnTo>
                        <a:pt x="83" y="36"/>
                      </a:lnTo>
                      <a:lnTo>
                        <a:pt x="81" y="36"/>
                      </a:lnTo>
                      <a:lnTo>
                        <a:pt x="78" y="36"/>
                      </a:lnTo>
                      <a:lnTo>
                        <a:pt x="76" y="36"/>
                      </a:lnTo>
                      <a:lnTo>
                        <a:pt x="74" y="38"/>
                      </a:lnTo>
                      <a:lnTo>
                        <a:pt x="74" y="38"/>
                      </a:lnTo>
                      <a:lnTo>
                        <a:pt x="74" y="41"/>
                      </a:lnTo>
                      <a:lnTo>
                        <a:pt x="74" y="43"/>
                      </a:lnTo>
                      <a:lnTo>
                        <a:pt x="71" y="43"/>
                      </a:lnTo>
                      <a:lnTo>
                        <a:pt x="69" y="43"/>
                      </a:lnTo>
                      <a:lnTo>
                        <a:pt x="57" y="41"/>
                      </a:lnTo>
                      <a:lnTo>
                        <a:pt x="57" y="41"/>
                      </a:lnTo>
                      <a:lnTo>
                        <a:pt x="57" y="41"/>
                      </a:lnTo>
                      <a:lnTo>
                        <a:pt x="57" y="41"/>
                      </a:lnTo>
                      <a:lnTo>
                        <a:pt x="55" y="43"/>
                      </a:lnTo>
                      <a:lnTo>
                        <a:pt x="52" y="43"/>
                      </a:lnTo>
                      <a:lnTo>
                        <a:pt x="48" y="43"/>
                      </a:lnTo>
                      <a:lnTo>
                        <a:pt x="40" y="43"/>
                      </a:lnTo>
                      <a:lnTo>
                        <a:pt x="40" y="43"/>
                      </a:lnTo>
                      <a:lnTo>
                        <a:pt x="31" y="43"/>
                      </a:lnTo>
                      <a:lnTo>
                        <a:pt x="29" y="43"/>
                      </a:lnTo>
                      <a:lnTo>
                        <a:pt x="29" y="45"/>
                      </a:lnTo>
                      <a:lnTo>
                        <a:pt x="29" y="50"/>
                      </a:lnTo>
                      <a:lnTo>
                        <a:pt x="29" y="50"/>
                      </a:lnTo>
                      <a:lnTo>
                        <a:pt x="31" y="52"/>
                      </a:lnTo>
                      <a:lnTo>
                        <a:pt x="31" y="57"/>
                      </a:lnTo>
                      <a:lnTo>
                        <a:pt x="29" y="55"/>
                      </a:lnTo>
                      <a:lnTo>
                        <a:pt x="26" y="55"/>
                      </a:lnTo>
                      <a:lnTo>
                        <a:pt x="26" y="55"/>
                      </a:lnTo>
                      <a:lnTo>
                        <a:pt x="24" y="55"/>
                      </a:lnTo>
                      <a:lnTo>
                        <a:pt x="22" y="57"/>
                      </a:lnTo>
                      <a:lnTo>
                        <a:pt x="17" y="55"/>
                      </a:lnTo>
                      <a:lnTo>
                        <a:pt x="17" y="52"/>
                      </a:lnTo>
                      <a:lnTo>
                        <a:pt x="12" y="52"/>
                      </a:lnTo>
                      <a:lnTo>
                        <a:pt x="12" y="52"/>
                      </a:lnTo>
                      <a:lnTo>
                        <a:pt x="10" y="52"/>
                      </a:lnTo>
                      <a:lnTo>
                        <a:pt x="10" y="52"/>
                      </a:lnTo>
                      <a:lnTo>
                        <a:pt x="5" y="50"/>
                      </a:lnTo>
                      <a:lnTo>
                        <a:pt x="0" y="48"/>
                      </a:lnTo>
                      <a:lnTo>
                        <a:pt x="0" y="48"/>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Freeform 123">
                  <a:extLst>
                    <a:ext uri="{FF2B5EF4-FFF2-40B4-BE49-F238E27FC236}">
                      <a16:creationId xmlns:a16="http://schemas.microsoft.com/office/drawing/2014/main" id="{B5F49A81-E2A3-8051-65D4-485E385ACBF5}"/>
                    </a:ext>
                  </a:extLst>
                </p:cNvPr>
                <p:cNvSpPr>
                  <a:spLocks/>
                </p:cNvSpPr>
                <p:nvPr/>
              </p:nvSpPr>
              <p:spPr bwMode="auto">
                <a:xfrm>
                  <a:off x="2460" y="2427"/>
                  <a:ext cx="73" cy="47"/>
                </a:xfrm>
                <a:custGeom>
                  <a:avLst/>
                  <a:gdLst>
                    <a:gd name="T0" fmla="*/ 12 w 73"/>
                    <a:gd name="T1" fmla="*/ 4 h 47"/>
                    <a:gd name="T2" fmla="*/ 17 w 73"/>
                    <a:gd name="T3" fmla="*/ 2 h 47"/>
                    <a:gd name="T4" fmla="*/ 28 w 73"/>
                    <a:gd name="T5" fmla="*/ 0 h 47"/>
                    <a:gd name="T6" fmla="*/ 36 w 73"/>
                    <a:gd name="T7" fmla="*/ 2 h 47"/>
                    <a:gd name="T8" fmla="*/ 40 w 73"/>
                    <a:gd name="T9" fmla="*/ 4 h 47"/>
                    <a:gd name="T10" fmla="*/ 43 w 73"/>
                    <a:gd name="T11" fmla="*/ 7 h 47"/>
                    <a:gd name="T12" fmla="*/ 45 w 73"/>
                    <a:gd name="T13" fmla="*/ 7 h 47"/>
                    <a:gd name="T14" fmla="*/ 47 w 73"/>
                    <a:gd name="T15" fmla="*/ 7 h 47"/>
                    <a:gd name="T16" fmla="*/ 50 w 73"/>
                    <a:gd name="T17" fmla="*/ 12 h 47"/>
                    <a:gd name="T18" fmla="*/ 54 w 73"/>
                    <a:gd name="T19" fmla="*/ 14 h 47"/>
                    <a:gd name="T20" fmla="*/ 57 w 73"/>
                    <a:gd name="T21" fmla="*/ 16 h 47"/>
                    <a:gd name="T22" fmla="*/ 59 w 73"/>
                    <a:gd name="T23" fmla="*/ 21 h 47"/>
                    <a:gd name="T24" fmla="*/ 62 w 73"/>
                    <a:gd name="T25" fmla="*/ 23 h 47"/>
                    <a:gd name="T26" fmla="*/ 62 w 73"/>
                    <a:gd name="T27" fmla="*/ 28 h 47"/>
                    <a:gd name="T28" fmla="*/ 64 w 73"/>
                    <a:gd name="T29" fmla="*/ 33 h 47"/>
                    <a:gd name="T30" fmla="*/ 66 w 73"/>
                    <a:gd name="T31" fmla="*/ 35 h 47"/>
                    <a:gd name="T32" fmla="*/ 69 w 73"/>
                    <a:gd name="T33" fmla="*/ 38 h 47"/>
                    <a:gd name="T34" fmla="*/ 71 w 73"/>
                    <a:gd name="T35" fmla="*/ 40 h 47"/>
                    <a:gd name="T36" fmla="*/ 71 w 73"/>
                    <a:gd name="T37" fmla="*/ 42 h 47"/>
                    <a:gd name="T38" fmla="*/ 73 w 73"/>
                    <a:gd name="T39" fmla="*/ 45 h 47"/>
                    <a:gd name="T40" fmla="*/ 73 w 73"/>
                    <a:gd name="T41" fmla="*/ 47 h 47"/>
                    <a:gd name="T42" fmla="*/ 71 w 73"/>
                    <a:gd name="T43" fmla="*/ 47 h 47"/>
                    <a:gd name="T44" fmla="*/ 66 w 73"/>
                    <a:gd name="T45" fmla="*/ 45 h 47"/>
                    <a:gd name="T46" fmla="*/ 62 w 73"/>
                    <a:gd name="T47" fmla="*/ 45 h 47"/>
                    <a:gd name="T48" fmla="*/ 57 w 73"/>
                    <a:gd name="T49" fmla="*/ 45 h 47"/>
                    <a:gd name="T50" fmla="*/ 45 w 73"/>
                    <a:gd name="T51" fmla="*/ 42 h 47"/>
                    <a:gd name="T52" fmla="*/ 43 w 73"/>
                    <a:gd name="T53" fmla="*/ 42 h 47"/>
                    <a:gd name="T54" fmla="*/ 28 w 73"/>
                    <a:gd name="T55" fmla="*/ 40 h 47"/>
                    <a:gd name="T56" fmla="*/ 24 w 73"/>
                    <a:gd name="T57" fmla="*/ 45 h 47"/>
                    <a:gd name="T58" fmla="*/ 12 w 73"/>
                    <a:gd name="T59" fmla="*/ 47 h 47"/>
                    <a:gd name="T60" fmla="*/ 9 w 73"/>
                    <a:gd name="T61" fmla="*/ 42 h 47"/>
                    <a:gd name="T62" fmla="*/ 9 w 73"/>
                    <a:gd name="T63" fmla="*/ 42 h 47"/>
                    <a:gd name="T64" fmla="*/ 14 w 73"/>
                    <a:gd name="T65" fmla="*/ 42 h 47"/>
                    <a:gd name="T66" fmla="*/ 7 w 73"/>
                    <a:gd name="T67" fmla="*/ 42 h 47"/>
                    <a:gd name="T68" fmla="*/ 7 w 73"/>
                    <a:gd name="T69" fmla="*/ 40 h 47"/>
                    <a:gd name="T70" fmla="*/ 9 w 73"/>
                    <a:gd name="T71" fmla="*/ 38 h 47"/>
                    <a:gd name="T72" fmla="*/ 17 w 73"/>
                    <a:gd name="T73" fmla="*/ 35 h 47"/>
                    <a:gd name="T74" fmla="*/ 21 w 73"/>
                    <a:gd name="T75" fmla="*/ 33 h 47"/>
                    <a:gd name="T76" fmla="*/ 24 w 73"/>
                    <a:gd name="T77" fmla="*/ 33 h 47"/>
                    <a:gd name="T78" fmla="*/ 26 w 73"/>
                    <a:gd name="T79" fmla="*/ 33 h 47"/>
                    <a:gd name="T80" fmla="*/ 33 w 73"/>
                    <a:gd name="T81" fmla="*/ 33 h 47"/>
                    <a:gd name="T82" fmla="*/ 38 w 73"/>
                    <a:gd name="T83" fmla="*/ 35 h 47"/>
                    <a:gd name="T84" fmla="*/ 43 w 73"/>
                    <a:gd name="T85" fmla="*/ 35 h 47"/>
                    <a:gd name="T86" fmla="*/ 40 w 73"/>
                    <a:gd name="T87" fmla="*/ 33 h 47"/>
                    <a:gd name="T88" fmla="*/ 33 w 73"/>
                    <a:gd name="T89" fmla="*/ 30 h 47"/>
                    <a:gd name="T90" fmla="*/ 26 w 73"/>
                    <a:gd name="T91" fmla="*/ 28 h 47"/>
                    <a:gd name="T92" fmla="*/ 21 w 73"/>
                    <a:gd name="T93" fmla="*/ 30 h 47"/>
                    <a:gd name="T94" fmla="*/ 17 w 73"/>
                    <a:gd name="T95" fmla="*/ 33 h 47"/>
                    <a:gd name="T96" fmla="*/ 9 w 73"/>
                    <a:gd name="T97" fmla="*/ 33 h 47"/>
                    <a:gd name="T98" fmla="*/ 9 w 73"/>
                    <a:gd name="T99" fmla="*/ 30 h 47"/>
                    <a:gd name="T100" fmla="*/ 9 w 73"/>
                    <a:gd name="T101" fmla="*/ 28 h 47"/>
                    <a:gd name="T102" fmla="*/ 7 w 73"/>
                    <a:gd name="T103" fmla="*/ 26 h 47"/>
                    <a:gd name="T104" fmla="*/ 0 w 73"/>
                    <a:gd name="T105" fmla="*/ 21 h 47"/>
                    <a:gd name="T106" fmla="*/ 9 w 73"/>
                    <a:gd name="T107" fmla="*/ 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3" h="47">
                      <a:moveTo>
                        <a:pt x="9" y="7"/>
                      </a:moveTo>
                      <a:lnTo>
                        <a:pt x="12" y="4"/>
                      </a:lnTo>
                      <a:lnTo>
                        <a:pt x="14" y="4"/>
                      </a:lnTo>
                      <a:lnTo>
                        <a:pt x="17" y="2"/>
                      </a:lnTo>
                      <a:lnTo>
                        <a:pt x="24" y="2"/>
                      </a:lnTo>
                      <a:lnTo>
                        <a:pt x="28" y="0"/>
                      </a:lnTo>
                      <a:lnTo>
                        <a:pt x="31" y="0"/>
                      </a:lnTo>
                      <a:lnTo>
                        <a:pt x="36" y="2"/>
                      </a:lnTo>
                      <a:lnTo>
                        <a:pt x="38" y="2"/>
                      </a:lnTo>
                      <a:lnTo>
                        <a:pt x="40" y="4"/>
                      </a:lnTo>
                      <a:lnTo>
                        <a:pt x="40" y="7"/>
                      </a:lnTo>
                      <a:lnTo>
                        <a:pt x="43" y="7"/>
                      </a:lnTo>
                      <a:lnTo>
                        <a:pt x="45" y="7"/>
                      </a:lnTo>
                      <a:lnTo>
                        <a:pt x="45" y="7"/>
                      </a:lnTo>
                      <a:lnTo>
                        <a:pt x="47" y="7"/>
                      </a:lnTo>
                      <a:lnTo>
                        <a:pt x="47" y="7"/>
                      </a:lnTo>
                      <a:lnTo>
                        <a:pt x="47" y="9"/>
                      </a:lnTo>
                      <a:lnTo>
                        <a:pt x="50" y="12"/>
                      </a:lnTo>
                      <a:lnTo>
                        <a:pt x="50" y="14"/>
                      </a:lnTo>
                      <a:lnTo>
                        <a:pt x="54" y="14"/>
                      </a:lnTo>
                      <a:lnTo>
                        <a:pt x="54" y="16"/>
                      </a:lnTo>
                      <a:lnTo>
                        <a:pt x="57" y="16"/>
                      </a:lnTo>
                      <a:lnTo>
                        <a:pt x="59" y="19"/>
                      </a:lnTo>
                      <a:lnTo>
                        <a:pt x="59" y="21"/>
                      </a:lnTo>
                      <a:lnTo>
                        <a:pt x="62" y="21"/>
                      </a:lnTo>
                      <a:lnTo>
                        <a:pt x="62" y="23"/>
                      </a:lnTo>
                      <a:lnTo>
                        <a:pt x="62" y="23"/>
                      </a:lnTo>
                      <a:lnTo>
                        <a:pt x="62" y="28"/>
                      </a:lnTo>
                      <a:lnTo>
                        <a:pt x="62" y="30"/>
                      </a:lnTo>
                      <a:lnTo>
                        <a:pt x="64" y="33"/>
                      </a:lnTo>
                      <a:lnTo>
                        <a:pt x="64" y="35"/>
                      </a:lnTo>
                      <a:lnTo>
                        <a:pt x="66" y="35"/>
                      </a:lnTo>
                      <a:lnTo>
                        <a:pt x="69" y="35"/>
                      </a:lnTo>
                      <a:lnTo>
                        <a:pt x="69" y="38"/>
                      </a:lnTo>
                      <a:lnTo>
                        <a:pt x="69" y="38"/>
                      </a:lnTo>
                      <a:lnTo>
                        <a:pt x="71" y="40"/>
                      </a:lnTo>
                      <a:lnTo>
                        <a:pt x="71" y="40"/>
                      </a:lnTo>
                      <a:lnTo>
                        <a:pt x="71" y="42"/>
                      </a:lnTo>
                      <a:lnTo>
                        <a:pt x="71" y="45"/>
                      </a:lnTo>
                      <a:lnTo>
                        <a:pt x="73" y="45"/>
                      </a:lnTo>
                      <a:lnTo>
                        <a:pt x="73" y="47"/>
                      </a:lnTo>
                      <a:lnTo>
                        <a:pt x="73" y="47"/>
                      </a:lnTo>
                      <a:lnTo>
                        <a:pt x="73" y="47"/>
                      </a:lnTo>
                      <a:lnTo>
                        <a:pt x="71" y="47"/>
                      </a:lnTo>
                      <a:lnTo>
                        <a:pt x="69" y="45"/>
                      </a:lnTo>
                      <a:lnTo>
                        <a:pt x="66" y="45"/>
                      </a:lnTo>
                      <a:lnTo>
                        <a:pt x="64" y="47"/>
                      </a:lnTo>
                      <a:lnTo>
                        <a:pt x="62" y="45"/>
                      </a:lnTo>
                      <a:lnTo>
                        <a:pt x="57" y="45"/>
                      </a:lnTo>
                      <a:lnTo>
                        <a:pt x="57" y="45"/>
                      </a:lnTo>
                      <a:lnTo>
                        <a:pt x="52" y="42"/>
                      </a:lnTo>
                      <a:lnTo>
                        <a:pt x="45" y="42"/>
                      </a:lnTo>
                      <a:lnTo>
                        <a:pt x="43" y="42"/>
                      </a:lnTo>
                      <a:lnTo>
                        <a:pt x="43" y="42"/>
                      </a:lnTo>
                      <a:lnTo>
                        <a:pt x="38" y="42"/>
                      </a:lnTo>
                      <a:lnTo>
                        <a:pt x="28" y="40"/>
                      </a:lnTo>
                      <a:lnTo>
                        <a:pt x="24" y="42"/>
                      </a:lnTo>
                      <a:lnTo>
                        <a:pt x="24" y="45"/>
                      </a:lnTo>
                      <a:lnTo>
                        <a:pt x="14" y="45"/>
                      </a:lnTo>
                      <a:lnTo>
                        <a:pt x="12" y="47"/>
                      </a:lnTo>
                      <a:lnTo>
                        <a:pt x="9" y="45"/>
                      </a:lnTo>
                      <a:lnTo>
                        <a:pt x="9" y="42"/>
                      </a:lnTo>
                      <a:lnTo>
                        <a:pt x="7" y="42"/>
                      </a:lnTo>
                      <a:lnTo>
                        <a:pt x="9" y="42"/>
                      </a:lnTo>
                      <a:lnTo>
                        <a:pt x="12" y="42"/>
                      </a:lnTo>
                      <a:lnTo>
                        <a:pt x="14" y="42"/>
                      </a:lnTo>
                      <a:lnTo>
                        <a:pt x="9" y="40"/>
                      </a:lnTo>
                      <a:lnTo>
                        <a:pt x="7" y="42"/>
                      </a:lnTo>
                      <a:lnTo>
                        <a:pt x="7" y="42"/>
                      </a:lnTo>
                      <a:lnTo>
                        <a:pt x="7" y="40"/>
                      </a:lnTo>
                      <a:lnTo>
                        <a:pt x="7" y="38"/>
                      </a:lnTo>
                      <a:lnTo>
                        <a:pt x="9" y="38"/>
                      </a:lnTo>
                      <a:lnTo>
                        <a:pt x="17" y="38"/>
                      </a:lnTo>
                      <a:lnTo>
                        <a:pt x="17" y="35"/>
                      </a:lnTo>
                      <a:lnTo>
                        <a:pt x="19" y="35"/>
                      </a:lnTo>
                      <a:lnTo>
                        <a:pt x="21" y="33"/>
                      </a:lnTo>
                      <a:lnTo>
                        <a:pt x="24" y="33"/>
                      </a:lnTo>
                      <a:lnTo>
                        <a:pt x="24" y="33"/>
                      </a:lnTo>
                      <a:lnTo>
                        <a:pt x="26" y="33"/>
                      </a:lnTo>
                      <a:lnTo>
                        <a:pt x="26" y="33"/>
                      </a:lnTo>
                      <a:lnTo>
                        <a:pt x="31" y="33"/>
                      </a:lnTo>
                      <a:lnTo>
                        <a:pt x="33" y="33"/>
                      </a:lnTo>
                      <a:lnTo>
                        <a:pt x="36" y="35"/>
                      </a:lnTo>
                      <a:lnTo>
                        <a:pt x="38" y="35"/>
                      </a:lnTo>
                      <a:lnTo>
                        <a:pt x="40" y="35"/>
                      </a:lnTo>
                      <a:lnTo>
                        <a:pt x="43" y="35"/>
                      </a:lnTo>
                      <a:lnTo>
                        <a:pt x="40" y="33"/>
                      </a:lnTo>
                      <a:lnTo>
                        <a:pt x="40" y="33"/>
                      </a:lnTo>
                      <a:lnTo>
                        <a:pt x="36" y="30"/>
                      </a:lnTo>
                      <a:lnTo>
                        <a:pt x="33" y="30"/>
                      </a:lnTo>
                      <a:lnTo>
                        <a:pt x="31" y="28"/>
                      </a:lnTo>
                      <a:lnTo>
                        <a:pt x="26" y="28"/>
                      </a:lnTo>
                      <a:lnTo>
                        <a:pt x="24" y="28"/>
                      </a:lnTo>
                      <a:lnTo>
                        <a:pt x="21" y="30"/>
                      </a:lnTo>
                      <a:lnTo>
                        <a:pt x="17" y="33"/>
                      </a:lnTo>
                      <a:lnTo>
                        <a:pt x="17" y="33"/>
                      </a:lnTo>
                      <a:lnTo>
                        <a:pt x="14" y="33"/>
                      </a:lnTo>
                      <a:lnTo>
                        <a:pt x="9" y="33"/>
                      </a:lnTo>
                      <a:lnTo>
                        <a:pt x="9" y="33"/>
                      </a:lnTo>
                      <a:lnTo>
                        <a:pt x="9" y="30"/>
                      </a:lnTo>
                      <a:lnTo>
                        <a:pt x="7" y="28"/>
                      </a:lnTo>
                      <a:lnTo>
                        <a:pt x="9" y="28"/>
                      </a:lnTo>
                      <a:lnTo>
                        <a:pt x="9" y="28"/>
                      </a:lnTo>
                      <a:lnTo>
                        <a:pt x="7" y="26"/>
                      </a:lnTo>
                      <a:lnTo>
                        <a:pt x="5" y="23"/>
                      </a:lnTo>
                      <a:lnTo>
                        <a:pt x="0" y="21"/>
                      </a:lnTo>
                      <a:lnTo>
                        <a:pt x="7" y="14"/>
                      </a:lnTo>
                      <a:lnTo>
                        <a:pt x="9" y="9"/>
                      </a:lnTo>
                      <a:lnTo>
                        <a:pt x="9" y="7"/>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Freeform 124">
                  <a:extLst>
                    <a:ext uri="{FF2B5EF4-FFF2-40B4-BE49-F238E27FC236}">
                      <a16:creationId xmlns:a16="http://schemas.microsoft.com/office/drawing/2014/main" id="{6F44E383-EA5A-9635-44FF-1BFD668D7809}"/>
                    </a:ext>
                  </a:extLst>
                </p:cNvPr>
                <p:cNvSpPr>
                  <a:spLocks/>
                </p:cNvSpPr>
                <p:nvPr/>
              </p:nvSpPr>
              <p:spPr bwMode="auto">
                <a:xfrm>
                  <a:off x="2467" y="2455"/>
                  <a:ext cx="36" cy="10"/>
                </a:xfrm>
                <a:custGeom>
                  <a:avLst/>
                  <a:gdLst>
                    <a:gd name="T0" fmla="*/ 0 w 36"/>
                    <a:gd name="T1" fmla="*/ 10 h 10"/>
                    <a:gd name="T2" fmla="*/ 2 w 36"/>
                    <a:gd name="T3" fmla="*/ 10 h 10"/>
                    <a:gd name="T4" fmla="*/ 10 w 36"/>
                    <a:gd name="T5" fmla="*/ 10 h 10"/>
                    <a:gd name="T6" fmla="*/ 10 w 36"/>
                    <a:gd name="T7" fmla="*/ 7 h 10"/>
                    <a:gd name="T8" fmla="*/ 12 w 36"/>
                    <a:gd name="T9" fmla="*/ 7 h 10"/>
                    <a:gd name="T10" fmla="*/ 14 w 36"/>
                    <a:gd name="T11" fmla="*/ 5 h 10"/>
                    <a:gd name="T12" fmla="*/ 17 w 36"/>
                    <a:gd name="T13" fmla="*/ 5 h 10"/>
                    <a:gd name="T14" fmla="*/ 17 w 36"/>
                    <a:gd name="T15" fmla="*/ 5 h 10"/>
                    <a:gd name="T16" fmla="*/ 19 w 36"/>
                    <a:gd name="T17" fmla="*/ 5 h 10"/>
                    <a:gd name="T18" fmla="*/ 19 w 36"/>
                    <a:gd name="T19" fmla="*/ 5 h 10"/>
                    <a:gd name="T20" fmla="*/ 24 w 36"/>
                    <a:gd name="T21" fmla="*/ 5 h 10"/>
                    <a:gd name="T22" fmla="*/ 26 w 36"/>
                    <a:gd name="T23" fmla="*/ 5 h 10"/>
                    <a:gd name="T24" fmla="*/ 29 w 36"/>
                    <a:gd name="T25" fmla="*/ 7 h 10"/>
                    <a:gd name="T26" fmla="*/ 31 w 36"/>
                    <a:gd name="T27" fmla="*/ 7 h 10"/>
                    <a:gd name="T28" fmla="*/ 33 w 36"/>
                    <a:gd name="T29" fmla="*/ 7 h 10"/>
                    <a:gd name="T30" fmla="*/ 36 w 36"/>
                    <a:gd name="T31" fmla="*/ 7 h 10"/>
                    <a:gd name="T32" fmla="*/ 33 w 36"/>
                    <a:gd name="T33" fmla="*/ 5 h 10"/>
                    <a:gd name="T34" fmla="*/ 33 w 36"/>
                    <a:gd name="T35" fmla="*/ 5 h 10"/>
                    <a:gd name="T36" fmla="*/ 29 w 36"/>
                    <a:gd name="T37" fmla="*/ 2 h 10"/>
                    <a:gd name="T38" fmla="*/ 26 w 36"/>
                    <a:gd name="T39" fmla="*/ 2 h 10"/>
                    <a:gd name="T40" fmla="*/ 24 w 36"/>
                    <a:gd name="T41" fmla="*/ 0 h 10"/>
                    <a:gd name="T42" fmla="*/ 19 w 36"/>
                    <a:gd name="T43" fmla="*/ 0 h 10"/>
                    <a:gd name="T44" fmla="*/ 17 w 36"/>
                    <a:gd name="T45" fmla="*/ 0 h 10"/>
                    <a:gd name="T46" fmla="*/ 14 w 36"/>
                    <a:gd name="T47" fmla="*/ 2 h 10"/>
                    <a:gd name="T48" fmla="*/ 10 w 36"/>
                    <a:gd name="T49" fmla="*/ 5 h 10"/>
                    <a:gd name="T50" fmla="*/ 10 w 36"/>
                    <a:gd name="T51" fmla="*/ 5 h 10"/>
                    <a:gd name="T52" fmla="*/ 7 w 36"/>
                    <a:gd name="T53" fmla="*/ 5 h 10"/>
                    <a:gd name="T54" fmla="*/ 2 w 36"/>
                    <a:gd name="T55" fmla="*/ 5 h 10"/>
                    <a:gd name="T56" fmla="*/ 2 w 36"/>
                    <a:gd name="T57" fmla="*/ 7 h 10"/>
                    <a:gd name="T58" fmla="*/ 5 w 36"/>
                    <a:gd name="T59" fmla="*/ 7 h 10"/>
                    <a:gd name="T60" fmla="*/ 7 w 36"/>
                    <a:gd name="T61" fmla="*/ 7 h 10"/>
                    <a:gd name="T62" fmla="*/ 7 w 36"/>
                    <a:gd name="T63" fmla="*/ 10 h 10"/>
                    <a:gd name="T64" fmla="*/ 2 w 36"/>
                    <a:gd name="T65" fmla="*/ 10 h 10"/>
                    <a:gd name="T66" fmla="*/ 0 w 36"/>
                    <a:gd name="T67" fmla="*/ 5 h 10"/>
                    <a:gd name="T68" fmla="*/ 0 w 36"/>
                    <a:gd name="T69" fmla="*/ 7 h 10"/>
                    <a:gd name="T70" fmla="*/ 0 w 36"/>
                    <a:gd name="T71" fmla="*/ 10 h 10"/>
                    <a:gd name="T72" fmla="*/ 0 w 36"/>
                    <a:gd name="T73"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6" h="10">
                      <a:moveTo>
                        <a:pt x="0" y="10"/>
                      </a:moveTo>
                      <a:lnTo>
                        <a:pt x="2" y="10"/>
                      </a:lnTo>
                      <a:lnTo>
                        <a:pt x="10" y="10"/>
                      </a:lnTo>
                      <a:lnTo>
                        <a:pt x="10" y="7"/>
                      </a:lnTo>
                      <a:lnTo>
                        <a:pt x="12" y="7"/>
                      </a:lnTo>
                      <a:lnTo>
                        <a:pt x="14" y="5"/>
                      </a:lnTo>
                      <a:lnTo>
                        <a:pt x="17" y="5"/>
                      </a:lnTo>
                      <a:lnTo>
                        <a:pt x="17" y="5"/>
                      </a:lnTo>
                      <a:lnTo>
                        <a:pt x="19" y="5"/>
                      </a:lnTo>
                      <a:lnTo>
                        <a:pt x="19" y="5"/>
                      </a:lnTo>
                      <a:lnTo>
                        <a:pt x="24" y="5"/>
                      </a:lnTo>
                      <a:lnTo>
                        <a:pt x="26" y="5"/>
                      </a:lnTo>
                      <a:lnTo>
                        <a:pt x="29" y="7"/>
                      </a:lnTo>
                      <a:lnTo>
                        <a:pt x="31" y="7"/>
                      </a:lnTo>
                      <a:lnTo>
                        <a:pt x="33" y="7"/>
                      </a:lnTo>
                      <a:lnTo>
                        <a:pt x="36" y="7"/>
                      </a:lnTo>
                      <a:lnTo>
                        <a:pt x="33" y="5"/>
                      </a:lnTo>
                      <a:lnTo>
                        <a:pt x="33" y="5"/>
                      </a:lnTo>
                      <a:lnTo>
                        <a:pt x="29" y="2"/>
                      </a:lnTo>
                      <a:lnTo>
                        <a:pt x="26" y="2"/>
                      </a:lnTo>
                      <a:lnTo>
                        <a:pt x="24" y="0"/>
                      </a:lnTo>
                      <a:lnTo>
                        <a:pt x="19" y="0"/>
                      </a:lnTo>
                      <a:lnTo>
                        <a:pt x="17" y="0"/>
                      </a:lnTo>
                      <a:lnTo>
                        <a:pt x="14" y="2"/>
                      </a:lnTo>
                      <a:lnTo>
                        <a:pt x="10" y="5"/>
                      </a:lnTo>
                      <a:lnTo>
                        <a:pt x="10" y="5"/>
                      </a:lnTo>
                      <a:lnTo>
                        <a:pt x="7" y="5"/>
                      </a:lnTo>
                      <a:lnTo>
                        <a:pt x="2" y="5"/>
                      </a:lnTo>
                      <a:lnTo>
                        <a:pt x="2" y="7"/>
                      </a:lnTo>
                      <a:lnTo>
                        <a:pt x="5" y="7"/>
                      </a:lnTo>
                      <a:lnTo>
                        <a:pt x="7" y="7"/>
                      </a:lnTo>
                      <a:lnTo>
                        <a:pt x="7" y="10"/>
                      </a:lnTo>
                      <a:lnTo>
                        <a:pt x="2" y="10"/>
                      </a:lnTo>
                      <a:lnTo>
                        <a:pt x="0" y="5"/>
                      </a:lnTo>
                      <a:lnTo>
                        <a:pt x="0" y="7"/>
                      </a:lnTo>
                      <a:lnTo>
                        <a:pt x="0" y="10"/>
                      </a:lnTo>
                      <a:lnTo>
                        <a:pt x="0" y="10"/>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Freeform 125">
                  <a:extLst>
                    <a:ext uri="{FF2B5EF4-FFF2-40B4-BE49-F238E27FC236}">
                      <a16:creationId xmlns:a16="http://schemas.microsoft.com/office/drawing/2014/main" id="{120DC7B7-DC64-1AD5-02C1-57830A6104E7}"/>
                    </a:ext>
                  </a:extLst>
                </p:cNvPr>
                <p:cNvSpPr>
                  <a:spLocks/>
                </p:cNvSpPr>
                <p:nvPr/>
              </p:nvSpPr>
              <p:spPr bwMode="auto">
                <a:xfrm>
                  <a:off x="2469" y="2467"/>
                  <a:ext cx="34" cy="21"/>
                </a:xfrm>
                <a:custGeom>
                  <a:avLst/>
                  <a:gdLst>
                    <a:gd name="T0" fmla="*/ 0 w 34"/>
                    <a:gd name="T1" fmla="*/ 5 h 21"/>
                    <a:gd name="T2" fmla="*/ 3 w 34"/>
                    <a:gd name="T3" fmla="*/ 7 h 21"/>
                    <a:gd name="T4" fmla="*/ 5 w 34"/>
                    <a:gd name="T5" fmla="*/ 5 h 21"/>
                    <a:gd name="T6" fmla="*/ 15 w 34"/>
                    <a:gd name="T7" fmla="*/ 5 h 21"/>
                    <a:gd name="T8" fmla="*/ 15 w 34"/>
                    <a:gd name="T9" fmla="*/ 2 h 21"/>
                    <a:gd name="T10" fmla="*/ 19 w 34"/>
                    <a:gd name="T11" fmla="*/ 0 h 21"/>
                    <a:gd name="T12" fmla="*/ 29 w 34"/>
                    <a:gd name="T13" fmla="*/ 2 h 21"/>
                    <a:gd name="T14" fmla="*/ 34 w 34"/>
                    <a:gd name="T15" fmla="*/ 2 h 21"/>
                    <a:gd name="T16" fmla="*/ 34 w 34"/>
                    <a:gd name="T17" fmla="*/ 5 h 21"/>
                    <a:gd name="T18" fmla="*/ 34 w 34"/>
                    <a:gd name="T19" fmla="*/ 7 h 21"/>
                    <a:gd name="T20" fmla="*/ 34 w 34"/>
                    <a:gd name="T21" fmla="*/ 9 h 21"/>
                    <a:gd name="T22" fmla="*/ 34 w 34"/>
                    <a:gd name="T23" fmla="*/ 12 h 21"/>
                    <a:gd name="T24" fmla="*/ 34 w 34"/>
                    <a:gd name="T25" fmla="*/ 14 h 21"/>
                    <a:gd name="T26" fmla="*/ 31 w 34"/>
                    <a:gd name="T27" fmla="*/ 14 h 21"/>
                    <a:gd name="T28" fmla="*/ 29 w 34"/>
                    <a:gd name="T29" fmla="*/ 14 h 21"/>
                    <a:gd name="T30" fmla="*/ 24 w 34"/>
                    <a:gd name="T31" fmla="*/ 17 h 21"/>
                    <a:gd name="T32" fmla="*/ 22 w 34"/>
                    <a:gd name="T33" fmla="*/ 17 h 21"/>
                    <a:gd name="T34" fmla="*/ 22 w 34"/>
                    <a:gd name="T35" fmla="*/ 19 h 21"/>
                    <a:gd name="T36" fmla="*/ 19 w 34"/>
                    <a:gd name="T37" fmla="*/ 21 h 21"/>
                    <a:gd name="T38" fmla="*/ 19 w 34"/>
                    <a:gd name="T39" fmla="*/ 19 h 21"/>
                    <a:gd name="T40" fmla="*/ 19 w 34"/>
                    <a:gd name="T41" fmla="*/ 19 h 21"/>
                    <a:gd name="T42" fmla="*/ 15 w 34"/>
                    <a:gd name="T43" fmla="*/ 19 h 21"/>
                    <a:gd name="T44" fmla="*/ 17 w 34"/>
                    <a:gd name="T45" fmla="*/ 17 h 21"/>
                    <a:gd name="T46" fmla="*/ 15 w 34"/>
                    <a:gd name="T47" fmla="*/ 17 h 21"/>
                    <a:gd name="T48" fmla="*/ 15 w 34"/>
                    <a:gd name="T49" fmla="*/ 14 h 21"/>
                    <a:gd name="T50" fmla="*/ 15 w 34"/>
                    <a:gd name="T51" fmla="*/ 14 h 21"/>
                    <a:gd name="T52" fmla="*/ 12 w 34"/>
                    <a:gd name="T53" fmla="*/ 14 h 21"/>
                    <a:gd name="T54" fmla="*/ 12 w 34"/>
                    <a:gd name="T55" fmla="*/ 12 h 21"/>
                    <a:gd name="T56" fmla="*/ 17 w 34"/>
                    <a:gd name="T57" fmla="*/ 12 h 21"/>
                    <a:gd name="T58" fmla="*/ 19 w 34"/>
                    <a:gd name="T59" fmla="*/ 12 h 21"/>
                    <a:gd name="T60" fmla="*/ 15 w 34"/>
                    <a:gd name="T61" fmla="*/ 9 h 21"/>
                    <a:gd name="T62" fmla="*/ 12 w 34"/>
                    <a:gd name="T63" fmla="*/ 12 h 21"/>
                    <a:gd name="T64" fmla="*/ 10 w 34"/>
                    <a:gd name="T65" fmla="*/ 12 h 21"/>
                    <a:gd name="T66" fmla="*/ 8 w 34"/>
                    <a:gd name="T67" fmla="*/ 12 h 21"/>
                    <a:gd name="T68" fmla="*/ 8 w 34"/>
                    <a:gd name="T69" fmla="*/ 9 h 21"/>
                    <a:gd name="T70" fmla="*/ 5 w 34"/>
                    <a:gd name="T71" fmla="*/ 9 h 21"/>
                    <a:gd name="T72" fmla="*/ 3 w 34"/>
                    <a:gd name="T73" fmla="*/ 9 h 21"/>
                    <a:gd name="T74" fmla="*/ 5 w 34"/>
                    <a:gd name="T75" fmla="*/ 7 h 21"/>
                    <a:gd name="T76" fmla="*/ 5 w 34"/>
                    <a:gd name="T77" fmla="*/ 7 h 21"/>
                    <a:gd name="T78" fmla="*/ 0 w 34"/>
                    <a:gd name="T79" fmla="*/ 7 h 21"/>
                    <a:gd name="T80" fmla="*/ 0 w 34"/>
                    <a:gd name="T81" fmla="*/ 5 h 21"/>
                    <a:gd name="T82" fmla="*/ 0 w 34"/>
                    <a:gd name="T83" fmla="*/ 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4" h="21">
                      <a:moveTo>
                        <a:pt x="0" y="5"/>
                      </a:moveTo>
                      <a:lnTo>
                        <a:pt x="3" y="7"/>
                      </a:lnTo>
                      <a:lnTo>
                        <a:pt x="5" y="5"/>
                      </a:lnTo>
                      <a:lnTo>
                        <a:pt x="15" y="5"/>
                      </a:lnTo>
                      <a:lnTo>
                        <a:pt x="15" y="2"/>
                      </a:lnTo>
                      <a:lnTo>
                        <a:pt x="19" y="0"/>
                      </a:lnTo>
                      <a:lnTo>
                        <a:pt x="29" y="2"/>
                      </a:lnTo>
                      <a:lnTo>
                        <a:pt x="34" y="2"/>
                      </a:lnTo>
                      <a:lnTo>
                        <a:pt x="34" y="5"/>
                      </a:lnTo>
                      <a:lnTo>
                        <a:pt x="34" y="7"/>
                      </a:lnTo>
                      <a:lnTo>
                        <a:pt x="34" y="9"/>
                      </a:lnTo>
                      <a:lnTo>
                        <a:pt x="34" y="12"/>
                      </a:lnTo>
                      <a:lnTo>
                        <a:pt x="34" y="14"/>
                      </a:lnTo>
                      <a:lnTo>
                        <a:pt x="31" y="14"/>
                      </a:lnTo>
                      <a:lnTo>
                        <a:pt x="29" y="14"/>
                      </a:lnTo>
                      <a:lnTo>
                        <a:pt x="24" y="17"/>
                      </a:lnTo>
                      <a:lnTo>
                        <a:pt x="22" y="17"/>
                      </a:lnTo>
                      <a:lnTo>
                        <a:pt x="22" y="19"/>
                      </a:lnTo>
                      <a:lnTo>
                        <a:pt x="19" y="21"/>
                      </a:lnTo>
                      <a:lnTo>
                        <a:pt x="19" y="19"/>
                      </a:lnTo>
                      <a:lnTo>
                        <a:pt x="19" y="19"/>
                      </a:lnTo>
                      <a:lnTo>
                        <a:pt x="15" y="19"/>
                      </a:lnTo>
                      <a:lnTo>
                        <a:pt x="17" y="17"/>
                      </a:lnTo>
                      <a:lnTo>
                        <a:pt x="15" y="17"/>
                      </a:lnTo>
                      <a:lnTo>
                        <a:pt x="15" y="14"/>
                      </a:lnTo>
                      <a:lnTo>
                        <a:pt x="15" y="14"/>
                      </a:lnTo>
                      <a:lnTo>
                        <a:pt x="12" y="14"/>
                      </a:lnTo>
                      <a:lnTo>
                        <a:pt x="12" y="12"/>
                      </a:lnTo>
                      <a:lnTo>
                        <a:pt x="17" y="12"/>
                      </a:lnTo>
                      <a:lnTo>
                        <a:pt x="19" y="12"/>
                      </a:lnTo>
                      <a:lnTo>
                        <a:pt x="15" y="9"/>
                      </a:lnTo>
                      <a:lnTo>
                        <a:pt x="12" y="12"/>
                      </a:lnTo>
                      <a:lnTo>
                        <a:pt x="10" y="12"/>
                      </a:lnTo>
                      <a:lnTo>
                        <a:pt x="8" y="12"/>
                      </a:lnTo>
                      <a:lnTo>
                        <a:pt x="8" y="9"/>
                      </a:lnTo>
                      <a:lnTo>
                        <a:pt x="5" y="9"/>
                      </a:lnTo>
                      <a:lnTo>
                        <a:pt x="3" y="9"/>
                      </a:lnTo>
                      <a:lnTo>
                        <a:pt x="5" y="7"/>
                      </a:lnTo>
                      <a:lnTo>
                        <a:pt x="5" y="7"/>
                      </a:lnTo>
                      <a:lnTo>
                        <a:pt x="0" y="7"/>
                      </a:lnTo>
                      <a:lnTo>
                        <a:pt x="0" y="5"/>
                      </a:lnTo>
                      <a:lnTo>
                        <a:pt x="0" y="5"/>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126">
                  <a:extLst>
                    <a:ext uri="{FF2B5EF4-FFF2-40B4-BE49-F238E27FC236}">
                      <a16:creationId xmlns:a16="http://schemas.microsoft.com/office/drawing/2014/main" id="{654F54A4-9E74-9B5D-F786-8A94EFC37C3A}"/>
                    </a:ext>
                  </a:extLst>
                </p:cNvPr>
                <p:cNvSpPr>
                  <a:spLocks/>
                </p:cNvSpPr>
                <p:nvPr/>
              </p:nvSpPr>
              <p:spPr bwMode="auto">
                <a:xfrm>
                  <a:off x="2491" y="2469"/>
                  <a:ext cx="80" cy="71"/>
                </a:xfrm>
                <a:custGeom>
                  <a:avLst/>
                  <a:gdLst>
                    <a:gd name="T0" fmla="*/ 0 w 80"/>
                    <a:gd name="T1" fmla="*/ 15 h 71"/>
                    <a:gd name="T2" fmla="*/ 7 w 80"/>
                    <a:gd name="T3" fmla="*/ 12 h 71"/>
                    <a:gd name="T4" fmla="*/ 12 w 80"/>
                    <a:gd name="T5" fmla="*/ 12 h 71"/>
                    <a:gd name="T6" fmla="*/ 12 w 80"/>
                    <a:gd name="T7" fmla="*/ 7 h 71"/>
                    <a:gd name="T8" fmla="*/ 12 w 80"/>
                    <a:gd name="T9" fmla="*/ 3 h 71"/>
                    <a:gd name="T10" fmla="*/ 14 w 80"/>
                    <a:gd name="T11" fmla="*/ 0 h 71"/>
                    <a:gd name="T12" fmla="*/ 26 w 80"/>
                    <a:gd name="T13" fmla="*/ 3 h 71"/>
                    <a:gd name="T14" fmla="*/ 31 w 80"/>
                    <a:gd name="T15" fmla="*/ 3 h 71"/>
                    <a:gd name="T16" fmla="*/ 35 w 80"/>
                    <a:gd name="T17" fmla="*/ 3 h 71"/>
                    <a:gd name="T18" fmla="*/ 40 w 80"/>
                    <a:gd name="T19" fmla="*/ 5 h 71"/>
                    <a:gd name="T20" fmla="*/ 42 w 80"/>
                    <a:gd name="T21" fmla="*/ 5 h 71"/>
                    <a:gd name="T22" fmla="*/ 45 w 80"/>
                    <a:gd name="T23" fmla="*/ 5 h 71"/>
                    <a:gd name="T24" fmla="*/ 49 w 80"/>
                    <a:gd name="T25" fmla="*/ 7 h 71"/>
                    <a:gd name="T26" fmla="*/ 54 w 80"/>
                    <a:gd name="T27" fmla="*/ 7 h 71"/>
                    <a:gd name="T28" fmla="*/ 59 w 80"/>
                    <a:gd name="T29" fmla="*/ 3 h 71"/>
                    <a:gd name="T30" fmla="*/ 64 w 80"/>
                    <a:gd name="T31" fmla="*/ 5 h 71"/>
                    <a:gd name="T32" fmla="*/ 66 w 80"/>
                    <a:gd name="T33" fmla="*/ 3 h 71"/>
                    <a:gd name="T34" fmla="*/ 68 w 80"/>
                    <a:gd name="T35" fmla="*/ 5 h 71"/>
                    <a:gd name="T36" fmla="*/ 68 w 80"/>
                    <a:gd name="T37" fmla="*/ 12 h 71"/>
                    <a:gd name="T38" fmla="*/ 73 w 80"/>
                    <a:gd name="T39" fmla="*/ 12 h 71"/>
                    <a:gd name="T40" fmla="*/ 71 w 80"/>
                    <a:gd name="T41" fmla="*/ 17 h 71"/>
                    <a:gd name="T42" fmla="*/ 73 w 80"/>
                    <a:gd name="T43" fmla="*/ 19 h 71"/>
                    <a:gd name="T44" fmla="*/ 75 w 80"/>
                    <a:gd name="T45" fmla="*/ 17 h 71"/>
                    <a:gd name="T46" fmla="*/ 75 w 80"/>
                    <a:gd name="T47" fmla="*/ 22 h 71"/>
                    <a:gd name="T48" fmla="*/ 78 w 80"/>
                    <a:gd name="T49" fmla="*/ 22 h 71"/>
                    <a:gd name="T50" fmla="*/ 80 w 80"/>
                    <a:gd name="T51" fmla="*/ 24 h 71"/>
                    <a:gd name="T52" fmla="*/ 75 w 80"/>
                    <a:gd name="T53" fmla="*/ 26 h 71"/>
                    <a:gd name="T54" fmla="*/ 75 w 80"/>
                    <a:gd name="T55" fmla="*/ 29 h 71"/>
                    <a:gd name="T56" fmla="*/ 75 w 80"/>
                    <a:gd name="T57" fmla="*/ 36 h 71"/>
                    <a:gd name="T58" fmla="*/ 78 w 80"/>
                    <a:gd name="T59" fmla="*/ 38 h 71"/>
                    <a:gd name="T60" fmla="*/ 78 w 80"/>
                    <a:gd name="T61" fmla="*/ 43 h 71"/>
                    <a:gd name="T62" fmla="*/ 75 w 80"/>
                    <a:gd name="T63" fmla="*/ 43 h 71"/>
                    <a:gd name="T64" fmla="*/ 78 w 80"/>
                    <a:gd name="T65" fmla="*/ 48 h 71"/>
                    <a:gd name="T66" fmla="*/ 78 w 80"/>
                    <a:gd name="T67" fmla="*/ 50 h 71"/>
                    <a:gd name="T68" fmla="*/ 73 w 80"/>
                    <a:gd name="T69" fmla="*/ 57 h 71"/>
                    <a:gd name="T70" fmla="*/ 73 w 80"/>
                    <a:gd name="T71" fmla="*/ 60 h 71"/>
                    <a:gd name="T72" fmla="*/ 68 w 80"/>
                    <a:gd name="T73" fmla="*/ 64 h 71"/>
                    <a:gd name="T74" fmla="*/ 52 w 80"/>
                    <a:gd name="T75" fmla="*/ 71 h 71"/>
                    <a:gd name="T76" fmla="*/ 47 w 80"/>
                    <a:gd name="T77" fmla="*/ 69 h 71"/>
                    <a:gd name="T78" fmla="*/ 42 w 80"/>
                    <a:gd name="T79" fmla="*/ 64 h 71"/>
                    <a:gd name="T80" fmla="*/ 42 w 80"/>
                    <a:gd name="T81" fmla="*/ 62 h 71"/>
                    <a:gd name="T82" fmla="*/ 47 w 80"/>
                    <a:gd name="T83" fmla="*/ 45 h 71"/>
                    <a:gd name="T84" fmla="*/ 47 w 80"/>
                    <a:gd name="T85" fmla="*/ 43 h 71"/>
                    <a:gd name="T86" fmla="*/ 49 w 80"/>
                    <a:gd name="T87" fmla="*/ 41 h 71"/>
                    <a:gd name="T88" fmla="*/ 47 w 80"/>
                    <a:gd name="T89" fmla="*/ 38 h 71"/>
                    <a:gd name="T90" fmla="*/ 45 w 80"/>
                    <a:gd name="T91" fmla="*/ 31 h 71"/>
                    <a:gd name="T92" fmla="*/ 40 w 80"/>
                    <a:gd name="T93" fmla="*/ 26 h 71"/>
                    <a:gd name="T94" fmla="*/ 28 w 80"/>
                    <a:gd name="T95" fmla="*/ 29 h 71"/>
                    <a:gd name="T96" fmla="*/ 23 w 80"/>
                    <a:gd name="T97" fmla="*/ 33 h 71"/>
                    <a:gd name="T98" fmla="*/ 21 w 80"/>
                    <a:gd name="T99" fmla="*/ 36 h 71"/>
                    <a:gd name="T100" fmla="*/ 16 w 80"/>
                    <a:gd name="T101" fmla="*/ 33 h 71"/>
                    <a:gd name="T102" fmla="*/ 12 w 80"/>
                    <a:gd name="T103" fmla="*/ 29 h 71"/>
                    <a:gd name="T104" fmla="*/ 9 w 80"/>
                    <a:gd name="T105" fmla="*/ 29 h 71"/>
                    <a:gd name="T106" fmla="*/ 9 w 80"/>
                    <a:gd name="T107" fmla="*/ 26 h 71"/>
                    <a:gd name="T108" fmla="*/ 7 w 80"/>
                    <a:gd name="T109" fmla="*/ 26 h 71"/>
                    <a:gd name="T110" fmla="*/ 2 w 80"/>
                    <a:gd name="T111" fmla="*/ 26 h 71"/>
                    <a:gd name="T112" fmla="*/ 2 w 80"/>
                    <a:gd name="T113" fmla="*/ 19 h 71"/>
                    <a:gd name="T114" fmla="*/ 0 w 80"/>
                    <a:gd name="T115" fmla="*/ 17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0" h="71">
                      <a:moveTo>
                        <a:pt x="0" y="17"/>
                      </a:moveTo>
                      <a:lnTo>
                        <a:pt x="0" y="15"/>
                      </a:lnTo>
                      <a:lnTo>
                        <a:pt x="2" y="15"/>
                      </a:lnTo>
                      <a:lnTo>
                        <a:pt x="7" y="12"/>
                      </a:lnTo>
                      <a:lnTo>
                        <a:pt x="9" y="12"/>
                      </a:lnTo>
                      <a:lnTo>
                        <a:pt x="12" y="12"/>
                      </a:lnTo>
                      <a:lnTo>
                        <a:pt x="12" y="10"/>
                      </a:lnTo>
                      <a:lnTo>
                        <a:pt x="12" y="7"/>
                      </a:lnTo>
                      <a:lnTo>
                        <a:pt x="12" y="5"/>
                      </a:lnTo>
                      <a:lnTo>
                        <a:pt x="12" y="3"/>
                      </a:lnTo>
                      <a:lnTo>
                        <a:pt x="12" y="0"/>
                      </a:lnTo>
                      <a:lnTo>
                        <a:pt x="14" y="0"/>
                      </a:lnTo>
                      <a:lnTo>
                        <a:pt x="21" y="0"/>
                      </a:lnTo>
                      <a:lnTo>
                        <a:pt x="26" y="3"/>
                      </a:lnTo>
                      <a:lnTo>
                        <a:pt x="26" y="3"/>
                      </a:lnTo>
                      <a:lnTo>
                        <a:pt x="31" y="3"/>
                      </a:lnTo>
                      <a:lnTo>
                        <a:pt x="33" y="5"/>
                      </a:lnTo>
                      <a:lnTo>
                        <a:pt x="35" y="3"/>
                      </a:lnTo>
                      <a:lnTo>
                        <a:pt x="38" y="3"/>
                      </a:lnTo>
                      <a:lnTo>
                        <a:pt x="40" y="5"/>
                      </a:lnTo>
                      <a:lnTo>
                        <a:pt x="42" y="5"/>
                      </a:lnTo>
                      <a:lnTo>
                        <a:pt x="42" y="5"/>
                      </a:lnTo>
                      <a:lnTo>
                        <a:pt x="42" y="7"/>
                      </a:lnTo>
                      <a:lnTo>
                        <a:pt x="45" y="5"/>
                      </a:lnTo>
                      <a:lnTo>
                        <a:pt x="47" y="7"/>
                      </a:lnTo>
                      <a:lnTo>
                        <a:pt x="49" y="7"/>
                      </a:lnTo>
                      <a:lnTo>
                        <a:pt x="52" y="7"/>
                      </a:lnTo>
                      <a:lnTo>
                        <a:pt x="54" y="7"/>
                      </a:lnTo>
                      <a:lnTo>
                        <a:pt x="57" y="7"/>
                      </a:lnTo>
                      <a:lnTo>
                        <a:pt x="59" y="3"/>
                      </a:lnTo>
                      <a:lnTo>
                        <a:pt x="61" y="3"/>
                      </a:lnTo>
                      <a:lnTo>
                        <a:pt x="64" y="5"/>
                      </a:lnTo>
                      <a:lnTo>
                        <a:pt x="64" y="3"/>
                      </a:lnTo>
                      <a:lnTo>
                        <a:pt x="66" y="3"/>
                      </a:lnTo>
                      <a:lnTo>
                        <a:pt x="66" y="5"/>
                      </a:lnTo>
                      <a:lnTo>
                        <a:pt x="68" y="5"/>
                      </a:lnTo>
                      <a:lnTo>
                        <a:pt x="71" y="7"/>
                      </a:lnTo>
                      <a:lnTo>
                        <a:pt x="68" y="12"/>
                      </a:lnTo>
                      <a:lnTo>
                        <a:pt x="71" y="12"/>
                      </a:lnTo>
                      <a:lnTo>
                        <a:pt x="73" y="12"/>
                      </a:lnTo>
                      <a:lnTo>
                        <a:pt x="73" y="15"/>
                      </a:lnTo>
                      <a:lnTo>
                        <a:pt x="71" y="17"/>
                      </a:lnTo>
                      <a:lnTo>
                        <a:pt x="71" y="19"/>
                      </a:lnTo>
                      <a:lnTo>
                        <a:pt x="73" y="19"/>
                      </a:lnTo>
                      <a:lnTo>
                        <a:pt x="73" y="17"/>
                      </a:lnTo>
                      <a:lnTo>
                        <a:pt x="75" y="17"/>
                      </a:lnTo>
                      <a:lnTo>
                        <a:pt x="75" y="19"/>
                      </a:lnTo>
                      <a:lnTo>
                        <a:pt x="75" y="22"/>
                      </a:lnTo>
                      <a:lnTo>
                        <a:pt x="75" y="22"/>
                      </a:lnTo>
                      <a:lnTo>
                        <a:pt x="78" y="22"/>
                      </a:lnTo>
                      <a:lnTo>
                        <a:pt x="80" y="24"/>
                      </a:lnTo>
                      <a:lnTo>
                        <a:pt x="80" y="24"/>
                      </a:lnTo>
                      <a:lnTo>
                        <a:pt x="78" y="24"/>
                      </a:lnTo>
                      <a:lnTo>
                        <a:pt x="75" y="26"/>
                      </a:lnTo>
                      <a:lnTo>
                        <a:pt x="75" y="29"/>
                      </a:lnTo>
                      <a:lnTo>
                        <a:pt x="75" y="29"/>
                      </a:lnTo>
                      <a:lnTo>
                        <a:pt x="75" y="33"/>
                      </a:lnTo>
                      <a:lnTo>
                        <a:pt x="75" y="36"/>
                      </a:lnTo>
                      <a:lnTo>
                        <a:pt x="75" y="38"/>
                      </a:lnTo>
                      <a:lnTo>
                        <a:pt x="78" y="38"/>
                      </a:lnTo>
                      <a:lnTo>
                        <a:pt x="78" y="41"/>
                      </a:lnTo>
                      <a:lnTo>
                        <a:pt x="78" y="43"/>
                      </a:lnTo>
                      <a:lnTo>
                        <a:pt x="75" y="43"/>
                      </a:lnTo>
                      <a:lnTo>
                        <a:pt x="75" y="43"/>
                      </a:lnTo>
                      <a:lnTo>
                        <a:pt x="75" y="45"/>
                      </a:lnTo>
                      <a:lnTo>
                        <a:pt x="78" y="48"/>
                      </a:lnTo>
                      <a:lnTo>
                        <a:pt x="78" y="48"/>
                      </a:lnTo>
                      <a:lnTo>
                        <a:pt x="78" y="50"/>
                      </a:lnTo>
                      <a:lnTo>
                        <a:pt x="73" y="55"/>
                      </a:lnTo>
                      <a:lnTo>
                        <a:pt x="73" y="57"/>
                      </a:lnTo>
                      <a:lnTo>
                        <a:pt x="71" y="57"/>
                      </a:lnTo>
                      <a:lnTo>
                        <a:pt x="73" y="60"/>
                      </a:lnTo>
                      <a:lnTo>
                        <a:pt x="71" y="64"/>
                      </a:lnTo>
                      <a:lnTo>
                        <a:pt x="68" y="64"/>
                      </a:lnTo>
                      <a:lnTo>
                        <a:pt x="68" y="67"/>
                      </a:lnTo>
                      <a:lnTo>
                        <a:pt x="52" y="71"/>
                      </a:lnTo>
                      <a:lnTo>
                        <a:pt x="47" y="69"/>
                      </a:lnTo>
                      <a:lnTo>
                        <a:pt x="47" y="69"/>
                      </a:lnTo>
                      <a:lnTo>
                        <a:pt x="42" y="64"/>
                      </a:lnTo>
                      <a:lnTo>
                        <a:pt x="42" y="64"/>
                      </a:lnTo>
                      <a:lnTo>
                        <a:pt x="42" y="62"/>
                      </a:lnTo>
                      <a:lnTo>
                        <a:pt x="42" y="62"/>
                      </a:lnTo>
                      <a:lnTo>
                        <a:pt x="47" y="60"/>
                      </a:lnTo>
                      <a:lnTo>
                        <a:pt x="47" y="45"/>
                      </a:lnTo>
                      <a:lnTo>
                        <a:pt x="47" y="43"/>
                      </a:lnTo>
                      <a:lnTo>
                        <a:pt x="47" y="43"/>
                      </a:lnTo>
                      <a:lnTo>
                        <a:pt x="47" y="43"/>
                      </a:lnTo>
                      <a:lnTo>
                        <a:pt x="49" y="41"/>
                      </a:lnTo>
                      <a:lnTo>
                        <a:pt x="49" y="41"/>
                      </a:lnTo>
                      <a:lnTo>
                        <a:pt x="47" y="38"/>
                      </a:lnTo>
                      <a:lnTo>
                        <a:pt x="47" y="36"/>
                      </a:lnTo>
                      <a:lnTo>
                        <a:pt x="45" y="31"/>
                      </a:lnTo>
                      <a:lnTo>
                        <a:pt x="42" y="29"/>
                      </a:lnTo>
                      <a:lnTo>
                        <a:pt x="40" y="26"/>
                      </a:lnTo>
                      <a:lnTo>
                        <a:pt x="31" y="26"/>
                      </a:lnTo>
                      <a:lnTo>
                        <a:pt x="28" y="29"/>
                      </a:lnTo>
                      <a:lnTo>
                        <a:pt x="26" y="31"/>
                      </a:lnTo>
                      <a:lnTo>
                        <a:pt x="23" y="33"/>
                      </a:lnTo>
                      <a:lnTo>
                        <a:pt x="23" y="33"/>
                      </a:lnTo>
                      <a:lnTo>
                        <a:pt x="21" y="36"/>
                      </a:lnTo>
                      <a:lnTo>
                        <a:pt x="19" y="36"/>
                      </a:lnTo>
                      <a:lnTo>
                        <a:pt x="16" y="33"/>
                      </a:lnTo>
                      <a:lnTo>
                        <a:pt x="14" y="33"/>
                      </a:lnTo>
                      <a:lnTo>
                        <a:pt x="12" y="29"/>
                      </a:lnTo>
                      <a:lnTo>
                        <a:pt x="9" y="29"/>
                      </a:lnTo>
                      <a:lnTo>
                        <a:pt x="9" y="29"/>
                      </a:lnTo>
                      <a:lnTo>
                        <a:pt x="9" y="26"/>
                      </a:lnTo>
                      <a:lnTo>
                        <a:pt x="9" y="26"/>
                      </a:lnTo>
                      <a:lnTo>
                        <a:pt x="9" y="26"/>
                      </a:lnTo>
                      <a:lnTo>
                        <a:pt x="7" y="26"/>
                      </a:lnTo>
                      <a:lnTo>
                        <a:pt x="5" y="26"/>
                      </a:lnTo>
                      <a:lnTo>
                        <a:pt x="2" y="26"/>
                      </a:lnTo>
                      <a:lnTo>
                        <a:pt x="0" y="24"/>
                      </a:lnTo>
                      <a:lnTo>
                        <a:pt x="2" y="19"/>
                      </a:lnTo>
                      <a:lnTo>
                        <a:pt x="0" y="17"/>
                      </a:lnTo>
                      <a:lnTo>
                        <a:pt x="0" y="17"/>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127">
                  <a:extLst>
                    <a:ext uri="{FF2B5EF4-FFF2-40B4-BE49-F238E27FC236}">
                      <a16:creationId xmlns:a16="http://schemas.microsoft.com/office/drawing/2014/main" id="{74F75260-E114-87CC-1DF8-ECB01C3C7434}"/>
                    </a:ext>
                  </a:extLst>
                </p:cNvPr>
                <p:cNvSpPr>
                  <a:spLocks noEditPoints="1"/>
                </p:cNvSpPr>
                <p:nvPr/>
              </p:nvSpPr>
              <p:spPr bwMode="auto">
                <a:xfrm>
                  <a:off x="2507" y="2495"/>
                  <a:ext cx="33" cy="36"/>
                </a:xfrm>
                <a:custGeom>
                  <a:avLst/>
                  <a:gdLst>
                    <a:gd name="T0" fmla="*/ 10 w 33"/>
                    <a:gd name="T1" fmla="*/ 31 h 36"/>
                    <a:gd name="T2" fmla="*/ 10 w 33"/>
                    <a:gd name="T3" fmla="*/ 29 h 36"/>
                    <a:gd name="T4" fmla="*/ 7 w 33"/>
                    <a:gd name="T5" fmla="*/ 29 h 36"/>
                    <a:gd name="T6" fmla="*/ 7 w 33"/>
                    <a:gd name="T7" fmla="*/ 29 h 36"/>
                    <a:gd name="T8" fmla="*/ 7 w 33"/>
                    <a:gd name="T9" fmla="*/ 29 h 36"/>
                    <a:gd name="T10" fmla="*/ 7 w 33"/>
                    <a:gd name="T11" fmla="*/ 31 h 36"/>
                    <a:gd name="T12" fmla="*/ 7 w 33"/>
                    <a:gd name="T13" fmla="*/ 31 h 36"/>
                    <a:gd name="T14" fmla="*/ 10 w 33"/>
                    <a:gd name="T15" fmla="*/ 31 h 36"/>
                    <a:gd name="T16" fmla="*/ 10 w 33"/>
                    <a:gd name="T17" fmla="*/ 31 h 36"/>
                    <a:gd name="T18" fmla="*/ 3 w 33"/>
                    <a:gd name="T19" fmla="*/ 10 h 36"/>
                    <a:gd name="T20" fmla="*/ 5 w 33"/>
                    <a:gd name="T21" fmla="*/ 10 h 36"/>
                    <a:gd name="T22" fmla="*/ 7 w 33"/>
                    <a:gd name="T23" fmla="*/ 7 h 36"/>
                    <a:gd name="T24" fmla="*/ 7 w 33"/>
                    <a:gd name="T25" fmla="*/ 7 h 36"/>
                    <a:gd name="T26" fmla="*/ 10 w 33"/>
                    <a:gd name="T27" fmla="*/ 5 h 36"/>
                    <a:gd name="T28" fmla="*/ 12 w 33"/>
                    <a:gd name="T29" fmla="*/ 3 h 36"/>
                    <a:gd name="T30" fmla="*/ 15 w 33"/>
                    <a:gd name="T31" fmla="*/ 0 h 36"/>
                    <a:gd name="T32" fmla="*/ 24 w 33"/>
                    <a:gd name="T33" fmla="*/ 0 h 36"/>
                    <a:gd name="T34" fmla="*/ 26 w 33"/>
                    <a:gd name="T35" fmla="*/ 3 h 36"/>
                    <a:gd name="T36" fmla="*/ 29 w 33"/>
                    <a:gd name="T37" fmla="*/ 5 h 36"/>
                    <a:gd name="T38" fmla="*/ 31 w 33"/>
                    <a:gd name="T39" fmla="*/ 10 h 36"/>
                    <a:gd name="T40" fmla="*/ 31 w 33"/>
                    <a:gd name="T41" fmla="*/ 12 h 36"/>
                    <a:gd name="T42" fmla="*/ 33 w 33"/>
                    <a:gd name="T43" fmla="*/ 15 h 36"/>
                    <a:gd name="T44" fmla="*/ 33 w 33"/>
                    <a:gd name="T45" fmla="*/ 15 h 36"/>
                    <a:gd name="T46" fmla="*/ 31 w 33"/>
                    <a:gd name="T47" fmla="*/ 17 h 36"/>
                    <a:gd name="T48" fmla="*/ 31 w 33"/>
                    <a:gd name="T49" fmla="*/ 17 h 36"/>
                    <a:gd name="T50" fmla="*/ 31 w 33"/>
                    <a:gd name="T51" fmla="*/ 17 h 36"/>
                    <a:gd name="T52" fmla="*/ 31 w 33"/>
                    <a:gd name="T53" fmla="*/ 19 h 36"/>
                    <a:gd name="T54" fmla="*/ 31 w 33"/>
                    <a:gd name="T55" fmla="*/ 34 h 36"/>
                    <a:gd name="T56" fmla="*/ 26 w 33"/>
                    <a:gd name="T57" fmla="*/ 36 h 36"/>
                    <a:gd name="T58" fmla="*/ 24 w 33"/>
                    <a:gd name="T59" fmla="*/ 36 h 36"/>
                    <a:gd name="T60" fmla="*/ 19 w 33"/>
                    <a:gd name="T61" fmla="*/ 36 h 36"/>
                    <a:gd name="T62" fmla="*/ 15 w 33"/>
                    <a:gd name="T63" fmla="*/ 34 h 36"/>
                    <a:gd name="T64" fmla="*/ 12 w 33"/>
                    <a:gd name="T65" fmla="*/ 31 h 36"/>
                    <a:gd name="T66" fmla="*/ 12 w 33"/>
                    <a:gd name="T67" fmla="*/ 31 h 36"/>
                    <a:gd name="T68" fmla="*/ 10 w 33"/>
                    <a:gd name="T69" fmla="*/ 29 h 36"/>
                    <a:gd name="T70" fmla="*/ 10 w 33"/>
                    <a:gd name="T71" fmla="*/ 29 h 36"/>
                    <a:gd name="T72" fmla="*/ 10 w 33"/>
                    <a:gd name="T73" fmla="*/ 26 h 36"/>
                    <a:gd name="T74" fmla="*/ 10 w 33"/>
                    <a:gd name="T75" fmla="*/ 26 h 36"/>
                    <a:gd name="T76" fmla="*/ 7 w 33"/>
                    <a:gd name="T77" fmla="*/ 26 h 36"/>
                    <a:gd name="T78" fmla="*/ 5 w 33"/>
                    <a:gd name="T79" fmla="*/ 24 h 36"/>
                    <a:gd name="T80" fmla="*/ 5 w 33"/>
                    <a:gd name="T81" fmla="*/ 22 h 36"/>
                    <a:gd name="T82" fmla="*/ 5 w 33"/>
                    <a:gd name="T83" fmla="*/ 19 h 36"/>
                    <a:gd name="T84" fmla="*/ 3 w 33"/>
                    <a:gd name="T85" fmla="*/ 19 h 36"/>
                    <a:gd name="T86" fmla="*/ 0 w 33"/>
                    <a:gd name="T87" fmla="*/ 17 h 36"/>
                    <a:gd name="T88" fmla="*/ 3 w 33"/>
                    <a:gd name="T89" fmla="*/ 15 h 36"/>
                    <a:gd name="T90" fmla="*/ 0 w 33"/>
                    <a:gd name="T91" fmla="*/ 12 h 36"/>
                    <a:gd name="T92" fmla="*/ 0 w 33"/>
                    <a:gd name="T93" fmla="*/ 12 h 36"/>
                    <a:gd name="T94" fmla="*/ 3 w 33"/>
                    <a:gd name="T95" fmla="*/ 10 h 36"/>
                    <a:gd name="T96" fmla="*/ 3 w 33"/>
                    <a:gd name="T97" fmla="*/ 1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 h="36">
                      <a:moveTo>
                        <a:pt x="10" y="31"/>
                      </a:moveTo>
                      <a:lnTo>
                        <a:pt x="10" y="29"/>
                      </a:lnTo>
                      <a:lnTo>
                        <a:pt x="7" y="29"/>
                      </a:lnTo>
                      <a:lnTo>
                        <a:pt x="7" y="29"/>
                      </a:lnTo>
                      <a:lnTo>
                        <a:pt x="7" y="29"/>
                      </a:lnTo>
                      <a:lnTo>
                        <a:pt x="7" y="31"/>
                      </a:lnTo>
                      <a:lnTo>
                        <a:pt x="7" y="31"/>
                      </a:lnTo>
                      <a:lnTo>
                        <a:pt x="10" y="31"/>
                      </a:lnTo>
                      <a:lnTo>
                        <a:pt x="10" y="31"/>
                      </a:lnTo>
                      <a:close/>
                      <a:moveTo>
                        <a:pt x="3" y="10"/>
                      </a:moveTo>
                      <a:lnTo>
                        <a:pt x="5" y="10"/>
                      </a:lnTo>
                      <a:lnTo>
                        <a:pt x="7" y="7"/>
                      </a:lnTo>
                      <a:lnTo>
                        <a:pt x="7" y="7"/>
                      </a:lnTo>
                      <a:lnTo>
                        <a:pt x="10" y="5"/>
                      </a:lnTo>
                      <a:lnTo>
                        <a:pt x="12" y="3"/>
                      </a:lnTo>
                      <a:lnTo>
                        <a:pt x="15" y="0"/>
                      </a:lnTo>
                      <a:lnTo>
                        <a:pt x="24" y="0"/>
                      </a:lnTo>
                      <a:lnTo>
                        <a:pt x="26" y="3"/>
                      </a:lnTo>
                      <a:lnTo>
                        <a:pt x="29" y="5"/>
                      </a:lnTo>
                      <a:lnTo>
                        <a:pt x="31" y="10"/>
                      </a:lnTo>
                      <a:lnTo>
                        <a:pt x="31" y="12"/>
                      </a:lnTo>
                      <a:lnTo>
                        <a:pt x="33" y="15"/>
                      </a:lnTo>
                      <a:lnTo>
                        <a:pt x="33" y="15"/>
                      </a:lnTo>
                      <a:lnTo>
                        <a:pt x="31" y="17"/>
                      </a:lnTo>
                      <a:lnTo>
                        <a:pt x="31" y="17"/>
                      </a:lnTo>
                      <a:lnTo>
                        <a:pt x="31" y="17"/>
                      </a:lnTo>
                      <a:lnTo>
                        <a:pt x="31" y="19"/>
                      </a:lnTo>
                      <a:lnTo>
                        <a:pt x="31" y="34"/>
                      </a:lnTo>
                      <a:lnTo>
                        <a:pt x="26" y="36"/>
                      </a:lnTo>
                      <a:lnTo>
                        <a:pt x="24" y="36"/>
                      </a:lnTo>
                      <a:lnTo>
                        <a:pt x="19" y="36"/>
                      </a:lnTo>
                      <a:lnTo>
                        <a:pt x="15" y="34"/>
                      </a:lnTo>
                      <a:lnTo>
                        <a:pt x="12" y="31"/>
                      </a:lnTo>
                      <a:lnTo>
                        <a:pt x="12" y="31"/>
                      </a:lnTo>
                      <a:lnTo>
                        <a:pt x="10" y="29"/>
                      </a:lnTo>
                      <a:lnTo>
                        <a:pt x="10" y="29"/>
                      </a:lnTo>
                      <a:lnTo>
                        <a:pt x="10" y="26"/>
                      </a:lnTo>
                      <a:lnTo>
                        <a:pt x="10" y="26"/>
                      </a:lnTo>
                      <a:lnTo>
                        <a:pt x="7" y="26"/>
                      </a:lnTo>
                      <a:lnTo>
                        <a:pt x="5" y="24"/>
                      </a:lnTo>
                      <a:lnTo>
                        <a:pt x="5" y="22"/>
                      </a:lnTo>
                      <a:lnTo>
                        <a:pt x="5" y="19"/>
                      </a:lnTo>
                      <a:lnTo>
                        <a:pt x="3" y="19"/>
                      </a:lnTo>
                      <a:lnTo>
                        <a:pt x="0" y="17"/>
                      </a:lnTo>
                      <a:lnTo>
                        <a:pt x="3" y="15"/>
                      </a:lnTo>
                      <a:lnTo>
                        <a:pt x="0" y="12"/>
                      </a:lnTo>
                      <a:lnTo>
                        <a:pt x="0" y="12"/>
                      </a:lnTo>
                      <a:lnTo>
                        <a:pt x="3" y="10"/>
                      </a:lnTo>
                      <a:lnTo>
                        <a:pt x="3" y="10"/>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128">
                  <a:extLst>
                    <a:ext uri="{FF2B5EF4-FFF2-40B4-BE49-F238E27FC236}">
                      <a16:creationId xmlns:a16="http://schemas.microsoft.com/office/drawing/2014/main" id="{C1790FF6-95E1-ACD3-7CEB-086A3C0FFE57}"/>
                    </a:ext>
                  </a:extLst>
                </p:cNvPr>
                <p:cNvSpPr>
                  <a:spLocks/>
                </p:cNvSpPr>
                <p:nvPr/>
              </p:nvSpPr>
              <p:spPr bwMode="auto">
                <a:xfrm>
                  <a:off x="2529" y="2512"/>
                  <a:ext cx="45" cy="45"/>
                </a:xfrm>
                <a:custGeom>
                  <a:avLst/>
                  <a:gdLst>
                    <a:gd name="T0" fmla="*/ 0 w 45"/>
                    <a:gd name="T1" fmla="*/ 19 h 45"/>
                    <a:gd name="T2" fmla="*/ 0 w 45"/>
                    <a:gd name="T3" fmla="*/ 17 h 45"/>
                    <a:gd name="T4" fmla="*/ 2 w 45"/>
                    <a:gd name="T5" fmla="*/ 14 h 45"/>
                    <a:gd name="T6" fmla="*/ 4 w 45"/>
                    <a:gd name="T7" fmla="*/ 14 h 45"/>
                    <a:gd name="T8" fmla="*/ 7 w 45"/>
                    <a:gd name="T9" fmla="*/ 12 h 45"/>
                    <a:gd name="T10" fmla="*/ 7 w 45"/>
                    <a:gd name="T11" fmla="*/ 9 h 45"/>
                    <a:gd name="T12" fmla="*/ 7 w 45"/>
                    <a:gd name="T13" fmla="*/ 7 h 45"/>
                    <a:gd name="T14" fmla="*/ 9 w 45"/>
                    <a:gd name="T15" fmla="*/ 5 h 45"/>
                    <a:gd name="T16" fmla="*/ 9 w 45"/>
                    <a:gd name="T17" fmla="*/ 5 h 45"/>
                    <a:gd name="T18" fmla="*/ 9 w 45"/>
                    <a:gd name="T19" fmla="*/ 2 h 45"/>
                    <a:gd name="T20" fmla="*/ 11 w 45"/>
                    <a:gd name="T21" fmla="*/ 0 h 45"/>
                    <a:gd name="T22" fmla="*/ 14 w 45"/>
                    <a:gd name="T23" fmla="*/ 2 h 45"/>
                    <a:gd name="T24" fmla="*/ 19 w 45"/>
                    <a:gd name="T25" fmla="*/ 0 h 45"/>
                    <a:gd name="T26" fmla="*/ 21 w 45"/>
                    <a:gd name="T27" fmla="*/ 0 h 45"/>
                    <a:gd name="T28" fmla="*/ 21 w 45"/>
                    <a:gd name="T29" fmla="*/ 2 h 45"/>
                    <a:gd name="T30" fmla="*/ 23 w 45"/>
                    <a:gd name="T31" fmla="*/ 5 h 45"/>
                    <a:gd name="T32" fmla="*/ 23 w 45"/>
                    <a:gd name="T33" fmla="*/ 9 h 45"/>
                    <a:gd name="T34" fmla="*/ 23 w 45"/>
                    <a:gd name="T35" fmla="*/ 9 h 45"/>
                    <a:gd name="T36" fmla="*/ 26 w 45"/>
                    <a:gd name="T37" fmla="*/ 14 h 45"/>
                    <a:gd name="T38" fmla="*/ 28 w 45"/>
                    <a:gd name="T39" fmla="*/ 14 h 45"/>
                    <a:gd name="T40" fmla="*/ 30 w 45"/>
                    <a:gd name="T41" fmla="*/ 12 h 45"/>
                    <a:gd name="T42" fmla="*/ 33 w 45"/>
                    <a:gd name="T43" fmla="*/ 12 h 45"/>
                    <a:gd name="T44" fmla="*/ 33 w 45"/>
                    <a:gd name="T45" fmla="*/ 12 h 45"/>
                    <a:gd name="T46" fmla="*/ 35 w 45"/>
                    <a:gd name="T47" fmla="*/ 14 h 45"/>
                    <a:gd name="T48" fmla="*/ 33 w 45"/>
                    <a:gd name="T49" fmla="*/ 14 h 45"/>
                    <a:gd name="T50" fmla="*/ 35 w 45"/>
                    <a:gd name="T51" fmla="*/ 17 h 45"/>
                    <a:gd name="T52" fmla="*/ 33 w 45"/>
                    <a:gd name="T53" fmla="*/ 21 h 45"/>
                    <a:gd name="T54" fmla="*/ 30 w 45"/>
                    <a:gd name="T55" fmla="*/ 21 h 45"/>
                    <a:gd name="T56" fmla="*/ 33 w 45"/>
                    <a:gd name="T57" fmla="*/ 24 h 45"/>
                    <a:gd name="T58" fmla="*/ 33 w 45"/>
                    <a:gd name="T59" fmla="*/ 24 h 45"/>
                    <a:gd name="T60" fmla="*/ 35 w 45"/>
                    <a:gd name="T61" fmla="*/ 24 h 45"/>
                    <a:gd name="T62" fmla="*/ 37 w 45"/>
                    <a:gd name="T63" fmla="*/ 24 h 45"/>
                    <a:gd name="T64" fmla="*/ 37 w 45"/>
                    <a:gd name="T65" fmla="*/ 26 h 45"/>
                    <a:gd name="T66" fmla="*/ 40 w 45"/>
                    <a:gd name="T67" fmla="*/ 26 h 45"/>
                    <a:gd name="T68" fmla="*/ 40 w 45"/>
                    <a:gd name="T69" fmla="*/ 26 h 45"/>
                    <a:gd name="T70" fmla="*/ 42 w 45"/>
                    <a:gd name="T71" fmla="*/ 28 h 45"/>
                    <a:gd name="T72" fmla="*/ 42 w 45"/>
                    <a:gd name="T73" fmla="*/ 28 h 45"/>
                    <a:gd name="T74" fmla="*/ 45 w 45"/>
                    <a:gd name="T75" fmla="*/ 28 h 45"/>
                    <a:gd name="T76" fmla="*/ 45 w 45"/>
                    <a:gd name="T77" fmla="*/ 31 h 45"/>
                    <a:gd name="T78" fmla="*/ 45 w 45"/>
                    <a:gd name="T79" fmla="*/ 33 h 45"/>
                    <a:gd name="T80" fmla="*/ 45 w 45"/>
                    <a:gd name="T81" fmla="*/ 33 h 45"/>
                    <a:gd name="T82" fmla="*/ 42 w 45"/>
                    <a:gd name="T83" fmla="*/ 36 h 45"/>
                    <a:gd name="T84" fmla="*/ 42 w 45"/>
                    <a:gd name="T85" fmla="*/ 36 h 45"/>
                    <a:gd name="T86" fmla="*/ 45 w 45"/>
                    <a:gd name="T87" fmla="*/ 38 h 45"/>
                    <a:gd name="T88" fmla="*/ 42 w 45"/>
                    <a:gd name="T89" fmla="*/ 40 h 45"/>
                    <a:gd name="T90" fmla="*/ 45 w 45"/>
                    <a:gd name="T91" fmla="*/ 43 h 45"/>
                    <a:gd name="T92" fmla="*/ 45 w 45"/>
                    <a:gd name="T93" fmla="*/ 45 h 45"/>
                    <a:gd name="T94" fmla="*/ 33 w 45"/>
                    <a:gd name="T95" fmla="*/ 40 h 45"/>
                    <a:gd name="T96" fmla="*/ 23 w 45"/>
                    <a:gd name="T97" fmla="*/ 36 h 45"/>
                    <a:gd name="T98" fmla="*/ 21 w 45"/>
                    <a:gd name="T99" fmla="*/ 36 h 45"/>
                    <a:gd name="T100" fmla="*/ 14 w 45"/>
                    <a:gd name="T101" fmla="*/ 28 h 45"/>
                    <a:gd name="T102" fmla="*/ 9 w 45"/>
                    <a:gd name="T103" fmla="*/ 26 h 45"/>
                    <a:gd name="T104" fmla="*/ 9 w 45"/>
                    <a:gd name="T105" fmla="*/ 26 h 45"/>
                    <a:gd name="T106" fmla="*/ 4 w 45"/>
                    <a:gd name="T107" fmla="*/ 21 h 45"/>
                    <a:gd name="T108" fmla="*/ 4 w 45"/>
                    <a:gd name="T109" fmla="*/ 21 h 45"/>
                    <a:gd name="T110" fmla="*/ 4 w 45"/>
                    <a:gd name="T111" fmla="*/ 19 h 45"/>
                    <a:gd name="T112" fmla="*/ 2 w 45"/>
                    <a:gd name="T113" fmla="*/ 19 h 45"/>
                    <a:gd name="T114" fmla="*/ 0 w 45"/>
                    <a:gd name="T115" fmla="*/ 19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5" h="45">
                      <a:moveTo>
                        <a:pt x="0" y="19"/>
                      </a:moveTo>
                      <a:lnTo>
                        <a:pt x="0" y="17"/>
                      </a:lnTo>
                      <a:lnTo>
                        <a:pt x="2" y="14"/>
                      </a:lnTo>
                      <a:lnTo>
                        <a:pt x="4" y="14"/>
                      </a:lnTo>
                      <a:lnTo>
                        <a:pt x="7" y="12"/>
                      </a:lnTo>
                      <a:lnTo>
                        <a:pt x="7" y="9"/>
                      </a:lnTo>
                      <a:lnTo>
                        <a:pt x="7" y="7"/>
                      </a:lnTo>
                      <a:lnTo>
                        <a:pt x="9" y="5"/>
                      </a:lnTo>
                      <a:lnTo>
                        <a:pt x="9" y="5"/>
                      </a:lnTo>
                      <a:lnTo>
                        <a:pt x="9" y="2"/>
                      </a:lnTo>
                      <a:lnTo>
                        <a:pt x="11" y="0"/>
                      </a:lnTo>
                      <a:lnTo>
                        <a:pt x="14" y="2"/>
                      </a:lnTo>
                      <a:lnTo>
                        <a:pt x="19" y="0"/>
                      </a:lnTo>
                      <a:lnTo>
                        <a:pt x="21" y="0"/>
                      </a:lnTo>
                      <a:lnTo>
                        <a:pt x="21" y="2"/>
                      </a:lnTo>
                      <a:lnTo>
                        <a:pt x="23" y="5"/>
                      </a:lnTo>
                      <a:lnTo>
                        <a:pt x="23" y="9"/>
                      </a:lnTo>
                      <a:lnTo>
                        <a:pt x="23" y="9"/>
                      </a:lnTo>
                      <a:lnTo>
                        <a:pt x="26" y="14"/>
                      </a:lnTo>
                      <a:lnTo>
                        <a:pt x="28" y="14"/>
                      </a:lnTo>
                      <a:lnTo>
                        <a:pt x="30" y="12"/>
                      </a:lnTo>
                      <a:lnTo>
                        <a:pt x="33" y="12"/>
                      </a:lnTo>
                      <a:lnTo>
                        <a:pt x="33" y="12"/>
                      </a:lnTo>
                      <a:lnTo>
                        <a:pt x="35" y="14"/>
                      </a:lnTo>
                      <a:lnTo>
                        <a:pt x="33" y="14"/>
                      </a:lnTo>
                      <a:lnTo>
                        <a:pt x="35" y="17"/>
                      </a:lnTo>
                      <a:lnTo>
                        <a:pt x="33" y="21"/>
                      </a:lnTo>
                      <a:lnTo>
                        <a:pt x="30" y="21"/>
                      </a:lnTo>
                      <a:lnTo>
                        <a:pt x="33" y="24"/>
                      </a:lnTo>
                      <a:lnTo>
                        <a:pt x="33" y="24"/>
                      </a:lnTo>
                      <a:lnTo>
                        <a:pt x="35" y="24"/>
                      </a:lnTo>
                      <a:lnTo>
                        <a:pt x="37" y="24"/>
                      </a:lnTo>
                      <a:lnTo>
                        <a:pt x="37" y="26"/>
                      </a:lnTo>
                      <a:lnTo>
                        <a:pt x="40" y="26"/>
                      </a:lnTo>
                      <a:lnTo>
                        <a:pt x="40" y="26"/>
                      </a:lnTo>
                      <a:lnTo>
                        <a:pt x="42" y="28"/>
                      </a:lnTo>
                      <a:lnTo>
                        <a:pt x="42" y="28"/>
                      </a:lnTo>
                      <a:lnTo>
                        <a:pt x="45" y="28"/>
                      </a:lnTo>
                      <a:lnTo>
                        <a:pt x="45" y="31"/>
                      </a:lnTo>
                      <a:lnTo>
                        <a:pt x="45" y="33"/>
                      </a:lnTo>
                      <a:lnTo>
                        <a:pt x="45" y="33"/>
                      </a:lnTo>
                      <a:lnTo>
                        <a:pt x="42" y="36"/>
                      </a:lnTo>
                      <a:lnTo>
                        <a:pt x="42" y="36"/>
                      </a:lnTo>
                      <a:lnTo>
                        <a:pt x="45" y="38"/>
                      </a:lnTo>
                      <a:lnTo>
                        <a:pt x="42" y="40"/>
                      </a:lnTo>
                      <a:lnTo>
                        <a:pt x="45" y="43"/>
                      </a:lnTo>
                      <a:lnTo>
                        <a:pt x="45" y="45"/>
                      </a:lnTo>
                      <a:lnTo>
                        <a:pt x="33" y="40"/>
                      </a:lnTo>
                      <a:lnTo>
                        <a:pt x="23" y="36"/>
                      </a:lnTo>
                      <a:lnTo>
                        <a:pt x="21" y="36"/>
                      </a:lnTo>
                      <a:lnTo>
                        <a:pt x="14" y="28"/>
                      </a:lnTo>
                      <a:lnTo>
                        <a:pt x="9" y="26"/>
                      </a:lnTo>
                      <a:lnTo>
                        <a:pt x="9" y="26"/>
                      </a:lnTo>
                      <a:lnTo>
                        <a:pt x="4" y="21"/>
                      </a:lnTo>
                      <a:lnTo>
                        <a:pt x="4" y="21"/>
                      </a:lnTo>
                      <a:lnTo>
                        <a:pt x="4" y="19"/>
                      </a:lnTo>
                      <a:lnTo>
                        <a:pt x="2" y="19"/>
                      </a:lnTo>
                      <a:lnTo>
                        <a:pt x="0" y="19"/>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Freeform 129">
                  <a:extLst>
                    <a:ext uri="{FF2B5EF4-FFF2-40B4-BE49-F238E27FC236}">
                      <a16:creationId xmlns:a16="http://schemas.microsoft.com/office/drawing/2014/main" id="{A5BAFC36-E734-35CC-A872-0A7D098EBA28}"/>
                    </a:ext>
                  </a:extLst>
                </p:cNvPr>
                <p:cNvSpPr>
                  <a:spLocks/>
                </p:cNvSpPr>
                <p:nvPr/>
              </p:nvSpPr>
              <p:spPr bwMode="auto">
                <a:xfrm>
                  <a:off x="2559" y="2491"/>
                  <a:ext cx="71" cy="66"/>
                </a:xfrm>
                <a:custGeom>
                  <a:avLst/>
                  <a:gdLst>
                    <a:gd name="T0" fmla="*/ 15 w 71"/>
                    <a:gd name="T1" fmla="*/ 64 h 66"/>
                    <a:gd name="T2" fmla="*/ 15 w 71"/>
                    <a:gd name="T3" fmla="*/ 59 h 66"/>
                    <a:gd name="T4" fmla="*/ 12 w 71"/>
                    <a:gd name="T5" fmla="*/ 57 h 66"/>
                    <a:gd name="T6" fmla="*/ 15 w 71"/>
                    <a:gd name="T7" fmla="*/ 54 h 66"/>
                    <a:gd name="T8" fmla="*/ 15 w 71"/>
                    <a:gd name="T9" fmla="*/ 49 h 66"/>
                    <a:gd name="T10" fmla="*/ 12 w 71"/>
                    <a:gd name="T11" fmla="*/ 49 h 66"/>
                    <a:gd name="T12" fmla="*/ 10 w 71"/>
                    <a:gd name="T13" fmla="*/ 47 h 66"/>
                    <a:gd name="T14" fmla="*/ 7 w 71"/>
                    <a:gd name="T15" fmla="*/ 45 h 66"/>
                    <a:gd name="T16" fmla="*/ 3 w 71"/>
                    <a:gd name="T17" fmla="*/ 45 h 66"/>
                    <a:gd name="T18" fmla="*/ 0 w 71"/>
                    <a:gd name="T19" fmla="*/ 42 h 66"/>
                    <a:gd name="T20" fmla="*/ 5 w 71"/>
                    <a:gd name="T21" fmla="*/ 38 h 66"/>
                    <a:gd name="T22" fmla="*/ 5 w 71"/>
                    <a:gd name="T23" fmla="*/ 35 h 66"/>
                    <a:gd name="T24" fmla="*/ 10 w 71"/>
                    <a:gd name="T25" fmla="*/ 28 h 66"/>
                    <a:gd name="T26" fmla="*/ 10 w 71"/>
                    <a:gd name="T27" fmla="*/ 26 h 66"/>
                    <a:gd name="T28" fmla="*/ 7 w 71"/>
                    <a:gd name="T29" fmla="*/ 21 h 66"/>
                    <a:gd name="T30" fmla="*/ 10 w 71"/>
                    <a:gd name="T31" fmla="*/ 21 h 66"/>
                    <a:gd name="T32" fmla="*/ 10 w 71"/>
                    <a:gd name="T33" fmla="*/ 16 h 66"/>
                    <a:gd name="T34" fmla="*/ 7 w 71"/>
                    <a:gd name="T35" fmla="*/ 14 h 66"/>
                    <a:gd name="T36" fmla="*/ 7 w 71"/>
                    <a:gd name="T37" fmla="*/ 7 h 66"/>
                    <a:gd name="T38" fmla="*/ 7 w 71"/>
                    <a:gd name="T39" fmla="*/ 4 h 66"/>
                    <a:gd name="T40" fmla="*/ 15 w 71"/>
                    <a:gd name="T41" fmla="*/ 0 h 66"/>
                    <a:gd name="T42" fmla="*/ 19 w 71"/>
                    <a:gd name="T43" fmla="*/ 2 h 66"/>
                    <a:gd name="T44" fmla="*/ 24 w 71"/>
                    <a:gd name="T45" fmla="*/ 2 h 66"/>
                    <a:gd name="T46" fmla="*/ 29 w 71"/>
                    <a:gd name="T47" fmla="*/ 0 h 66"/>
                    <a:gd name="T48" fmla="*/ 31 w 71"/>
                    <a:gd name="T49" fmla="*/ 0 h 66"/>
                    <a:gd name="T50" fmla="*/ 36 w 71"/>
                    <a:gd name="T51" fmla="*/ 2 h 66"/>
                    <a:gd name="T52" fmla="*/ 38 w 71"/>
                    <a:gd name="T53" fmla="*/ 0 h 66"/>
                    <a:gd name="T54" fmla="*/ 48 w 71"/>
                    <a:gd name="T55" fmla="*/ 4 h 66"/>
                    <a:gd name="T56" fmla="*/ 50 w 71"/>
                    <a:gd name="T57" fmla="*/ 4 h 66"/>
                    <a:gd name="T58" fmla="*/ 55 w 71"/>
                    <a:gd name="T59" fmla="*/ 4 h 66"/>
                    <a:gd name="T60" fmla="*/ 60 w 71"/>
                    <a:gd name="T61" fmla="*/ 9 h 66"/>
                    <a:gd name="T62" fmla="*/ 64 w 71"/>
                    <a:gd name="T63" fmla="*/ 7 h 66"/>
                    <a:gd name="T64" fmla="*/ 67 w 71"/>
                    <a:gd name="T65" fmla="*/ 7 h 66"/>
                    <a:gd name="T66" fmla="*/ 69 w 71"/>
                    <a:gd name="T67" fmla="*/ 9 h 66"/>
                    <a:gd name="T68" fmla="*/ 69 w 71"/>
                    <a:gd name="T69" fmla="*/ 14 h 66"/>
                    <a:gd name="T70" fmla="*/ 71 w 71"/>
                    <a:gd name="T71" fmla="*/ 16 h 66"/>
                    <a:gd name="T72" fmla="*/ 71 w 71"/>
                    <a:gd name="T73" fmla="*/ 21 h 66"/>
                    <a:gd name="T74" fmla="*/ 69 w 71"/>
                    <a:gd name="T75" fmla="*/ 26 h 66"/>
                    <a:gd name="T76" fmla="*/ 64 w 71"/>
                    <a:gd name="T77" fmla="*/ 33 h 66"/>
                    <a:gd name="T78" fmla="*/ 64 w 71"/>
                    <a:gd name="T79" fmla="*/ 35 h 66"/>
                    <a:gd name="T80" fmla="*/ 62 w 71"/>
                    <a:gd name="T81" fmla="*/ 42 h 66"/>
                    <a:gd name="T82" fmla="*/ 62 w 71"/>
                    <a:gd name="T83" fmla="*/ 45 h 66"/>
                    <a:gd name="T84" fmla="*/ 64 w 71"/>
                    <a:gd name="T85" fmla="*/ 49 h 66"/>
                    <a:gd name="T86" fmla="*/ 67 w 71"/>
                    <a:gd name="T87" fmla="*/ 52 h 66"/>
                    <a:gd name="T88" fmla="*/ 69 w 71"/>
                    <a:gd name="T89" fmla="*/ 57 h 66"/>
                    <a:gd name="T90" fmla="*/ 64 w 71"/>
                    <a:gd name="T91" fmla="*/ 57 h 66"/>
                    <a:gd name="T92" fmla="*/ 62 w 71"/>
                    <a:gd name="T93" fmla="*/ 54 h 66"/>
                    <a:gd name="T94" fmla="*/ 60 w 71"/>
                    <a:gd name="T95" fmla="*/ 59 h 66"/>
                    <a:gd name="T96" fmla="*/ 50 w 71"/>
                    <a:gd name="T97" fmla="*/ 57 h 66"/>
                    <a:gd name="T98" fmla="*/ 29 w 71"/>
                    <a:gd name="T99" fmla="*/ 59 h 66"/>
                    <a:gd name="T100" fmla="*/ 22 w 71"/>
                    <a:gd name="T101" fmla="*/ 61 h 66"/>
                    <a:gd name="T102" fmla="*/ 19 w 71"/>
                    <a:gd name="T103" fmla="*/ 64 h 66"/>
                    <a:gd name="T104" fmla="*/ 15 w 71"/>
                    <a:gd name="T105"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1" h="66">
                      <a:moveTo>
                        <a:pt x="15" y="66"/>
                      </a:moveTo>
                      <a:lnTo>
                        <a:pt x="15" y="64"/>
                      </a:lnTo>
                      <a:lnTo>
                        <a:pt x="12" y="61"/>
                      </a:lnTo>
                      <a:lnTo>
                        <a:pt x="15" y="59"/>
                      </a:lnTo>
                      <a:lnTo>
                        <a:pt x="12" y="57"/>
                      </a:lnTo>
                      <a:lnTo>
                        <a:pt x="12" y="57"/>
                      </a:lnTo>
                      <a:lnTo>
                        <a:pt x="15" y="54"/>
                      </a:lnTo>
                      <a:lnTo>
                        <a:pt x="15" y="54"/>
                      </a:lnTo>
                      <a:lnTo>
                        <a:pt x="15" y="52"/>
                      </a:lnTo>
                      <a:lnTo>
                        <a:pt x="15" y="49"/>
                      </a:lnTo>
                      <a:lnTo>
                        <a:pt x="12" y="49"/>
                      </a:lnTo>
                      <a:lnTo>
                        <a:pt x="12" y="49"/>
                      </a:lnTo>
                      <a:lnTo>
                        <a:pt x="10" y="47"/>
                      </a:lnTo>
                      <a:lnTo>
                        <a:pt x="10" y="47"/>
                      </a:lnTo>
                      <a:lnTo>
                        <a:pt x="7" y="47"/>
                      </a:lnTo>
                      <a:lnTo>
                        <a:pt x="7" y="45"/>
                      </a:lnTo>
                      <a:lnTo>
                        <a:pt x="5" y="45"/>
                      </a:lnTo>
                      <a:lnTo>
                        <a:pt x="3" y="45"/>
                      </a:lnTo>
                      <a:lnTo>
                        <a:pt x="3" y="45"/>
                      </a:lnTo>
                      <a:lnTo>
                        <a:pt x="0" y="42"/>
                      </a:lnTo>
                      <a:lnTo>
                        <a:pt x="3" y="42"/>
                      </a:lnTo>
                      <a:lnTo>
                        <a:pt x="5" y="38"/>
                      </a:lnTo>
                      <a:lnTo>
                        <a:pt x="3" y="35"/>
                      </a:lnTo>
                      <a:lnTo>
                        <a:pt x="5" y="35"/>
                      </a:lnTo>
                      <a:lnTo>
                        <a:pt x="5" y="33"/>
                      </a:lnTo>
                      <a:lnTo>
                        <a:pt x="10" y="28"/>
                      </a:lnTo>
                      <a:lnTo>
                        <a:pt x="10" y="26"/>
                      </a:lnTo>
                      <a:lnTo>
                        <a:pt x="10" y="26"/>
                      </a:lnTo>
                      <a:lnTo>
                        <a:pt x="7" y="23"/>
                      </a:lnTo>
                      <a:lnTo>
                        <a:pt x="7" y="21"/>
                      </a:lnTo>
                      <a:lnTo>
                        <a:pt x="7" y="21"/>
                      </a:lnTo>
                      <a:lnTo>
                        <a:pt x="10" y="21"/>
                      </a:lnTo>
                      <a:lnTo>
                        <a:pt x="10" y="19"/>
                      </a:lnTo>
                      <a:lnTo>
                        <a:pt x="10" y="16"/>
                      </a:lnTo>
                      <a:lnTo>
                        <a:pt x="7" y="16"/>
                      </a:lnTo>
                      <a:lnTo>
                        <a:pt x="7" y="14"/>
                      </a:lnTo>
                      <a:lnTo>
                        <a:pt x="7" y="11"/>
                      </a:lnTo>
                      <a:lnTo>
                        <a:pt x="7" y="7"/>
                      </a:lnTo>
                      <a:lnTo>
                        <a:pt x="7" y="7"/>
                      </a:lnTo>
                      <a:lnTo>
                        <a:pt x="7" y="4"/>
                      </a:lnTo>
                      <a:lnTo>
                        <a:pt x="10" y="2"/>
                      </a:lnTo>
                      <a:lnTo>
                        <a:pt x="15" y="0"/>
                      </a:lnTo>
                      <a:lnTo>
                        <a:pt x="17" y="0"/>
                      </a:lnTo>
                      <a:lnTo>
                        <a:pt x="19" y="2"/>
                      </a:lnTo>
                      <a:lnTo>
                        <a:pt x="24" y="2"/>
                      </a:lnTo>
                      <a:lnTo>
                        <a:pt x="24" y="2"/>
                      </a:lnTo>
                      <a:lnTo>
                        <a:pt x="24" y="0"/>
                      </a:lnTo>
                      <a:lnTo>
                        <a:pt x="29" y="0"/>
                      </a:lnTo>
                      <a:lnTo>
                        <a:pt x="31" y="0"/>
                      </a:lnTo>
                      <a:lnTo>
                        <a:pt x="31" y="0"/>
                      </a:lnTo>
                      <a:lnTo>
                        <a:pt x="31" y="2"/>
                      </a:lnTo>
                      <a:lnTo>
                        <a:pt x="36" y="2"/>
                      </a:lnTo>
                      <a:lnTo>
                        <a:pt x="38" y="0"/>
                      </a:lnTo>
                      <a:lnTo>
                        <a:pt x="38" y="0"/>
                      </a:lnTo>
                      <a:lnTo>
                        <a:pt x="43" y="2"/>
                      </a:lnTo>
                      <a:lnTo>
                        <a:pt x="48" y="4"/>
                      </a:lnTo>
                      <a:lnTo>
                        <a:pt x="48" y="4"/>
                      </a:lnTo>
                      <a:lnTo>
                        <a:pt x="50" y="4"/>
                      </a:lnTo>
                      <a:lnTo>
                        <a:pt x="50" y="4"/>
                      </a:lnTo>
                      <a:lnTo>
                        <a:pt x="55" y="4"/>
                      </a:lnTo>
                      <a:lnTo>
                        <a:pt x="55" y="7"/>
                      </a:lnTo>
                      <a:lnTo>
                        <a:pt x="60" y="9"/>
                      </a:lnTo>
                      <a:lnTo>
                        <a:pt x="62" y="7"/>
                      </a:lnTo>
                      <a:lnTo>
                        <a:pt x="64" y="7"/>
                      </a:lnTo>
                      <a:lnTo>
                        <a:pt x="64" y="7"/>
                      </a:lnTo>
                      <a:lnTo>
                        <a:pt x="67" y="7"/>
                      </a:lnTo>
                      <a:lnTo>
                        <a:pt x="69" y="9"/>
                      </a:lnTo>
                      <a:lnTo>
                        <a:pt x="69" y="9"/>
                      </a:lnTo>
                      <a:lnTo>
                        <a:pt x="69" y="11"/>
                      </a:lnTo>
                      <a:lnTo>
                        <a:pt x="69" y="14"/>
                      </a:lnTo>
                      <a:lnTo>
                        <a:pt x="69" y="16"/>
                      </a:lnTo>
                      <a:lnTo>
                        <a:pt x="71" y="16"/>
                      </a:lnTo>
                      <a:lnTo>
                        <a:pt x="71" y="21"/>
                      </a:lnTo>
                      <a:lnTo>
                        <a:pt x="71" y="21"/>
                      </a:lnTo>
                      <a:lnTo>
                        <a:pt x="71" y="23"/>
                      </a:lnTo>
                      <a:lnTo>
                        <a:pt x="69" y="26"/>
                      </a:lnTo>
                      <a:lnTo>
                        <a:pt x="64" y="30"/>
                      </a:lnTo>
                      <a:lnTo>
                        <a:pt x="64" y="33"/>
                      </a:lnTo>
                      <a:lnTo>
                        <a:pt x="64" y="33"/>
                      </a:lnTo>
                      <a:lnTo>
                        <a:pt x="64" y="35"/>
                      </a:lnTo>
                      <a:lnTo>
                        <a:pt x="62" y="38"/>
                      </a:lnTo>
                      <a:lnTo>
                        <a:pt x="62" y="42"/>
                      </a:lnTo>
                      <a:lnTo>
                        <a:pt x="62" y="42"/>
                      </a:lnTo>
                      <a:lnTo>
                        <a:pt x="62" y="45"/>
                      </a:lnTo>
                      <a:lnTo>
                        <a:pt x="64" y="45"/>
                      </a:lnTo>
                      <a:lnTo>
                        <a:pt x="64" y="49"/>
                      </a:lnTo>
                      <a:lnTo>
                        <a:pt x="64" y="52"/>
                      </a:lnTo>
                      <a:lnTo>
                        <a:pt x="67" y="52"/>
                      </a:lnTo>
                      <a:lnTo>
                        <a:pt x="69" y="54"/>
                      </a:lnTo>
                      <a:lnTo>
                        <a:pt x="69" y="57"/>
                      </a:lnTo>
                      <a:lnTo>
                        <a:pt x="67" y="57"/>
                      </a:lnTo>
                      <a:lnTo>
                        <a:pt x="64" y="57"/>
                      </a:lnTo>
                      <a:lnTo>
                        <a:pt x="64" y="59"/>
                      </a:lnTo>
                      <a:lnTo>
                        <a:pt x="62" y="54"/>
                      </a:lnTo>
                      <a:lnTo>
                        <a:pt x="60" y="57"/>
                      </a:lnTo>
                      <a:lnTo>
                        <a:pt x="60" y="59"/>
                      </a:lnTo>
                      <a:lnTo>
                        <a:pt x="55" y="57"/>
                      </a:lnTo>
                      <a:lnTo>
                        <a:pt x="50" y="57"/>
                      </a:lnTo>
                      <a:lnTo>
                        <a:pt x="34" y="57"/>
                      </a:lnTo>
                      <a:lnTo>
                        <a:pt x="29" y="59"/>
                      </a:lnTo>
                      <a:lnTo>
                        <a:pt x="29" y="59"/>
                      </a:lnTo>
                      <a:lnTo>
                        <a:pt x="22" y="61"/>
                      </a:lnTo>
                      <a:lnTo>
                        <a:pt x="22" y="64"/>
                      </a:lnTo>
                      <a:lnTo>
                        <a:pt x="19" y="64"/>
                      </a:lnTo>
                      <a:lnTo>
                        <a:pt x="15" y="66"/>
                      </a:lnTo>
                      <a:lnTo>
                        <a:pt x="15" y="66"/>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Freeform 130">
                  <a:extLst>
                    <a:ext uri="{FF2B5EF4-FFF2-40B4-BE49-F238E27FC236}">
                      <a16:creationId xmlns:a16="http://schemas.microsoft.com/office/drawing/2014/main" id="{CE0E2441-4074-7119-9A28-FBDD990D6E59}"/>
                    </a:ext>
                  </a:extLst>
                </p:cNvPr>
                <p:cNvSpPr>
                  <a:spLocks/>
                </p:cNvSpPr>
                <p:nvPr/>
              </p:nvSpPr>
              <p:spPr bwMode="auto">
                <a:xfrm>
                  <a:off x="2621" y="2484"/>
                  <a:ext cx="47" cy="68"/>
                </a:xfrm>
                <a:custGeom>
                  <a:avLst/>
                  <a:gdLst>
                    <a:gd name="T0" fmla="*/ 2 w 47"/>
                    <a:gd name="T1" fmla="*/ 64 h 68"/>
                    <a:gd name="T2" fmla="*/ 7 w 47"/>
                    <a:gd name="T3" fmla="*/ 64 h 68"/>
                    <a:gd name="T4" fmla="*/ 5 w 47"/>
                    <a:gd name="T5" fmla="*/ 59 h 68"/>
                    <a:gd name="T6" fmla="*/ 2 w 47"/>
                    <a:gd name="T7" fmla="*/ 56 h 68"/>
                    <a:gd name="T8" fmla="*/ 0 w 47"/>
                    <a:gd name="T9" fmla="*/ 52 h 68"/>
                    <a:gd name="T10" fmla="*/ 0 w 47"/>
                    <a:gd name="T11" fmla="*/ 49 h 68"/>
                    <a:gd name="T12" fmla="*/ 2 w 47"/>
                    <a:gd name="T13" fmla="*/ 42 h 68"/>
                    <a:gd name="T14" fmla="*/ 2 w 47"/>
                    <a:gd name="T15" fmla="*/ 40 h 68"/>
                    <a:gd name="T16" fmla="*/ 7 w 47"/>
                    <a:gd name="T17" fmla="*/ 33 h 68"/>
                    <a:gd name="T18" fmla="*/ 9 w 47"/>
                    <a:gd name="T19" fmla="*/ 28 h 68"/>
                    <a:gd name="T20" fmla="*/ 9 w 47"/>
                    <a:gd name="T21" fmla="*/ 23 h 68"/>
                    <a:gd name="T22" fmla="*/ 7 w 47"/>
                    <a:gd name="T23" fmla="*/ 21 h 68"/>
                    <a:gd name="T24" fmla="*/ 7 w 47"/>
                    <a:gd name="T25" fmla="*/ 16 h 68"/>
                    <a:gd name="T26" fmla="*/ 5 w 47"/>
                    <a:gd name="T27" fmla="*/ 9 h 68"/>
                    <a:gd name="T28" fmla="*/ 5 w 47"/>
                    <a:gd name="T29" fmla="*/ 4 h 68"/>
                    <a:gd name="T30" fmla="*/ 7 w 47"/>
                    <a:gd name="T31" fmla="*/ 2 h 68"/>
                    <a:gd name="T32" fmla="*/ 16 w 47"/>
                    <a:gd name="T33" fmla="*/ 2 h 68"/>
                    <a:gd name="T34" fmla="*/ 28 w 47"/>
                    <a:gd name="T35" fmla="*/ 2 h 68"/>
                    <a:gd name="T36" fmla="*/ 33 w 47"/>
                    <a:gd name="T37" fmla="*/ 0 h 68"/>
                    <a:gd name="T38" fmla="*/ 33 w 47"/>
                    <a:gd name="T39" fmla="*/ 4 h 68"/>
                    <a:gd name="T40" fmla="*/ 35 w 47"/>
                    <a:gd name="T41" fmla="*/ 7 h 68"/>
                    <a:gd name="T42" fmla="*/ 38 w 47"/>
                    <a:gd name="T43" fmla="*/ 9 h 68"/>
                    <a:gd name="T44" fmla="*/ 40 w 47"/>
                    <a:gd name="T45" fmla="*/ 14 h 68"/>
                    <a:gd name="T46" fmla="*/ 42 w 47"/>
                    <a:gd name="T47" fmla="*/ 18 h 68"/>
                    <a:gd name="T48" fmla="*/ 42 w 47"/>
                    <a:gd name="T49" fmla="*/ 21 h 68"/>
                    <a:gd name="T50" fmla="*/ 42 w 47"/>
                    <a:gd name="T51" fmla="*/ 26 h 68"/>
                    <a:gd name="T52" fmla="*/ 42 w 47"/>
                    <a:gd name="T53" fmla="*/ 28 h 68"/>
                    <a:gd name="T54" fmla="*/ 42 w 47"/>
                    <a:gd name="T55" fmla="*/ 30 h 68"/>
                    <a:gd name="T56" fmla="*/ 45 w 47"/>
                    <a:gd name="T57" fmla="*/ 35 h 68"/>
                    <a:gd name="T58" fmla="*/ 42 w 47"/>
                    <a:gd name="T59" fmla="*/ 45 h 68"/>
                    <a:gd name="T60" fmla="*/ 42 w 47"/>
                    <a:gd name="T61" fmla="*/ 47 h 68"/>
                    <a:gd name="T62" fmla="*/ 45 w 47"/>
                    <a:gd name="T63" fmla="*/ 52 h 68"/>
                    <a:gd name="T64" fmla="*/ 47 w 47"/>
                    <a:gd name="T65" fmla="*/ 54 h 68"/>
                    <a:gd name="T66" fmla="*/ 40 w 47"/>
                    <a:gd name="T67" fmla="*/ 56 h 68"/>
                    <a:gd name="T68" fmla="*/ 31 w 47"/>
                    <a:gd name="T69" fmla="*/ 64 h 68"/>
                    <a:gd name="T70" fmla="*/ 14 w 47"/>
                    <a:gd name="T71" fmla="*/ 68 h 68"/>
                    <a:gd name="T72" fmla="*/ 2 w 47"/>
                    <a:gd name="T73" fmla="*/ 66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7" h="68">
                      <a:moveTo>
                        <a:pt x="2" y="66"/>
                      </a:moveTo>
                      <a:lnTo>
                        <a:pt x="2" y="64"/>
                      </a:lnTo>
                      <a:lnTo>
                        <a:pt x="5" y="64"/>
                      </a:lnTo>
                      <a:lnTo>
                        <a:pt x="7" y="64"/>
                      </a:lnTo>
                      <a:lnTo>
                        <a:pt x="7" y="61"/>
                      </a:lnTo>
                      <a:lnTo>
                        <a:pt x="5" y="59"/>
                      </a:lnTo>
                      <a:lnTo>
                        <a:pt x="2" y="59"/>
                      </a:lnTo>
                      <a:lnTo>
                        <a:pt x="2" y="56"/>
                      </a:lnTo>
                      <a:lnTo>
                        <a:pt x="2" y="52"/>
                      </a:lnTo>
                      <a:lnTo>
                        <a:pt x="0" y="52"/>
                      </a:lnTo>
                      <a:lnTo>
                        <a:pt x="0" y="49"/>
                      </a:lnTo>
                      <a:lnTo>
                        <a:pt x="0" y="49"/>
                      </a:lnTo>
                      <a:lnTo>
                        <a:pt x="0" y="45"/>
                      </a:lnTo>
                      <a:lnTo>
                        <a:pt x="2" y="42"/>
                      </a:lnTo>
                      <a:lnTo>
                        <a:pt x="2" y="40"/>
                      </a:lnTo>
                      <a:lnTo>
                        <a:pt x="2" y="40"/>
                      </a:lnTo>
                      <a:lnTo>
                        <a:pt x="2" y="37"/>
                      </a:lnTo>
                      <a:lnTo>
                        <a:pt x="7" y="33"/>
                      </a:lnTo>
                      <a:lnTo>
                        <a:pt x="9" y="30"/>
                      </a:lnTo>
                      <a:lnTo>
                        <a:pt x="9" y="28"/>
                      </a:lnTo>
                      <a:lnTo>
                        <a:pt x="9" y="28"/>
                      </a:lnTo>
                      <a:lnTo>
                        <a:pt x="9" y="23"/>
                      </a:lnTo>
                      <a:lnTo>
                        <a:pt x="7" y="23"/>
                      </a:lnTo>
                      <a:lnTo>
                        <a:pt x="7" y="21"/>
                      </a:lnTo>
                      <a:lnTo>
                        <a:pt x="7" y="18"/>
                      </a:lnTo>
                      <a:lnTo>
                        <a:pt x="7" y="16"/>
                      </a:lnTo>
                      <a:lnTo>
                        <a:pt x="7" y="11"/>
                      </a:lnTo>
                      <a:lnTo>
                        <a:pt x="5" y="9"/>
                      </a:lnTo>
                      <a:lnTo>
                        <a:pt x="5" y="9"/>
                      </a:lnTo>
                      <a:lnTo>
                        <a:pt x="5" y="4"/>
                      </a:lnTo>
                      <a:lnTo>
                        <a:pt x="5" y="2"/>
                      </a:lnTo>
                      <a:lnTo>
                        <a:pt x="7" y="2"/>
                      </a:lnTo>
                      <a:lnTo>
                        <a:pt x="16" y="2"/>
                      </a:lnTo>
                      <a:lnTo>
                        <a:pt x="16" y="2"/>
                      </a:lnTo>
                      <a:lnTo>
                        <a:pt x="24" y="2"/>
                      </a:lnTo>
                      <a:lnTo>
                        <a:pt x="28" y="2"/>
                      </a:lnTo>
                      <a:lnTo>
                        <a:pt x="31" y="2"/>
                      </a:lnTo>
                      <a:lnTo>
                        <a:pt x="33" y="0"/>
                      </a:lnTo>
                      <a:lnTo>
                        <a:pt x="33" y="0"/>
                      </a:lnTo>
                      <a:lnTo>
                        <a:pt x="33" y="4"/>
                      </a:lnTo>
                      <a:lnTo>
                        <a:pt x="35" y="4"/>
                      </a:lnTo>
                      <a:lnTo>
                        <a:pt x="35" y="7"/>
                      </a:lnTo>
                      <a:lnTo>
                        <a:pt x="38" y="7"/>
                      </a:lnTo>
                      <a:lnTo>
                        <a:pt x="38" y="9"/>
                      </a:lnTo>
                      <a:lnTo>
                        <a:pt x="40" y="11"/>
                      </a:lnTo>
                      <a:lnTo>
                        <a:pt x="40" y="14"/>
                      </a:lnTo>
                      <a:lnTo>
                        <a:pt x="40" y="16"/>
                      </a:lnTo>
                      <a:lnTo>
                        <a:pt x="42" y="18"/>
                      </a:lnTo>
                      <a:lnTo>
                        <a:pt x="42" y="18"/>
                      </a:lnTo>
                      <a:lnTo>
                        <a:pt x="42" y="21"/>
                      </a:lnTo>
                      <a:lnTo>
                        <a:pt x="42" y="23"/>
                      </a:lnTo>
                      <a:lnTo>
                        <a:pt x="42" y="26"/>
                      </a:lnTo>
                      <a:lnTo>
                        <a:pt x="42" y="26"/>
                      </a:lnTo>
                      <a:lnTo>
                        <a:pt x="42" y="28"/>
                      </a:lnTo>
                      <a:lnTo>
                        <a:pt x="42" y="28"/>
                      </a:lnTo>
                      <a:lnTo>
                        <a:pt x="42" y="30"/>
                      </a:lnTo>
                      <a:lnTo>
                        <a:pt x="42" y="33"/>
                      </a:lnTo>
                      <a:lnTo>
                        <a:pt x="45" y="35"/>
                      </a:lnTo>
                      <a:lnTo>
                        <a:pt x="45" y="42"/>
                      </a:lnTo>
                      <a:lnTo>
                        <a:pt x="42" y="45"/>
                      </a:lnTo>
                      <a:lnTo>
                        <a:pt x="42" y="45"/>
                      </a:lnTo>
                      <a:lnTo>
                        <a:pt x="42" y="47"/>
                      </a:lnTo>
                      <a:lnTo>
                        <a:pt x="42" y="49"/>
                      </a:lnTo>
                      <a:lnTo>
                        <a:pt x="45" y="52"/>
                      </a:lnTo>
                      <a:lnTo>
                        <a:pt x="45" y="54"/>
                      </a:lnTo>
                      <a:lnTo>
                        <a:pt x="47" y="54"/>
                      </a:lnTo>
                      <a:lnTo>
                        <a:pt x="47" y="56"/>
                      </a:lnTo>
                      <a:lnTo>
                        <a:pt x="40" y="56"/>
                      </a:lnTo>
                      <a:lnTo>
                        <a:pt x="35" y="59"/>
                      </a:lnTo>
                      <a:lnTo>
                        <a:pt x="31" y="64"/>
                      </a:lnTo>
                      <a:lnTo>
                        <a:pt x="24" y="64"/>
                      </a:lnTo>
                      <a:lnTo>
                        <a:pt x="14" y="68"/>
                      </a:lnTo>
                      <a:lnTo>
                        <a:pt x="9" y="66"/>
                      </a:lnTo>
                      <a:lnTo>
                        <a:pt x="2" y="66"/>
                      </a:lnTo>
                      <a:lnTo>
                        <a:pt x="2" y="66"/>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131">
                  <a:extLst>
                    <a:ext uri="{FF2B5EF4-FFF2-40B4-BE49-F238E27FC236}">
                      <a16:creationId xmlns:a16="http://schemas.microsoft.com/office/drawing/2014/main" id="{E6D200A5-6049-A299-087E-86567794663B}"/>
                    </a:ext>
                  </a:extLst>
                </p:cNvPr>
                <p:cNvSpPr>
                  <a:spLocks/>
                </p:cNvSpPr>
                <p:nvPr/>
              </p:nvSpPr>
              <p:spPr bwMode="auto">
                <a:xfrm>
                  <a:off x="2654" y="2484"/>
                  <a:ext cx="24" cy="56"/>
                </a:xfrm>
                <a:custGeom>
                  <a:avLst/>
                  <a:gdLst>
                    <a:gd name="T0" fmla="*/ 12 w 24"/>
                    <a:gd name="T1" fmla="*/ 2 h 56"/>
                    <a:gd name="T2" fmla="*/ 0 w 24"/>
                    <a:gd name="T3" fmla="*/ 0 h 56"/>
                    <a:gd name="T4" fmla="*/ 0 w 24"/>
                    <a:gd name="T5" fmla="*/ 0 h 56"/>
                    <a:gd name="T6" fmla="*/ 0 w 24"/>
                    <a:gd name="T7" fmla="*/ 4 h 56"/>
                    <a:gd name="T8" fmla="*/ 2 w 24"/>
                    <a:gd name="T9" fmla="*/ 4 h 56"/>
                    <a:gd name="T10" fmla="*/ 2 w 24"/>
                    <a:gd name="T11" fmla="*/ 7 h 56"/>
                    <a:gd name="T12" fmla="*/ 5 w 24"/>
                    <a:gd name="T13" fmla="*/ 7 h 56"/>
                    <a:gd name="T14" fmla="*/ 5 w 24"/>
                    <a:gd name="T15" fmla="*/ 9 h 56"/>
                    <a:gd name="T16" fmla="*/ 7 w 24"/>
                    <a:gd name="T17" fmla="*/ 11 h 56"/>
                    <a:gd name="T18" fmla="*/ 7 w 24"/>
                    <a:gd name="T19" fmla="*/ 14 h 56"/>
                    <a:gd name="T20" fmla="*/ 7 w 24"/>
                    <a:gd name="T21" fmla="*/ 16 h 56"/>
                    <a:gd name="T22" fmla="*/ 9 w 24"/>
                    <a:gd name="T23" fmla="*/ 18 h 56"/>
                    <a:gd name="T24" fmla="*/ 9 w 24"/>
                    <a:gd name="T25" fmla="*/ 18 h 56"/>
                    <a:gd name="T26" fmla="*/ 9 w 24"/>
                    <a:gd name="T27" fmla="*/ 21 h 56"/>
                    <a:gd name="T28" fmla="*/ 9 w 24"/>
                    <a:gd name="T29" fmla="*/ 23 h 56"/>
                    <a:gd name="T30" fmla="*/ 9 w 24"/>
                    <a:gd name="T31" fmla="*/ 26 h 56"/>
                    <a:gd name="T32" fmla="*/ 9 w 24"/>
                    <a:gd name="T33" fmla="*/ 26 h 56"/>
                    <a:gd name="T34" fmla="*/ 9 w 24"/>
                    <a:gd name="T35" fmla="*/ 28 h 56"/>
                    <a:gd name="T36" fmla="*/ 9 w 24"/>
                    <a:gd name="T37" fmla="*/ 28 h 56"/>
                    <a:gd name="T38" fmla="*/ 9 w 24"/>
                    <a:gd name="T39" fmla="*/ 30 h 56"/>
                    <a:gd name="T40" fmla="*/ 9 w 24"/>
                    <a:gd name="T41" fmla="*/ 33 h 56"/>
                    <a:gd name="T42" fmla="*/ 12 w 24"/>
                    <a:gd name="T43" fmla="*/ 35 h 56"/>
                    <a:gd name="T44" fmla="*/ 12 w 24"/>
                    <a:gd name="T45" fmla="*/ 42 h 56"/>
                    <a:gd name="T46" fmla="*/ 9 w 24"/>
                    <a:gd name="T47" fmla="*/ 45 h 56"/>
                    <a:gd name="T48" fmla="*/ 9 w 24"/>
                    <a:gd name="T49" fmla="*/ 45 h 56"/>
                    <a:gd name="T50" fmla="*/ 9 w 24"/>
                    <a:gd name="T51" fmla="*/ 47 h 56"/>
                    <a:gd name="T52" fmla="*/ 9 w 24"/>
                    <a:gd name="T53" fmla="*/ 49 h 56"/>
                    <a:gd name="T54" fmla="*/ 12 w 24"/>
                    <a:gd name="T55" fmla="*/ 52 h 56"/>
                    <a:gd name="T56" fmla="*/ 12 w 24"/>
                    <a:gd name="T57" fmla="*/ 54 h 56"/>
                    <a:gd name="T58" fmla="*/ 14 w 24"/>
                    <a:gd name="T59" fmla="*/ 54 h 56"/>
                    <a:gd name="T60" fmla="*/ 14 w 24"/>
                    <a:gd name="T61" fmla="*/ 56 h 56"/>
                    <a:gd name="T62" fmla="*/ 14 w 24"/>
                    <a:gd name="T63" fmla="*/ 56 h 56"/>
                    <a:gd name="T64" fmla="*/ 21 w 24"/>
                    <a:gd name="T65" fmla="*/ 52 h 56"/>
                    <a:gd name="T66" fmla="*/ 24 w 24"/>
                    <a:gd name="T67" fmla="*/ 52 h 56"/>
                    <a:gd name="T68" fmla="*/ 24 w 24"/>
                    <a:gd name="T69" fmla="*/ 52 h 56"/>
                    <a:gd name="T70" fmla="*/ 21 w 24"/>
                    <a:gd name="T71" fmla="*/ 49 h 56"/>
                    <a:gd name="T72" fmla="*/ 21 w 24"/>
                    <a:gd name="T73" fmla="*/ 45 h 56"/>
                    <a:gd name="T74" fmla="*/ 21 w 24"/>
                    <a:gd name="T75" fmla="*/ 42 h 56"/>
                    <a:gd name="T76" fmla="*/ 21 w 24"/>
                    <a:gd name="T77" fmla="*/ 30 h 56"/>
                    <a:gd name="T78" fmla="*/ 21 w 24"/>
                    <a:gd name="T79" fmla="*/ 28 h 56"/>
                    <a:gd name="T80" fmla="*/ 21 w 24"/>
                    <a:gd name="T81" fmla="*/ 28 h 56"/>
                    <a:gd name="T82" fmla="*/ 21 w 24"/>
                    <a:gd name="T83" fmla="*/ 26 h 56"/>
                    <a:gd name="T84" fmla="*/ 21 w 24"/>
                    <a:gd name="T85" fmla="*/ 23 h 56"/>
                    <a:gd name="T86" fmla="*/ 21 w 24"/>
                    <a:gd name="T87" fmla="*/ 21 h 56"/>
                    <a:gd name="T88" fmla="*/ 21 w 24"/>
                    <a:gd name="T89" fmla="*/ 16 h 56"/>
                    <a:gd name="T90" fmla="*/ 19 w 24"/>
                    <a:gd name="T91" fmla="*/ 11 h 56"/>
                    <a:gd name="T92" fmla="*/ 17 w 24"/>
                    <a:gd name="T93" fmla="*/ 9 h 56"/>
                    <a:gd name="T94" fmla="*/ 17 w 24"/>
                    <a:gd name="T95" fmla="*/ 9 h 56"/>
                    <a:gd name="T96" fmla="*/ 12 w 24"/>
                    <a:gd name="T97" fmla="*/ 7 h 56"/>
                    <a:gd name="T98" fmla="*/ 12 w 24"/>
                    <a:gd name="T99" fmla="*/ 4 h 56"/>
                    <a:gd name="T100" fmla="*/ 12 w 24"/>
                    <a:gd name="T101" fmla="*/ 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 h="56">
                      <a:moveTo>
                        <a:pt x="12" y="2"/>
                      </a:moveTo>
                      <a:lnTo>
                        <a:pt x="0" y="0"/>
                      </a:lnTo>
                      <a:lnTo>
                        <a:pt x="0" y="0"/>
                      </a:lnTo>
                      <a:lnTo>
                        <a:pt x="0" y="4"/>
                      </a:lnTo>
                      <a:lnTo>
                        <a:pt x="2" y="4"/>
                      </a:lnTo>
                      <a:lnTo>
                        <a:pt x="2" y="7"/>
                      </a:lnTo>
                      <a:lnTo>
                        <a:pt x="5" y="7"/>
                      </a:lnTo>
                      <a:lnTo>
                        <a:pt x="5" y="9"/>
                      </a:lnTo>
                      <a:lnTo>
                        <a:pt x="7" y="11"/>
                      </a:lnTo>
                      <a:lnTo>
                        <a:pt x="7" y="14"/>
                      </a:lnTo>
                      <a:lnTo>
                        <a:pt x="7" y="16"/>
                      </a:lnTo>
                      <a:lnTo>
                        <a:pt x="9" y="18"/>
                      </a:lnTo>
                      <a:lnTo>
                        <a:pt x="9" y="18"/>
                      </a:lnTo>
                      <a:lnTo>
                        <a:pt x="9" y="21"/>
                      </a:lnTo>
                      <a:lnTo>
                        <a:pt x="9" y="23"/>
                      </a:lnTo>
                      <a:lnTo>
                        <a:pt x="9" y="26"/>
                      </a:lnTo>
                      <a:lnTo>
                        <a:pt x="9" y="26"/>
                      </a:lnTo>
                      <a:lnTo>
                        <a:pt x="9" y="28"/>
                      </a:lnTo>
                      <a:lnTo>
                        <a:pt x="9" y="28"/>
                      </a:lnTo>
                      <a:lnTo>
                        <a:pt x="9" y="30"/>
                      </a:lnTo>
                      <a:lnTo>
                        <a:pt x="9" y="33"/>
                      </a:lnTo>
                      <a:lnTo>
                        <a:pt x="12" y="35"/>
                      </a:lnTo>
                      <a:lnTo>
                        <a:pt x="12" y="42"/>
                      </a:lnTo>
                      <a:lnTo>
                        <a:pt x="9" y="45"/>
                      </a:lnTo>
                      <a:lnTo>
                        <a:pt x="9" y="45"/>
                      </a:lnTo>
                      <a:lnTo>
                        <a:pt x="9" y="47"/>
                      </a:lnTo>
                      <a:lnTo>
                        <a:pt x="9" y="49"/>
                      </a:lnTo>
                      <a:lnTo>
                        <a:pt x="12" y="52"/>
                      </a:lnTo>
                      <a:lnTo>
                        <a:pt x="12" y="54"/>
                      </a:lnTo>
                      <a:lnTo>
                        <a:pt x="14" y="54"/>
                      </a:lnTo>
                      <a:lnTo>
                        <a:pt x="14" y="56"/>
                      </a:lnTo>
                      <a:lnTo>
                        <a:pt x="14" y="56"/>
                      </a:lnTo>
                      <a:lnTo>
                        <a:pt x="21" y="52"/>
                      </a:lnTo>
                      <a:lnTo>
                        <a:pt x="24" y="52"/>
                      </a:lnTo>
                      <a:lnTo>
                        <a:pt x="24" y="52"/>
                      </a:lnTo>
                      <a:lnTo>
                        <a:pt x="21" y="49"/>
                      </a:lnTo>
                      <a:lnTo>
                        <a:pt x="21" y="45"/>
                      </a:lnTo>
                      <a:lnTo>
                        <a:pt x="21" y="42"/>
                      </a:lnTo>
                      <a:lnTo>
                        <a:pt x="21" y="30"/>
                      </a:lnTo>
                      <a:lnTo>
                        <a:pt x="21" y="28"/>
                      </a:lnTo>
                      <a:lnTo>
                        <a:pt x="21" y="28"/>
                      </a:lnTo>
                      <a:lnTo>
                        <a:pt x="21" y="26"/>
                      </a:lnTo>
                      <a:lnTo>
                        <a:pt x="21" y="23"/>
                      </a:lnTo>
                      <a:lnTo>
                        <a:pt x="21" y="21"/>
                      </a:lnTo>
                      <a:lnTo>
                        <a:pt x="21" y="16"/>
                      </a:lnTo>
                      <a:lnTo>
                        <a:pt x="19" y="11"/>
                      </a:lnTo>
                      <a:lnTo>
                        <a:pt x="17" y="9"/>
                      </a:lnTo>
                      <a:lnTo>
                        <a:pt x="17" y="9"/>
                      </a:lnTo>
                      <a:lnTo>
                        <a:pt x="12" y="7"/>
                      </a:lnTo>
                      <a:lnTo>
                        <a:pt x="12" y="4"/>
                      </a:lnTo>
                      <a:lnTo>
                        <a:pt x="12" y="2"/>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Freeform 132">
                  <a:extLst>
                    <a:ext uri="{FF2B5EF4-FFF2-40B4-BE49-F238E27FC236}">
                      <a16:creationId xmlns:a16="http://schemas.microsoft.com/office/drawing/2014/main" id="{B68608CA-2063-4BA3-ED6A-7EDC8CB8A5D8}"/>
                    </a:ext>
                  </a:extLst>
                </p:cNvPr>
                <p:cNvSpPr>
                  <a:spLocks/>
                </p:cNvSpPr>
                <p:nvPr/>
              </p:nvSpPr>
              <p:spPr bwMode="auto">
                <a:xfrm>
                  <a:off x="2666" y="2469"/>
                  <a:ext cx="35" cy="69"/>
                </a:xfrm>
                <a:custGeom>
                  <a:avLst/>
                  <a:gdLst>
                    <a:gd name="T0" fmla="*/ 16 w 35"/>
                    <a:gd name="T1" fmla="*/ 7 h 69"/>
                    <a:gd name="T2" fmla="*/ 12 w 35"/>
                    <a:gd name="T3" fmla="*/ 10 h 69"/>
                    <a:gd name="T4" fmla="*/ 7 w 35"/>
                    <a:gd name="T5" fmla="*/ 10 h 69"/>
                    <a:gd name="T6" fmla="*/ 5 w 35"/>
                    <a:gd name="T7" fmla="*/ 12 h 69"/>
                    <a:gd name="T8" fmla="*/ 5 w 35"/>
                    <a:gd name="T9" fmla="*/ 17 h 69"/>
                    <a:gd name="T10" fmla="*/ 0 w 35"/>
                    <a:gd name="T11" fmla="*/ 19 h 69"/>
                    <a:gd name="T12" fmla="*/ 5 w 35"/>
                    <a:gd name="T13" fmla="*/ 24 h 69"/>
                    <a:gd name="T14" fmla="*/ 7 w 35"/>
                    <a:gd name="T15" fmla="*/ 26 h 69"/>
                    <a:gd name="T16" fmla="*/ 9 w 35"/>
                    <a:gd name="T17" fmla="*/ 36 h 69"/>
                    <a:gd name="T18" fmla="*/ 9 w 35"/>
                    <a:gd name="T19" fmla="*/ 41 h 69"/>
                    <a:gd name="T20" fmla="*/ 9 w 35"/>
                    <a:gd name="T21" fmla="*/ 43 h 69"/>
                    <a:gd name="T22" fmla="*/ 9 w 35"/>
                    <a:gd name="T23" fmla="*/ 57 h 69"/>
                    <a:gd name="T24" fmla="*/ 9 w 35"/>
                    <a:gd name="T25" fmla="*/ 64 h 69"/>
                    <a:gd name="T26" fmla="*/ 12 w 35"/>
                    <a:gd name="T27" fmla="*/ 67 h 69"/>
                    <a:gd name="T28" fmla="*/ 24 w 35"/>
                    <a:gd name="T29" fmla="*/ 67 h 69"/>
                    <a:gd name="T30" fmla="*/ 24 w 35"/>
                    <a:gd name="T31" fmla="*/ 64 h 69"/>
                    <a:gd name="T32" fmla="*/ 24 w 35"/>
                    <a:gd name="T33" fmla="*/ 57 h 69"/>
                    <a:gd name="T34" fmla="*/ 21 w 35"/>
                    <a:gd name="T35" fmla="*/ 50 h 69"/>
                    <a:gd name="T36" fmla="*/ 24 w 35"/>
                    <a:gd name="T37" fmla="*/ 48 h 69"/>
                    <a:gd name="T38" fmla="*/ 24 w 35"/>
                    <a:gd name="T39" fmla="*/ 48 h 69"/>
                    <a:gd name="T40" fmla="*/ 21 w 35"/>
                    <a:gd name="T41" fmla="*/ 45 h 69"/>
                    <a:gd name="T42" fmla="*/ 24 w 35"/>
                    <a:gd name="T43" fmla="*/ 41 h 69"/>
                    <a:gd name="T44" fmla="*/ 24 w 35"/>
                    <a:gd name="T45" fmla="*/ 38 h 69"/>
                    <a:gd name="T46" fmla="*/ 26 w 35"/>
                    <a:gd name="T47" fmla="*/ 36 h 69"/>
                    <a:gd name="T48" fmla="*/ 28 w 35"/>
                    <a:gd name="T49" fmla="*/ 33 h 69"/>
                    <a:gd name="T50" fmla="*/ 31 w 35"/>
                    <a:gd name="T51" fmla="*/ 31 h 69"/>
                    <a:gd name="T52" fmla="*/ 33 w 35"/>
                    <a:gd name="T53" fmla="*/ 29 h 69"/>
                    <a:gd name="T54" fmla="*/ 31 w 35"/>
                    <a:gd name="T55" fmla="*/ 26 h 69"/>
                    <a:gd name="T56" fmla="*/ 33 w 35"/>
                    <a:gd name="T57" fmla="*/ 24 h 69"/>
                    <a:gd name="T58" fmla="*/ 35 w 35"/>
                    <a:gd name="T59" fmla="*/ 22 h 69"/>
                    <a:gd name="T60" fmla="*/ 35 w 35"/>
                    <a:gd name="T61" fmla="*/ 17 h 69"/>
                    <a:gd name="T62" fmla="*/ 31 w 35"/>
                    <a:gd name="T63" fmla="*/ 12 h 69"/>
                    <a:gd name="T64" fmla="*/ 31 w 35"/>
                    <a:gd name="T65" fmla="*/ 10 h 69"/>
                    <a:gd name="T66" fmla="*/ 26 w 35"/>
                    <a:gd name="T67" fmla="*/ 7 h 69"/>
                    <a:gd name="T68" fmla="*/ 21 w 35"/>
                    <a:gd name="T69" fmla="*/ 0 h 69"/>
                    <a:gd name="T70" fmla="*/ 21 w 35"/>
                    <a:gd name="T71" fmla="*/ 5 h 69"/>
                    <a:gd name="T72" fmla="*/ 16 w 35"/>
                    <a:gd name="T73" fmla="*/ 5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5" h="69">
                      <a:moveTo>
                        <a:pt x="16" y="5"/>
                      </a:moveTo>
                      <a:lnTo>
                        <a:pt x="16" y="7"/>
                      </a:lnTo>
                      <a:lnTo>
                        <a:pt x="14" y="10"/>
                      </a:lnTo>
                      <a:lnTo>
                        <a:pt x="12" y="10"/>
                      </a:lnTo>
                      <a:lnTo>
                        <a:pt x="9" y="10"/>
                      </a:lnTo>
                      <a:lnTo>
                        <a:pt x="7" y="10"/>
                      </a:lnTo>
                      <a:lnTo>
                        <a:pt x="5" y="12"/>
                      </a:lnTo>
                      <a:lnTo>
                        <a:pt x="5" y="12"/>
                      </a:lnTo>
                      <a:lnTo>
                        <a:pt x="5" y="15"/>
                      </a:lnTo>
                      <a:lnTo>
                        <a:pt x="5" y="17"/>
                      </a:lnTo>
                      <a:lnTo>
                        <a:pt x="2" y="17"/>
                      </a:lnTo>
                      <a:lnTo>
                        <a:pt x="0" y="19"/>
                      </a:lnTo>
                      <a:lnTo>
                        <a:pt x="0" y="22"/>
                      </a:lnTo>
                      <a:lnTo>
                        <a:pt x="5" y="24"/>
                      </a:lnTo>
                      <a:lnTo>
                        <a:pt x="5" y="24"/>
                      </a:lnTo>
                      <a:lnTo>
                        <a:pt x="7" y="26"/>
                      </a:lnTo>
                      <a:lnTo>
                        <a:pt x="9" y="31"/>
                      </a:lnTo>
                      <a:lnTo>
                        <a:pt x="9" y="36"/>
                      </a:lnTo>
                      <a:lnTo>
                        <a:pt x="9" y="38"/>
                      </a:lnTo>
                      <a:lnTo>
                        <a:pt x="9" y="41"/>
                      </a:lnTo>
                      <a:lnTo>
                        <a:pt x="9" y="43"/>
                      </a:lnTo>
                      <a:lnTo>
                        <a:pt x="9" y="43"/>
                      </a:lnTo>
                      <a:lnTo>
                        <a:pt x="9" y="45"/>
                      </a:lnTo>
                      <a:lnTo>
                        <a:pt x="9" y="57"/>
                      </a:lnTo>
                      <a:lnTo>
                        <a:pt x="9" y="60"/>
                      </a:lnTo>
                      <a:lnTo>
                        <a:pt x="9" y="64"/>
                      </a:lnTo>
                      <a:lnTo>
                        <a:pt x="12" y="67"/>
                      </a:lnTo>
                      <a:lnTo>
                        <a:pt x="12" y="67"/>
                      </a:lnTo>
                      <a:lnTo>
                        <a:pt x="14" y="69"/>
                      </a:lnTo>
                      <a:lnTo>
                        <a:pt x="24" y="67"/>
                      </a:lnTo>
                      <a:lnTo>
                        <a:pt x="24" y="67"/>
                      </a:lnTo>
                      <a:lnTo>
                        <a:pt x="24" y="64"/>
                      </a:lnTo>
                      <a:lnTo>
                        <a:pt x="24" y="60"/>
                      </a:lnTo>
                      <a:lnTo>
                        <a:pt x="24" y="57"/>
                      </a:lnTo>
                      <a:lnTo>
                        <a:pt x="24" y="55"/>
                      </a:lnTo>
                      <a:lnTo>
                        <a:pt x="21" y="50"/>
                      </a:lnTo>
                      <a:lnTo>
                        <a:pt x="24" y="50"/>
                      </a:lnTo>
                      <a:lnTo>
                        <a:pt x="24" y="48"/>
                      </a:lnTo>
                      <a:lnTo>
                        <a:pt x="21" y="48"/>
                      </a:lnTo>
                      <a:lnTo>
                        <a:pt x="24" y="48"/>
                      </a:lnTo>
                      <a:lnTo>
                        <a:pt x="21" y="45"/>
                      </a:lnTo>
                      <a:lnTo>
                        <a:pt x="21" y="45"/>
                      </a:lnTo>
                      <a:lnTo>
                        <a:pt x="21" y="43"/>
                      </a:lnTo>
                      <a:lnTo>
                        <a:pt x="24" y="41"/>
                      </a:lnTo>
                      <a:lnTo>
                        <a:pt x="21" y="38"/>
                      </a:lnTo>
                      <a:lnTo>
                        <a:pt x="24" y="38"/>
                      </a:lnTo>
                      <a:lnTo>
                        <a:pt x="26" y="36"/>
                      </a:lnTo>
                      <a:lnTo>
                        <a:pt x="26" y="36"/>
                      </a:lnTo>
                      <a:lnTo>
                        <a:pt x="28" y="36"/>
                      </a:lnTo>
                      <a:lnTo>
                        <a:pt x="28" y="33"/>
                      </a:lnTo>
                      <a:lnTo>
                        <a:pt x="31" y="31"/>
                      </a:lnTo>
                      <a:lnTo>
                        <a:pt x="31" y="31"/>
                      </a:lnTo>
                      <a:lnTo>
                        <a:pt x="33" y="29"/>
                      </a:lnTo>
                      <a:lnTo>
                        <a:pt x="33" y="29"/>
                      </a:lnTo>
                      <a:lnTo>
                        <a:pt x="33" y="29"/>
                      </a:lnTo>
                      <a:lnTo>
                        <a:pt x="31" y="26"/>
                      </a:lnTo>
                      <a:lnTo>
                        <a:pt x="33" y="24"/>
                      </a:lnTo>
                      <a:lnTo>
                        <a:pt x="33" y="24"/>
                      </a:lnTo>
                      <a:lnTo>
                        <a:pt x="35" y="24"/>
                      </a:lnTo>
                      <a:lnTo>
                        <a:pt x="35" y="22"/>
                      </a:lnTo>
                      <a:lnTo>
                        <a:pt x="35" y="19"/>
                      </a:lnTo>
                      <a:lnTo>
                        <a:pt x="35" y="17"/>
                      </a:lnTo>
                      <a:lnTo>
                        <a:pt x="31" y="15"/>
                      </a:lnTo>
                      <a:lnTo>
                        <a:pt x="31" y="12"/>
                      </a:lnTo>
                      <a:lnTo>
                        <a:pt x="31" y="10"/>
                      </a:lnTo>
                      <a:lnTo>
                        <a:pt x="31" y="10"/>
                      </a:lnTo>
                      <a:lnTo>
                        <a:pt x="28" y="7"/>
                      </a:lnTo>
                      <a:lnTo>
                        <a:pt x="26" y="7"/>
                      </a:lnTo>
                      <a:lnTo>
                        <a:pt x="24" y="3"/>
                      </a:lnTo>
                      <a:lnTo>
                        <a:pt x="21" y="0"/>
                      </a:lnTo>
                      <a:lnTo>
                        <a:pt x="19" y="3"/>
                      </a:lnTo>
                      <a:lnTo>
                        <a:pt x="21" y="5"/>
                      </a:lnTo>
                      <a:lnTo>
                        <a:pt x="19" y="5"/>
                      </a:lnTo>
                      <a:lnTo>
                        <a:pt x="16" y="5"/>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8" name="Freeform 133">
                  <a:extLst>
                    <a:ext uri="{FF2B5EF4-FFF2-40B4-BE49-F238E27FC236}">
                      <a16:creationId xmlns:a16="http://schemas.microsoft.com/office/drawing/2014/main" id="{F2C9E917-6390-820A-F252-269E729CC7FB}"/>
                    </a:ext>
                  </a:extLst>
                </p:cNvPr>
                <p:cNvSpPr>
                  <a:spLocks noEditPoints="1"/>
                </p:cNvSpPr>
                <p:nvPr/>
              </p:nvSpPr>
              <p:spPr bwMode="auto">
                <a:xfrm>
                  <a:off x="2791" y="2356"/>
                  <a:ext cx="133" cy="170"/>
                </a:xfrm>
                <a:custGeom>
                  <a:avLst/>
                  <a:gdLst>
                    <a:gd name="T0" fmla="*/ 130 w 133"/>
                    <a:gd name="T1" fmla="*/ 40 h 170"/>
                    <a:gd name="T2" fmla="*/ 128 w 133"/>
                    <a:gd name="T3" fmla="*/ 83 h 170"/>
                    <a:gd name="T4" fmla="*/ 121 w 133"/>
                    <a:gd name="T5" fmla="*/ 83 h 170"/>
                    <a:gd name="T6" fmla="*/ 121 w 133"/>
                    <a:gd name="T7" fmla="*/ 90 h 170"/>
                    <a:gd name="T8" fmla="*/ 114 w 133"/>
                    <a:gd name="T9" fmla="*/ 97 h 170"/>
                    <a:gd name="T10" fmla="*/ 114 w 133"/>
                    <a:gd name="T11" fmla="*/ 101 h 170"/>
                    <a:gd name="T12" fmla="*/ 114 w 133"/>
                    <a:gd name="T13" fmla="*/ 104 h 170"/>
                    <a:gd name="T14" fmla="*/ 109 w 133"/>
                    <a:gd name="T15" fmla="*/ 111 h 170"/>
                    <a:gd name="T16" fmla="*/ 114 w 133"/>
                    <a:gd name="T17" fmla="*/ 113 h 170"/>
                    <a:gd name="T18" fmla="*/ 114 w 133"/>
                    <a:gd name="T19" fmla="*/ 116 h 170"/>
                    <a:gd name="T20" fmla="*/ 116 w 133"/>
                    <a:gd name="T21" fmla="*/ 120 h 170"/>
                    <a:gd name="T22" fmla="*/ 121 w 133"/>
                    <a:gd name="T23" fmla="*/ 125 h 170"/>
                    <a:gd name="T24" fmla="*/ 121 w 133"/>
                    <a:gd name="T25" fmla="*/ 130 h 170"/>
                    <a:gd name="T26" fmla="*/ 114 w 133"/>
                    <a:gd name="T27" fmla="*/ 132 h 170"/>
                    <a:gd name="T28" fmla="*/ 107 w 133"/>
                    <a:gd name="T29" fmla="*/ 135 h 170"/>
                    <a:gd name="T30" fmla="*/ 107 w 133"/>
                    <a:gd name="T31" fmla="*/ 137 h 170"/>
                    <a:gd name="T32" fmla="*/ 102 w 133"/>
                    <a:gd name="T33" fmla="*/ 139 h 170"/>
                    <a:gd name="T34" fmla="*/ 100 w 133"/>
                    <a:gd name="T35" fmla="*/ 144 h 170"/>
                    <a:gd name="T36" fmla="*/ 97 w 133"/>
                    <a:gd name="T37" fmla="*/ 149 h 170"/>
                    <a:gd name="T38" fmla="*/ 90 w 133"/>
                    <a:gd name="T39" fmla="*/ 151 h 170"/>
                    <a:gd name="T40" fmla="*/ 81 w 133"/>
                    <a:gd name="T41" fmla="*/ 151 h 170"/>
                    <a:gd name="T42" fmla="*/ 76 w 133"/>
                    <a:gd name="T43" fmla="*/ 151 h 170"/>
                    <a:gd name="T44" fmla="*/ 78 w 133"/>
                    <a:gd name="T45" fmla="*/ 156 h 170"/>
                    <a:gd name="T46" fmla="*/ 74 w 133"/>
                    <a:gd name="T47" fmla="*/ 161 h 170"/>
                    <a:gd name="T48" fmla="*/ 62 w 133"/>
                    <a:gd name="T49" fmla="*/ 163 h 170"/>
                    <a:gd name="T50" fmla="*/ 55 w 133"/>
                    <a:gd name="T51" fmla="*/ 168 h 170"/>
                    <a:gd name="T52" fmla="*/ 50 w 133"/>
                    <a:gd name="T53" fmla="*/ 163 h 170"/>
                    <a:gd name="T54" fmla="*/ 48 w 133"/>
                    <a:gd name="T55" fmla="*/ 168 h 170"/>
                    <a:gd name="T56" fmla="*/ 40 w 133"/>
                    <a:gd name="T57" fmla="*/ 170 h 170"/>
                    <a:gd name="T58" fmla="*/ 38 w 133"/>
                    <a:gd name="T59" fmla="*/ 163 h 170"/>
                    <a:gd name="T60" fmla="*/ 33 w 133"/>
                    <a:gd name="T61" fmla="*/ 158 h 170"/>
                    <a:gd name="T62" fmla="*/ 24 w 133"/>
                    <a:gd name="T63" fmla="*/ 149 h 170"/>
                    <a:gd name="T64" fmla="*/ 22 w 133"/>
                    <a:gd name="T65" fmla="*/ 146 h 170"/>
                    <a:gd name="T66" fmla="*/ 22 w 133"/>
                    <a:gd name="T67" fmla="*/ 142 h 170"/>
                    <a:gd name="T68" fmla="*/ 26 w 133"/>
                    <a:gd name="T69" fmla="*/ 142 h 170"/>
                    <a:gd name="T70" fmla="*/ 33 w 133"/>
                    <a:gd name="T71" fmla="*/ 142 h 170"/>
                    <a:gd name="T72" fmla="*/ 38 w 133"/>
                    <a:gd name="T73" fmla="*/ 144 h 170"/>
                    <a:gd name="T74" fmla="*/ 36 w 133"/>
                    <a:gd name="T75" fmla="*/ 139 h 170"/>
                    <a:gd name="T76" fmla="*/ 31 w 133"/>
                    <a:gd name="T77" fmla="*/ 135 h 170"/>
                    <a:gd name="T78" fmla="*/ 33 w 133"/>
                    <a:gd name="T79" fmla="*/ 128 h 170"/>
                    <a:gd name="T80" fmla="*/ 31 w 133"/>
                    <a:gd name="T81" fmla="*/ 125 h 170"/>
                    <a:gd name="T82" fmla="*/ 31 w 133"/>
                    <a:gd name="T83" fmla="*/ 118 h 170"/>
                    <a:gd name="T84" fmla="*/ 26 w 133"/>
                    <a:gd name="T85" fmla="*/ 113 h 170"/>
                    <a:gd name="T86" fmla="*/ 19 w 133"/>
                    <a:gd name="T87" fmla="*/ 109 h 170"/>
                    <a:gd name="T88" fmla="*/ 14 w 133"/>
                    <a:gd name="T89" fmla="*/ 92 h 170"/>
                    <a:gd name="T90" fmla="*/ 17 w 133"/>
                    <a:gd name="T91" fmla="*/ 90 h 170"/>
                    <a:gd name="T92" fmla="*/ 36 w 133"/>
                    <a:gd name="T93" fmla="*/ 56 h 170"/>
                    <a:gd name="T94" fmla="*/ 40 w 133"/>
                    <a:gd name="T95" fmla="*/ 30 h 170"/>
                    <a:gd name="T96" fmla="*/ 33 w 133"/>
                    <a:gd name="T97" fmla="*/ 19 h 170"/>
                    <a:gd name="T98" fmla="*/ 26 w 133"/>
                    <a:gd name="T99" fmla="*/ 4 h 170"/>
                    <a:gd name="T100" fmla="*/ 0 w 133"/>
                    <a:gd name="T101" fmla="*/ 111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3" h="170">
                      <a:moveTo>
                        <a:pt x="26" y="4"/>
                      </a:moveTo>
                      <a:lnTo>
                        <a:pt x="40" y="0"/>
                      </a:lnTo>
                      <a:lnTo>
                        <a:pt x="130" y="40"/>
                      </a:lnTo>
                      <a:lnTo>
                        <a:pt x="133" y="80"/>
                      </a:lnTo>
                      <a:lnTo>
                        <a:pt x="130" y="83"/>
                      </a:lnTo>
                      <a:lnTo>
                        <a:pt x="128" y="83"/>
                      </a:lnTo>
                      <a:lnTo>
                        <a:pt x="126" y="83"/>
                      </a:lnTo>
                      <a:lnTo>
                        <a:pt x="123" y="83"/>
                      </a:lnTo>
                      <a:lnTo>
                        <a:pt x="121" y="83"/>
                      </a:lnTo>
                      <a:lnTo>
                        <a:pt x="121" y="85"/>
                      </a:lnTo>
                      <a:lnTo>
                        <a:pt x="123" y="87"/>
                      </a:lnTo>
                      <a:lnTo>
                        <a:pt x="121" y="90"/>
                      </a:lnTo>
                      <a:lnTo>
                        <a:pt x="116" y="94"/>
                      </a:lnTo>
                      <a:lnTo>
                        <a:pt x="116" y="94"/>
                      </a:lnTo>
                      <a:lnTo>
                        <a:pt x="114" y="97"/>
                      </a:lnTo>
                      <a:lnTo>
                        <a:pt x="114" y="97"/>
                      </a:lnTo>
                      <a:lnTo>
                        <a:pt x="116" y="99"/>
                      </a:lnTo>
                      <a:lnTo>
                        <a:pt x="114" y="101"/>
                      </a:lnTo>
                      <a:lnTo>
                        <a:pt x="111" y="101"/>
                      </a:lnTo>
                      <a:lnTo>
                        <a:pt x="111" y="104"/>
                      </a:lnTo>
                      <a:lnTo>
                        <a:pt x="114" y="104"/>
                      </a:lnTo>
                      <a:lnTo>
                        <a:pt x="114" y="106"/>
                      </a:lnTo>
                      <a:lnTo>
                        <a:pt x="114" y="109"/>
                      </a:lnTo>
                      <a:lnTo>
                        <a:pt x="109" y="111"/>
                      </a:lnTo>
                      <a:lnTo>
                        <a:pt x="109" y="113"/>
                      </a:lnTo>
                      <a:lnTo>
                        <a:pt x="111" y="116"/>
                      </a:lnTo>
                      <a:lnTo>
                        <a:pt x="114" y="113"/>
                      </a:lnTo>
                      <a:lnTo>
                        <a:pt x="114" y="113"/>
                      </a:lnTo>
                      <a:lnTo>
                        <a:pt x="114" y="116"/>
                      </a:lnTo>
                      <a:lnTo>
                        <a:pt x="114" y="116"/>
                      </a:lnTo>
                      <a:lnTo>
                        <a:pt x="114" y="116"/>
                      </a:lnTo>
                      <a:lnTo>
                        <a:pt x="114" y="118"/>
                      </a:lnTo>
                      <a:lnTo>
                        <a:pt x="116" y="120"/>
                      </a:lnTo>
                      <a:lnTo>
                        <a:pt x="116" y="123"/>
                      </a:lnTo>
                      <a:lnTo>
                        <a:pt x="116" y="125"/>
                      </a:lnTo>
                      <a:lnTo>
                        <a:pt x="121" y="125"/>
                      </a:lnTo>
                      <a:lnTo>
                        <a:pt x="121" y="128"/>
                      </a:lnTo>
                      <a:lnTo>
                        <a:pt x="121" y="128"/>
                      </a:lnTo>
                      <a:lnTo>
                        <a:pt x="121" y="130"/>
                      </a:lnTo>
                      <a:lnTo>
                        <a:pt x="119" y="132"/>
                      </a:lnTo>
                      <a:lnTo>
                        <a:pt x="116" y="132"/>
                      </a:lnTo>
                      <a:lnTo>
                        <a:pt x="114" y="132"/>
                      </a:lnTo>
                      <a:lnTo>
                        <a:pt x="111" y="132"/>
                      </a:lnTo>
                      <a:lnTo>
                        <a:pt x="109" y="132"/>
                      </a:lnTo>
                      <a:lnTo>
                        <a:pt x="107" y="135"/>
                      </a:lnTo>
                      <a:lnTo>
                        <a:pt x="107" y="135"/>
                      </a:lnTo>
                      <a:lnTo>
                        <a:pt x="107" y="137"/>
                      </a:lnTo>
                      <a:lnTo>
                        <a:pt x="107" y="137"/>
                      </a:lnTo>
                      <a:lnTo>
                        <a:pt x="104" y="142"/>
                      </a:lnTo>
                      <a:lnTo>
                        <a:pt x="102" y="142"/>
                      </a:lnTo>
                      <a:lnTo>
                        <a:pt x="102" y="139"/>
                      </a:lnTo>
                      <a:lnTo>
                        <a:pt x="100" y="142"/>
                      </a:lnTo>
                      <a:lnTo>
                        <a:pt x="100" y="144"/>
                      </a:lnTo>
                      <a:lnTo>
                        <a:pt x="100" y="144"/>
                      </a:lnTo>
                      <a:lnTo>
                        <a:pt x="97" y="146"/>
                      </a:lnTo>
                      <a:lnTo>
                        <a:pt x="97" y="149"/>
                      </a:lnTo>
                      <a:lnTo>
                        <a:pt x="97" y="149"/>
                      </a:lnTo>
                      <a:lnTo>
                        <a:pt x="95" y="149"/>
                      </a:lnTo>
                      <a:lnTo>
                        <a:pt x="95" y="151"/>
                      </a:lnTo>
                      <a:lnTo>
                        <a:pt x="90" y="151"/>
                      </a:lnTo>
                      <a:lnTo>
                        <a:pt x="85" y="151"/>
                      </a:lnTo>
                      <a:lnTo>
                        <a:pt x="83" y="151"/>
                      </a:lnTo>
                      <a:lnTo>
                        <a:pt x="81" y="151"/>
                      </a:lnTo>
                      <a:lnTo>
                        <a:pt x="78" y="151"/>
                      </a:lnTo>
                      <a:lnTo>
                        <a:pt x="78" y="151"/>
                      </a:lnTo>
                      <a:lnTo>
                        <a:pt x="76" y="151"/>
                      </a:lnTo>
                      <a:lnTo>
                        <a:pt x="76" y="154"/>
                      </a:lnTo>
                      <a:lnTo>
                        <a:pt x="78" y="156"/>
                      </a:lnTo>
                      <a:lnTo>
                        <a:pt x="78" y="156"/>
                      </a:lnTo>
                      <a:lnTo>
                        <a:pt x="78" y="158"/>
                      </a:lnTo>
                      <a:lnTo>
                        <a:pt x="76" y="158"/>
                      </a:lnTo>
                      <a:lnTo>
                        <a:pt x="74" y="161"/>
                      </a:lnTo>
                      <a:lnTo>
                        <a:pt x="71" y="161"/>
                      </a:lnTo>
                      <a:lnTo>
                        <a:pt x="64" y="163"/>
                      </a:lnTo>
                      <a:lnTo>
                        <a:pt x="62" y="163"/>
                      </a:lnTo>
                      <a:lnTo>
                        <a:pt x="59" y="165"/>
                      </a:lnTo>
                      <a:lnTo>
                        <a:pt x="55" y="168"/>
                      </a:lnTo>
                      <a:lnTo>
                        <a:pt x="55" y="168"/>
                      </a:lnTo>
                      <a:lnTo>
                        <a:pt x="52" y="165"/>
                      </a:lnTo>
                      <a:lnTo>
                        <a:pt x="52" y="163"/>
                      </a:lnTo>
                      <a:lnTo>
                        <a:pt x="50" y="163"/>
                      </a:lnTo>
                      <a:lnTo>
                        <a:pt x="50" y="165"/>
                      </a:lnTo>
                      <a:lnTo>
                        <a:pt x="50" y="165"/>
                      </a:lnTo>
                      <a:lnTo>
                        <a:pt x="48" y="168"/>
                      </a:lnTo>
                      <a:lnTo>
                        <a:pt x="45" y="168"/>
                      </a:lnTo>
                      <a:lnTo>
                        <a:pt x="43" y="170"/>
                      </a:lnTo>
                      <a:lnTo>
                        <a:pt x="40" y="170"/>
                      </a:lnTo>
                      <a:lnTo>
                        <a:pt x="40" y="168"/>
                      </a:lnTo>
                      <a:lnTo>
                        <a:pt x="40" y="165"/>
                      </a:lnTo>
                      <a:lnTo>
                        <a:pt x="38" y="163"/>
                      </a:lnTo>
                      <a:lnTo>
                        <a:pt x="38" y="161"/>
                      </a:lnTo>
                      <a:lnTo>
                        <a:pt x="36" y="158"/>
                      </a:lnTo>
                      <a:lnTo>
                        <a:pt x="33" y="158"/>
                      </a:lnTo>
                      <a:lnTo>
                        <a:pt x="31" y="154"/>
                      </a:lnTo>
                      <a:lnTo>
                        <a:pt x="26" y="151"/>
                      </a:lnTo>
                      <a:lnTo>
                        <a:pt x="24" y="149"/>
                      </a:lnTo>
                      <a:lnTo>
                        <a:pt x="24" y="149"/>
                      </a:lnTo>
                      <a:lnTo>
                        <a:pt x="22" y="149"/>
                      </a:lnTo>
                      <a:lnTo>
                        <a:pt x="22" y="146"/>
                      </a:lnTo>
                      <a:lnTo>
                        <a:pt x="22" y="144"/>
                      </a:lnTo>
                      <a:lnTo>
                        <a:pt x="22" y="144"/>
                      </a:lnTo>
                      <a:lnTo>
                        <a:pt x="22" y="142"/>
                      </a:lnTo>
                      <a:lnTo>
                        <a:pt x="24" y="142"/>
                      </a:lnTo>
                      <a:lnTo>
                        <a:pt x="26" y="142"/>
                      </a:lnTo>
                      <a:lnTo>
                        <a:pt x="26" y="142"/>
                      </a:lnTo>
                      <a:lnTo>
                        <a:pt x="29" y="142"/>
                      </a:lnTo>
                      <a:lnTo>
                        <a:pt x="31" y="142"/>
                      </a:lnTo>
                      <a:lnTo>
                        <a:pt x="33" y="142"/>
                      </a:lnTo>
                      <a:lnTo>
                        <a:pt x="36" y="142"/>
                      </a:lnTo>
                      <a:lnTo>
                        <a:pt x="36" y="142"/>
                      </a:lnTo>
                      <a:lnTo>
                        <a:pt x="38" y="144"/>
                      </a:lnTo>
                      <a:lnTo>
                        <a:pt x="38" y="142"/>
                      </a:lnTo>
                      <a:lnTo>
                        <a:pt x="38" y="142"/>
                      </a:lnTo>
                      <a:lnTo>
                        <a:pt x="36" y="139"/>
                      </a:lnTo>
                      <a:lnTo>
                        <a:pt x="33" y="137"/>
                      </a:lnTo>
                      <a:lnTo>
                        <a:pt x="33" y="137"/>
                      </a:lnTo>
                      <a:lnTo>
                        <a:pt x="31" y="135"/>
                      </a:lnTo>
                      <a:lnTo>
                        <a:pt x="31" y="132"/>
                      </a:lnTo>
                      <a:lnTo>
                        <a:pt x="31" y="130"/>
                      </a:lnTo>
                      <a:lnTo>
                        <a:pt x="33" y="128"/>
                      </a:lnTo>
                      <a:lnTo>
                        <a:pt x="31" y="128"/>
                      </a:lnTo>
                      <a:lnTo>
                        <a:pt x="31" y="125"/>
                      </a:lnTo>
                      <a:lnTo>
                        <a:pt x="31" y="125"/>
                      </a:lnTo>
                      <a:lnTo>
                        <a:pt x="31" y="123"/>
                      </a:lnTo>
                      <a:lnTo>
                        <a:pt x="31" y="120"/>
                      </a:lnTo>
                      <a:lnTo>
                        <a:pt x="31" y="118"/>
                      </a:lnTo>
                      <a:lnTo>
                        <a:pt x="29" y="118"/>
                      </a:lnTo>
                      <a:lnTo>
                        <a:pt x="29" y="116"/>
                      </a:lnTo>
                      <a:lnTo>
                        <a:pt x="26" y="113"/>
                      </a:lnTo>
                      <a:lnTo>
                        <a:pt x="22" y="111"/>
                      </a:lnTo>
                      <a:lnTo>
                        <a:pt x="22" y="111"/>
                      </a:lnTo>
                      <a:lnTo>
                        <a:pt x="19" y="109"/>
                      </a:lnTo>
                      <a:lnTo>
                        <a:pt x="17" y="104"/>
                      </a:lnTo>
                      <a:lnTo>
                        <a:pt x="14" y="104"/>
                      </a:lnTo>
                      <a:lnTo>
                        <a:pt x="14" y="92"/>
                      </a:lnTo>
                      <a:lnTo>
                        <a:pt x="14" y="90"/>
                      </a:lnTo>
                      <a:lnTo>
                        <a:pt x="14" y="90"/>
                      </a:lnTo>
                      <a:lnTo>
                        <a:pt x="17" y="90"/>
                      </a:lnTo>
                      <a:lnTo>
                        <a:pt x="17" y="87"/>
                      </a:lnTo>
                      <a:lnTo>
                        <a:pt x="36" y="71"/>
                      </a:lnTo>
                      <a:lnTo>
                        <a:pt x="36" y="56"/>
                      </a:lnTo>
                      <a:lnTo>
                        <a:pt x="38" y="37"/>
                      </a:lnTo>
                      <a:lnTo>
                        <a:pt x="40" y="35"/>
                      </a:lnTo>
                      <a:lnTo>
                        <a:pt x="40" y="30"/>
                      </a:lnTo>
                      <a:lnTo>
                        <a:pt x="33" y="23"/>
                      </a:lnTo>
                      <a:lnTo>
                        <a:pt x="33" y="21"/>
                      </a:lnTo>
                      <a:lnTo>
                        <a:pt x="33" y="19"/>
                      </a:lnTo>
                      <a:lnTo>
                        <a:pt x="29" y="4"/>
                      </a:lnTo>
                      <a:lnTo>
                        <a:pt x="26" y="4"/>
                      </a:lnTo>
                      <a:lnTo>
                        <a:pt x="26" y="4"/>
                      </a:lnTo>
                      <a:close/>
                      <a:moveTo>
                        <a:pt x="3" y="109"/>
                      </a:moveTo>
                      <a:lnTo>
                        <a:pt x="3" y="111"/>
                      </a:lnTo>
                      <a:lnTo>
                        <a:pt x="0" y="111"/>
                      </a:lnTo>
                      <a:lnTo>
                        <a:pt x="0" y="111"/>
                      </a:lnTo>
                      <a:lnTo>
                        <a:pt x="3" y="109"/>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9" name="Freeform 134">
                  <a:extLst>
                    <a:ext uri="{FF2B5EF4-FFF2-40B4-BE49-F238E27FC236}">
                      <a16:creationId xmlns:a16="http://schemas.microsoft.com/office/drawing/2014/main" id="{4B78E4B1-CEAD-191B-8DBA-4488A2E596CB}"/>
                    </a:ext>
                  </a:extLst>
                </p:cNvPr>
                <p:cNvSpPr>
                  <a:spLocks/>
                </p:cNvSpPr>
                <p:nvPr/>
              </p:nvSpPr>
              <p:spPr bwMode="auto">
                <a:xfrm>
                  <a:off x="2659" y="2358"/>
                  <a:ext cx="172" cy="121"/>
                </a:xfrm>
                <a:custGeom>
                  <a:avLst/>
                  <a:gdLst>
                    <a:gd name="T0" fmla="*/ 35 w 172"/>
                    <a:gd name="T1" fmla="*/ 118 h 121"/>
                    <a:gd name="T2" fmla="*/ 31 w 172"/>
                    <a:gd name="T3" fmla="*/ 114 h 121"/>
                    <a:gd name="T4" fmla="*/ 26 w 172"/>
                    <a:gd name="T5" fmla="*/ 114 h 121"/>
                    <a:gd name="T6" fmla="*/ 26 w 172"/>
                    <a:gd name="T7" fmla="*/ 116 h 121"/>
                    <a:gd name="T8" fmla="*/ 21 w 172"/>
                    <a:gd name="T9" fmla="*/ 114 h 121"/>
                    <a:gd name="T10" fmla="*/ 21 w 172"/>
                    <a:gd name="T11" fmla="*/ 109 h 121"/>
                    <a:gd name="T12" fmla="*/ 21 w 172"/>
                    <a:gd name="T13" fmla="*/ 107 h 121"/>
                    <a:gd name="T14" fmla="*/ 14 w 172"/>
                    <a:gd name="T15" fmla="*/ 109 h 121"/>
                    <a:gd name="T16" fmla="*/ 9 w 172"/>
                    <a:gd name="T17" fmla="*/ 102 h 121"/>
                    <a:gd name="T18" fmla="*/ 0 w 172"/>
                    <a:gd name="T19" fmla="*/ 92 h 121"/>
                    <a:gd name="T20" fmla="*/ 2 w 172"/>
                    <a:gd name="T21" fmla="*/ 88 h 121"/>
                    <a:gd name="T22" fmla="*/ 4 w 172"/>
                    <a:gd name="T23" fmla="*/ 88 h 121"/>
                    <a:gd name="T24" fmla="*/ 16 w 172"/>
                    <a:gd name="T25" fmla="*/ 88 h 121"/>
                    <a:gd name="T26" fmla="*/ 23 w 172"/>
                    <a:gd name="T27" fmla="*/ 85 h 121"/>
                    <a:gd name="T28" fmla="*/ 28 w 172"/>
                    <a:gd name="T29" fmla="*/ 83 h 121"/>
                    <a:gd name="T30" fmla="*/ 35 w 172"/>
                    <a:gd name="T31" fmla="*/ 81 h 121"/>
                    <a:gd name="T32" fmla="*/ 42 w 172"/>
                    <a:gd name="T33" fmla="*/ 76 h 121"/>
                    <a:gd name="T34" fmla="*/ 45 w 172"/>
                    <a:gd name="T35" fmla="*/ 71 h 121"/>
                    <a:gd name="T36" fmla="*/ 45 w 172"/>
                    <a:gd name="T37" fmla="*/ 43 h 121"/>
                    <a:gd name="T38" fmla="*/ 75 w 172"/>
                    <a:gd name="T39" fmla="*/ 28 h 121"/>
                    <a:gd name="T40" fmla="*/ 146 w 172"/>
                    <a:gd name="T41" fmla="*/ 2 h 121"/>
                    <a:gd name="T42" fmla="*/ 158 w 172"/>
                    <a:gd name="T43" fmla="*/ 2 h 121"/>
                    <a:gd name="T44" fmla="*/ 165 w 172"/>
                    <a:gd name="T45" fmla="*/ 17 h 121"/>
                    <a:gd name="T46" fmla="*/ 165 w 172"/>
                    <a:gd name="T47" fmla="*/ 21 h 121"/>
                    <a:gd name="T48" fmla="*/ 172 w 172"/>
                    <a:gd name="T49" fmla="*/ 33 h 121"/>
                    <a:gd name="T50" fmla="*/ 168 w 172"/>
                    <a:gd name="T51" fmla="*/ 54 h 121"/>
                    <a:gd name="T52" fmla="*/ 149 w 172"/>
                    <a:gd name="T53" fmla="*/ 85 h 121"/>
                    <a:gd name="T54" fmla="*/ 146 w 172"/>
                    <a:gd name="T55" fmla="*/ 88 h 121"/>
                    <a:gd name="T56" fmla="*/ 146 w 172"/>
                    <a:gd name="T57" fmla="*/ 90 h 121"/>
                    <a:gd name="T58" fmla="*/ 144 w 172"/>
                    <a:gd name="T59" fmla="*/ 102 h 121"/>
                    <a:gd name="T60" fmla="*/ 142 w 172"/>
                    <a:gd name="T61" fmla="*/ 104 h 121"/>
                    <a:gd name="T62" fmla="*/ 139 w 172"/>
                    <a:gd name="T63" fmla="*/ 104 h 121"/>
                    <a:gd name="T64" fmla="*/ 137 w 172"/>
                    <a:gd name="T65" fmla="*/ 107 h 121"/>
                    <a:gd name="T66" fmla="*/ 135 w 172"/>
                    <a:gd name="T67" fmla="*/ 107 h 121"/>
                    <a:gd name="T68" fmla="*/ 130 w 172"/>
                    <a:gd name="T69" fmla="*/ 107 h 121"/>
                    <a:gd name="T70" fmla="*/ 123 w 172"/>
                    <a:gd name="T71" fmla="*/ 107 h 121"/>
                    <a:gd name="T72" fmla="*/ 116 w 172"/>
                    <a:gd name="T73" fmla="*/ 107 h 121"/>
                    <a:gd name="T74" fmla="*/ 109 w 172"/>
                    <a:gd name="T75" fmla="*/ 107 h 121"/>
                    <a:gd name="T76" fmla="*/ 102 w 172"/>
                    <a:gd name="T77" fmla="*/ 111 h 121"/>
                    <a:gd name="T78" fmla="*/ 94 w 172"/>
                    <a:gd name="T79" fmla="*/ 109 h 121"/>
                    <a:gd name="T80" fmla="*/ 90 w 172"/>
                    <a:gd name="T81" fmla="*/ 107 h 121"/>
                    <a:gd name="T82" fmla="*/ 87 w 172"/>
                    <a:gd name="T83" fmla="*/ 107 h 121"/>
                    <a:gd name="T84" fmla="*/ 83 w 172"/>
                    <a:gd name="T85" fmla="*/ 104 h 121"/>
                    <a:gd name="T86" fmla="*/ 80 w 172"/>
                    <a:gd name="T87" fmla="*/ 107 h 121"/>
                    <a:gd name="T88" fmla="*/ 75 w 172"/>
                    <a:gd name="T89" fmla="*/ 107 h 121"/>
                    <a:gd name="T90" fmla="*/ 73 w 172"/>
                    <a:gd name="T91" fmla="*/ 109 h 121"/>
                    <a:gd name="T92" fmla="*/ 68 w 172"/>
                    <a:gd name="T93" fmla="*/ 104 h 121"/>
                    <a:gd name="T94" fmla="*/ 66 w 172"/>
                    <a:gd name="T95" fmla="*/ 102 h 121"/>
                    <a:gd name="T96" fmla="*/ 61 w 172"/>
                    <a:gd name="T97" fmla="*/ 99 h 121"/>
                    <a:gd name="T98" fmla="*/ 57 w 172"/>
                    <a:gd name="T99" fmla="*/ 99 h 121"/>
                    <a:gd name="T100" fmla="*/ 54 w 172"/>
                    <a:gd name="T101" fmla="*/ 99 h 121"/>
                    <a:gd name="T102" fmla="*/ 49 w 172"/>
                    <a:gd name="T103" fmla="*/ 99 h 121"/>
                    <a:gd name="T104" fmla="*/ 47 w 172"/>
                    <a:gd name="T105" fmla="*/ 102 h 121"/>
                    <a:gd name="T106" fmla="*/ 45 w 172"/>
                    <a:gd name="T107" fmla="*/ 102 h 121"/>
                    <a:gd name="T108" fmla="*/ 40 w 172"/>
                    <a:gd name="T109" fmla="*/ 104 h 121"/>
                    <a:gd name="T110" fmla="*/ 42 w 172"/>
                    <a:gd name="T111" fmla="*/ 107 h 121"/>
                    <a:gd name="T112" fmla="*/ 42 w 172"/>
                    <a:gd name="T113" fmla="*/ 109 h 121"/>
                    <a:gd name="T114" fmla="*/ 42 w 172"/>
                    <a:gd name="T115" fmla="*/ 111 h 121"/>
                    <a:gd name="T116" fmla="*/ 38 w 172"/>
                    <a:gd name="T117" fmla="*/ 114 h 121"/>
                    <a:gd name="T118" fmla="*/ 38 w 172"/>
                    <a:gd name="T119" fmla="*/ 116 h 121"/>
                    <a:gd name="T120" fmla="*/ 40 w 172"/>
                    <a:gd name="T121" fmla="*/ 118 h 121"/>
                    <a:gd name="T122" fmla="*/ 38 w 172"/>
                    <a:gd name="T123" fmla="*/ 12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21">
                      <a:moveTo>
                        <a:pt x="38" y="121"/>
                      </a:moveTo>
                      <a:lnTo>
                        <a:pt x="35" y="118"/>
                      </a:lnTo>
                      <a:lnTo>
                        <a:pt x="33" y="118"/>
                      </a:lnTo>
                      <a:lnTo>
                        <a:pt x="31" y="114"/>
                      </a:lnTo>
                      <a:lnTo>
                        <a:pt x="28" y="111"/>
                      </a:lnTo>
                      <a:lnTo>
                        <a:pt x="26" y="114"/>
                      </a:lnTo>
                      <a:lnTo>
                        <a:pt x="28" y="116"/>
                      </a:lnTo>
                      <a:lnTo>
                        <a:pt x="26" y="116"/>
                      </a:lnTo>
                      <a:lnTo>
                        <a:pt x="23" y="116"/>
                      </a:lnTo>
                      <a:lnTo>
                        <a:pt x="21" y="114"/>
                      </a:lnTo>
                      <a:lnTo>
                        <a:pt x="21" y="111"/>
                      </a:lnTo>
                      <a:lnTo>
                        <a:pt x="21" y="109"/>
                      </a:lnTo>
                      <a:lnTo>
                        <a:pt x="21" y="109"/>
                      </a:lnTo>
                      <a:lnTo>
                        <a:pt x="21" y="107"/>
                      </a:lnTo>
                      <a:lnTo>
                        <a:pt x="19" y="107"/>
                      </a:lnTo>
                      <a:lnTo>
                        <a:pt x="14" y="109"/>
                      </a:lnTo>
                      <a:lnTo>
                        <a:pt x="12" y="107"/>
                      </a:lnTo>
                      <a:lnTo>
                        <a:pt x="9" y="102"/>
                      </a:lnTo>
                      <a:lnTo>
                        <a:pt x="0" y="95"/>
                      </a:lnTo>
                      <a:lnTo>
                        <a:pt x="0" y="92"/>
                      </a:lnTo>
                      <a:lnTo>
                        <a:pt x="2" y="90"/>
                      </a:lnTo>
                      <a:lnTo>
                        <a:pt x="2" y="88"/>
                      </a:lnTo>
                      <a:lnTo>
                        <a:pt x="2" y="85"/>
                      </a:lnTo>
                      <a:lnTo>
                        <a:pt x="4" y="88"/>
                      </a:lnTo>
                      <a:lnTo>
                        <a:pt x="12" y="85"/>
                      </a:lnTo>
                      <a:lnTo>
                        <a:pt x="16" y="88"/>
                      </a:lnTo>
                      <a:lnTo>
                        <a:pt x="19" y="85"/>
                      </a:lnTo>
                      <a:lnTo>
                        <a:pt x="23" y="85"/>
                      </a:lnTo>
                      <a:lnTo>
                        <a:pt x="26" y="85"/>
                      </a:lnTo>
                      <a:lnTo>
                        <a:pt x="28" y="83"/>
                      </a:lnTo>
                      <a:lnTo>
                        <a:pt x="33" y="83"/>
                      </a:lnTo>
                      <a:lnTo>
                        <a:pt x="35" y="81"/>
                      </a:lnTo>
                      <a:lnTo>
                        <a:pt x="40" y="78"/>
                      </a:lnTo>
                      <a:lnTo>
                        <a:pt x="42" y="76"/>
                      </a:lnTo>
                      <a:lnTo>
                        <a:pt x="42" y="73"/>
                      </a:lnTo>
                      <a:lnTo>
                        <a:pt x="45" y="71"/>
                      </a:lnTo>
                      <a:lnTo>
                        <a:pt x="45" y="62"/>
                      </a:lnTo>
                      <a:lnTo>
                        <a:pt x="45" y="43"/>
                      </a:lnTo>
                      <a:lnTo>
                        <a:pt x="61" y="40"/>
                      </a:lnTo>
                      <a:lnTo>
                        <a:pt x="75" y="28"/>
                      </a:lnTo>
                      <a:lnTo>
                        <a:pt x="128" y="0"/>
                      </a:lnTo>
                      <a:lnTo>
                        <a:pt x="146" y="2"/>
                      </a:lnTo>
                      <a:lnTo>
                        <a:pt x="149" y="5"/>
                      </a:lnTo>
                      <a:lnTo>
                        <a:pt x="158" y="2"/>
                      </a:lnTo>
                      <a:lnTo>
                        <a:pt x="161" y="2"/>
                      </a:lnTo>
                      <a:lnTo>
                        <a:pt x="165" y="17"/>
                      </a:lnTo>
                      <a:lnTo>
                        <a:pt x="165" y="19"/>
                      </a:lnTo>
                      <a:lnTo>
                        <a:pt x="165" y="21"/>
                      </a:lnTo>
                      <a:lnTo>
                        <a:pt x="172" y="28"/>
                      </a:lnTo>
                      <a:lnTo>
                        <a:pt x="172" y="33"/>
                      </a:lnTo>
                      <a:lnTo>
                        <a:pt x="170" y="35"/>
                      </a:lnTo>
                      <a:lnTo>
                        <a:pt x="168" y="54"/>
                      </a:lnTo>
                      <a:lnTo>
                        <a:pt x="168" y="69"/>
                      </a:lnTo>
                      <a:lnTo>
                        <a:pt x="149" y="85"/>
                      </a:lnTo>
                      <a:lnTo>
                        <a:pt x="149" y="88"/>
                      </a:lnTo>
                      <a:lnTo>
                        <a:pt x="146" y="88"/>
                      </a:lnTo>
                      <a:lnTo>
                        <a:pt x="146" y="88"/>
                      </a:lnTo>
                      <a:lnTo>
                        <a:pt x="146" y="90"/>
                      </a:lnTo>
                      <a:lnTo>
                        <a:pt x="146" y="102"/>
                      </a:lnTo>
                      <a:lnTo>
                        <a:pt x="144" y="102"/>
                      </a:lnTo>
                      <a:lnTo>
                        <a:pt x="144" y="102"/>
                      </a:lnTo>
                      <a:lnTo>
                        <a:pt x="142" y="104"/>
                      </a:lnTo>
                      <a:lnTo>
                        <a:pt x="142" y="104"/>
                      </a:lnTo>
                      <a:lnTo>
                        <a:pt x="139" y="104"/>
                      </a:lnTo>
                      <a:lnTo>
                        <a:pt x="139" y="104"/>
                      </a:lnTo>
                      <a:lnTo>
                        <a:pt x="137" y="107"/>
                      </a:lnTo>
                      <a:lnTo>
                        <a:pt x="135" y="107"/>
                      </a:lnTo>
                      <a:lnTo>
                        <a:pt x="135" y="107"/>
                      </a:lnTo>
                      <a:lnTo>
                        <a:pt x="132" y="109"/>
                      </a:lnTo>
                      <a:lnTo>
                        <a:pt x="130" y="107"/>
                      </a:lnTo>
                      <a:lnTo>
                        <a:pt x="128" y="107"/>
                      </a:lnTo>
                      <a:lnTo>
                        <a:pt x="123" y="107"/>
                      </a:lnTo>
                      <a:lnTo>
                        <a:pt x="118" y="104"/>
                      </a:lnTo>
                      <a:lnTo>
                        <a:pt x="116" y="107"/>
                      </a:lnTo>
                      <a:lnTo>
                        <a:pt x="111" y="107"/>
                      </a:lnTo>
                      <a:lnTo>
                        <a:pt x="109" y="107"/>
                      </a:lnTo>
                      <a:lnTo>
                        <a:pt x="104" y="109"/>
                      </a:lnTo>
                      <a:lnTo>
                        <a:pt x="102" y="111"/>
                      </a:lnTo>
                      <a:lnTo>
                        <a:pt x="99" y="111"/>
                      </a:lnTo>
                      <a:lnTo>
                        <a:pt x="94" y="109"/>
                      </a:lnTo>
                      <a:lnTo>
                        <a:pt x="92" y="109"/>
                      </a:lnTo>
                      <a:lnTo>
                        <a:pt x="90" y="107"/>
                      </a:lnTo>
                      <a:lnTo>
                        <a:pt x="87" y="107"/>
                      </a:lnTo>
                      <a:lnTo>
                        <a:pt x="87" y="107"/>
                      </a:lnTo>
                      <a:lnTo>
                        <a:pt x="85" y="104"/>
                      </a:lnTo>
                      <a:lnTo>
                        <a:pt x="83" y="104"/>
                      </a:lnTo>
                      <a:lnTo>
                        <a:pt x="83" y="104"/>
                      </a:lnTo>
                      <a:lnTo>
                        <a:pt x="80" y="107"/>
                      </a:lnTo>
                      <a:lnTo>
                        <a:pt x="78" y="107"/>
                      </a:lnTo>
                      <a:lnTo>
                        <a:pt x="75" y="107"/>
                      </a:lnTo>
                      <a:lnTo>
                        <a:pt x="75" y="107"/>
                      </a:lnTo>
                      <a:lnTo>
                        <a:pt x="73" y="109"/>
                      </a:lnTo>
                      <a:lnTo>
                        <a:pt x="71" y="107"/>
                      </a:lnTo>
                      <a:lnTo>
                        <a:pt x="68" y="104"/>
                      </a:lnTo>
                      <a:lnTo>
                        <a:pt x="68" y="102"/>
                      </a:lnTo>
                      <a:lnTo>
                        <a:pt x="66" y="102"/>
                      </a:lnTo>
                      <a:lnTo>
                        <a:pt x="64" y="102"/>
                      </a:lnTo>
                      <a:lnTo>
                        <a:pt x="61" y="99"/>
                      </a:lnTo>
                      <a:lnTo>
                        <a:pt x="59" y="99"/>
                      </a:lnTo>
                      <a:lnTo>
                        <a:pt x="57" y="99"/>
                      </a:lnTo>
                      <a:lnTo>
                        <a:pt x="57" y="99"/>
                      </a:lnTo>
                      <a:lnTo>
                        <a:pt x="54" y="99"/>
                      </a:lnTo>
                      <a:lnTo>
                        <a:pt x="52" y="99"/>
                      </a:lnTo>
                      <a:lnTo>
                        <a:pt x="49" y="99"/>
                      </a:lnTo>
                      <a:lnTo>
                        <a:pt x="49" y="99"/>
                      </a:lnTo>
                      <a:lnTo>
                        <a:pt x="47" y="102"/>
                      </a:lnTo>
                      <a:lnTo>
                        <a:pt x="45" y="102"/>
                      </a:lnTo>
                      <a:lnTo>
                        <a:pt x="45" y="102"/>
                      </a:lnTo>
                      <a:lnTo>
                        <a:pt x="42" y="104"/>
                      </a:lnTo>
                      <a:lnTo>
                        <a:pt x="40" y="104"/>
                      </a:lnTo>
                      <a:lnTo>
                        <a:pt x="42" y="107"/>
                      </a:lnTo>
                      <a:lnTo>
                        <a:pt x="42" y="107"/>
                      </a:lnTo>
                      <a:lnTo>
                        <a:pt x="40" y="107"/>
                      </a:lnTo>
                      <a:lnTo>
                        <a:pt x="42" y="109"/>
                      </a:lnTo>
                      <a:lnTo>
                        <a:pt x="42" y="109"/>
                      </a:lnTo>
                      <a:lnTo>
                        <a:pt x="42" y="111"/>
                      </a:lnTo>
                      <a:lnTo>
                        <a:pt x="40" y="111"/>
                      </a:lnTo>
                      <a:lnTo>
                        <a:pt x="38" y="114"/>
                      </a:lnTo>
                      <a:lnTo>
                        <a:pt x="38" y="114"/>
                      </a:lnTo>
                      <a:lnTo>
                        <a:pt x="38" y="116"/>
                      </a:lnTo>
                      <a:lnTo>
                        <a:pt x="40" y="118"/>
                      </a:lnTo>
                      <a:lnTo>
                        <a:pt x="40" y="118"/>
                      </a:lnTo>
                      <a:lnTo>
                        <a:pt x="40" y="118"/>
                      </a:lnTo>
                      <a:lnTo>
                        <a:pt x="38" y="121"/>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0" name="Freeform 135">
                  <a:extLst>
                    <a:ext uri="{FF2B5EF4-FFF2-40B4-BE49-F238E27FC236}">
                      <a16:creationId xmlns:a16="http://schemas.microsoft.com/office/drawing/2014/main" id="{05C78A42-A8E5-361D-FE11-7ADF35401A88}"/>
                    </a:ext>
                  </a:extLst>
                </p:cNvPr>
                <p:cNvSpPr>
                  <a:spLocks/>
                </p:cNvSpPr>
                <p:nvPr/>
              </p:nvSpPr>
              <p:spPr bwMode="auto">
                <a:xfrm>
                  <a:off x="2687" y="2457"/>
                  <a:ext cx="130" cy="100"/>
                </a:xfrm>
                <a:custGeom>
                  <a:avLst/>
                  <a:gdLst>
                    <a:gd name="T0" fmla="*/ 123 w 130"/>
                    <a:gd name="T1" fmla="*/ 8 h 100"/>
                    <a:gd name="T2" fmla="*/ 116 w 130"/>
                    <a:gd name="T3" fmla="*/ 3 h 100"/>
                    <a:gd name="T4" fmla="*/ 111 w 130"/>
                    <a:gd name="T5" fmla="*/ 5 h 100"/>
                    <a:gd name="T6" fmla="*/ 107 w 130"/>
                    <a:gd name="T7" fmla="*/ 8 h 100"/>
                    <a:gd name="T8" fmla="*/ 102 w 130"/>
                    <a:gd name="T9" fmla="*/ 8 h 100"/>
                    <a:gd name="T10" fmla="*/ 90 w 130"/>
                    <a:gd name="T11" fmla="*/ 5 h 100"/>
                    <a:gd name="T12" fmla="*/ 81 w 130"/>
                    <a:gd name="T13" fmla="*/ 8 h 100"/>
                    <a:gd name="T14" fmla="*/ 71 w 130"/>
                    <a:gd name="T15" fmla="*/ 12 h 100"/>
                    <a:gd name="T16" fmla="*/ 62 w 130"/>
                    <a:gd name="T17" fmla="*/ 8 h 100"/>
                    <a:gd name="T18" fmla="*/ 57 w 130"/>
                    <a:gd name="T19" fmla="*/ 5 h 100"/>
                    <a:gd name="T20" fmla="*/ 52 w 130"/>
                    <a:gd name="T21" fmla="*/ 8 h 100"/>
                    <a:gd name="T22" fmla="*/ 47 w 130"/>
                    <a:gd name="T23" fmla="*/ 8 h 100"/>
                    <a:gd name="T24" fmla="*/ 40 w 130"/>
                    <a:gd name="T25" fmla="*/ 5 h 100"/>
                    <a:gd name="T26" fmla="*/ 36 w 130"/>
                    <a:gd name="T27" fmla="*/ 3 h 100"/>
                    <a:gd name="T28" fmla="*/ 29 w 130"/>
                    <a:gd name="T29" fmla="*/ 0 h 100"/>
                    <a:gd name="T30" fmla="*/ 24 w 130"/>
                    <a:gd name="T31" fmla="*/ 0 h 100"/>
                    <a:gd name="T32" fmla="*/ 19 w 130"/>
                    <a:gd name="T33" fmla="*/ 3 h 100"/>
                    <a:gd name="T34" fmla="*/ 14 w 130"/>
                    <a:gd name="T35" fmla="*/ 5 h 100"/>
                    <a:gd name="T36" fmla="*/ 14 w 130"/>
                    <a:gd name="T37" fmla="*/ 8 h 100"/>
                    <a:gd name="T38" fmla="*/ 14 w 130"/>
                    <a:gd name="T39" fmla="*/ 10 h 100"/>
                    <a:gd name="T40" fmla="*/ 10 w 130"/>
                    <a:gd name="T41" fmla="*/ 15 h 100"/>
                    <a:gd name="T42" fmla="*/ 12 w 130"/>
                    <a:gd name="T43" fmla="*/ 19 h 100"/>
                    <a:gd name="T44" fmla="*/ 10 w 130"/>
                    <a:gd name="T45" fmla="*/ 22 h 100"/>
                    <a:gd name="T46" fmla="*/ 14 w 130"/>
                    <a:gd name="T47" fmla="*/ 29 h 100"/>
                    <a:gd name="T48" fmla="*/ 14 w 130"/>
                    <a:gd name="T49" fmla="*/ 36 h 100"/>
                    <a:gd name="T50" fmla="*/ 10 w 130"/>
                    <a:gd name="T51" fmla="*/ 38 h 100"/>
                    <a:gd name="T52" fmla="*/ 12 w 130"/>
                    <a:gd name="T53" fmla="*/ 41 h 100"/>
                    <a:gd name="T54" fmla="*/ 7 w 130"/>
                    <a:gd name="T55" fmla="*/ 45 h 100"/>
                    <a:gd name="T56" fmla="*/ 5 w 130"/>
                    <a:gd name="T57" fmla="*/ 48 h 100"/>
                    <a:gd name="T58" fmla="*/ 3 w 130"/>
                    <a:gd name="T59" fmla="*/ 53 h 100"/>
                    <a:gd name="T60" fmla="*/ 0 w 130"/>
                    <a:gd name="T61" fmla="*/ 57 h 100"/>
                    <a:gd name="T62" fmla="*/ 3 w 130"/>
                    <a:gd name="T63" fmla="*/ 60 h 100"/>
                    <a:gd name="T64" fmla="*/ 3 w 130"/>
                    <a:gd name="T65" fmla="*/ 67 h 100"/>
                    <a:gd name="T66" fmla="*/ 3 w 130"/>
                    <a:gd name="T67" fmla="*/ 76 h 100"/>
                    <a:gd name="T68" fmla="*/ 10 w 130"/>
                    <a:gd name="T69" fmla="*/ 76 h 100"/>
                    <a:gd name="T70" fmla="*/ 26 w 130"/>
                    <a:gd name="T71" fmla="*/ 91 h 100"/>
                    <a:gd name="T72" fmla="*/ 29 w 130"/>
                    <a:gd name="T73" fmla="*/ 98 h 100"/>
                    <a:gd name="T74" fmla="*/ 47 w 130"/>
                    <a:gd name="T75" fmla="*/ 100 h 100"/>
                    <a:gd name="T76" fmla="*/ 55 w 130"/>
                    <a:gd name="T77" fmla="*/ 98 h 100"/>
                    <a:gd name="T78" fmla="*/ 62 w 130"/>
                    <a:gd name="T79" fmla="*/ 95 h 100"/>
                    <a:gd name="T80" fmla="*/ 64 w 130"/>
                    <a:gd name="T81" fmla="*/ 98 h 100"/>
                    <a:gd name="T82" fmla="*/ 69 w 130"/>
                    <a:gd name="T83" fmla="*/ 91 h 100"/>
                    <a:gd name="T84" fmla="*/ 69 w 130"/>
                    <a:gd name="T85" fmla="*/ 86 h 100"/>
                    <a:gd name="T86" fmla="*/ 74 w 130"/>
                    <a:gd name="T87" fmla="*/ 81 h 100"/>
                    <a:gd name="T88" fmla="*/ 76 w 130"/>
                    <a:gd name="T89" fmla="*/ 74 h 100"/>
                    <a:gd name="T90" fmla="*/ 81 w 130"/>
                    <a:gd name="T91" fmla="*/ 72 h 100"/>
                    <a:gd name="T92" fmla="*/ 85 w 130"/>
                    <a:gd name="T93" fmla="*/ 74 h 100"/>
                    <a:gd name="T94" fmla="*/ 92 w 130"/>
                    <a:gd name="T95" fmla="*/ 79 h 100"/>
                    <a:gd name="T96" fmla="*/ 97 w 130"/>
                    <a:gd name="T97" fmla="*/ 76 h 100"/>
                    <a:gd name="T98" fmla="*/ 100 w 130"/>
                    <a:gd name="T99" fmla="*/ 72 h 100"/>
                    <a:gd name="T100" fmla="*/ 102 w 130"/>
                    <a:gd name="T101" fmla="*/ 67 h 100"/>
                    <a:gd name="T102" fmla="*/ 104 w 130"/>
                    <a:gd name="T103" fmla="*/ 60 h 100"/>
                    <a:gd name="T104" fmla="*/ 111 w 130"/>
                    <a:gd name="T105" fmla="*/ 55 h 100"/>
                    <a:gd name="T106" fmla="*/ 111 w 130"/>
                    <a:gd name="T107" fmla="*/ 48 h 100"/>
                    <a:gd name="T108" fmla="*/ 118 w 130"/>
                    <a:gd name="T109" fmla="*/ 43 h 100"/>
                    <a:gd name="T110" fmla="*/ 118 w 130"/>
                    <a:gd name="T111" fmla="*/ 36 h 100"/>
                    <a:gd name="T112" fmla="*/ 123 w 130"/>
                    <a:gd name="T113" fmla="*/ 31 h 100"/>
                    <a:gd name="T114" fmla="*/ 126 w 130"/>
                    <a:gd name="T115" fmla="*/ 29 h 100"/>
                    <a:gd name="T116" fmla="*/ 130 w 130"/>
                    <a:gd name="T117" fmla="*/ 24 h 100"/>
                    <a:gd name="T118" fmla="*/ 128 w 130"/>
                    <a:gd name="T119" fmla="*/ 19 h 100"/>
                    <a:gd name="T120" fmla="*/ 126 w 130"/>
                    <a:gd name="T121" fmla="*/ 12 h 100"/>
                    <a:gd name="T122" fmla="*/ 126 w 130"/>
                    <a:gd name="T123" fmla="*/ 1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0" h="100">
                      <a:moveTo>
                        <a:pt x="126" y="10"/>
                      </a:moveTo>
                      <a:lnTo>
                        <a:pt x="126" y="10"/>
                      </a:lnTo>
                      <a:lnTo>
                        <a:pt x="123" y="8"/>
                      </a:lnTo>
                      <a:lnTo>
                        <a:pt x="121" y="3"/>
                      </a:lnTo>
                      <a:lnTo>
                        <a:pt x="116" y="3"/>
                      </a:lnTo>
                      <a:lnTo>
                        <a:pt x="116" y="3"/>
                      </a:lnTo>
                      <a:lnTo>
                        <a:pt x="114" y="5"/>
                      </a:lnTo>
                      <a:lnTo>
                        <a:pt x="114" y="5"/>
                      </a:lnTo>
                      <a:lnTo>
                        <a:pt x="111" y="5"/>
                      </a:lnTo>
                      <a:lnTo>
                        <a:pt x="111" y="5"/>
                      </a:lnTo>
                      <a:lnTo>
                        <a:pt x="109" y="8"/>
                      </a:lnTo>
                      <a:lnTo>
                        <a:pt x="107" y="8"/>
                      </a:lnTo>
                      <a:lnTo>
                        <a:pt x="107" y="10"/>
                      </a:lnTo>
                      <a:lnTo>
                        <a:pt x="104" y="10"/>
                      </a:lnTo>
                      <a:lnTo>
                        <a:pt x="102" y="8"/>
                      </a:lnTo>
                      <a:lnTo>
                        <a:pt x="100" y="8"/>
                      </a:lnTo>
                      <a:lnTo>
                        <a:pt x="95" y="8"/>
                      </a:lnTo>
                      <a:lnTo>
                        <a:pt x="90" y="5"/>
                      </a:lnTo>
                      <a:lnTo>
                        <a:pt x="88" y="8"/>
                      </a:lnTo>
                      <a:lnTo>
                        <a:pt x="83" y="8"/>
                      </a:lnTo>
                      <a:lnTo>
                        <a:pt x="81" y="8"/>
                      </a:lnTo>
                      <a:lnTo>
                        <a:pt x="76" y="10"/>
                      </a:lnTo>
                      <a:lnTo>
                        <a:pt x="74" y="12"/>
                      </a:lnTo>
                      <a:lnTo>
                        <a:pt x="71" y="12"/>
                      </a:lnTo>
                      <a:lnTo>
                        <a:pt x="66" y="10"/>
                      </a:lnTo>
                      <a:lnTo>
                        <a:pt x="64" y="10"/>
                      </a:lnTo>
                      <a:lnTo>
                        <a:pt x="62" y="8"/>
                      </a:lnTo>
                      <a:lnTo>
                        <a:pt x="59" y="8"/>
                      </a:lnTo>
                      <a:lnTo>
                        <a:pt x="59" y="8"/>
                      </a:lnTo>
                      <a:lnTo>
                        <a:pt x="57" y="5"/>
                      </a:lnTo>
                      <a:lnTo>
                        <a:pt x="55" y="5"/>
                      </a:lnTo>
                      <a:lnTo>
                        <a:pt x="55" y="5"/>
                      </a:lnTo>
                      <a:lnTo>
                        <a:pt x="52" y="8"/>
                      </a:lnTo>
                      <a:lnTo>
                        <a:pt x="50" y="8"/>
                      </a:lnTo>
                      <a:lnTo>
                        <a:pt x="47" y="8"/>
                      </a:lnTo>
                      <a:lnTo>
                        <a:pt x="47" y="8"/>
                      </a:lnTo>
                      <a:lnTo>
                        <a:pt x="45" y="10"/>
                      </a:lnTo>
                      <a:lnTo>
                        <a:pt x="43" y="8"/>
                      </a:lnTo>
                      <a:lnTo>
                        <a:pt x="40" y="5"/>
                      </a:lnTo>
                      <a:lnTo>
                        <a:pt x="40" y="3"/>
                      </a:lnTo>
                      <a:lnTo>
                        <a:pt x="38" y="3"/>
                      </a:lnTo>
                      <a:lnTo>
                        <a:pt x="36" y="3"/>
                      </a:lnTo>
                      <a:lnTo>
                        <a:pt x="33" y="0"/>
                      </a:lnTo>
                      <a:lnTo>
                        <a:pt x="31" y="0"/>
                      </a:lnTo>
                      <a:lnTo>
                        <a:pt x="29" y="0"/>
                      </a:lnTo>
                      <a:lnTo>
                        <a:pt x="29" y="0"/>
                      </a:lnTo>
                      <a:lnTo>
                        <a:pt x="26" y="0"/>
                      </a:lnTo>
                      <a:lnTo>
                        <a:pt x="24" y="0"/>
                      </a:lnTo>
                      <a:lnTo>
                        <a:pt x="21" y="0"/>
                      </a:lnTo>
                      <a:lnTo>
                        <a:pt x="21" y="0"/>
                      </a:lnTo>
                      <a:lnTo>
                        <a:pt x="19" y="3"/>
                      </a:lnTo>
                      <a:lnTo>
                        <a:pt x="17" y="3"/>
                      </a:lnTo>
                      <a:lnTo>
                        <a:pt x="17" y="3"/>
                      </a:lnTo>
                      <a:lnTo>
                        <a:pt x="14" y="5"/>
                      </a:lnTo>
                      <a:lnTo>
                        <a:pt x="12" y="5"/>
                      </a:lnTo>
                      <a:lnTo>
                        <a:pt x="14" y="8"/>
                      </a:lnTo>
                      <a:lnTo>
                        <a:pt x="14" y="8"/>
                      </a:lnTo>
                      <a:lnTo>
                        <a:pt x="12" y="8"/>
                      </a:lnTo>
                      <a:lnTo>
                        <a:pt x="14" y="10"/>
                      </a:lnTo>
                      <a:lnTo>
                        <a:pt x="14" y="10"/>
                      </a:lnTo>
                      <a:lnTo>
                        <a:pt x="14" y="12"/>
                      </a:lnTo>
                      <a:lnTo>
                        <a:pt x="12" y="12"/>
                      </a:lnTo>
                      <a:lnTo>
                        <a:pt x="10" y="15"/>
                      </a:lnTo>
                      <a:lnTo>
                        <a:pt x="10" y="15"/>
                      </a:lnTo>
                      <a:lnTo>
                        <a:pt x="10" y="17"/>
                      </a:lnTo>
                      <a:lnTo>
                        <a:pt x="12" y="19"/>
                      </a:lnTo>
                      <a:lnTo>
                        <a:pt x="12" y="19"/>
                      </a:lnTo>
                      <a:lnTo>
                        <a:pt x="12" y="19"/>
                      </a:lnTo>
                      <a:lnTo>
                        <a:pt x="10" y="22"/>
                      </a:lnTo>
                      <a:lnTo>
                        <a:pt x="10" y="24"/>
                      </a:lnTo>
                      <a:lnTo>
                        <a:pt x="10" y="27"/>
                      </a:lnTo>
                      <a:lnTo>
                        <a:pt x="14" y="29"/>
                      </a:lnTo>
                      <a:lnTo>
                        <a:pt x="14" y="31"/>
                      </a:lnTo>
                      <a:lnTo>
                        <a:pt x="14" y="34"/>
                      </a:lnTo>
                      <a:lnTo>
                        <a:pt x="14" y="36"/>
                      </a:lnTo>
                      <a:lnTo>
                        <a:pt x="12" y="36"/>
                      </a:lnTo>
                      <a:lnTo>
                        <a:pt x="12" y="36"/>
                      </a:lnTo>
                      <a:lnTo>
                        <a:pt x="10" y="38"/>
                      </a:lnTo>
                      <a:lnTo>
                        <a:pt x="12" y="41"/>
                      </a:lnTo>
                      <a:lnTo>
                        <a:pt x="12" y="41"/>
                      </a:lnTo>
                      <a:lnTo>
                        <a:pt x="12" y="41"/>
                      </a:lnTo>
                      <a:lnTo>
                        <a:pt x="10" y="43"/>
                      </a:lnTo>
                      <a:lnTo>
                        <a:pt x="10" y="43"/>
                      </a:lnTo>
                      <a:lnTo>
                        <a:pt x="7" y="45"/>
                      </a:lnTo>
                      <a:lnTo>
                        <a:pt x="7" y="48"/>
                      </a:lnTo>
                      <a:lnTo>
                        <a:pt x="5" y="48"/>
                      </a:lnTo>
                      <a:lnTo>
                        <a:pt x="5" y="48"/>
                      </a:lnTo>
                      <a:lnTo>
                        <a:pt x="3" y="50"/>
                      </a:lnTo>
                      <a:lnTo>
                        <a:pt x="0" y="50"/>
                      </a:lnTo>
                      <a:lnTo>
                        <a:pt x="3" y="53"/>
                      </a:lnTo>
                      <a:lnTo>
                        <a:pt x="0" y="55"/>
                      </a:lnTo>
                      <a:lnTo>
                        <a:pt x="0" y="57"/>
                      </a:lnTo>
                      <a:lnTo>
                        <a:pt x="0" y="57"/>
                      </a:lnTo>
                      <a:lnTo>
                        <a:pt x="3" y="60"/>
                      </a:lnTo>
                      <a:lnTo>
                        <a:pt x="0" y="60"/>
                      </a:lnTo>
                      <a:lnTo>
                        <a:pt x="3" y="60"/>
                      </a:lnTo>
                      <a:lnTo>
                        <a:pt x="3" y="62"/>
                      </a:lnTo>
                      <a:lnTo>
                        <a:pt x="0" y="62"/>
                      </a:lnTo>
                      <a:lnTo>
                        <a:pt x="3" y="67"/>
                      </a:lnTo>
                      <a:lnTo>
                        <a:pt x="3" y="69"/>
                      </a:lnTo>
                      <a:lnTo>
                        <a:pt x="3" y="72"/>
                      </a:lnTo>
                      <a:lnTo>
                        <a:pt x="3" y="76"/>
                      </a:lnTo>
                      <a:lnTo>
                        <a:pt x="3" y="79"/>
                      </a:lnTo>
                      <a:lnTo>
                        <a:pt x="7" y="79"/>
                      </a:lnTo>
                      <a:lnTo>
                        <a:pt x="10" y="76"/>
                      </a:lnTo>
                      <a:lnTo>
                        <a:pt x="19" y="81"/>
                      </a:lnTo>
                      <a:lnTo>
                        <a:pt x="24" y="86"/>
                      </a:lnTo>
                      <a:lnTo>
                        <a:pt x="26" y="91"/>
                      </a:lnTo>
                      <a:lnTo>
                        <a:pt x="26" y="93"/>
                      </a:lnTo>
                      <a:lnTo>
                        <a:pt x="26" y="95"/>
                      </a:lnTo>
                      <a:lnTo>
                        <a:pt x="29" y="98"/>
                      </a:lnTo>
                      <a:lnTo>
                        <a:pt x="31" y="100"/>
                      </a:lnTo>
                      <a:lnTo>
                        <a:pt x="36" y="100"/>
                      </a:lnTo>
                      <a:lnTo>
                        <a:pt x="47" y="100"/>
                      </a:lnTo>
                      <a:lnTo>
                        <a:pt x="47" y="100"/>
                      </a:lnTo>
                      <a:lnTo>
                        <a:pt x="50" y="100"/>
                      </a:lnTo>
                      <a:lnTo>
                        <a:pt x="55" y="98"/>
                      </a:lnTo>
                      <a:lnTo>
                        <a:pt x="57" y="100"/>
                      </a:lnTo>
                      <a:lnTo>
                        <a:pt x="59" y="98"/>
                      </a:lnTo>
                      <a:lnTo>
                        <a:pt x="62" y="95"/>
                      </a:lnTo>
                      <a:lnTo>
                        <a:pt x="64" y="98"/>
                      </a:lnTo>
                      <a:lnTo>
                        <a:pt x="64" y="98"/>
                      </a:lnTo>
                      <a:lnTo>
                        <a:pt x="64" y="98"/>
                      </a:lnTo>
                      <a:lnTo>
                        <a:pt x="64" y="95"/>
                      </a:lnTo>
                      <a:lnTo>
                        <a:pt x="66" y="93"/>
                      </a:lnTo>
                      <a:lnTo>
                        <a:pt x="69" y="91"/>
                      </a:lnTo>
                      <a:lnTo>
                        <a:pt x="69" y="88"/>
                      </a:lnTo>
                      <a:lnTo>
                        <a:pt x="69" y="86"/>
                      </a:lnTo>
                      <a:lnTo>
                        <a:pt x="69" y="86"/>
                      </a:lnTo>
                      <a:lnTo>
                        <a:pt x="69" y="83"/>
                      </a:lnTo>
                      <a:lnTo>
                        <a:pt x="71" y="81"/>
                      </a:lnTo>
                      <a:lnTo>
                        <a:pt x="74" y="81"/>
                      </a:lnTo>
                      <a:lnTo>
                        <a:pt x="74" y="79"/>
                      </a:lnTo>
                      <a:lnTo>
                        <a:pt x="78" y="76"/>
                      </a:lnTo>
                      <a:lnTo>
                        <a:pt x="76" y="74"/>
                      </a:lnTo>
                      <a:lnTo>
                        <a:pt x="78" y="74"/>
                      </a:lnTo>
                      <a:lnTo>
                        <a:pt x="81" y="74"/>
                      </a:lnTo>
                      <a:lnTo>
                        <a:pt x="81" y="72"/>
                      </a:lnTo>
                      <a:lnTo>
                        <a:pt x="81" y="74"/>
                      </a:lnTo>
                      <a:lnTo>
                        <a:pt x="85" y="74"/>
                      </a:lnTo>
                      <a:lnTo>
                        <a:pt x="85" y="74"/>
                      </a:lnTo>
                      <a:lnTo>
                        <a:pt x="88" y="74"/>
                      </a:lnTo>
                      <a:lnTo>
                        <a:pt x="90" y="76"/>
                      </a:lnTo>
                      <a:lnTo>
                        <a:pt x="92" y="79"/>
                      </a:lnTo>
                      <a:lnTo>
                        <a:pt x="92" y="79"/>
                      </a:lnTo>
                      <a:lnTo>
                        <a:pt x="95" y="76"/>
                      </a:lnTo>
                      <a:lnTo>
                        <a:pt x="97" y="76"/>
                      </a:lnTo>
                      <a:lnTo>
                        <a:pt x="97" y="74"/>
                      </a:lnTo>
                      <a:lnTo>
                        <a:pt x="97" y="74"/>
                      </a:lnTo>
                      <a:lnTo>
                        <a:pt x="100" y="72"/>
                      </a:lnTo>
                      <a:lnTo>
                        <a:pt x="100" y="72"/>
                      </a:lnTo>
                      <a:lnTo>
                        <a:pt x="100" y="69"/>
                      </a:lnTo>
                      <a:lnTo>
                        <a:pt x="102" y="67"/>
                      </a:lnTo>
                      <a:lnTo>
                        <a:pt x="104" y="64"/>
                      </a:lnTo>
                      <a:lnTo>
                        <a:pt x="104" y="62"/>
                      </a:lnTo>
                      <a:lnTo>
                        <a:pt x="104" y="60"/>
                      </a:lnTo>
                      <a:lnTo>
                        <a:pt x="107" y="60"/>
                      </a:lnTo>
                      <a:lnTo>
                        <a:pt x="109" y="55"/>
                      </a:lnTo>
                      <a:lnTo>
                        <a:pt x="111" y="55"/>
                      </a:lnTo>
                      <a:lnTo>
                        <a:pt x="111" y="53"/>
                      </a:lnTo>
                      <a:lnTo>
                        <a:pt x="111" y="50"/>
                      </a:lnTo>
                      <a:lnTo>
                        <a:pt x="111" y="48"/>
                      </a:lnTo>
                      <a:lnTo>
                        <a:pt x="114" y="45"/>
                      </a:lnTo>
                      <a:lnTo>
                        <a:pt x="116" y="45"/>
                      </a:lnTo>
                      <a:lnTo>
                        <a:pt x="118" y="43"/>
                      </a:lnTo>
                      <a:lnTo>
                        <a:pt x="118" y="41"/>
                      </a:lnTo>
                      <a:lnTo>
                        <a:pt x="118" y="38"/>
                      </a:lnTo>
                      <a:lnTo>
                        <a:pt x="118" y="36"/>
                      </a:lnTo>
                      <a:lnTo>
                        <a:pt x="118" y="36"/>
                      </a:lnTo>
                      <a:lnTo>
                        <a:pt x="121" y="31"/>
                      </a:lnTo>
                      <a:lnTo>
                        <a:pt x="123" y="31"/>
                      </a:lnTo>
                      <a:lnTo>
                        <a:pt x="123" y="29"/>
                      </a:lnTo>
                      <a:lnTo>
                        <a:pt x="126" y="29"/>
                      </a:lnTo>
                      <a:lnTo>
                        <a:pt x="126" y="29"/>
                      </a:lnTo>
                      <a:lnTo>
                        <a:pt x="128" y="27"/>
                      </a:lnTo>
                      <a:lnTo>
                        <a:pt x="130" y="27"/>
                      </a:lnTo>
                      <a:lnTo>
                        <a:pt x="130" y="24"/>
                      </a:lnTo>
                      <a:lnTo>
                        <a:pt x="130" y="22"/>
                      </a:lnTo>
                      <a:lnTo>
                        <a:pt x="130" y="19"/>
                      </a:lnTo>
                      <a:lnTo>
                        <a:pt x="128" y="19"/>
                      </a:lnTo>
                      <a:lnTo>
                        <a:pt x="128" y="19"/>
                      </a:lnTo>
                      <a:lnTo>
                        <a:pt x="126" y="17"/>
                      </a:lnTo>
                      <a:lnTo>
                        <a:pt x="126" y="12"/>
                      </a:lnTo>
                      <a:lnTo>
                        <a:pt x="126" y="12"/>
                      </a:lnTo>
                      <a:lnTo>
                        <a:pt x="126" y="10"/>
                      </a:lnTo>
                      <a:lnTo>
                        <a:pt x="126" y="10"/>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1" name="Freeform 136">
                  <a:extLst>
                    <a:ext uri="{FF2B5EF4-FFF2-40B4-BE49-F238E27FC236}">
                      <a16:creationId xmlns:a16="http://schemas.microsoft.com/office/drawing/2014/main" id="{0D20F5BC-AF4A-F938-299F-C93F5D4C9E7B}"/>
                    </a:ext>
                  </a:extLst>
                </p:cNvPr>
                <p:cNvSpPr>
                  <a:spLocks/>
                </p:cNvSpPr>
                <p:nvPr/>
              </p:nvSpPr>
              <p:spPr bwMode="auto">
                <a:xfrm>
                  <a:off x="2727" y="2597"/>
                  <a:ext cx="3" cy="5"/>
                </a:xfrm>
                <a:custGeom>
                  <a:avLst/>
                  <a:gdLst>
                    <a:gd name="T0" fmla="*/ 0 w 3"/>
                    <a:gd name="T1" fmla="*/ 5 h 5"/>
                    <a:gd name="T2" fmla="*/ 0 w 3"/>
                    <a:gd name="T3" fmla="*/ 3 h 5"/>
                    <a:gd name="T4" fmla="*/ 0 w 3"/>
                    <a:gd name="T5" fmla="*/ 0 h 5"/>
                    <a:gd name="T6" fmla="*/ 3 w 3"/>
                    <a:gd name="T7" fmla="*/ 3 h 5"/>
                    <a:gd name="T8" fmla="*/ 3 w 3"/>
                    <a:gd name="T9" fmla="*/ 3 h 5"/>
                    <a:gd name="T10" fmla="*/ 0 w 3"/>
                    <a:gd name="T11" fmla="*/ 5 h 5"/>
                    <a:gd name="T12" fmla="*/ 0 w 3"/>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3" h="5">
                      <a:moveTo>
                        <a:pt x="0" y="5"/>
                      </a:moveTo>
                      <a:lnTo>
                        <a:pt x="0" y="3"/>
                      </a:lnTo>
                      <a:lnTo>
                        <a:pt x="0" y="0"/>
                      </a:lnTo>
                      <a:lnTo>
                        <a:pt x="3" y="3"/>
                      </a:lnTo>
                      <a:lnTo>
                        <a:pt x="3" y="3"/>
                      </a:lnTo>
                      <a:lnTo>
                        <a:pt x="0" y="5"/>
                      </a:lnTo>
                      <a:lnTo>
                        <a:pt x="0" y="5"/>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2" name="Freeform 137">
                  <a:extLst>
                    <a:ext uri="{FF2B5EF4-FFF2-40B4-BE49-F238E27FC236}">
                      <a16:creationId xmlns:a16="http://schemas.microsoft.com/office/drawing/2014/main" id="{D6ED0856-BFA7-7113-DBCE-C1B427D7AB28}"/>
                    </a:ext>
                  </a:extLst>
                </p:cNvPr>
                <p:cNvSpPr>
                  <a:spLocks/>
                </p:cNvSpPr>
                <p:nvPr/>
              </p:nvSpPr>
              <p:spPr bwMode="auto">
                <a:xfrm>
                  <a:off x="2749" y="2562"/>
                  <a:ext cx="4" cy="7"/>
                </a:xfrm>
                <a:custGeom>
                  <a:avLst/>
                  <a:gdLst>
                    <a:gd name="T0" fmla="*/ 0 w 4"/>
                    <a:gd name="T1" fmla="*/ 7 h 7"/>
                    <a:gd name="T2" fmla="*/ 0 w 4"/>
                    <a:gd name="T3" fmla="*/ 4 h 7"/>
                    <a:gd name="T4" fmla="*/ 0 w 4"/>
                    <a:gd name="T5" fmla="*/ 4 h 7"/>
                    <a:gd name="T6" fmla="*/ 2 w 4"/>
                    <a:gd name="T7" fmla="*/ 2 h 7"/>
                    <a:gd name="T8" fmla="*/ 4 w 4"/>
                    <a:gd name="T9" fmla="*/ 0 h 7"/>
                    <a:gd name="T10" fmla="*/ 4 w 4"/>
                    <a:gd name="T11" fmla="*/ 0 h 7"/>
                    <a:gd name="T12" fmla="*/ 4 w 4"/>
                    <a:gd name="T13" fmla="*/ 4 h 7"/>
                    <a:gd name="T14" fmla="*/ 2 w 4"/>
                    <a:gd name="T15" fmla="*/ 7 h 7"/>
                    <a:gd name="T16" fmla="*/ 2 w 4"/>
                    <a:gd name="T17" fmla="*/ 7 h 7"/>
                    <a:gd name="T18" fmla="*/ 0 w 4"/>
                    <a:gd name="T19"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7">
                      <a:moveTo>
                        <a:pt x="0" y="7"/>
                      </a:moveTo>
                      <a:lnTo>
                        <a:pt x="0" y="4"/>
                      </a:lnTo>
                      <a:lnTo>
                        <a:pt x="0" y="4"/>
                      </a:lnTo>
                      <a:lnTo>
                        <a:pt x="2" y="2"/>
                      </a:lnTo>
                      <a:lnTo>
                        <a:pt x="4" y="0"/>
                      </a:lnTo>
                      <a:lnTo>
                        <a:pt x="4" y="0"/>
                      </a:lnTo>
                      <a:lnTo>
                        <a:pt x="4" y="4"/>
                      </a:lnTo>
                      <a:lnTo>
                        <a:pt x="2" y="7"/>
                      </a:lnTo>
                      <a:lnTo>
                        <a:pt x="2" y="7"/>
                      </a:lnTo>
                      <a:lnTo>
                        <a:pt x="0" y="7"/>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3" name="Freeform 138">
                  <a:extLst>
                    <a:ext uri="{FF2B5EF4-FFF2-40B4-BE49-F238E27FC236}">
                      <a16:creationId xmlns:a16="http://schemas.microsoft.com/office/drawing/2014/main" id="{12ADCC94-FBDE-F422-FE8B-9CD0B7D454C3}"/>
                    </a:ext>
                  </a:extLst>
                </p:cNvPr>
                <p:cNvSpPr>
                  <a:spLocks/>
                </p:cNvSpPr>
                <p:nvPr/>
              </p:nvSpPr>
              <p:spPr bwMode="auto">
                <a:xfrm>
                  <a:off x="2751" y="2467"/>
                  <a:ext cx="85" cy="116"/>
                </a:xfrm>
                <a:custGeom>
                  <a:avLst/>
                  <a:gdLst>
                    <a:gd name="T0" fmla="*/ 2 w 85"/>
                    <a:gd name="T1" fmla="*/ 83 h 116"/>
                    <a:gd name="T2" fmla="*/ 5 w 85"/>
                    <a:gd name="T3" fmla="*/ 76 h 116"/>
                    <a:gd name="T4" fmla="*/ 7 w 85"/>
                    <a:gd name="T5" fmla="*/ 71 h 116"/>
                    <a:gd name="T6" fmla="*/ 14 w 85"/>
                    <a:gd name="T7" fmla="*/ 66 h 116"/>
                    <a:gd name="T8" fmla="*/ 17 w 85"/>
                    <a:gd name="T9" fmla="*/ 64 h 116"/>
                    <a:gd name="T10" fmla="*/ 21 w 85"/>
                    <a:gd name="T11" fmla="*/ 64 h 116"/>
                    <a:gd name="T12" fmla="*/ 26 w 85"/>
                    <a:gd name="T13" fmla="*/ 66 h 116"/>
                    <a:gd name="T14" fmla="*/ 31 w 85"/>
                    <a:gd name="T15" fmla="*/ 66 h 116"/>
                    <a:gd name="T16" fmla="*/ 33 w 85"/>
                    <a:gd name="T17" fmla="*/ 64 h 116"/>
                    <a:gd name="T18" fmla="*/ 36 w 85"/>
                    <a:gd name="T19" fmla="*/ 59 h 116"/>
                    <a:gd name="T20" fmla="*/ 40 w 85"/>
                    <a:gd name="T21" fmla="*/ 52 h 116"/>
                    <a:gd name="T22" fmla="*/ 45 w 85"/>
                    <a:gd name="T23" fmla="*/ 45 h 116"/>
                    <a:gd name="T24" fmla="*/ 47 w 85"/>
                    <a:gd name="T25" fmla="*/ 40 h 116"/>
                    <a:gd name="T26" fmla="*/ 52 w 85"/>
                    <a:gd name="T27" fmla="*/ 35 h 116"/>
                    <a:gd name="T28" fmla="*/ 54 w 85"/>
                    <a:gd name="T29" fmla="*/ 28 h 116"/>
                    <a:gd name="T30" fmla="*/ 57 w 85"/>
                    <a:gd name="T31" fmla="*/ 21 h 116"/>
                    <a:gd name="T32" fmla="*/ 62 w 85"/>
                    <a:gd name="T33" fmla="*/ 19 h 116"/>
                    <a:gd name="T34" fmla="*/ 66 w 85"/>
                    <a:gd name="T35" fmla="*/ 17 h 116"/>
                    <a:gd name="T36" fmla="*/ 66 w 85"/>
                    <a:gd name="T37" fmla="*/ 9 h 116"/>
                    <a:gd name="T38" fmla="*/ 62 w 85"/>
                    <a:gd name="T39" fmla="*/ 7 h 116"/>
                    <a:gd name="T40" fmla="*/ 62 w 85"/>
                    <a:gd name="T41" fmla="*/ 0 h 116"/>
                    <a:gd name="T42" fmla="*/ 69 w 85"/>
                    <a:gd name="T43" fmla="*/ 7 h 116"/>
                    <a:gd name="T44" fmla="*/ 71 w 85"/>
                    <a:gd name="T45" fmla="*/ 12 h 116"/>
                    <a:gd name="T46" fmla="*/ 71 w 85"/>
                    <a:gd name="T47" fmla="*/ 17 h 116"/>
                    <a:gd name="T48" fmla="*/ 71 w 85"/>
                    <a:gd name="T49" fmla="*/ 21 h 116"/>
                    <a:gd name="T50" fmla="*/ 73 w 85"/>
                    <a:gd name="T51" fmla="*/ 26 h 116"/>
                    <a:gd name="T52" fmla="*/ 78 w 85"/>
                    <a:gd name="T53" fmla="*/ 31 h 116"/>
                    <a:gd name="T54" fmla="*/ 76 w 85"/>
                    <a:gd name="T55" fmla="*/ 31 h 116"/>
                    <a:gd name="T56" fmla="*/ 69 w 85"/>
                    <a:gd name="T57" fmla="*/ 31 h 116"/>
                    <a:gd name="T58" fmla="*/ 64 w 85"/>
                    <a:gd name="T59" fmla="*/ 31 h 116"/>
                    <a:gd name="T60" fmla="*/ 62 w 85"/>
                    <a:gd name="T61" fmla="*/ 33 h 116"/>
                    <a:gd name="T62" fmla="*/ 64 w 85"/>
                    <a:gd name="T63" fmla="*/ 38 h 116"/>
                    <a:gd name="T64" fmla="*/ 71 w 85"/>
                    <a:gd name="T65" fmla="*/ 43 h 116"/>
                    <a:gd name="T66" fmla="*/ 78 w 85"/>
                    <a:gd name="T67" fmla="*/ 50 h 116"/>
                    <a:gd name="T68" fmla="*/ 78 w 85"/>
                    <a:gd name="T69" fmla="*/ 59 h 116"/>
                    <a:gd name="T70" fmla="*/ 73 w 85"/>
                    <a:gd name="T71" fmla="*/ 64 h 116"/>
                    <a:gd name="T72" fmla="*/ 69 w 85"/>
                    <a:gd name="T73" fmla="*/ 71 h 116"/>
                    <a:gd name="T74" fmla="*/ 69 w 85"/>
                    <a:gd name="T75" fmla="*/ 76 h 116"/>
                    <a:gd name="T76" fmla="*/ 69 w 85"/>
                    <a:gd name="T77" fmla="*/ 83 h 116"/>
                    <a:gd name="T78" fmla="*/ 73 w 85"/>
                    <a:gd name="T79" fmla="*/ 90 h 116"/>
                    <a:gd name="T80" fmla="*/ 78 w 85"/>
                    <a:gd name="T81" fmla="*/ 97 h 116"/>
                    <a:gd name="T82" fmla="*/ 85 w 85"/>
                    <a:gd name="T83" fmla="*/ 104 h 116"/>
                    <a:gd name="T84" fmla="*/ 85 w 85"/>
                    <a:gd name="T85" fmla="*/ 109 h 116"/>
                    <a:gd name="T86" fmla="*/ 85 w 85"/>
                    <a:gd name="T87" fmla="*/ 111 h 116"/>
                    <a:gd name="T88" fmla="*/ 85 w 85"/>
                    <a:gd name="T89" fmla="*/ 116 h 116"/>
                    <a:gd name="T90" fmla="*/ 83 w 85"/>
                    <a:gd name="T91" fmla="*/ 116 h 116"/>
                    <a:gd name="T92" fmla="*/ 80 w 85"/>
                    <a:gd name="T93" fmla="*/ 116 h 116"/>
                    <a:gd name="T94" fmla="*/ 76 w 85"/>
                    <a:gd name="T95" fmla="*/ 114 h 116"/>
                    <a:gd name="T96" fmla="*/ 73 w 85"/>
                    <a:gd name="T97" fmla="*/ 116 h 116"/>
                    <a:gd name="T98" fmla="*/ 69 w 85"/>
                    <a:gd name="T99" fmla="*/ 114 h 116"/>
                    <a:gd name="T100" fmla="*/ 66 w 85"/>
                    <a:gd name="T101" fmla="*/ 114 h 116"/>
                    <a:gd name="T102" fmla="*/ 50 w 85"/>
                    <a:gd name="T103" fmla="*/ 111 h 116"/>
                    <a:gd name="T104" fmla="*/ 45 w 85"/>
                    <a:gd name="T105" fmla="*/ 111 h 116"/>
                    <a:gd name="T106" fmla="*/ 43 w 85"/>
                    <a:gd name="T107" fmla="*/ 111 h 116"/>
                    <a:gd name="T108" fmla="*/ 36 w 85"/>
                    <a:gd name="T109" fmla="*/ 111 h 116"/>
                    <a:gd name="T110" fmla="*/ 31 w 85"/>
                    <a:gd name="T111" fmla="*/ 111 h 116"/>
                    <a:gd name="T112" fmla="*/ 31 w 85"/>
                    <a:gd name="T113" fmla="*/ 114 h 116"/>
                    <a:gd name="T114" fmla="*/ 14 w 85"/>
                    <a:gd name="T115" fmla="*/ 114 h 116"/>
                    <a:gd name="T116" fmla="*/ 12 w 85"/>
                    <a:gd name="T117" fmla="*/ 109 h 116"/>
                    <a:gd name="T118" fmla="*/ 12 w 85"/>
                    <a:gd name="T119" fmla="*/ 99 h 116"/>
                    <a:gd name="T120" fmla="*/ 12 w 85"/>
                    <a:gd name="T121" fmla="*/ 92 h 116"/>
                    <a:gd name="T122" fmla="*/ 5 w 85"/>
                    <a:gd name="T123" fmla="*/ 92 h 116"/>
                    <a:gd name="T124" fmla="*/ 0 w 85"/>
                    <a:gd name="T125" fmla="*/ 88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5" h="116">
                      <a:moveTo>
                        <a:pt x="0" y="88"/>
                      </a:moveTo>
                      <a:lnTo>
                        <a:pt x="0" y="85"/>
                      </a:lnTo>
                      <a:lnTo>
                        <a:pt x="2" y="83"/>
                      </a:lnTo>
                      <a:lnTo>
                        <a:pt x="5" y="81"/>
                      </a:lnTo>
                      <a:lnTo>
                        <a:pt x="5" y="78"/>
                      </a:lnTo>
                      <a:lnTo>
                        <a:pt x="5" y="76"/>
                      </a:lnTo>
                      <a:lnTo>
                        <a:pt x="5" y="76"/>
                      </a:lnTo>
                      <a:lnTo>
                        <a:pt x="5" y="73"/>
                      </a:lnTo>
                      <a:lnTo>
                        <a:pt x="7" y="71"/>
                      </a:lnTo>
                      <a:lnTo>
                        <a:pt x="10" y="71"/>
                      </a:lnTo>
                      <a:lnTo>
                        <a:pt x="10" y="69"/>
                      </a:lnTo>
                      <a:lnTo>
                        <a:pt x="14" y="66"/>
                      </a:lnTo>
                      <a:lnTo>
                        <a:pt x="12" y="64"/>
                      </a:lnTo>
                      <a:lnTo>
                        <a:pt x="14" y="64"/>
                      </a:lnTo>
                      <a:lnTo>
                        <a:pt x="17" y="64"/>
                      </a:lnTo>
                      <a:lnTo>
                        <a:pt x="17" y="62"/>
                      </a:lnTo>
                      <a:lnTo>
                        <a:pt x="17" y="64"/>
                      </a:lnTo>
                      <a:lnTo>
                        <a:pt x="21" y="64"/>
                      </a:lnTo>
                      <a:lnTo>
                        <a:pt x="21" y="64"/>
                      </a:lnTo>
                      <a:lnTo>
                        <a:pt x="24" y="64"/>
                      </a:lnTo>
                      <a:lnTo>
                        <a:pt x="26" y="66"/>
                      </a:lnTo>
                      <a:lnTo>
                        <a:pt x="28" y="69"/>
                      </a:lnTo>
                      <a:lnTo>
                        <a:pt x="28" y="69"/>
                      </a:lnTo>
                      <a:lnTo>
                        <a:pt x="31" y="66"/>
                      </a:lnTo>
                      <a:lnTo>
                        <a:pt x="33" y="66"/>
                      </a:lnTo>
                      <a:lnTo>
                        <a:pt x="33" y="64"/>
                      </a:lnTo>
                      <a:lnTo>
                        <a:pt x="33" y="64"/>
                      </a:lnTo>
                      <a:lnTo>
                        <a:pt x="36" y="62"/>
                      </a:lnTo>
                      <a:lnTo>
                        <a:pt x="36" y="62"/>
                      </a:lnTo>
                      <a:lnTo>
                        <a:pt x="36" y="59"/>
                      </a:lnTo>
                      <a:lnTo>
                        <a:pt x="38" y="57"/>
                      </a:lnTo>
                      <a:lnTo>
                        <a:pt x="40" y="54"/>
                      </a:lnTo>
                      <a:lnTo>
                        <a:pt x="40" y="52"/>
                      </a:lnTo>
                      <a:lnTo>
                        <a:pt x="40" y="50"/>
                      </a:lnTo>
                      <a:lnTo>
                        <a:pt x="43" y="50"/>
                      </a:lnTo>
                      <a:lnTo>
                        <a:pt x="45" y="45"/>
                      </a:lnTo>
                      <a:lnTo>
                        <a:pt x="47" y="45"/>
                      </a:lnTo>
                      <a:lnTo>
                        <a:pt x="47" y="43"/>
                      </a:lnTo>
                      <a:lnTo>
                        <a:pt x="47" y="40"/>
                      </a:lnTo>
                      <a:lnTo>
                        <a:pt x="47" y="38"/>
                      </a:lnTo>
                      <a:lnTo>
                        <a:pt x="50" y="35"/>
                      </a:lnTo>
                      <a:lnTo>
                        <a:pt x="52" y="35"/>
                      </a:lnTo>
                      <a:lnTo>
                        <a:pt x="54" y="33"/>
                      </a:lnTo>
                      <a:lnTo>
                        <a:pt x="54" y="31"/>
                      </a:lnTo>
                      <a:lnTo>
                        <a:pt x="54" y="28"/>
                      </a:lnTo>
                      <a:lnTo>
                        <a:pt x="54" y="26"/>
                      </a:lnTo>
                      <a:lnTo>
                        <a:pt x="54" y="26"/>
                      </a:lnTo>
                      <a:lnTo>
                        <a:pt x="57" y="21"/>
                      </a:lnTo>
                      <a:lnTo>
                        <a:pt x="59" y="21"/>
                      </a:lnTo>
                      <a:lnTo>
                        <a:pt x="59" y="19"/>
                      </a:lnTo>
                      <a:lnTo>
                        <a:pt x="62" y="19"/>
                      </a:lnTo>
                      <a:lnTo>
                        <a:pt x="62" y="19"/>
                      </a:lnTo>
                      <a:lnTo>
                        <a:pt x="64" y="17"/>
                      </a:lnTo>
                      <a:lnTo>
                        <a:pt x="66" y="17"/>
                      </a:lnTo>
                      <a:lnTo>
                        <a:pt x="66" y="14"/>
                      </a:lnTo>
                      <a:lnTo>
                        <a:pt x="66" y="12"/>
                      </a:lnTo>
                      <a:lnTo>
                        <a:pt x="66" y="9"/>
                      </a:lnTo>
                      <a:lnTo>
                        <a:pt x="64" y="9"/>
                      </a:lnTo>
                      <a:lnTo>
                        <a:pt x="64" y="9"/>
                      </a:lnTo>
                      <a:lnTo>
                        <a:pt x="62" y="7"/>
                      </a:lnTo>
                      <a:lnTo>
                        <a:pt x="62" y="2"/>
                      </a:lnTo>
                      <a:lnTo>
                        <a:pt x="62" y="2"/>
                      </a:lnTo>
                      <a:lnTo>
                        <a:pt x="62" y="0"/>
                      </a:lnTo>
                      <a:lnTo>
                        <a:pt x="66" y="2"/>
                      </a:lnTo>
                      <a:lnTo>
                        <a:pt x="69" y="5"/>
                      </a:lnTo>
                      <a:lnTo>
                        <a:pt x="69" y="7"/>
                      </a:lnTo>
                      <a:lnTo>
                        <a:pt x="71" y="7"/>
                      </a:lnTo>
                      <a:lnTo>
                        <a:pt x="71" y="9"/>
                      </a:lnTo>
                      <a:lnTo>
                        <a:pt x="71" y="12"/>
                      </a:lnTo>
                      <a:lnTo>
                        <a:pt x="71" y="14"/>
                      </a:lnTo>
                      <a:lnTo>
                        <a:pt x="71" y="14"/>
                      </a:lnTo>
                      <a:lnTo>
                        <a:pt x="71" y="17"/>
                      </a:lnTo>
                      <a:lnTo>
                        <a:pt x="73" y="17"/>
                      </a:lnTo>
                      <a:lnTo>
                        <a:pt x="71" y="19"/>
                      </a:lnTo>
                      <a:lnTo>
                        <a:pt x="71" y="21"/>
                      </a:lnTo>
                      <a:lnTo>
                        <a:pt x="71" y="24"/>
                      </a:lnTo>
                      <a:lnTo>
                        <a:pt x="73" y="26"/>
                      </a:lnTo>
                      <a:lnTo>
                        <a:pt x="73" y="26"/>
                      </a:lnTo>
                      <a:lnTo>
                        <a:pt x="76" y="28"/>
                      </a:lnTo>
                      <a:lnTo>
                        <a:pt x="78" y="31"/>
                      </a:lnTo>
                      <a:lnTo>
                        <a:pt x="78" y="31"/>
                      </a:lnTo>
                      <a:lnTo>
                        <a:pt x="78" y="33"/>
                      </a:lnTo>
                      <a:lnTo>
                        <a:pt x="76" y="31"/>
                      </a:lnTo>
                      <a:lnTo>
                        <a:pt x="76" y="31"/>
                      </a:lnTo>
                      <a:lnTo>
                        <a:pt x="73" y="31"/>
                      </a:lnTo>
                      <a:lnTo>
                        <a:pt x="71" y="31"/>
                      </a:lnTo>
                      <a:lnTo>
                        <a:pt x="69" y="31"/>
                      </a:lnTo>
                      <a:lnTo>
                        <a:pt x="66" y="31"/>
                      </a:lnTo>
                      <a:lnTo>
                        <a:pt x="66" y="31"/>
                      </a:lnTo>
                      <a:lnTo>
                        <a:pt x="64" y="31"/>
                      </a:lnTo>
                      <a:lnTo>
                        <a:pt x="62" y="31"/>
                      </a:lnTo>
                      <a:lnTo>
                        <a:pt x="62" y="33"/>
                      </a:lnTo>
                      <a:lnTo>
                        <a:pt x="62" y="33"/>
                      </a:lnTo>
                      <a:lnTo>
                        <a:pt x="62" y="35"/>
                      </a:lnTo>
                      <a:lnTo>
                        <a:pt x="62" y="38"/>
                      </a:lnTo>
                      <a:lnTo>
                        <a:pt x="64" y="38"/>
                      </a:lnTo>
                      <a:lnTo>
                        <a:pt x="64" y="38"/>
                      </a:lnTo>
                      <a:lnTo>
                        <a:pt x="66" y="40"/>
                      </a:lnTo>
                      <a:lnTo>
                        <a:pt x="71" y="43"/>
                      </a:lnTo>
                      <a:lnTo>
                        <a:pt x="73" y="47"/>
                      </a:lnTo>
                      <a:lnTo>
                        <a:pt x="76" y="47"/>
                      </a:lnTo>
                      <a:lnTo>
                        <a:pt x="78" y="50"/>
                      </a:lnTo>
                      <a:lnTo>
                        <a:pt x="78" y="52"/>
                      </a:lnTo>
                      <a:lnTo>
                        <a:pt x="80" y="54"/>
                      </a:lnTo>
                      <a:lnTo>
                        <a:pt x="78" y="59"/>
                      </a:lnTo>
                      <a:lnTo>
                        <a:pt x="76" y="59"/>
                      </a:lnTo>
                      <a:lnTo>
                        <a:pt x="76" y="62"/>
                      </a:lnTo>
                      <a:lnTo>
                        <a:pt x="73" y="64"/>
                      </a:lnTo>
                      <a:lnTo>
                        <a:pt x="71" y="66"/>
                      </a:lnTo>
                      <a:lnTo>
                        <a:pt x="69" y="69"/>
                      </a:lnTo>
                      <a:lnTo>
                        <a:pt x="69" y="71"/>
                      </a:lnTo>
                      <a:lnTo>
                        <a:pt x="66" y="71"/>
                      </a:lnTo>
                      <a:lnTo>
                        <a:pt x="66" y="73"/>
                      </a:lnTo>
                      <a:lnTo>
                        <a:pt x="69" y="76"/>
                      </a:lnTo>
                      <a:lnTo>
                        <a:pt x="69" y="78"/>
                      </a:lnTo>
                      <a:lnTo>
                        <a:pt x="69" y="81"/>
                      </a:lnTo>
                      <a:lnTo>
                        <a:pt x="69" y="83"/>
                      </a:lnTo>
                      <a:lnTo>
                        <a:pt x="69" y="88"/>
                      </a:lnTo>
                      <a:lnTo>
                        <a:pt x="71" y="88"/>
                      </a:lnTo>
                      <a:lnTo>
                        <a:pt x="73" y="90"/>
                      </a:lnTo>
                      <a:lnTo>
                        <a:pt x="76" y="92"/>
                      </a:lnTo>
                      <a:lnTo>
                        <a:pt x="76" y="95"/>
                      </a:lnTo>
                      <a:lnTo>
                        <a:pt x="78" y="97"/>
                      </a:lnTo>
                      <a:lnTo>
                        <a:pt x="80" y="102"/>
                      </a:lnTo>
                      <a:lnTo>
                        <a:pt x="80" y="102"/>
                      </a:lnTo>
                      <a:lnTo>
                        <a:pt x="85" y="104"/>
                      </a:lnTo>
                      <a:lnTo>
                        <a:pt x="85" y="107"/>
                      </a:lnTo>
                      <a:lnTo>
                        <a:pt x="85" y="109"/>
                      </a:lnTo>
                      <a:lnTo>
                        <a:pt x="85" y="109"/>
                      </a:lnTo>
                      <a:lnTo>
                        <a:pt x="85" y="109"/>
                      </a:lnTo>
                      <a:lnTo>
                        <a:pt x="85" y="109"/>
                      </a:lnTo>
                      <a:lnTo>
                        <a:pt x="85" y="111"/>
                      </a:lnTo>
                      <a:lnTo>
                        <a:pt x="83" y="114"/>
                      </a:lnTo>
                      <a:lnTo>
                        <a:pt x="83" y="114"/>
                      </a:lnTo>
                      <a:lnTo>
                        <a:pt x="85" y="116"/>
                      </a:lnTo>
                      <a:lnTo>
                        <a:pt x="85" y="116"/>
                      </a:lnTo>
                      <a:lnTo>
                        <a:pt x="83" y="116"/>
                      </a:lnTo>
                      <a:lnTo>
                        <a:pt x="83" y="116"/>
                      </a:lnTo>
                      <a:lnTo>
                        <a:pt x="80" y="116"/>
                      </a:lnTo>
                      <a:lnTo>
                        <a:pt x="80" y="116"/>
                      </a:lnTo>
                      <a:lnTo>
                        <a:pt x="80" y="116"/>
                      </a:lnTo>
                      <a:lnTo>
                        <a:pt x="78" y="116"/>
                      </a:lnTo>
                      <a:lnTo>
                        <a:pt x="76" y="116"/>
                      </a:lnTo>
                      <a:lnTo>
                        <a:pt x="76" y="114"/>
                      </a:lnTo>
                      <a:lnTo>
                        <a:pt x="73" y="114"/>
                      </a:lnTo>
                      <a:lnTo>
                        <a:pt x="73" y="116"/>
                      </a:lnTo>
                      <a:lnTo>
                        <a:pt x="73" y="116"/>
                      </a:lnTo>
                      <a:lnTo>
                        <a:pt x="71" y="114"/>
                      </a:lnTo>
                      <a:lnTo>
                        <a:pt x="71" y="114"/>
                      </a:lnTo>
                      <a:lnTo>
                        <a:pt x="69" y="114"/>
                      </a:lnTo>
                      <a:lnTo>
                        <a:pt x="69" y="114"/>
                      </a:lnTo>
                      <a:lnTo>
                        <a:pt x="66" y="114"/>
                      </a:lnTo>
                      <a:lnTo>
                        <a:pt x="66" y="114"/>
                      </a:lnTo>
                      <a:lnTo>
                        <a:pt x="66" y="114"/>
                      </a:lnTo>
                      <a:lnTo>
                        <a:pt x="50" y="114"/>
                      </a:lnTo>
                      <a:lnTo>
                        <a:pt x="50" y="111"/>
                      </a:lnTo>
                      <a:lnTo>
                        <a:pt x="50" y="111"/>
                      </a:lnTo>
                      <a:lnTo>
                        <a:pt x="50" y="114"/>
                      </a:lnTo>
                      <a:lnTo>
                        <a:pt x="45" y="111"/>
                      </a:lnTo>
                      <a:lnTo>
                        <a:pt x="45" y="111"/>
                      </a:lnTo>
                      <a:lnTo>
                        <a:pt x="45" y="111"/>
                      </a:lnTo>
                      <a:lnTo>
                        <a:pt x="43" y="111"/>
                      </a:lnTo>
                      <a:lnTo>
                        <a:pt x="40" y="111"/>
                      </a:lnTo>
                      <a:lnTo>
                        <a:pt x="38" y="111"/>
                      </a:lnTo>
                      <a:lnTo>
                        <a:pt x="36" y="111"/>
                      </a:lnTo>
                      <a:lnTo>
                        <a:pt x="33" y="111"/>
                      </a:lnTo>
                      <a:lnTo>
                        <a:pt x="33" y="111"/>
                      </a:lnTo>
                      <a:lnTo>
                        <a:pt x="31" y="111"/>
                      </a:lnTo>
                      <a:lnTo>
                        <a:pt x="31" y="114"/>
                      </a:lnTo>
                      <a:lnTo>
                        <a:pt x="31" y="114"/>
                      </a:lnTo>
                      <a:lnTo>
                        <a:pt x="31" y="114"/>
                      </a:lnTo>
                      <a:lnTo>
                        <a:pt x="17" y="114"/>
                      </a:lnTo>
                      <a:lnTo>
                        <a:pt x="17" y="114"/>
                      </a:lnTo>
                      <a:lnTo>
                        <a:pt x="14" y="114"/>
                      </a:lnTo>
                      <a:lnTo>
                        <a:pt x="12" y="114"/>
                      </a:lnTo>
                      <a:lnTo>
                        <a:pt x="14" y="111"/>
                      </a:lnTo>
                      <a:lnTo>
                        <a:pt x="12" y="109"/>
                      </a:lnTo>
                      <a:lnTo>
                        <a:pt x="14" y="107"/>
                      </a:lnTo>
                      <a:lnTo>
                        <a:pt x="14" y="102"/>
                      </a:lnTo>
                      <a:lnTo>
                        <a:pt x="12" y="99"/>
                      </a:lnTo>
                      <a:lnTo>
                        <a:pt x="12" y="97"/>
                      </a:lnTo>
                      <a:lnTo>
                        <a:pt x="12" y="95"/>
                      </a:lnTo>
                      <a:lnTo>
                        <a:pt x="12" y="92"/>
                      </a:lnTo>
                      <a:lnTo>
                        <a:pt x="7" y="95"/>
                      </a:lnTo>
                      <a:lnTo>
                        <a:pt x="7" y="92"/>
                      </a:lnTo>
                      <a:lnTo>
                        <a:pt x="5" y="92"/>
                      </a:lnTo>
                      <a:lnTo>
                        <a:pt x="2" y="88"/>
                      </a:lnTo>
                      <a:lnTo>
                        <a:pt x="2" y="88"/>
                      </a:lnTo>
                      <a:lnTo>
                        <a:pt x="0" y="88"/>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4" name="Freeform 139">
                  <a:extLst>
                    <a:ext uri="{FF2B5EF4-FFF2-40B4-BE49-F238E27FC236}">
                      <a16:creationId xmlns:a16="http://schemas.microsoft.com/office/drawing/2014/main" id="{BEEA0547-C836-2F16-C96D-D6E36528B3D1}"/>
                    </a:ext>
                  </a:extLst>
                </p:cNvPr>
                <p:cNvSpPr>
                  <a:spLocks/>
                </p:cNvSpPr>
                <p:nvPr/>
              </p:nvSpPr>
              <p:spPr bwMode="auto">
                <a:xfrm>
                  <a:off x="2751" y="2578"/>
                  <a:ext cx="66" cy="64"/>
                </a:xfrm>
                <a:custGeom>
                  <a:avLst/>
                  <a:gdLst>
                    <a:gd name="T0" fmla="*/ 31 w 66"/>
                    <a:gd name="T1" fmla="*/ 3 h 64"/>
                    <a:gd name="T2" fmla="*/ 33 w 66"/>
                    <a:gd name="T3" fmla="*/ 0 h 64"/>
                    <a:gd name="T4" fmla="*/ 36 w 66"/>
                    <a:gd name="T5" fmla="*/ 0 h 64"/>
                    <a:gd name="T6" fmla="*/ 40 w 66"/>
                    <a:gd name="T7" fmla="*/ 0 h 64"/>
                    <a:gd name="T8" fmla="*/ 45 w 66"/>
                    <a:gd name="T9" fmla="*/ 0 h 64"/>
                    <a:gd name="T10" fmla="*/ 45 w 66"/>
                    <a:gd name="T11" fmla="*/ 0 h 64"/>
                    <a:gd name="T12" fmla="*/ 50 w 66"/>
                    <a:gd name="T13" fmla="*/ 0 h 64"/>
                    <a:gd name="T14" fmla="*/ 50 w 66"/>
                    <a:gd name="T15" fmla="*/ 3 h 64"/>
                    <a:gd name="T16" fmla="*/ 50 w 66"/>
                    <a:gd name="T17" fmla="*/ 5 h 64"/>
                    <a:gd name="T18" fmla="*/ 50 w 66"/>
                    <a:gd name="T19" fmla="*/ 10 h 64"/>
                    <a:gd name="T20" fmla="*/ 52 w 66"/>
                    <a:gd name="T21" fmla="*/ 12 h 64"/>
                    <a:gd name="T22" fmla="*/ 54 w 66"/>
                    <a:gd name="T23" fmla="*/ 12 h 64"/>
                    <a:gd name="T24" fmla="*/ 57 w 66"/>
                    <a:gd name="T25" fmla="*/ 12 h 64"/>
                    <a:gd name="T26" fmla="*/ 64 w 66"/>
                    <a:gd name="T27" fmla="*/ 10 h 64"/>
                    <a:gd name="T28" fmla="*/ 66 w 66"/>
                    <a:gd name="T29" fmla="*/ 15 h 64"/>
                    <a:gd name="T30" fmla="*/ 66 w 66"/>
                    <a:gd name="T31" fmla="*/ 17 h 64"/>
                    <a:gd name="T32" fmla="*/ 64 w 66"/>
                    <a:gd name="T33" fmla="*/ 19 h 64"/>
                    <a:gd name="T34" fmla="*/ 59 w 66"/>
                    <a:gd name="T35" fmla="*/ 22 h 64"/>
                    <a:gd name="T36" fmla="*/ 62 w 66"/>
                    <a:gd name="T37" fmla="*/ 24 h 64"/>
                    <a:gd name="T38" fmla="*/ 59 w 66"/>
                    <a:gd name="T39" fmla="*/ 24 h 64"/>
                    <a:gd name="T40" fmla="*/ 59 w 66"/>
                    <a:gd name="T41" fmla="*/ 26 h 64"/>
                    <a:gd name="T42" fmla="*/ 59 w 66"/>
                    <a:gd name="T43" fmla="*/ 26 h 64"/>
                    <a:gd name="T44" fmla="*/ 62 w 66"/>
                    <a:gd name="T45" fmla="*/ 29 h 64"/>
                    <a:gd name="T46" fmla="*/ 64 w 66"/>
                    <a:gd name="T47" fmla="*/ 31 h 64"/>
                    <a:gd name="T48" fmla="*/ 66 w 66"/>
                    <a:gd name="T49" fmla="*/ 34 h 64"/>
                    <a:gd name="T50" fmla="*/ 62 w 66"/>
                    <a:gd name="T51" fmla="*/ 45 h 64"/>
                    <a:gd name="T52" fmla="*/ 62 w 66"/>
                    <a:gd name="T53" fmla="*/ 50 h 64"/>
                    <a:gd name="T54" fmla="*/ 59 w 66"/>
                    <a:gd name="T55" fmla="*/ 48 h 64"/>
                    <a:gd name="T56" fmla="*/ 54 w 66"/>
                    <a:gd name="T57" fmla="*/ 48 h 64"/>
                    <a:gd name="T58" fmla="*/ 52 w 66"/>
                    <a:gd name="T59" fmla="*/ 48 h 64"/>
                    <a:gd name="T60" fmla="*/ 47 w 66"/>
                    <a:gd name="T61" fmla="*/ 48 h 64"/>
                    <a:gd name="T62" fmla="*/ 45 w 66"/>
                    <a:gd name="T63" fmla="*/ 43 h 64"/>
                    <a:gd name="T64" fmla="*/ 43 w 66"/>
                    <a:gd name="T65" fmla="*/ 45 h 64"/>
                    <a:gd name="T66" fmla="*/ 38 w 66"/>
                    <a:gd name="T67" fmla="*/ 48 h 64"/>
                    <a:gd name="T68" fmla="*/ 38 w 66"/>
                    <a:gd name="T69" fmla="*/ 50 h 64"/>
                    <a:gd name="T70" fmla="*/ 33 w 66"/>
                    <a:gd name="T71" fmla="*/ 48 h 64"/>
                    <a:gd name="T72" fmla="*/ 31 w 66"/>
                    <a:gd name="T73" fmla="*/ 50 h 64"/>
                    <a:gd name="T74" fmla="*/ 31 w 66"/>
                    <a:gd name="T75" fmla="*/ 52 h 64"/>
                    <a:gd name="T76" fmla="*/ 33 w 66"/>
                    <a:gd name="T77" fmla="*/ 52 h 64"/>
                    <a:gd name="T78" fmla="*/ 38 w 66"/>
                    <a:gd name="T79" fmla="*/ 55 h 64"/>
                    <a:gd name="T80" fmla="*/ 38 w 66"/>
                    <a:gd name="T81" fmla="*/ 62 h 64"/>
                    <a:gd name="T82" fmla="*/ 33 w 66"/>
                    <a:gd name="T83" fmla="*/ 60 h 64"/>
                    <a:gd name="T84" fmla="*/ 31 w 66"/>
                    <a:gd name="T85" fmla="*/ 60 h 64"/>
                    <a:gd name="T86" fmla="*/ 28 w 66"/>
                    <a:gd name="T87" fmla="*/ 62 h 64"/>
                    <a:gd name="T88" fmla="*/ 26 w 66"/>
                    <a:gd name="T89" fmla="*/ 64 h 64"/>
                    <a:gd name="T90" fmla="*/ 24 w 66"/>
                    <a:gd name="T91" fmla="*/ 62 h 64"/>
                    <a:gd name="T92" fmla="*/ 19 w 66"/>
                    <a:gd name="T93" fmla="*/ 57 h 64"/>
                    <a:gd name="T94" fmla="*/ 12 w 66"/>
                    <a:gd name="T95" fmla="*/ 50 h 64"/>
                    <a:gd name="T96" fmla="*/ 10 w 66"/>
                    <a:gd name="T97" fmla="*/ 48 h 64"/>
                    <a:gd name="T98" fmla="*/ 7 w 66"/>
                    <a:gd name="T99" fmla="*/ 45 h 64"/>
                    <a:gd name="T100" fmla="*/ 5 w 66"/>
                    <a:gd name="T101" fmla="*/ 38 h 64"/>
                    <a:gd name="T102" fmla="*/ 2 w 66"/>
                    <a:gd name="T103" fmla="*/ 36 h 64"/>
                    <a:gd name="T104" fmla="*/ 0 w 66"/>
                    <a:gd name="T105" fmla="*/ 31 h 64"/>
                    <a:gd name="T106" fmla="*/ 5 w 66"/>
                    <a:gd name="T107" fmla="*/ 29 h 64"/>
                    <a:gd name="T108" fmla="*/ 7 w 66"/>
                    <a:gd name="T109" fmla="*/ 22 h 64"/>
                    <a:gd name="T110" fmla="*/ 12 w 66"/>
                    <a:gd name="T111" fmla="*/ 22 h 64"/>
                    <a:gd name="T112" fmla="*/ 7 w 66"/>
                    <a:gd name="T113" fmla="*/ 17 h 64"/>
                    <a:gd name="T114" fmla="*/ 10 w 66"/>
                    <a:gd name="T115" fmla="*/ 15 h 64"/>
                    <a:gd name="T116" fmla="*/ 12 w 66"/>
                    <a:gd name="T117" fmla="*/ 15 h 64"/>
                    <a:gd name="T118" fmla="*/ 14 w 66"/>
                    <a:gd name="T119" fmla="*/ 15 h 64"/>
                    <a:gd name="T120" fmla="*/ 31 w 66"/>
                    <a:gd name="T121"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 h="64">
                      <a:moveTo>
                        <a:pt x="31" y="3"/>
                      </a:moveTo>
                      <a:lnTo>
                        <a:pt x="31" y="3"/>
                      </a:lnTo>
                      <a:lnTo>
                        <a:pt x="31" y="0"/>
                      </a:lnTo>
                      <a:lnTo>
                        <a:pt x="33" y="0"/>
                      </a:lnTo>
                      <a:lnTo>
                        <a:pt x="33" y="0"/>
                      </a:lnTo>
                      <a:lnTo>
                        <a:pt x="36" y="0"/>
                      </a:lnTo>
                      <a:lnTo>
                        <a:pt x="38" y="0"/>
                      </a:lnTo>
                      <a:lnTo>
                        <a:pt x="40" y="0"/>
                      </a:lnTo>
                      <a:lnTo>
                        <a:pt x="43" y="0"/>
                      </a:lnTo>
                      <a:lnTo>
                        <a:pt x="45" y="0"/>
                      </a:lnTo>
                      <a:lnTo>
                        <a:pt x="45" y="0"/>
                      </a:lnTo>
                      <a:lnTo>
                        <a:pt x="45" y="0"/>
                      </a:lnTo>
                      <a:lnTo>
                        <a:pt x="50" y="3"/>
                      </a:lnTo>
                      <a:lnTo>
                        <a:pt x="50" y="0"/>
                      </a:lnTo>
                      <a:lnTo>
                        <a:pt x="50" y="0"/>
                      </a:lnTo>
                      <a:lnTo>
                        <a:pt x="50" y="3"/>
                      </a:lnTo>
                      <a:lnTo>
                        <a:pt x="50" y="3"/>
                      </a:lnTo>
                      <a:lnTo>
                        <a:pt x="50" y="5"/>
                      </a:lnTo>
                      <a:lnTo>
                        <a:pt x="52" y="5"/>
                      </a:lnTo>
                      <a:lnTo>
                        <a:pt x="50" y="10"/>
                      </a:lnTo>
                      <a:lnTo>
                        <a:pt x="52" y="10"/>
                      </a:lnTo>
                      <a:lnTo>
                        <a:pt x="52" y="12"/>
                      </a:lnTo>
                      <a:lnTo>
                        <a:pt x="52" y="12"/>
                      </a:lnTo>
                      <a:lnTo>
                        <a:pt x="54" y="12"/>
                      </a:lnTo>
                      <a:lnTo>
                        <a:pt x="54" y="12"/>
                      </a:lnTo>
                      <a:lnTo>
                        <a:pt x="57" y="12"/>
                      </a:lnTo>
                      <a:lnTo>
                        <a:pt x="59" y="10"/>
                      </a:lnTo>
                      <a:lnTo>
                        <a:pt x="64" y="10"/>
                      </a:lnTo>
                      <a:lnTo>
                        <a:pt x="66" y="12"/>
                      </a:lnTo>
                      <a:lnTo>
                        <a:pt x="66" y="15"/>
                      </a:lnTo>
                      <a:lnTo>
                        <a:pt x="64" y="15"/>
                      </a:lnTo>
                      <a:lnTo>
                        <a:pt x="66" y="17"/>
                      </a:lnTo>
                      <a:lnTo>
                        <a:pt x="64" y="19"/>
                      </a:lnTo>
                      <a:lnTo>
                        <a:pt x="64" y="19"/>
                      </a:lnTo>
                      <a:lnTo>
                        <a:pt x="62" y="19"/>
                      </a:lnTo>
                      <a:lnTo>
                        <a:pt x="59" y="22"/>
                      </a:lnTo>
                      <a:lnTo>
                        <a:pt x="62" y="22"/>
                      </a:lnTo>
                      <a:lnTo>
                        <a:pt x="62" y="24"/>
                      </a:lnTo>
                      <a:lnTo>
                        <a:pt x="62" y="24"/>
                      </a:lnTo>
                      <a:lnTo>
                        <a:pt x="59" y="24"/>
                      </a:lnTo>
                      <a:lnTo>
                        <a:pt x="59" y="24"/>
                      </a:lnTo>
                      <a:lnTo>
                        <a:pt x="59" y="26"/>
                      </a:lnTo>
                      <a:lnTo>
                        <a:pt x="59" y="26"/>
                      </a:lnTo>
                      <a:lnTo>
                        <a:pt x="59" y="26"/>
                      </a:lnTo>
                      <a:lnTo>
                        <a:pt x="62" y="29"/>
                      </a:lnTo>
                      <a:lnTo>
                        <a:pt x="62" y="29"/>
                      </a:lnTo>
                      <a:lnTo>
                        <a:pt x="64" y="29"/>
                      </a:lnTo>
                      <a:lnTo>
                        <a:pt x="64" y="31"/>
                      </a:lnTo>
                      <a:lnTo>
                        <a:pt x="66" y="31"/>
                      </a:lnTo>
                      <a:lnTo>
                        <a:pt x="66" y="34"/>
                      </a:lnTo>
                      <a:lnTo>
                        <a:pt x="64" y="38"/>
                      </a:lnTo>
                      <a:lnTo>
                        <a:pt x="62" y="45"/>
                      </a:lnTo>
                      <a:lnTo>
                        <a:pt x="62" y="48"/>
                      </a:lnTo>
                      <a:lnTo>
                        <a:pt x="62" y="50"/>
                      </a:lnTo>
                      <a:lnTo>
                        <a:pt x="62" y="50"/>
                      </a:lnTo>
                      <a:lnTo>
                        <a:pt x="59" y="48"/>
                      </a:lnTo>
                      <a:lnTo>
                        <a:pt x="57" y="48"/>
                      </a:lnTo>
                      <a:lnTo>
                        <a:pt x="54" y="48"/>
                      </a:lnTo>
                      <a:lnTo>
                        <a:pt x="54" y="48"/>
                      </a:lnTo>
                      <a:lnTo>
                        <a:pt x="52" y="48"/>
                      </a:lnTo>
                      <a:lnTo>
                        <a:pt x="50" y="48"/>
                      </a:lnTo>
                      <a:lnTo>
                        <a:pt x="47" y="48"/>
                      </a:lnTo>
                      <a:lnTo>
                        <a:pt x="47" y="43"/>
                      </a:lnTo>
                      <a:lnTo>
                        <a:pt x="45" y="43"/>
                      </a:lnTo>
                      <a:lnTo>
                        <a:pt x="43" y="43"/>
                      </a:lnTo>
                      <a:lnTo>
                        <a:pt x="43" y="45"/>
                      </a:lnTo>
                      <a:lnTo>
                        <a:pt x="43" y="48"/>
                      </a:lnTo>
                      <a:lnTo>
                        <a:pt x="38" y="48"/>
                      </a:lnTo>
                      <a:lnTo>
                        <a:pt x="38" y="48"/>
                      </a:lnTo>
                      <a:lnTo>
                        <a:pt x="38" y="50"/>
                      </a:lnTo>
                      <a:lnTo>
                        <a:pt x="36" y="50"/>
                      </a:lnTo>
                      <a:lnTo>
                        <a:pt x="33" y="48"/>
                      </a:lnTo>
                      <a:lnTo>
                        <a:pt x="31" y="50"/>
                      </a:lnTo>
                      <a:lnTo>
                        <a:pt x="31" y="50"/>
                      </a:lnTo>
                      <a:lnTo>
                        <a:pt x="31" y="52"/>
                      </a:lnTo>
                      <a:lnTo>
                        <a:pt x="31" y="52"/>
                      </a:lnTo>
                      <a:lnTo>
                        <a:pt x="33" y="52"/>
                      </a:lnTo>
                      <a:lnTo>
                        <a:pt x="33" y="52"/>
                      </a:lnTo>
                      <a:lnTo>
                        <a:pt x="36" y="52"/>
                      </a:lnTo>
                      <a:lnTo>
                        <a:pt x="38" y="55"/>
                      </a:lnTo>
                      <a:lnTo>
                        <a:pt x="38" y="60"/>
                      </a:lnTo>
                      <a:lnTo>
                        <a:pt x="38" y="62"/>
                      </a:lnTo>
                      <a:lnTo>
                        <a:pt x="33" y="60"/>
                      </a:lnTo>
                      <a:lnTo>
                        <a:pt x="33" y="60"/>
                      </a:lnTo>
                      <a:lnTo>
                        <a:pt x="33" y="60"/>
                      </a:lnTo>
                      <a:lnTo>
                        <a:pt x="31" y="60"/>
                      </a:lnTo>
                      <a:lnTo>
                        <a:pt x="28" y="62"/>
                      </a:lnTo>
                      <a:lnTo>
                        <a:pt x="28" y="62"/>
                      </a:lnTo>
                      <a:lnTo>
                        <a:pt x="28" y="64"/>
                      </a:lnTo>
                      <a:lnTo>
                        <a:pt x="26" y="64"/>
                      </a:lnTo>
                      <a:lnTo>
                        <a:pt x="26" y="64"/>
                      </a:lnTo>
                      <a:lnTo>
                        <a:pt x="24" y="62"/>
                      </a:lnTo>
                      <a:lnTo>
                        <a:pt x="21" y="60"/>
                      </a:lnTo>
                      <a:lnTo>
                        <a:pt x="19" y="57"/>
                      </a:lnTo>
                      <a:lnTo>
                        <a:pt x="14" y="55"/>
                      </a:lnTo>
                      <a:lnTo>
                        <a:pt x="12" y="50"/>
                      </a:lnTo>
                      <a:lnTo>
                        <a:pt x="12" y="50"/>
                      </a:lnTo>
                      <a:lnTo>
                        <a:pt x="10" y="48"/>
                      </a:lnTo>
                      <a:lnTo>
                        <a:pt x="7" y="45"/>
                      </a:lnTo>
                      <a:lnTo>
                        <a:pt x="7" y="45"/>
                      </a:lnTo>
                      <a:lnTo>
                        <a:pt x="7" y="41"/>
                      </a:lnTo>
                      <a:lnTo>
                        <a:pt x="5" y="38"/>
                      </a:lnTo>
                      <a:lnTo>
                        <a:pt x="5" y="38"/>
                      </a:lnTo>
                      <a:lnTo>
                        <a:pt x="2" y="36"/>
                      </a:lnTo>
                      <a:lnTo>
                        <a:pt x="0" y="31"/>
                      </a:lnTo>
                      <a:lnTo>
                        <a:pt x="0" y="31"/>
                      </a:lnTo>
                      <a:lnTo>
                        <a:pt x="5" y="31"/>
                      </a:lnTo>
                      <a:lnTo>
                        <a:pt x="5" y="29"/>
                      </a:lnTo>
                      <a:lnTo>
                        <a:pt x="7" y="24"/>
                      </a:lnTo>
                      <a:lnTo>
                        <a:pt x="7" y="22"/>
                      </a:lnTo>
                      <a:lnTo>
                        <a:pt x="7" y="22"/>
                      </a:lnTo>
                      <a:lnTo>
                        <a:pt x="12" y="22"/>
                      </a:lnTo>
                      <a:lnTo>
                        <a:pt x="10" y="22"/>
                      </a:lnTo>
                      <a:lnTo>
                        <a:pt x="7" y="17"/>
                      </a:lnTo>
                      <a:lnTo>
                        <a:pt x="10" y="17"/>
                      </a:lnTo>
                      <a:lnTo>
                        <a:pt x="10" y="15"/>
                      </a:lnTo>
                      <a:lnTo>
                        <a:pt x="12" y="15"/>
                      </a:lnTo>
                      <a:lnTo>
                        <a:pt x="12" y="15"/>
                      </a:lnTo>
                      <a:lnTo>
                        <a:pt x="14" y="15"/>
                      </a:lnTo>
                      <a:lnTo>
                        <a:pt x="14" y="15"/>
                      </a:lnTo>
                      <a:lnTo>
                        <a:pt x="31" y="15"/>
                      </a:lnTo>
                      <a:lnTo>
                        <a:pt x="31" y="3"/>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5" name="Freeform 140">
                  <a:extLst>
                    <a:ext uri="{FF2B5EF4-FFF2-40B4-BE49-F238E27FC236}">
                      <a16:creationId xmlns:a16="http://schemas.microsoft.com/office/drawing/2014/main" id="{BF3FABFD-8DFB-383B-00F2-F40411DC1418}"/>
                    </a:ext>
                  </a:extLst>
                </p:cNvPr>
                <p:cNvSpPr>
                  <a:spLocks/>
                </p:cNvSpPr>
                <p:nvPr/>
              </p:nvSpPr>
              <p:spPr bwMode="auto">
                <a:xfrm>
                  <a:off x="2758" y="2581"/>
                  <a:ext cx="24" cy="12"/>
                </a:xfrm>
                <a:custGeom>
                  <a:avLst/>
                  <a:gdLst>
                    <a:gd name="T0" fmla="*/ 3 w 24"/>
                    <a:gd name="T1" fmla="*/ 12 h 12"/>
                    <a:gd name="T2" fmla="*/ 5 w 24"/>
                    <a:gd name="T3" fmla="*/ 12 h 12"/>
                    <a:gd name="T4" fmla="*/ 5 w 24"/>
                    <a:gd name="T5" fmla="*/ 12 h 12"/>
                    <a:gd name="T6" fmla="*/ 7 w 24"/>
                    <a:gd name="T7" fmla="*/ 12 h 12"/>
                    <a:gd name="T8" fmla="*/ 7 w 24"/>
                    <a:gd name="T9" fmla="*/ 12 h 12"/>
                    <a:gd name="T10" fmla="*/ 24 w 24"/>
                    <a:gd name="T11" fmla="*/ 12 h 12"/>
                    <a:gd name="T12" fmla="*/ 24 w 24"/>
                    <a:gd name="T13" fmla="*/ 0 h 12"/>
                    <a:gd name="T14" fmla="*/ 10 w 24"/>
                    <a:gd name="T15" fmla="*/ 0 h 12"/>
                    <a:gd name="T16" fmla="*/ 10 w 24"/>
                    <a:gd name="T17" fmla="*/ 0 h 12"/>
                    <a:gd name="T18" fmla="*/ 7 w 24"/>
                    <a:gd name="T19" fmla="*/ 0 h 12"/>
                    <a:gd name="T20" fmla="*/ 5 w 24"/>
                    <a:gd name="T21" fmla="*/ 0 h 12"/>
                    <a:gd name="T22" fmla="*/ 5 w 24"/>
                    <a:gd name="T23" fmla="*/ 0 h 12"/>
                    <a:gd name="T24" fmla="*/ 7 w 24"/>
                    <a:gd name="T25" fmla="*/ 2 h 12"/>
                    <a:gd name="T26" fmla="*/ 3 w 24"/>
                    <a:gd name="T27" fmla="*/ 4 h 12"/>
                    <a:gd name="T28" fmla="*/ 0 w 24"/>
                    <a:gd name="T29" fmla="*/ 9 h 12"/>
                    <a:gd name="T30" fmla="*/ 3 w 24"/>
                    <a:gd name="T31" fmla="*/ 12 h 12"/>
                    <a:gd name="T32" fmla="*/ 3 w 24"/>
                    <a:gd name="T33"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12">
                      <a:moveTo>
                        <a:pt x="3" y="12"/>
                      </a:moveTo>
                      <a:lnTo>
                        <a:pt x="5" y="12"/>
                      </a:lnTo>
                      <a:lnTo>
                        <a:pt x="5" y="12"/>
                      </a:lnTo>
                      <a:lnTo>
                        <a:pt x="7" y="12"/>
                      </a:lnTo>
                      <a:lnTo>
                        <a:pt x="7" y="12"/>
                      </a:lnTo>
                      <a:lnTo>
                        <a:pt x="24" y="12"/>
                      </a:lnTo>
                      <a:lnTo>
                        <a:pt x="24" y="0"/>
                      </a:lnTo>
                      <a:lnTo>
                        <a:pt x="10" y="0"/>
                      </a:lnTo>
                      <a:lnTo>
                        <a:pt x="10" y="0"/>
                      </a:lnTo>
                      <a:lnTo>
                        <a:pt x="7" y="0"/>
                      </a:lnTo>
                      <a:lnTo>
                        <a:pt x="5" y="0"/>
                      </a:lnTo>
                      <a:lnTo>
                        <a:pt x="5" y="0"/>
                      </a:lnTo>
                      <a:lnTo>
                        <a:pt x="7" y="2"/>
                      </a:lnTo>
                      <a:lnTo>
                        <a:pt x="3" y="4"/>
                      </a:lnTo>
                      <a:lnTo>
                        <a:pt x="0" y="9"/>
                      </a:lnTo>
                      <a:lnTo>
                        <a:pt x="3" y="12"/>
                      </a:lnTo>
                      <a:lnTo>
                        <a:pt x="3" y="12"/>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6" name="Freeform 141">
                  <a:extLst>
                    <a:ext uri="{FF2B5EF4-FFF2-40B4-BE49-F238E27FC236}">
                      <a16:creationId xmlns:a16="http://schemas.microsoft.com/office/drawing/2014/main" id="{DDE6BE5D-0706-E4A0-6A32-00CC9D609E4A}"/>
                    </a:ext>
                  </a:extLst>
                </p:cNvPr>
                <p:cNvSpPr>
                  <a:spLocks/>
                </p:cNvSpPr>
                <p:nvPr/>
              </p:nvSpPr>
              <p:spPr bwMode="auto">
                <a:xfrm>
                  <a:off x="2779" y="2562"/>
                  <a:ext cx="86" cy="92"/>
                </a:xfrm>
                <a:custGeom>
                  <a:avLst/>
                  <a:gdLst>
                    <a:gd name="T0" fmla="*/ 0 w 86"/>
                    <a:gd name="T1" fmla="*/ 78 h 92"/>
                    <a:gd name="T2" fmla="*/ 5 w 86"/>
                    <a:gd name="T3" fmla="*/ 76 h 92"/>
                    <a:gd name="T4" fmla="*/ 10 w 86"/>
                    <a:gd name="T5" fmla="*/ 76 h 92"/>
                    <a:gd name="T6" fmla="*/ 5 w 86"/>
                    <a:gd name="T7" fmla="*/ 68 h 92"/>
                    <a:gd name="T8" fmla="*/ 3 w 86"/>
                    <a:gd name="T9" fmla="*/ 68 h 92"/>
                    <a:gd name="T10" fmla="*/ 5 w 86"/>
                    <a:gd name="T11" fmla="*/ 64 h 92"/>
                    <a:gd name="T12" fmla="*/ 10 w 86"/>
                    <a:gd name="T13" fmla="*/ 64 h 92"/>
                    <a:gd name="T14" fmla="*/ 15 w 86"/>
                    <a:gd name="T15" fmla="*/ 61 h 92"/>
                    <a:gd name="T16" fmla="*/ 19 w 86"/>
                    <a:gd name="T17" fmla="*/ 59 h 92"/>
                    <a:gd name="T18" fmla="*/ 24 w 86"/>
                    <a:gd name="T19" fmla="*/ 64 h 92"/>
                    <a:gd name="T20" fmla="*/ 29 w 86"/>
                    <a:gd name="T21" fmla="*/ 64 h 92"/>
                    <a:gd name="T22" fmla="*/ 34 w 86"/>
                    <a:gd name="T23" fmla="*/ 66 h 92"/>
                    <a:gd name="T24" fmla="*/ 36 w 86"/>
                    <a:gd name="T25" fmla="*/ 54 h 92"/>
                    <a:gd name="T26" fmla="*/ 36 w 86"/>
                    <a:gd name="T27" fmla="*/ 47 h 92"/>
                    <a:gd name="T28" fmla="*/ 34 w 86"/>
                    <a:gd name="T29" fmla="*/ 45 h 92"/>
                    <a:gd name="T30" fmla="*/ 31 w 86"/>
                    <a:gd name="T31" fmla="*/ 42 h 92"/>
                    <a:gd name="T32" fmla="*/ 34 w 86"/>
                    <a:gd name="T33" fmla="*/ 40 h 92"/>
                    <a:gd name="T34" fmla="*/ 31 w 86"/>
                    <a:gd name="T35" fmla="*/ 38 h 92"/>
                    <a:gd name="T36" fmla="*/ 36 w 86"/>
                    <a:gd name="T37" fmla="*/ 35 h 92"/>
                    <a:gd name="T38" fmla="*/ 38 w 86"/>
                    <a:gd name="T39" fmla="*/ 31 h 92"/>
                    <a:gd name="T40" fmla="*/ 31 w 86"/>
                    <a:gd name="T41" fmla="*/ 26 h 92"/>
                    <a:gd name="T42" fmla="*/ 26 w 86"/>
                    <a:gd name="T43" fmla="*/ 28 h 92"/>
                    <a:gd name="T44" fmla="*/ 24 w 86"/>
                    <a:gd name="T45" fmla="*/ 26 h 92"/>
                    <a:gd name="T46" fmla="*/ 22 w 86"/>
                    <a:gd name="T47" fmla="*/ 21 h 92"/>
                    <a:gd name="T48" fmla="*/ 38 w 86"/>
                    <a:gd name="T49" fmla="*/ 19 h 92"/>
                    <a:gd name="T50" fmla="*/ 41 w 86"/>
                    <a:gd name="T51" fmla="*/ 19 h 92"/>
                    <a:gd name="T52" fmla="*/ 45 w 86"/>
                    <a:gd name="T53" fmla="*/ 21 h 92"/>
                    <a:gd name="T54" fmla="*/ 48 w 86"/>
                    <a:gd name="T55" fmla="*/ 19 h 92"/>
                    <a:gd name="T56" fmla="*/ 52 w 86"/>
                    <a:gd name="T57" fmla="*/ 21 h 92"/>
                    <a:gd name="T58" fmla="*/ 55 w 86"/>
                    <a:gd name="T59" fmla="*/ 21 h 92"/>
                    <a:gd name="T60" fmla="*/ 57 w 86"/>
                    <a:gd name="T61" fmla="*/ 21 h 92"/>
                    <a:gd name="T62" fmla="*/ 57 w 86"/>
                    <a:gd name="T63" fmla="*/ 16 h 92"/>
                    <a:gd name="T64" fmla="*/ 67 w 86"/>
                    <a:gd name="T65" fmla="*/ 4 h 92"/>
                    <a:gd name="T66" fmla="*/ 74 w 86"/>
                    <a:gd name="T67" fmla="*/ 2 h 92"/>
                    <a:gd name="T68" fmla="*/ 79 w 86"/>
                    <a:gd name="T69" fmla="*/ 0 h 92"/>
                    <a:gd name="T70" fmla="*/ 83 w 86"/>
                    <a:gd name="T71" fmla="*/ 2 h 92"/>
                    <a:gd name="T72" fmla="*/ 86 w 86"/>
                    <a:gd name="T73" fmla="*/ 2 h 92"/>
                    <a:gd name="T74" fmla="*/ 83 w 86"/>
                    <a:gd name="T75" fmla="*/ 9 h 92"/>
                    <a:gd name="T76" fmla="*/ 81 w 86"/>
                    <a:gd name="T77" fmla="*/ 21 h 92"/>
                    <a:gd name="T78" fmla="*/ 79 w 86"/>
                    <a:gd name="T79" fmla="*/ 26 h 92"/>
                    <a:gd name="T80" fmla="*/ 76 w 86"/>
                    <a:gd name="T81" fmla="*/ 35 h 92"/>
                    <a:gd name="T82" fmla="*/ 76 w 86"/>
                    <a:gd name="T83" fmla="*/ 38 h 92"/>
                    <a:gd name="T84" fmla="*/ 71 w 86"/>
                    <a:gd name="T85" fmla="*/ 50 h 92"/>
                    <a:gd name="T86" fmla="*/ 64 w 86"/>
                    <a:gd name="T87" fmla="*/ 52 h 92"/>
                    <a:gd name="T88" fmla="*/ 60 w 86"/>
                    <a:gd name="T89" fmla="*/ 59 h 92"/>
                    <a:gd name="T90" fmla="*/ 55 w 86"/>
                    <a:gd name="T91" fmla="*/ 66 h 92"/>
                    <a:gd name="T92" fmla="*/ 55 w 86"/>
                    <a:gd name="T93" fmla="*/ 76 h 92"/>
                    <a:gd name="T94" fmla="*/ 52 w 86"/>
                    <a:gd name="T95" fmla="*/ 80 h 92"/>
                    <a:gd name="T96" fmla="*/ 45 w 86"/>
                    <a:gd name="T97" fmla="*/ 87 h 92"/>
                    <a:gd name="T98" fmla="*/ 38 w 86"/>
                    <a:gd name="T99" fmla="*/ 90 h 92"/>
                    <a:gd name="T100" fmla="*/ 38 w 86"/>
                    <a:gd name="T101" fmla="*/ 85 h 92"/>
                    <a:gd name="T102" fmla="*/ 31 w 86"/>
                    <a:gd name="T103" fmla="*/ 87 h 92"/>
                    <a:gd name="T104" fmla="*/ 29 w 86"/>
                    <a:gd name="T105" fmla="*/ 90 h 92"/>
                    <a:gd name="T106" fmla="*/ 26 w 86"/>
                    <a:gd name="T107" fmla="*/ 90 h 92"/>
                    <a:gd name="T108" fmla="*/ 22 w 86"/>
                    <a:gd name="T109" fmla="*/ 90 h 92"/>
                    <a:gd name="T110" fmla="*/ 19 w 86"/>
                    <a:gd name="T111" fmla="*/ 85 h 92"/>
                    <a:gd name="T112" fmla="*/ 17 w 86"/>
                    <a:gd name="T113" fmla="*/ 87 h 92"/>
                    <a:gd name="T114" fmla="*/ 12 w 86"/>
                    <a:gd name="T115" fmla="*/ 90 h 92"/>
                    <a:gd name="T116" fmla="*/ 10 w 86"/>
                    <a:gd name="T117" fmla="*/ 92 h 92"/>
                    <a:gd name="T118" fmla="*/ 5 w 86"/>
                    <a:gd name="T119" fmla="*/ 87 h 92"/>
                    <a:gd name="T120" fmla="*/ 3 w 86"/>
                    <a:gd name="T121" fmla="*/ 8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6" h="92">
                      <a:moveTo>
                        <a:pt x="0" y="80"/>
                      </a:moveTo>
                      <a:lnTo>
                        <a:pt x="0" y="78"/>
                      </a:lnTo>
                      <a:lnTo>
                        <a:pt x="0" y="78"/>
                      </a:lnTo>
                      <a:lnTo>
                        <a:pt x="3" y="76"/>
                      </a:lnTo>
                      <a:lnTo>
                        <a:pt x="5" y="76"/>
                      </a:lnTo>
                      <a:lnTo>
                        <a:pt x="5" y="76"/>
                      </a:lnTo>
                      <a:lnTo>
                        <a:pt x="5" y="76"/>
                      </a:lnTo>
                      <a:lnTo>
                        <a:pt x="10" y="78"/>
                      </a:lnTo>
                      <a:lnTo>
                        <a:pt x="10" y="76"/>
                      </a:lnTo>
                      <a:lnTo>
                        <a:pt x="10" y="71"/>
                      </a:lnTo>
                      <a:lnTo>
                        <a:pt x="8" y="68"/>
                      </a:lnTo>
                      <a:lnTo>
                        <a:pt x="5" y="68"/>
                      </a:lnTo>
                      <a:lnTo>
                        <a:pt x="5" y="68"/>
                      </a:lnTo>
                      <a:lnTo>
                        <a:pt x="3" y="68"/>
                      </a:lnTo>
                      <a:lnTo>
                        <a:pt x="3" y="68"/>
                      </a:lnTo>
                      <a:lnTo>
                        <a:pt x="3" y="66"/>
                      </a:lnTo>
                      <a:lnTo>
                        <a:pt x="3" y="66"/>
                      </a:lnTo>
                      <a:lnTo>
                        <a:pt x="5" y="64"/>
                      </a:lnTo>
                      <a:lnTo>
                        <a:pt x="8" y="66"/>
                      </a:lnTo>
                      <a:lnTo>
                        <a:pt x="10" y="66"/>
                      </a:lnTo>
                      <a:lnTo>
                        <a:pt x="10" y="64"/>
                      </a:lnTo>
                      <a:lnTo>
                        <a:pt x="10" y="64"/>
                      </a:lnTo>
                      <a:lnTo>
                        <a:pt x="15" y="64"/>
                      </a:lnTo>
                      <a:lnTo>
                        <a:pt x="15" y="61"/>
                      </a:lnTo>
                      <a:lnTo>
                        <a:pt x="15" y="59"/>
                      </a:lnTo>
                      <a:lnTo>
                        <a:pt x="17" y="59"/>
                      </a:lnTo>
                      <a:lnTo>
                        <a:pt x="19" y="59"/>
                      </a:lnTo>
                      <a:lnTo>
                        <a:pt x="19" y="64"/>
                      </a:lnTo>
                      <a:lnTo>
                        <a:pt x="22" y="64"/>
                      </a:lnTo>
                      <a:lnTo>
                        <a:pt x="24" y="64"/>
                      </a:lnTo>
                      <a:lnTo>
                        <a:pt x="26" y="64"/>
                      </a:lnTo>
                      <a:lnTo>
                        <a:pt x="26" y="64"/>
                      </a:lnTo>
                      <a:lnTo>
                        <a:pt x="29" y="64"/>
                      </a:lnTo>
                      <a:lnTo>
                        <a:pt x="31" y="64"/>
                      </a:lnTo>
                      <a:lnTo>
                        <a:pt x="34" y="66"/>
                      </a:lnTo>
                      <a:lnTo>
                        <a:pt x="34" y="66"/>
                      </a:lnTo>
                      <a:lnTo>
                        <a:pt x="34" y="64"/>
                      </a:lnTo>
                      <a:lnTo>
                        <a:pt x="34" y="61"/>
                      </a:lnTo>
                      <a:lnTo>
                        <a:pt x="36" y="54"/>
                      </a:lnTo>
                      <a:lnTo>
                        <a:pt x="38" y="50"/>
                      </a:lnTo>
                      <a:lnTo>
                        <a:pt x="38" y="47"/>
                      </a:lnTo>
                      <a:lnTo>
                        <a:pt x="36" y="47"/>
                      </a:lnTo>
                      <a:lnTo>
                        <a:pt x="36" y="45"/>
                      </a:lnTo>
                      <a:lnTo>
                        <a:pt x="34" y="45"/>
                      </a:lnTo>
                      <a:lnTo>
                        <a:pt x="34" y="45"/>
                      </a:lnTo>
                      <a:lnTo>
                        <a:pt x="31" y="42"/>
                      </a:lnTo>
                      <a:lnTo>
                        <a:pt x="31" y="42"/>
                      </a:lnTo>
                      <a:lnTo>
                        <a:pt x="31" y="42"/>
                      </a:lnTo>
                      <a:lnTo>
                        <a:pt x="31" y="40"/>
                      </a:lnTo>
                      <a:lnTo>
                        <a:pt x="31" y="40"/>
                      </a:lnTo>
                      <a:lnTo>
                        <a:pt x="34" y="40"/>
                      </a:lnTo>
                      <a:lnTo>
                        <a:pt x="34" y="40"/>
                      </a:lnTo>
                      <a:lnTo>
                        <a:pt x="34" y="38"/>
                      </a:lnTo>
                      <a:lnTo>
                        <a:pt x="31" y="38"/>
                      </a:lnTo>
                      <a:lnTo>
                        <a:pt x="34" y="35"/>
                      </a:lnTo>
                      <a:lnTo>
                        <a:pt x="36" y="35"/>
                      </a:lnTo>
                      <a:lnTo>
                        <a:pt x="36" y="35"/>
                      </a:lnTo>
                      <a:lnTo>
                        <a:pt x="38" y="33"/>
                      </a:lnTo>
                      <a:lnTo>
                        <a:pt x="36" y="31"/>
                      </a:lnTo>
                      <a:lnTo>
                        <a:pt x="38" y="31"/>
                      </a:lnTo>
                      <a:lnTo>
                        <a:pt x="38" y="28"/>
                      </a:lnTo>
                      <a:lnTo>
                        <a:pt x="36" y="26"/>
                      </a:lnTo>
                      <a:lnTo>
                        <a:pt x="31" y="26"/>
                      </a:lnTo>
                      <a:lnTo>
                        <a:pt x="29" y="28"/>
                      </a:lnTo>
                      <a:lnTo>
                        <a:pt x="26" y="28"/>
                      </a:lnTo>
                      <a:lnTo>
                        <a:pt x="26" y="28"/>
                      </a:lnTo>
                      <a:lnTo>
                        <a:pt x="24" y="28"/>
                      </a:lnTo>
                      <a:lnTo>
                        <a:pt x="24" y="28"/>
                      </a:lnTo>
                      <a:lnTo>
                        <a:pt x="24" y="26"/>
                      </a:lnTo>
                      <a:lnTo>
                        <a:pt x="22" y="26"/>
                      </a:lnTo>
                      <a:lnTo>
                        <a:pt x="24" y="21"/>
                      </a:lnTo>
                      <a:lnTo>
                        <a:pt x="22" y="21"/>
                      </a:lnTo>
                      <a:lnTo>
                        <a:pt x="22" y="19"/>
                      </a:lnTo>
                      <a:lnTo>
                        <a:pt x="38" y="19"/>
                      </a:lnTo>
                      <a:lnTo>
                        <a:pt x="38" y="19"/>
                      </a:lnTo>
                      <a:lnTo>
                        <a:pt x="38" y="19"/>
                      </a:lnTo>
                      <a:lnTo>
                        <a:pt x="41" y="19"/>
                      </a:lnTo>
                      <a:lnTo>
                        <a:pt x="41" y="19"/>
                      </a:lnTo>
                      <a:lnTo>
                        <a:pt x="43" y="19"/>
                      </a:lnTo>
                      <a:lnTo>
                        <a:pt x="43" y="19"/>
                      </a:lnTo>
                      <a:lnTo>
                        <a:pt x="45" y="21"/>
                      </a:lnTo>
                      <a:lnTo>
                        <a:pt x="45" y="21"/>
                      </a:lnTo>
                      <a:lnTo>
                        <a:pt x="45" y="19"/>
                      </a:lnTo>
                      <a:lnTo>
                        <a:pt x="48" y="19"/>
                      </a:lnTo>
                      <a:lnTo>
                        <a:pt x="48" y="21"/>
                      </a:lnTo>
                      <a:lnTo>
                        <a:pt x="50" y="21"/>
                      </a:lnTo>
                      <a:lnTo>
                        <a:pt x="52" y="21"/>
                      </a:lnTo>
                      <a:lnTo>
                        <a:pt x="52" y="21"/>
                      </a:lnTo>
                      <a:lnTo>
                        <a:pt x="52" y="21"/>
                      </a:lnTo>
                      <a:lnTo>
                        <a:pt x="55" y="21"/>
                      </a:lnTo>
                      <a:lnTo>
                        <a:pt x="55" y="21"/>
                      </a:lnTo>
                      <a:lnTo>
                        <a:pt x="57" y="21"/>
                      </a:lnTo>
                      <a:lnTo>
                        <a:pt x="57" y="21"/>
                      </a:lnTo>
                      <a:lnTo>
                        <a:pt x="55" y="19"/>
                      </a:lnTo>
                      <a:lnTo>
                        <a:pt x="55" y="19"/>
                      </a:lnTo>
                      <a:lnTo>
                        <a:pt x="57" y="16"/>
                      </a:lnTo>
                      <a:lnTo>
                        <a:pt x="57" y="14"/>
                      </a:lnTo>
                      <a:lnTo>
                        <a:pt x="62" y="7"/>
                      </a:lnTo>
                      <a:lnTo>
                        <a:pt x="67" y="4"/>
                      </a:lnTo>
                      <a:lnTo>
                        <a:pt x="69" y="4"/>
                      </a:lnTo>
                      <a:lnTo>
                        <a:pt x="69" y="2"/>
                      </a:lnTo>
                      <a:lnTo>
                        <a:pt x="74" y="2"/>
                      </a:lnTo>
                      <a:lnTo>
                        <a:pt x="76" y="2"/>
                      </a:lnTo>
                      <a:lnTo>
                        <a:pt x="76" y="0"/>
                      </a:lnTo>
                      <a:lnTo>
                        <a:pt x="79" y="0"/>
                      </a:lnTo>
                      <a:lnTo>
                        <a:pt x="81" y="0"/>
                      </a:lnTo>
                      <a:lnTo>
                        <a:pt x="81" y="2"/>
                      </a:lnTo>
                      <a:lnTo>
                        <a:pt x="83" y="2"/>
                      </a:lnTo>
                      <a:lnTo>
                        <a:pt x="83" y="2"/>
                      </a:lnTo>
                      <a:lnTo>
                        <a:pt x="86" y="2"/>
                      </a:lnTo>
                      <a:lnTo>
                        <a:pt x="86" y="2"/>
                      </a:lnTo>
                      <a:lnTo>
                        <a:pt x="86" y="4"/>
                      </a:lnTo>
                      <a:lnTo>
                        <a:pt x="86" y="9"/>
                      </a:lnTo>
                      <a:lnTo>
                        <a:pt x="83" y="9"/>
                      </a:lnTo>
                      <a:lnTo>
                        <a:pt x="83" y="12"/>
                      </a:lnTo>
                      <a:lnTo>
                        <a:pt x="79" y="16"/>
                      </a:lnTo>
                      <a:lnTo>
                        <a:pt x="81" y="21"/>
                      </a:lnTo>
                      <a:lnTo>
                        <a:pt x="79" y="23"/>
                      </a:lnTo>
                      <a:lnTo>
                        <a:pt x="79" y="26"/>
                      </a:lnTo>
                      <a:lnTo>
                        <a:pt x="79" y="26"/>
                      </a:lnTo>
                      <a:lnTo>
                        <a:pt x="76" y="31"/>
                      </a:lnTo>
                      <a:lnTo>
                        <a:pt x="79" y="31"/>
                      </a:lnTo>
                      <a:lnTo>
                        <a:pt x="76" y="35"/>
                      </a:lnTo>
                      <a:lnTo>
                        <a:pt x="76" y="35"/>
                      </a:lnTo>
                      <a:lnTo>
                        <a:pt x="76" y="38"/>
                      </a:lnTo>
                      <a:lnTo>
                        <a:pt x="76" y="38"/>
                      </a:lnTo>
                      <a:lnTo>
                        <a:pt x="74" y="42"/>
                      </a:lnTo>
                      <a:lnTo>
                        <a:pt x="74" y="45"/>
                      </a:lnTo>
                      <a:lnTo>
                        <a:pt x="71" y="50"/>
                      </a:lnTo>
                      <a:lnTo>
                        <a:pt x="69" y="52"/>
                      </a:lnTo>
                      <a:lnTo>
                        <a:pt x="67" y="52"/>
                      </a:lnTo>
                      <a:lnTo>
                        <a:pt x="64" y="52"/>
                      </a:lnTo>
                      <a:lnTo>
                        <a:pt x="62" y="54"/>
                      </a:lnTo>
                      <a:lnTo>
                        <a:pt x="60" y="57"/>
                      </a:lnTo>
                      <a:lnTo>
                        <a:pt x="60" y="59"/>
                      </a:lnTo>
                      <a:lnTo>
                        <a:pt x="57" y="61"/>
                      </a:lnTo>
                      <a:lnTo>
                        <a:pt x="55" y="64"/>
                      </a:lnTo>
                      <a:lnTo>
                        <a:pt x="55" y="66"/>
                      </a:lnTo>
                      <a:lnTo>
                        <a:pt x="57" y="68"/>
                      </a:lnTo>
                      <a:lnTo>
                        <a:pt x="57" y="73"/>
                      </a:lnTo>
                      <a:lnTo>
                        <a:pt x="55" y="76"/>
                      </a:lnTo>
                      <a:lnTo>
                        <a:pt x="55" y="78"/>
                      </a:lnTo>
                      <a:lnTo>
                        <a:pt x="52" y="80"/>
                      </a:lnTo>
                      <a:lnTo>
                        <a:pt x="52" y="80"/>
                      </a:lnTo>
                      <a:lnTo>
                        <a:pt x="50" y="83"/>
                      </a:lnTo>
                      <a:lnTo>
                        <a:pt x="50" y="83"/>
                      </a:lnTo>
                      <a:lnTo>
                        <a:pt x="45" y="87"/>
                      </a:lnTo>
                      <a:lnTo>
                        <a:pt x="43" y="90"/>
                      </a:lnTo>
                      <a:lnTo>
                        <a:pt x="41" y="90"/>
                      </a:lnTo>
                      <a:lnTo>
                        <a:pt x="38" y="90"/>
                      </a:lnTo>
                      <a:lnTo>
                        <a:pt x="36" y="87"/>
                      </a:lnTo>
                      <a:lnTo>
                        <a:pt x="36" y="87"/>
                      </a:lnTo>
                      <a:lnTo>
                        <a:pt x="38" y="85"/>
                      </a:lnTo>
                      <a:lnTo>
                        <a:pt x="38" y="85"/>
                      </a:lnTo>
                      <a:lnTo>
                        <a:pt x="34" y="85"/>
                      </a:lnTo>
                      <a:lnTo>
                        <a:pt x="31" y="87"/>
                      </a:lnTo>
                      <a:lnTo>
                        <a:pt x="31" y="87"/>
                      </a:lnTo>
                      <a:lnTo>
                        <a:pt x="29" y="87"/>
                      </a:lnTo>
                      <a:lnTo>
                        <a:pt x="29" y="90"/>
                      </a:lnTo>
                      <a:lnTo>
                        <a:pt x="26" y="90"/>
                      </a:lnTo>
                      <a:lnTo>
                        <a:pt x="26" y="90"/>
                      </a:lnTo>
                      <a:lnTo>
                        <a:pt x="26" y="90"/>
                      </a:lnTo>
                      <a:lnTo>
                        <a:pt x="24" y="87"/>
                      </a:lnTo>
                      <a:lnTo>
                        <a:pt x="24" y="90"/>
                      </a:lnTo>
                      <a:lnTo>
                        <a:pt x="22" y="90"/>
                      </a:lnTo>
                      <a:lnTo>
                        <a:pt x="22" y="90"/>
                      </a:lnTo>
                      <a:lnTo>
                        <a:pt x="22" y="87"/>
                      </a:lnTo>
                      <a:lnTo>
                        <a:pt x="19" y="85"/>
                      </a:lnTo>
                      <a:lnTo>
                        <a:pt x="19" y="85"/>
                      </a:lnTo>
                      <a:lnTo>
                        <a:pt x="17" y="85"/>
                      </a:lnTo>
                      <a:lnTo>
                        <a:pt x="17" y="87"/>
                      </a:lnTo>
                      <a:lnTo>
                        <a:pt x="15" y="87"/>
                      </a:lnTo>
                      <a:lnTo>
                        <a:pt x="15" y="90"/>
                      </a:lnTo>
                      <a:lnTo>
                        <a:pt x="12" y="90"/>
                      </a:lnTo>
                      <a:lnTo>
                        <a:pt x="12" y="90"/>
                      </a:lnTo>
                      <a:lnTo>
                        <a:pt x="10" y="92"/>
                      </a:lnTo>
                      <a:lnTo>
                        <a:pt x="10" y="92"/>
                      </a:lnTo>
                      <a:lnTo>
                        <a:pt x="8" y="92"/>
                      </a:lnTo>
                      <a:lnTo>
                        <a:pt x="8" y="90"/>
                      </a:lnTo>
                      <a:lnTo>
                        <a:pt x="5" y="87"/>
                      </a:lnTo>
                      <a:lnTo>
                        <a:pt x="5" y="85"/>
                      </a:lnTo>
                      <a:lnTo>
                        <a:pt x="3" y="83"/>
                      </a:lnTo>
                      <a:lnTo>
                        <a:pt x="3" y="83"/>
                      </a:lnTo>
                      <a:lnTo>
                        <a:pt x="0" y="80"/>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7" name="Freeform 142">
                  <a:extLst>
                    <a:ext uri="{FF2B5EF4-FFF2-40B4-BE49-F238E27FC236}">
                      <a16:creationId xmlns:a16="http://schemas.microsoft.com/office/drawing/2014/main" id="{C3DBDB1B-F954-E3DE-C425-66DFB838C430}"/>
                    </a:ext>
                  </a:extLst>
                </p:cNvPr>
                <p:cNvSpPr>
                  <a:spLocks/>
                </p:cNvSpPr>
                <p:nvPr/>
              </p:nvSpPr>
              <p:spPr bwMode="auto">
                <a:xfrm>
                  <a:off x="2789" y="2647"/>
                  <a:ext cx="12" cy="14"/>
                </a:xfrm>
                <a:custGeom>
                  <a:avLst/>
                  <a:gdLst>
                    <a:gd name="T0" fmla="*/ 12 w 12"/>
                    <a:gd name="T1" fmla="*/ 5 h 14"/>
                    <a:gd name="T2" fmla="*/ 12 w 12"/>
                    <a:gd name="T3" fmla="*/ 2 h 14"/>
                    <a:gd name="T4" fmla="*/ 9 w 12"/>
                    <a:gd name="T5" fmla="*/ 0 h 14"/>
                    <a:gd name="T6" fmla="*/ 9 w 12"/>
                    <a:gd name="T7" fmla="*/ 0 h 14"/>
                    <a:gd name="T8" fmla="*/ 7 w 12"/>
                    <a:gd name="T9" fmla="*/ 0 h 14"/>
                    <a:gd name="T10" fmla="*/ 7 w 12"/>
                    <a:gd name="T11" fmla="*/ 2 h 14"/>
                    <a:gd name="T12" fmla="*/ 5 w 12"/>
                    <a:gd name="T13" fmla="*/ 2 h 14"/>
                    <a:gd name="T14" fmla="*/ 5 w 12"/>
                    <a:gd name="T15" fmla="*/ 5 h 14"/>
                    <a:gd name="T16" fmla="*/ 2 w 12"/>
                    <a:gd name="T17" fmla="*/ 5 h 14"/>
                    <a:gd name="T18" fmla="*/ 2 w 12"/>
                    <a:gd name="T19" fmla="*/ 5 h 14"/>
                    <a:gd name="T20" fmla="*/ 0 w 12"/>
                    <a:gd name="T21" fmla="*/ 7 h 14"/>
                    <a:gd name="T22" fmla="*/ 0 w 12"/>
                    <a:gd name="T23" fmla="*/ 7 h 14"/>
                    <a:gd name="T24" fmla="*/ 0 w 12"/>
                    <a:gd name="T25" fmla="*/ 10 h 14"/>
                    <a:gd name="T26" fmla="*/ 2 w 12"/>
                    <a:gd name="T27" fmla="*/ 12 h 14"/>
                    <a:gd name="T28" fmla="*/ 0 w 12"/>
                    <a:gd name="T29" fmla="*/ 14 h 14"/>
                    <a:gd name="T30" fmla="*/ 0 w 12"/>
                    <a:gd name="T31" fmla="*/ 14 h 14"/>
                    <a:gd name="T32" fmla="*/ 2 w 12"/>
                    <a:gd name="T33" fmla="*/ 14 h 14"/>
                    <a:gd name="T34" fmla="*/ 5 w 12"/>
                    <a:gd name="T35" fmla="*/ 14 h 14"/>
                    <a:gd name="T36" fmla="*/ 7 w 12"/>
                    <a:gd name="T37" fmla="*/ 12 h 14"/>
                    <a:gd name="T38" fmla="*/ 7 w 12"/>
                    <a:gd name="T39" fmla="*/ 10 h 14"/>
                    <a:gd name="T40" fmla="*/ 7 w 12"/>
                    <a:gd name="T41" fmla="*/ 7 h 14"/>
                    <a:gd name="T42" fmla="*/ 9 w 12"/>
                    <a:gd name="T43" fmla="*/ 5 h 14"/>
                    <a:gd name="T44" fmla="*/ 12 w 12"/>
                    <a:gd name="T45" fmla="*/ 5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 h="14">
                      <a:moveTo>
                        <a:pt x="12" y="5"/>
                      </a:moveTo>
                      <a:lnTo>
                        <a:pt x="12" y="2"/>
                      </a:lnTo>
                      <a:lnTo>
                        <a:pt x="9" y="0"/>
                      </a:lnTo>
                      <a:lnTo>
                        <a:pt x="9" y="0"/>
                      </a:lnTo>
                      <a:lnTo>
                        <a:pt x="7" y="0"/>
                      </a:lnTo>
                      <a:lnTo>
                        <a:pt x="7" y="2"/>
                      </a:lnTo>
                      <a:lnTo>
                        <a:pt x="5" y="2"/>
                      </a:lnTo>
                      <a:lnTo>
                        <a:pt x="5" y="5"/>
                      </a:lnTo>
                      <a:lnTo>
                        <a:pt x="2" y="5"/>
                      </a:lnTo>
                      <a:lnTo>
                        <a:pt x="2" y="5"/>
                      </a:lnTo>
                      <a:lnTo>
                        <a:pt x="0" y="7"/>
                      </a:lnTo>
                      <a:lnTo>
                        <a:pt x="0" y="7"/>
                      </a:lnTo>
                      <a:lnTo>
                        <a:pt x="0" y="10"/>
                      </a:lnTo>
                      <a:lnTo>
                        <a:pt x="2" y="12"/>
                      </a:lnTo>
                      <a:lnTo>
                        <a:pt x="0" y="14"/>
                      </a:lnTo>
                      <a:lnTo>
                        <a:pt x="0" y="14"/>
                      </a:lnTo>
                      <a:lnTo>
                        <a:pt x="2" y="14"/>
                      </a:lnTo>
                      <a:lnTo>
                        <a:pt x="5" y="14"/>
                      </a:lnTo>
                      <a:lnTo>
                        <a:pt x="7" y="12"/>
                      </a:lnTo>
                      <a:lnTo>
                        <a:pt x="7" y="10"/>
                      </a:lnTo>
                      <a:lnTo>
                        <a:pt x="7" y="7"/>
                      </a:lnTo>
                      <a:lnTo>
                        <a:pt x="9" y="5"/>
                      </a:lnTo>
                      <a:lnTo>
                        <a:pt x="12" y="5"/>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8" name="Freeform 143">
                  <a:extLst>
                    <a:ext uri="{FF2B5EF4-FFF2-40B4-BE49-F238E27FC236}">
                      <a16:creationId xmlns:a16="http://schemas.microsoft.com/office/drawing/2014/main" id="{8BC4B024-EFB8-99C5-36C4-208B9C5F14D0}"/>
                    </a:ext>
                  </a:extLst>
                </p:cNvPr>
                <p:cNvSpPr>
                  <a:spLocks/>
                </p:cNvSpPr>
                <p:nvPr/>
              </p:nvSpPr>
              <p:spPr bwMode="auto">
                <a:xfrm>
                  <a:off x="2985" y="2612"/>
                  <a:ext cx="126" cy="116"/>
                </a:xfrm>
                <a:custGeom>
                  <a:avLst/>
                  <a:gdLst>
                    <a:gd name="T0" fmla="*/ 17 w 126"/>
                    <a:gd name="T1" fmla="*/ 2 h 116"/>
                    <a:gd name="T2" fmla="*/ 55 w 126"/>
                    <a:gd name="T3" fmla="*/ 0 h 116"/>
                    <a:gd name="T4" fmla="*/ 97 w 126"/>
                    <a:gd name="T5" fmla="*/ 26 h 116"/>
                    <a:gd name="T6" fmla="*/ 111 w 126"/>
                    <a:gd name="T7" fmla="*/ 37 h 116"/>
                    <a:gd name="T8" fmla="*/ 111 w 126"/>
                    <a:gd name="T9" fmla="*/ 40 h 116"/>
                    <a:gd name="T10" fmla="*/ 107 w 126"/>
                    <a:gd name="T11" fmla="*/ 52 h 116"/>
                    <a:gd name="T12" fmla="*/ 114 w 126"/>
                    <a:gd name="T13" fmla="*/ 59 h 116"/>
                    <a:gd name="T14" fmla="*/ 116 w 126"/>
                    <a:gd name="T15" fmla="*/ 64 h 116"/>
                    <a:gd name="T16" fmla="*/ 111 w 126"/>
                    <a:gd name="T17" fmla="*/ 66 h 116"/>
                    <a:gd name="T18" fmla="*/ 114 w 126"/>
                    <a:gd name="T19" fmla="*/ 73 h 116"/>
                    <a:gd name="T20" fmla="*/ 114 w 126"/>
                    <a:gd name="T21" fmla="*/ 80 h 116"/>
                    <a:gd name="T22" fmla="*/ 114 w 126"/>
                    <a:gd name="T23" fmla="*/ 82 h 116"/>
                    <a:gd name="T24" fmla="*/ 116 w 126"/>
                    <a:gd name="T25" fmla="*/ 87 h 116"/>
                    <a:gd name="T26" fmla="*/ 121 w 126"/>
                    <a:gd name="T27" fmla="*/ 94 h 116"/>
                    <a:gd name="T28" fmla="*/ 126 w 126"/>
                    <a:gd name="T29" fmla="*/ 99 h 116"/>
                    <a:gd name="T30" fmla="*/ 126 w 126"/>
                    <a:gd name="T31" fmla="*/ 99 h 116"/>
                    <a:gd name="T32" fmla="*/ 121 w 126"/>
                    <a:gd name="T33" fmla="*/ 101 h 116"/>
                    <a:gd name="T34" fmla="*/ 114 w 126"/>
                    <a:gd name="T35" fmla="*/ 104 h 116"/>
                    <a:gd name="T36" fmla="*/ 109 w 126"/>
                    <a:gd name="T37" fmla="*/ 106 h 116"/>
                    <a:gd name="T38" fmla="*/ 102 w 126"/>
                    <a:gd name="T39" fmla="*/ 109 h 116"/>
                    <a:gd name="T40" fmla="*/ 97 w 126"/>
                    <a:gd name="T41" fmla="*/ 106 h 116"/>
                    <a:gd name="T42" fmla="*/ 95 w 126"/>
                    <a:gd name="T43" fmla="*/ 109 h 116"/>
                    <a:gd name="T44" fmla="*/ 88 w 126"/>
                    <a:gd name="T45" fmla="*/ 111 h 116"/>
                    <a:gd name="T46" fmla="*/ 85 w 126"/>
                    <a:gd name="T47" fmla="*/ 109 h 116"/>
                    <a:gd name="T48" fmla="*/ 81 w 126"/>
                    <a:gd name="T49" fmla="*/ 111 h 116"/>
                    <a:gd name="T50" fmla="*/ 78 w 126"/>
                    <a:gd name="T51" fmla="*/ 111 h 116"/>
                    <a:gd name="T52" fmla="*/ 74 w 126"/>
                    <a:gd name="T53" fmla="*/ 109 h 116"/>
                    <a:gd name="T54" fmla="*/ 71 w 126"/>
                    <a:gd name="T55" fmla="*/ 109 h 116"/>
                    <a:gd name="T56" fmla="*/ 55 w 126"/>
                    <a:gd name="T57" fmla="*/ 116 h 116"/>
                    <a:gd name="T58" fmla="*/ 52 w 126"/>
                    <a:gd name="T59" fmla="*/ 92 h 116"/>
                    <a:gd name="T60" fmla="*/ 48 w 126"/>
                    <a:gd name="T61" fmla="*/ 90 h 116"/>
                    <a:gd name="T62" fmla="*/ 45 w 126"/>
                    <a:gd name="T63" fmla="*/ 87 h 116"/>
                    <a:gd name="T64" fmla="*/ 43 w 126"/>
                    <a:gd name="T65" fmla="*/ 87 h 116"/>
                    <a:gd name="T66" fmla="*/ 40 w 126"/>
                    <a:gd name="T67" fmla="*/ 87 h 116"/>
                    <a:gd name="T68" fmla="*/ 38 w 126"/>
                    <a:gd name="T69" fmla="*/ 85 h 116"/>
                    <a:gd name="T70" fmla="*/ 36 w 126"/>
                    <a:gd name="T71" fmla="*/ 82 h 116"/>
                    <a:gd name="T72" fmla="*/ 26 w 126"/>
                    <a:gd name="T73" fmla="*/ 80 h 116"/>
                    <a:gd name="T74" fmla="*/ 24 w 126"/>
                    <a:gd name="T75" fmla="*/ 78 h 116"/>
                    <a:gd name="T76" fmla="*/ 19 w 126"/>
                    <a:gd name="T77" fmla="*/ 78 h 116"/>
                    <a:gd name="T78" fmla="*/ 5 w 126"/>
                    <a:gd name="T79" fmla="*/ 56 h 116"/>
                    <a:gd name="T80" fmla="*/ 5 w 126"/>
                    <a:gd name="T81" fmla="*/ 37 h 116"/>
                    <a:gd name="T82" fmla="*/ 14 w 126"/>
                    <a:gd name="T83" fmla="*/ 30 h 116"/>
                    <a:gd name="T84" fmla="*/ 19 w 126"/>
                    <a:gd name="T85" fmla="*/ 26 h 116"/>
                    <a:gd name="T86" fmla="*/ 17 w 126"/>
                    <a:gd name="T87" fmla="*/ 21 h 116"/>
                    <a:gd name="T88" fmla="*/ 14 w 126"/>
                    <a:gd name="T89" fmla="*/ 18 h 116"/>
                    <a:gd name="T90" fmla="*/ 14 w 126"/>
                    <a:gd name="T91" fmla="*/ 16 h 116"/>
                    <a:gd name="T92" fmla="*/ 19 w 126"/>
                    <a:gd name="T93" fmla="*/ 16 h 116"/>
                    <a:gd name="T94" fmla="*/ 19 w 126"/>
                    <a:gd name="T95" fmla="*/ 11 h 116"/>
                    <a:gd name="T96" fmla="*/ 17 w 126"/>
                    <a:gd name="T97" fmla="*/ 4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6" h="116">
                      <a:moveTo>
                        <a:pt x="14" y="2"/>
                      </a:moveTo>
                      <a:lnTo>
                        <a:pt x="14" y="2"/>
                      </a:lnTo>
                      <a:lnTo>
                        <a:pt x="17" y="2"/>
                      </a:lnTo>
                      <a:lnTo>
                        <a:pt x="17" y="0"/>
                      </a:lnTo>
                      <a:lnTo>
                        <a:pt x="31" y="0"/>
                      </a:lnTo>
                      <a:lnTo>
                        <a:pt x="55" y="0"/>
                      </a:lnTo>
                      <a:lnTo>
                        <a:pt x="95" y="21"/>
                      </a:lnTo>
                      <a:lnTo>
                        <a:pt x="97" y="26"/>
                      </a:lnTo>
                      <a:lnTo>
                        <a:pt x="97" y="26"/>
                      </a:lnTo>
                      <a:lnTo>
                        <a:pt x="97" y="28"/>
                      </a:lnTo>
                      <a:lnTo>
                        <a:pt x="97" y="28"/>
                      </a:lnTo>
                      <a:lnTo>
                        <a:pt x="111" y="37"/>
                      </a:lnTo>
                      <a:lnTo>
                        <a:pt x="111" y="37"/>
                      </a:lnTo>
                      <a:lnTo>
                        <a:pt x="111" y="37"/>
                      </a:lnTo>
                      <a:lnTo>
                        <a:pt x="111" y="40"/>
                      </a:lnTo>
                      <a:lnTo>
                        <a:pt x="111" y="40"/>
                      </a:lnTo>
                      <a:lnTo>
                        <a:pt x="109" y="47"/>
                      </a:lnTo>
                      <a:lnTo>
                        <a:pt x="107" y="52"/>
                      </a:lnTo>
                      <a:lnTo>
                        <a:pt x="107" y="54"/>
                      </a:lnTo>
                      <a:lnTo>
                        <a:pt x="111" y="56"/>
                      </a:lnTo>
                      <a:lnTo>
                        <a:pt x="114" y="59"/>
                      </a:lnTo>
                      <a:lnTo>
                        <a:pt x="114" y="59"/>
                      </a:lnTo>
                      <a:lnTo>
                        <a:pt x="116" y="61"/>
                      </a:lnTo>
                      <a:lnTo>
                        <a:pt x="116" y="64"/>
                      </a:lnTo>
                      <a:lnTo>
                        <a:pt x="114" y="64"/>
                      </a:lnTo>
                      <a:lnTo>
                        <a:pt x="114" y="64"/>
                      </a:lnTo>
                      <a:lnTo>
                        <a:pt x="111" y="66"/>
                      </a:lnTo>
                      <a:lnTo>
                        <a:pt x="114" y="71"/>
                      </a:lnTo>
                      <a:lnTo>
                        <a:pt x="114" y="71"/>
                      </a:lnTo>
                      <a:lnTo>
                        <a:pt x="114" y="73"/>
                      </a:lnTo>
                      <a:lnTo>
                        <a:pt x="114" y="75"/>
                      </a:lnTo>
                      <a:lnTo>
                        <a:pt x="114" y="78"/>
                      </a:lnTo>
                      <a:lnTo>
                        <a:pt x="114" y="80"/>
                      </a:lnTo>
                      <a:lnTo>
                        <a:pt x="114" y="80"/>
                      </a:lnTo>
                      <a:lnTo>
                        <a:pt x="114" y="82"/>
                      </a:lnTo>
                      <a:lnTo>
                        <a:pt x="114" y="82"/>
                      </a:lnTo>
                      <a:lnTo>
                        <a:pt x="116" y="85"/>
                      </a:lnTo>
                      <a:lnTo>
                        <a:pt x="114" y="87"/>
                      </a:lnTo>
                      <a:lnTo>
                        <a:pt x="116" y="87"/>
                      </a:lnTo>
                      <a:lnTo>
                        <a:pt x="116" y="90"/>
                      </a:lnTo>
                      <a:lnTo>
                        <a:pt x="116" y="92"/>
                      </a:lnTo>
                      <a:lnTo>
                        <a:pt x="121" y="94"/>
                      </a:lnTo>
                      <a:lnTo>
                        <a:pt x="123" y="97"/>
                      </a:lnTo>
                      <a:lnTo>
                        <a:pt x="126" y="97"/>
                      </a:lnTo>
                      <a:lnTo>
                        <a:pt x="126" y="99"/>
                      </a:lnTo>
                      <a:lnTo>
                        <a:pt x="126" y="99"/>
                      </a:lnTo>
                      <a:lnTo>
                        <a:pt x="126" y="99"/>
                      </a:lnTo>
                      <a:lnTo>
                        <a:pt x="126" y="99"/>
                      </a:lnTo>
                      <a:lnTo>
                        <a:pt x="123" y="99"/>
                      </a:lnTo>
                      <a:lnTo>
                        <a:pt x="121" y="101"/>
                      </a:lnTo>
                      <a:lnTo>
                        <a:pt x="121" y="101"/>
                      </a:lnTo>
                      <a:lnTo>
                        <a:pt x="119" y="104"/>
                      </a:lnTo>
                      <a:lnTo>
                        <a:pt x="116" y="104"/>
                      </a:lnTo>
                      <a:lnTo>
                        <a:pt x="114" y="104"/>
                      </a:lnTo>
                      <a:lnTo>
                        <a:pt x="114" y="106"/>
                      </a:lnTo>
                      <a:lnTo>
                        <a:pt x="111" y="106"/>
                      </a:lnTo>
                      <a:lnTo>
                        <a:pt x="109" y="106"/>
                      </a:lnTo>
                      <a:lnTo>
                        <a:pt x="104" y="106"/>
                      </a:lnTo>
                      <a:lnTo>
                        <a:pt x="104" y="106"/>
                      </a:lnTo>
                      <a:lnTo>
                        <a:pt x="102" y="109"/>
                      </a:lnTo>
                      <a:lnTo>
                        <a:pt x="100" y="106"/>
                      </a:lnTo>
                      <a:lnTo>
                        <a:pt x="100" y="106"/>
                      </a:lnTo>
                      <a:lnTo>
                        <a:pt x="97" y="106"/>
                      </a:lnTo>
                      <a:lnTo>
                        <a:pt x="95" y="106"/>
                      </a:lnTo>
                      <a:lnTo>
                        <a:pt x="97" y="109"/>
                      </a:lnTo>
                      <a:lnTo>
                        <a:pt x="95" y="109"/>
                      </a:lnTo>
                      <a:lnTo>
                        <a:pt x="93" y="111"/>
                      </a:lnTo>
                      <a:lnTo>
                        <a:pt x="90" y="111"/>
                      </a:lnTo>
                      <a:lnTo>
                        <a:pt x="88" y="111"/>
                      </a:lnTo>
                      <a:lnTo>
                        <a:pt x="88" y="109"/>
                      </a:lnTo>
                      <a:lnTo>
                        <a:pt x="88" y="109"/>
                      </a:lnTo>
                      <a:lnTo>
                        <a:pt x="85" y="109"/>
                      </a:lnTo>
                      <a:lnTo>
                        <a:pt x="85" y="109"/>
                      </a:lnTo>
                      <a:lnTo>
                        <a:pt x="83" y="109"/>
                      </a:lnTo>
                      <a:lnTo>
                        <a:pt x="81" y="111"/>
                      </a:lnTo>
                      <a:lnTo>
                        <a:pt x="78" y="111"/>
                      </a:lnTo>
                      <a:lnTo>
                        <a:pt x="78" y="111"/>
                      </a:lnTo>
                      <a:lnTo>
                        <a:pt x="78" y="111"/>
                      </a:lnTo>
                      <a:lnTo>
                        <a:pt x="76" y="111"/>
                      </a:lnTo>
                      <a:lnTo>
                        <a:pt x="74" y="109"/>
                      </a:lnTo>
                      <a:lnTo>
                        <a:pt x="74" y="109"/>
                      </a:lnTo>
                      <a:lnTo>
                        <a:pt x="74" y="109"/>
                      </a:lnTo>
                      <a:lnTo>
                        <a:pt x="71" y="109"/>
                      </a:lnTo>
                      <a:lnTo>
                        <a:pt x="71" y="109"/>
                      </a:lnTo>
                      <a:lnTo>
                        <a:pt x="69" y="109"/>
                      </a:lnTo>
                      <a:lnTo>
                        <a:pt x="57" y="109"/>
                      </a:lnTo>
                      <a:lnTo>
                        <a:pt x="55" y="116"/>
                      </a:lnTo>
                      <a:lnTo>
                        <a:pt x="57" y="99"/>
                      </a:lnTo>
                      <a:lnTo>
                        <a:pt x="55" y="94"/>
                      </a:lnTo>
                      <a:lnTo>
                        <a:pt x="52" y="92"/>
                      </a:lnTo>
                      <a:lnTo>
                        <a:pt x="50" y="90"/>
                      </a:lnTo>
                      <a:lnTo>
                        <a:pt x="50" y="90"/>
                      </a:lnTo>
                      <a:lnTo>
                        <a:pt x="48" y="90"/>
                      </a:lnTo>
                      <a:lnTo>
                        <a:pt x="48" y="90"/>
                      </a:lnTo>
                      <a:lnTo>
                        <a:pt x="48" y="87"/>
                      </a:lnTo>
                      <a:lnTo>
                        <a:pt x="45" y="87"/>
                      </a:lnTo>
                      <a:lnTo>
                        <a:pt x="45" y="90"/>
                      </a:lnTo>
                      <a:lnTo>
                        <a:pt x="45" y="87"/>
                      </a:lnTo>
                      <a:lnTo>
                        <a:pt x="43" y="87"/>
                      </a:lnTo>
                      <a:lnTo>
                        <a:pt x="43" y="87"/>
                      </a:lnTo>
                      <a:lnTo>
                        <a:pt x="40" y="87"/>
                      </a:lnTo>
                      <a:lnTo>
                        <a:pt x="40" y="87"/>
                      </a:lnTo>
                      <a:lnTo>
                        <a:pt x="40" y="87"/>
                      </a:lnTo>
                      <a:lnTo>
                        <a:pt x="40" y="87"/>
                      </a:lnTo>
                      <a:lnTo>
                        <a:pt x="38" y="85"/>
                      </a:lnTo>
                      <a:lnTo>
                        <a:pt x="38" y="82"/>
                      </a:lnTo>
                      <a:lnTo>
                        <a:pt x="36" y="82"/>
                      </a:lnTo>
                      <a:lnTo>
                        <a:pt x="36" y="82"/>
                      </a:lnTo>
                      <a:lnTo>
                        <a:pt x="33" y="82"/>
                      </a:lnTo>
                      <a:lnTo>
                        <a:pt x="29" y="80"/>
                      </a:lnTo>
                      <a:lnTo>
                        <a:pt x="26" y="80"/>
                      </a:lnTo>
                      <a:lnTo>
                        <a:pt x="24" y="80"/>
                      </a:lnTo>
                      <a:lnTo>
                        <a:pt x="24" y="78"/>
                      </a:lnTo>
                      <a:lnTo>
                        <a:pt x="24" y="78"/>
                      </a:lnTo>
                      <a:lnTo>
                        <a:pt x="22" y="78"/>
                      </a:lnTo>
                      <a:lnTo>
                        <a:pt x="19" y="78"/>
                      </a:lnTo>
                      <a:lnTo>
                        <a:pt x="19" y="78"/>
                      </a:lnTo>
                      <a:lnTo>
                        <a:pt x="14" y="75"/>
                      </a:lnTo>
                      <a:lnTo>
                        <a:pt x="12" y="66"/>
                      </a:lnTo>
                      <a:lnTo>
                        <a:pt x="5" y="56"/>
                      </a:lnTo>
                      <a:lnTo>
                        <a:pt x="0" y="45"/>
                      </a:lnTo>
                      <a:lnTo>
                        <a:pt x="0" y="37"/>
                      </a:lnTo>
                      <a:lnTo>
                        <a:pt x="5" y="37"/>
                      </a:lnTo>
                      <a:lnTo>
                        <a:pt x="10" y="35"/>
                      </a:lnTo>
                      <a:lnTo>
                        <a:pt x="12" y="33"/>
                      </a:lnTo>
                      <a:lnTo>
                        <a:pt x="14" y="30"/>
                      </a:lnTo>
                      <a:lnTo>
                        <a:pt x="14" y="28"/>
                      </a:lnTo>
                      <a:lnTo>
                        <a:pt x="17" y="28"/>
                      </a:lnTo>
                      <a:lnTo>
                        <a:pt x="19" y="26"/>
                      </a:lnTo>
                      <a:lnTo>
                        <a:pt x="19" y="23"/>
                      </a:lnTo>
                      <a:lnTo>
                        <a:pt x="19" y="21"/>
                      </a:lnTo>
                      <a:lnTo>
                        <a:pt x="17" y="21"/>
                      </a:lnTo>
                      <a:lnTo>
                        <a:pt x="17" y="21"/>
                      </a:lnTo>
                      <a:lnTo>
                        <a:pt x="14" y="18"/>
                      </a:lnTo>
                      <a:lnTo>
                        <a:pt x="14" y="18"/>
                      </a:lnTo>
                      <a:lnTo>
                        <a:pt x="14" y="16"/>
                      </a:lnTo>
                      <a:lnTo>
                        <a:pt x="14" y="16"/>
                      </a:lnTo>
                      <a:lnTo>
                        <a:pt x="14" y="16"/>
                      </a:lnTo>
                      <a:lnTo>
                        <a:pt x="17" y="16"/>
                      </a:lnTo>
                      <a:lnTo>
                        <a:pt x="17" y="16"/>
                      </a:lnTo>
                      <a:lnTo>
                        <a:pt x="19" y="16"/>
                      </a:lnTo>
                      <a:lnTo>
                        <a:pt x="19" y="14"/>
                      </a:lnTo>
                      <a:lnTo>
                        <a:pt x="19" y="11"/>
                      </a:lnTo>
                      <a:lnTo>
                        <a:pt x="19" y="11"/>
                      </a:lnTo>
                      <a:lnTo>
                        <a:pt x="17" y="7"/>
                      </a:lnTo>
                      <a:lnTo>
                        <a:pt x="17" y="7"/>
                      </a:lnTo>
                      <a:lnTo>
                        <a:pt x="17" y="4"/>
                      </a:lnTo>
                      <a:lnTo>
                        <a:pt x="14" y="4"/>
                      </a:lnTo>
                      <a:lnTo>
                        <a:pt x="14" y="2"/>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9" name="Freeform 144">
                  <a:extLst>
                    <a:ext uri="{FF2B5EF4-FFF2-40B4-BE49-F238E27FC236}">
                      <a16:creationId xmlns:a16="http://schemas.microsoft.com/office/drawing/2014/main" id="{9E8D989A-E505-FE54-66C5-BAEBEFC913F3}"/>
                    </a:ext>
                  </a:extLst>
                </p:cNvPr>
                <p:cNvSpPr>
                  <a:spLocks/>
                </p:cNvSpPr>
                <p:nvPr/>
              </p:nvSpPr>
              <p:spPr bwMode="auto">
                <a:xfrm>
                  <a:off x="2981" y="2614"/>
                  <a:ext cx="23" cy="16"/>
                </a:xfrm>
                <a:custGeom>
                  <a:avLst/>
                  <a:gdLst>
                    <a:gd name="T0" fmla="*/ 7 w 23"/>
                    <a:gd name="T1" fmla="*/ 2 h 16"/>
                    <a:gd name="T2" fmla="*/ 7 w 23"/>
                    <a:gd name="T3" fmla="*/ 2 h 16"/>
                    <a:gd name="T4" fmla="*/ 9 w 23"/>
                    <a:gd name="T5" fmla="*/ 2 h 16"/>
                    <a:gd name="T6" fmla="*/ 11 w 23"/>
                    <a:gd name="T7" fmla="*/ 0 h 16"/>
                    <a:gd name="T8" fmla="*/ 11 w 23"/>
                    <a:gd name="T9" fmla="*/ 0 h 16"/>
                    <a:gd name="T10" fmla="*/ 14 w 23"/>
                    <a:gd name="T11" fmla="*/ 2 h 16"/>
                    <a:gd name="T12" fmla="*/ 16 w 23"/>
                    <a:gd name="T13" fmla="*/ 2 h 16"/>
                    <a:gd name="T14" fmla="*/ 16 w 23"/>
                    <a:gd name="T15" fmla="*/ 2 h 16"/>
                    <a:gd name="T16" fmla="*/ 16 w 23"/>
                    <a:gd name="T17" fmla="*/ 0 h 16"/>
                    <a:gd name="T18" fmla="*/ 18 w 23"/>
                    <a:gd name="T19" fmla="*/ 0 h 16"/>
                    <a:gd name="T20" fmla="*/ 18 w 23"/>
                    <a:gd name="T21" fmla="*/ 2 h 16"/>
                    <a:gd name="T22" fmla="*/ 21 w 23"/>
                    <a:gd name="T23" fmla="*/ 2 h 16"/>
                    <a:gd name="T24" fmla="*/ 21 w 23"/>
                    <a:gd name="T25" fmla="*/ 5 h 16"/>
                    <a:gd name="T26" fmla="*/ 21 w 23"/>
                    <a:gd name="T27" fmla="*/ 5 h 16"/>
                    <a:gd name="T28" fmla="*/ 23 w 23"/>
                    <a:gd name="T29" fmla="*/ 9 h 16"/>
                    <a:gd name="T30" fmla="*/ 23 w 23"/>
                    <a:gd name="T31" fmla="*/ 9 h 16"/>
                    <a:gd name="T32" fmla="*/ 23 w 23"/>
                    <a:gd name="T33" fmla="*/ 12 h 16"/>
                    <a:gd name="T34" fmla="*/ 23 w 23"/>
                    <a:gd name="T35" fmla="*/ 14 h 16"/>
                    <a:gd name="T36" fmla="*/ 21 w 23"/>
                    <a:gd name="T37" fmla="*/ 14 h 16"/>
                    <a:gd name="T38" fmla="*/ 21 w 23"/>
                    <a:gd name="T39" fmla="*/ 14 h 16"/>
                    <a:gd name="T40" fmla="*/ 18 w 23"/>
                    <a:gd name="T41" fmla="*/ 14 h 16"/>
                    <a:gd name="T42" fmla="*/ 18 w 23"/>
                    <a:gd name="T43" fmla="*/ 14 h 16"/>
                    <a:gd name="T44" fmla="*/ 18 w 23"/>
                    <a:gd name="T45" fmla="*/ 14 h 16"/>
                    <a:gd name="T46" fmla="*/ 16 w 23"/>
                    <a:gd name="T47" fmla="*/ 12 h 16"/>
                    <a:gd name="T48" fmla="*/ 16 w 23"/>
                    <a:gd name="T49" fmla="*/ 12 h 16"/>
                    <a:gd name="T50" fmla="*/ 16 w 23"/>
                    <a:gd name="T51" fmla="*/ 12 h 16"/>
                    <a:gd name="T52" fmla="*/ 14 w 23"/>
                    <a:gd name="T53" fmla="*/ 9 h 16"/>
                    <a:gd name="T54" fmla="*/ 14 w 23"/>
                    <a:gd name="T55" fmla="*/ 9 h 16"/>
                    <a:gd name="T56" fmla="*/ 14 w 23"/>
                    <a:gd name="T57" fmla="*/ 12 h 16"/>
                    <a:gd name="T58" fmla="*/ 11 w 23"/>
                    <a:gd name="T59" fmla="*/ 14 h 16"/>
                    <a:gd name="T60" fmla="*/ 11 w 23"/>
                    <a:gd name="T61" fmla="*/ 16 h 16"/>
                    <a:gd name="T62" fmla="*/ 9 w 23"/>
                    <a:gd name="T63" fmla="*/ 16 h 16"/>
                    <a:gd name="T64" fmla="*/ 9 w 23"/>
                    <a:gd name="T65" fmla="*/ 16 h 16"/>
                    <a:gd name="T66" fmla="*/ 9 w 23"/>
                    <a:gd name="T67" fmla="*/ 16 h 16"/>
                    <a:gd name="T68" fmla="*/ 7 w 23"/>
                    <a:gd name="T69" fmla="*/ 16 h 16"/>
                    <a:gd name="T70" fmla="*/ 4 w 23"/>
                    <a:gd name="T71" fmla="*/ 16 h 16"/>
                    <a:gd name="T72" fmla="*/ 4 w 23"/>
                    <a:gd name="T73" fmla="*/ 14 h 16"/>
                    <a:gd name="T74" fmla="*/ 4 w 23"/>
                    <a:gd name="T75" fmla="*/ 14 h 16"/>
                    <a:gd name="T76" fmla="*/ 2 w 23"/>
                    <a:gd name="T77" fmla="*/ 14 h 16"/>
                    <a:gd name="T78" fmla="*/ 0 w 23"/>
                    <a:gd name="T79" fmla="*/ 14 h 16"/>
                    <a:gd name="T80" fmla="*/ 0 w 23"/>
                    <a:gd name="T81" fmla="*/ 12 h 16"/>
                    <a:gd name="T82" fmla="*/ 2 w 23"/>
                    <a:gd name="T83" fmla="*/ 7 h 16"/>
                    <a:gd name="T84" fmla="*/ 4 w 23"/>
                    <a:gd name="T85" fmla="*/ 5 h 16"/>
                    <a:gd name="T86" fmla="*/ 7 w 23"/>
                    <a:gd name="T87"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 h="16">
                      <a:moveTo>
                        <a:pt x="7" y="2"/>
                      </a:moveTo>
                      <a:lnTo>
                        <a:pt x="7" y="2"/>
                      </a:lnTo>
                      <a:lnTo>
                        <a:pt x="9" y="2"/>
                      </a:lnTo>
                      <a:lnTo>
                        <a:pt x="11" y="0"/>
                      </a:lnTo>
                      <a:lnTo>
                        <a:pt x="11" y="0"/>
                      </a:lnTo>
                      <a:lnTo>
                        <a:pt x="14" y="2"/>
                      </a:lnTo>
                      <a:lnTo>
                        <a:pt x="16" y="2"/>
                      </a:lnTo>
                      <a:lnTo>
                        <a:pt x="16" y="2"/>
                      </a:lnTo>
                      <a:lnTo>
                        <a:pt x="16" y="0"/>
                      </a:lnTo>
                      <a:lnTo>
                        <a:pt x="18" y="0"/>
                      </a:lnTo>
                      <a:lnTo>
                        <a:pt x="18" y="2"/>
                      </a:lnTo>
                      <a:lnTo>
                        <a:pt x="21" y="2"/>
                      </a:lnTo>
                      <a:lnTo>
                        <a:pt x="21" y="5"/>
                      </a:lnTo>
                      <a:lnTo>
                        <a:pt x="21" y="5"/>
                      </a:lnTo>
                      <a:lnTo>
                        <a:pt x="23" y="9"/>
                      </a:lnTo>
                      <a:lnTo>
                        <a:pt x="23" y="9"/>
                      </a:lnTo>
                      <a:lnTo>
                        <a:pt x="23" y="12"/>
                      </a:lnTo>
                      <a:lnTo>
                        <a:pt x="23" y="14"/>
                      </a:lnTo>
                      <a:lnTo>
                        <a:pt x="21" y="14"/>
                      </a:lnTo>
                      <a:lnTo>
                        <a:pt x="21" y="14"/>
                      </a:lnTo>
                      <a:lnTo>
                        <a:pt x="18" y="14"/>
                      </a:lnTo>
                      <a:lnTo>
                        <a:pt x="18" y="14"/>
                      </a:lnTo>
                      <a:lnTo>
                        <a:pt x="18" y="14"/>
                      </a:lnTo>
                      <a:lnTo>
                        <a:pt x="16" y="12"/>
                      </a:lnTo>
                      <a:lnTo>
                        <a:pt x="16" y="12"/>
                      </a:lnTo>
                      <a:lnTo>
                        <a:pt x="16" y="12"/>
                      </a:lnTo>
                      <a:lnTo>
                        <a:pt x="14" y="9"/>
                      </a:lnTo>
                      <a:lnTo>
                        <a:pt x="14" y="9"/>
                      </a:lnTo>
                      <a:lnTo>
                        <a:pt x="14" y="12"/>
                      </a:lnTo>
                      <a:lnTo>
                        <a:pt x="11" y="14"/>
                      </a:lnTo>
                      <a:lnTo>
                        <a:pt x="11" y="16"/>
                      </a:lnTo>
                      <a:lnTo>
                        <a:pt x="9" y="16"/>
                      </a:lnTo>
                      <a:lnTo>
                        <a:pt x="9" y="16"/>
                      </a:lnTo>
                      <a:lnTo>
                        <a:pt x="9" y="16"/>
                      </a:lnTo>
                      <a:lnTo>
                        <a:pt x="7" y="16"/>
                      </a:lnTo>
                      <a:lnTo>
                        <a:pt x="4" y="16"/>
                      </a:lnTo>
                      <a:lnTo>
                        <a:pt x="4" y="14"/>
                      </a:lnTo>
                      <a:lnTo>
                        <a:pt x="4" y="14"/>
                      </a:lnTo>
                      <a:lnTo>
                        <a:pt x="2" y="14"/>
                      </a:lnTo>
                      <a:lnTo>
                        <a:pt x="0" y="14"/>
                      </a:lnTo>
                      <a:lnTo>
                        <a:pt x="0" y="12"/>
                      </a:lnTo>
                      <a:lnTo>
                        <a:pt x="2" y="7"/>
                      </a:lnTo>
                      <a:lnTo>
                        <a:pt x="4" y="5"/>
                      </a:lnTo>
                      <a:lnTo>
                        <a:pt x="7" y="2"/>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0" name="Freeform 145">
                  <a:extLst>
                    <a:ext uri="{FF2B5EF4-FFF2-40B4-BE49-F238E27FC236}">
                      <a16:creationId xmlns:a16="http://schemas.microsoft.com/office/drawing/2014/main" id="{3A9EB43C-4369-6755-501A-29E3E69467AF}"/>
                    </a:ext>
                  </a:extLst>
                </p:cNvPr>
                <p:cNvSpPr>
                  <a:spLocks/>
                </p:cNvSpPr>
                <p:nvPr/>
              </p:nvSpPr>
              <p:spPr bwMode="auto">
                <a:xfrm>
                  <a:off x="2981" y="2623"/>
                  <a:ext cx="23" cy="26"/>
                </a:xfrm>
                <a:custGeom>
                  <a:avLst/>
                  <a:gdLst>
                    <a:gd name="T0" fmla="*/ 4 w 23"/>
                    <a:gd name="T1" fmla="*/ 26 h 26"/>
                    <a:gd name="T2" fmla="*/ 9 w 23"/>
                    <a:gd name="T3" fmla="*/ 26 h 26"/>
                    <a:gd name="T4" fmla="*/ 14 w 23"/>
                    <a:gd name="T5" fmla="*/ 24 h 26"/>
                    <a:gd name="T6" fmla="*/ 16 w 23"/>
                    <a:gd name="T7" fmla="*/ 22 h 26"/>
                    <a:gd name="T8" fmla="*/ 18 w 23"/>
                    <a:gd name="T9" fmla="*/ 19 h 26"/>
                    <a:gd name="T10" fmla="*/ 18 w 23"/>
                    <a:gd name="T11" fmla="*/ 17 h 26"/>
                    <a:gd name="T12" fmla="*/ 21 w 23"/>
                    <a:gd name="T13" fmla="*/ 17 h 26"/>
                    <a:gd name="T14" fmla="*/ 23 w 23"/>
                    <a:gd name="T15" fmla="*/ 15 h 26"/>
                    <a:gd name="T16" fmla="*/ 23 w 23"/>
                    <a:gd name="T17" fmla="*/ 12 h 26"/>
                    <a:gd name="T18" fmla="*/ 23 w 23"/>
                    <a:gd name="T19" fmla="*/ 10 h 26"/>
                    <a:gd name="T20" fmla="*/ 21 w 23"/>
                    <a:gd name="T21" fmla="*/ 10 h 26"/>
                    <a:gd name="T22" fmla="*/ 21 w 23"/>
                    <a:gd name="T23" fmla="*/ 10 h 26"/>
                    <a:gd name="T24" fmla="*/ 18 w 23"/>
                    <a:gd name="T25" fmla="*/ 7 h 26"/>
                    <a:gd name="T26" fmla="*/ 18 w 23"/>
                    <a:gd name="T27" fmla="*/ 7 h 26"/>
                    <a:gd name="T28" fmla="*/ 18 w 23"/>
                    <a:gd name="T29" fmla="*/ 5 h 26"/>
                    <a:gd name="T30" fmla="*/ 18 w 23"/>
                    <a:gd name="T31" fmla="*/ 5 h 26"/>
                    <a:gd name="T32" fmla="*/ 16 w 23"/>
                    <a:gd name="T33" fmla="*/ 3 h 26"/>
                    <a:gd name="T34" fmla="*/ 16 w 23"/>
                    <a:gd name="T35" fmla="*/ 3 h 26"/>
                    <a:gd name="T36" fmla="*/ 16 w 23"/>
                    <a:gd name="T37" fmla="*/ 3 h 26"/>
                    <a:gd name="T38" fmla="*/ 14 w 23"/>
                    <a:gd name="T39" fmla="*/ 0 h 26"/>
                    <a:gd name="T40" fmla="*/ 14 w 23"/>
                    <a:gd name="T41" fmla="*/ 0 h 26"/>
                    <a:gd name="T42" fmla="*/ 14 w 23"/>
                    <a:gd name="T43" fmla="*/ 3 h 26"/>
                    <a:gd name="T44" fmla="*/ 11 w 23"/>
                    <a:gd name="T45" fmla="*/ 5 h 26"/>
                    <a:gd name="T46" fmla="*/ 11 w 23"/>
                    <a:gd name="T47" fmla="*/ 7 h 26"/>
                    <a:gd name="T48" fmla="*/ 9 w 23"/>
                    <a:gd name="T49" fmla="*/ 7 h 26"/>
                    <a:gd name="T50" fmla="*/ 9 w 23"/>
                    <a:gd name="T51" fmla="*/ 7 h 26"/>
                    <a:gd name="T52" fmla="*/ 9 w 23"/>
                    <a:gd name="T53" fmla="*/ 7 h 26"/>
                    <a:gd name="T54" fmla="*/ 7 w 23"/>
                    <a:gd name="T55" fmla="*/ 7 h 26"/>
                    <a:gd name="T56" fmla="*/ 4 w 23"/>
                    <a:gd name="T57" fmla="*/ 7 h 26"/>
                    <a:gd name="T58" fmla="*/ 4 w 23"/>
                    <a:gd name="T59" fmla="*/ 5 h 26"/>
                    <a:gd name="T60" fmla="*/ 4 w 23"/>
                    <a:gd name="T61" fmla="*/ 5 h 26"/>
                    <a:gd name="T62" fmla="*/ 2 w 23"/>
                    <a:gd name="T63" fmla="*/ 5 h 26"/>
                    <a:gd name="T64" fmla="*/ 0 w 23"/>
                    <a:gd name="T65" fmla="*/ 5 h 26"/>
                    <a:gd name="T66" fmla="*/ 0 w 23"/>
                    <a:gd name="T67" fmla="*/ 5 h 26"/>
                    <a:gd name="T68" fmla="*/ 2 w 23"/>
                    <a:gd name="T69" fmla="*/ 7 h 26"/>
                    <a:gd name="T70" fmla="*/ 2 w 23"/>
                    <a:gd name="T71" fmla="*/ 10 h 26"/>
                    <a:gd name="T72" fmla="*/ 2 w 23"/>
                    <a:gd name="T73" fmla="*/ 12 h 26"/>
                    <a:gd name="T74" fmla="*/ 4 w 23"/>
                    <a:gd name="T75"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3" h="26">
                      <a:moveTo>
                        <a:pt x="4" y="26"/>
                      </a:moveTo>
                      <a:lnTo>
                        <a:pt x="9" y="26"/>
                      </a:lnTo>
                      <a:lnTo>
                        <a:pt x="14" y="24"/>
                      </a:lnTo>
                      <a:lnTo>
                        <a:pt x="16" y="22"/>
                      </a:lnTo>
                      <a:lnTo>
                        <a:pt x="18" y="19"/>
                      </a:lnTo>
                      <a:lnTo>
                        <a:pt x="18" y="17"/>
                      </a:lnTo>
                      <a:lnTo>
                        <a:pt x="21" y="17"/>
                      </a:lnTo>
                      <a:lnTo>
                        <a:pt x="23" y="15"/>
                      </a:lnTo>
                      <a:lnTo>
                        <a:pt x="23" y="12"/>
                      </a:lnTo>
                      <a:lnTo>
                        <a:pt x="23" y="10"/>
                      </a:lnTo>
                      <a:lnTo>
                        <a:pt x="21" y="10"/>
                      </a:lnTo>
                      <a:lnTo>
                        <a:pt x="21" y="10"/>
                      </a:lnTo>
                      <a:lnTo>
                        <a:pt x="18" y="7"/>
                      </a:lnTo>
                      <a:lnTo>
                        <a:pt x="18" y="7"/>
                      </a:lnTo>
                      <a:lnTo>
                        <a:pt x="18" y="5"/>
                      </a:lnTo>
                      <a:lnTo>
                        <a:pt x="18" y="5"/>
                      </a:lnTo>
                      <a:lnTo>
                        <a:pt x="16" y="3"/>
                      </a:lnTo>
                      <a:lnTo>
                        <a:pt x="16" y="3"/>
                      </a:lnTo>
                      <a:lnTo>
                        <a:pt x="16" y="3"/>
                      </a:lnTo>
                      <a:lnTo>
                        <a:pt x="14" y="0"/>
                      </a:lnTo>
                      <a:lnTo>
                        <a:pt x="14" y="0"/>
                      </a:lnTo>
                      <a:lnTo>
                        <a:pt x="14" y="3"/>
                      </a:lnTo>
                      <a:lnTo>
                        <a:pt x="11" y="5"/>
                      </a:lnTo>
                      <a:lnTo>
                        <a:pt x="11" y="7"/>
                      </a:lnTo>
                      <a:lnTo>
                        <a:pt x="9" y="7"/>
                      </a:lnTo>
                      <a:lnTo>
                        <a:pt x="9" y="7"/>
                      </a:lnTo>
                      <a:lnTo>
                        <a:pt x="9" y="7"/>
                      </a:lnTo>
                      <a:lnTo>
                        <a:pt x="7" y="7"/>
                      </a:lnTo>
                      <a:lnTo>
                        <a:pt x="4" y="7"/>
                      </a:lnTo>
                      <a:lnTo>
                        <a:pt x="4" y="5"/>
                      </a:lnTo>
                      <a:lnTo>
                        <a:pt x="4" y="5"/>
                      </a:lnTo>
                      <a:lnTo>
                        <a:pt x="2" y="5"/>
                      </a:lnTo>
                      <a:lnTo>
                        <a:pt x="0" y="5"/>
                      </a:lnTo>
                      <a:lnTo>
                        <a:pt x="0" y="5"/>
                      </a:lnTo>
                      <a:lnTo>
                        <a:pt x="2" y="7"/>
                      </a:lnTo>
                      <a:lnTo>
                        <a:pt x="2" y="10"/>
                      </a:lnTo>
                      <a:lnTo>
                        <a:pt x="2" y="12"/>
                      </a:lnTo>
                      <a:lnTo>
                        <a:pt x="4" y="26"/>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1" name="Freeform 146">
                  <a:extLst>
                    <a:ext uri="{FF2B5EF4-FFF2-40B4-BE49-F238E27FC236}">
                      <a16:creationId xmlns:a16="http://schemas.microsoft.com/office/drawing/2014/main" id="{64CD40C9-EB40-BA08-7C3F-393014AF50AB}"/>
                    </a:ext>
                  </a:extLst>
                </p:cNvPr>
                <p:cNvSpPr>
                  <a:spLocks/>
                </p:cNvSpPr>
                <p:nvPr/>
              </p:nvSpPr>
              <p:spPr bwMode="auto">
                <a:xfrm>
                  <a:off x="2789" y="2548"/>
                  <a:ext cx="218" cy="194"/>
                </a:xfrm>
                <a:custGeom>
                  <a:avLst/>
                  <a:gdLst>
                    <a:gd name="T0" fmla="*/ 7 w 218"/>
                    <a:gd name="T1" fmla="*/ 106 h 194"/>
                    <a:gd name="T2" fmla="*/ 16 w 218"/>
                    <a:gd name="T3" fmla="*/ 104 h 194"/>
                    <a:gd name="T4" fmla="*/ 24 w 218"/>
                    <a:gd name="T5" fmla="*/ 99 h 194"/>
                    <a:gd name="T6" fmla="*/ 31 w 218"/>
                    <a:gd name="T7" fmla="*/ 104 h 194"/>
                    <a:gd name="T8" fmla="*/ 42 w 218"/>
                    <a:gd name="T9" fmla="*/ 94 h 194"/>
                    <a:gd name="T10" fmla="*/ 45 w 218"/>
                    <a:gd name="T11" fmla="*/ 78 h 194"/>
                    <a:gd name="T12" fmla="*/ 57 w 218"/>
                    <a:gd name="T13" fmla="*/ 66 h 194"/>
                    <a:gd name="T14" fmla="*/ 66 w 218"/>
                    <a:gd name="T15" fmla="*/ 52 h 194"/>
                    <a:gd name="T16" fmla="*/ 69 w 218"/>
                    <a:gd name="T17" fmla="*/ 40 h 194"/>
                    <a:gd name="T18" fmla="*/ 76 w 218"/>
                    <a:gd name="T19" fmla="*/ 23 h 194"/>
                    <a:gd name="T20" fmla="*/ 76 w 218"/>
                    <a:gd name="T21" fmla="*/ 9 h 194"/>
                    <a:gd name="T22" fmla="*/ 78 w 218"/>
                    <a:gd name="T23" fmla="*/ 4 h 194"/>
                    <a:gd name="T24" fmla="*/ 85 w 218"/>
                    <a:gd name="T25" fmla="*/ 2 h 194"/>
                    <a:gd name="T26" fmla="*/ 97 w 218"/>
                    <a:gd name="T27" fmla="*/ 9 h 194"/>
                    <a:gd name="T28" fmla="*/ 109 w 218"/>
                    <a:gd name="T29" fmla="*/ 9 h 194"/>
                    <a:gd name="T30" fmla="*/ 118 w 218"/>
                    <a:gd name="T31" fmla="*/ 9 h 194"/>
                    <a:gd name="T32" fmla="*/ 125 w 218"/>
                    <a:gd name="T33" fmla="*/ 7 h 194"/>
                    <a:gd name="T34" fmla="*/ 142 w 218"/>
                    <a:gd name="T35" fmla="*/ 2 h 194"/>
                    <a:gd name="T36" fmla="*/ 149 w 218"/>
                    <a:gd name="T37" fmla="*/ 2 h 194"/>
                    <a:gd name="T38" fmla="*/ 154 w 218"/>
                    <a:gd name="T39" fmla="*/ 0 h 194"/>
                    <a:gd name="T40" fmla="*/ 163 w 218"/>
                    <a:gd name="T41" fmla="*/ 2 h 194"/>
                    <a:gd name="T42" fmla="*/ 177 w 218"/>
                    <a:gd name="T43" fmla="*/ 2 h 194"/>
                    <a:gd name="T44" fmla="*/ 184 w 218"/>
                    <a:gd name="T45" fmla="*/ 9 h 194"/>
                    <a:gd name="T46" fmla="*/ 194 w 218"/>
                    <a:gd name="T47" fmla="*/ 7 h 194"/>
                    <a:gd name="T48" fmla="*/ 201 w 218"/>
                    <a:gd name="T49" fmla="*/ 4 h 194"/>
                    <a:gd name="T50" fmla="*/ 210 w 218"/>
                    <a:gd name="T51" fmla="*/ 14 h 194"/>
                    <a:gd name="T52" fmla="*/ 215 w 218"/>
                    <a:gd name="T53" fmla="*/ 16 h 194"/>
                    <a:gd name="T54" fmla="*/ 215 w 218"/>
                    <a:gd name="T55" fmla="*/ 30 h 194"/>
                    <a:gd name="T56" fmla="*/ 206 w 218"/>
                    <a:gd name="T57" fmla="*/ 47 h 194"/>
                    <a:gd name="T58" fmla="*/ 199 w 218"/>
                    <a:gd name="T59" fmla="*/ 68 h 194"/>
                    <a:gd name="T60" fmla="*/ 194 w 218"/>
                    <a:gd name="T61" fmla="*/ 85 h 194"/>
                    <a:gd name="T62" fmla="*/ 208 w 218"/>
                    <a:gd name="T63" fmla="*/ 139 h 194"/>
                    <a:gd name="T64" fmla="*/ 189 w 218"/>
                    <a:gd name="T65" fmla="*/ 156 h 194"/>
                    <a:gd name="T66" fmla="*/ 187 w 218"/>
                    <a:gd name="T67" fmla="*/ 163 h 194"/>
                    <a:gd name="T68" fmla="*/ 184 w 218"/>
                    <a:gd name="T69" fmla="*/ 177 h 194"/>
                    <a:gd name="T70" fmla="*/ 196 w 218"/>
                    <a:gd name="T71" fmla="*/ 182 h 194"/>
                    <a:gd name="T72" fmla="*/ 199 w 218"/>
                    <a:gd name="T73" fmla="*/ 194 h 194"/>
                    <a:gd name="T74" fmla="*/ 192 w 218"/>
                    <a:gd name="T75" fmla="*/ 194 h 194"/>
                    <a:gd name="T76" fmla="*/ 175 w 218"/>
                    <a:gd name="T77" fmla="*/ 182 h 194"/>
                    <a:gd name="T78" fmla="*/ 168 w 218"/>
                    <a:gd name="T79" fmla="*/ 175 h 194"/>
                    <a:gd name="T80" fmla="*/ 161 w 218"/>
                    <a:gd name="T81" fmla="*/ 177 h 194"/>
                    <a:gd name="T82" fmla="*/ 149 w 218"/>
                    <a:gd name="T83" fmla="*/ 175 h 194"/>
                    <a:gd name="T84" fmla="*/ 144 w 218"/>
                    <a:gd name="T85" fmla="*/ 170 h 194"/>
                    <a:gd name="T86" fmla="*/ 139 w 218"/>
                    <a:gd name="T87" fmla="*/ 173 h 194"/>
                    <a:gd name="T88" fmla="*/ 135 w 218"/>
                    <a:gd name="T89" fmla="*/ 168 h 194"/>
                    <a:gd name="T90" fmla="*/ 125 w 218"/>
                    <a:gd name="T91" fmla="*/ 170 h 194"/>
                    <a:gd name="T92" fmla="*/ 116 w 218"/>
                    <a:gd name="T93" fmla="*/ 170 h 194"/>
                    <a:gd name="T94" fmla="*/ 116 w 218"/>
                    <a:gd name="T95" fmla="*/ 165 h 194"/>
                    <a:gd name="T96" fmla="*/ 113 w 218"/>
                    <a:gd name="T97" fmla="*/ 158 h 194"/>
                    <a:gd name="T98" fmla="*/ 111 w 218"/>
                    <a:gd name="T99" fmla="*/ 154 h 194"/>
                    <a:gd name="T100" fmla="*/ 109 w 218"/>
                    <a:gd name="T101" fmla="*/ 144 h 194"/>
                    <a:gd name="T102" fmla="*/ 109 w 218"/>
                    <a:gd name="T103" fmla="*/ 135 h 194"/>
                    <a:gd name="T104" fmla="*/ 97 w 218"/>
                    <a:gd name="T105" fmla="*/ 128 h 194"/>
                    <a:gd name="T106" fmla="*/ 83 w 218"/>
                    <a:gd name="T107" fmla="*/ 130 h 194"/>
                    <a:gd name="T108" fmla="*/ 71 w 218"/>
                    <a:gd name="T109" fmla="*/ 137 h 194"/>
                    <a:gd name="T110" fmla="*/ 59 w 218"/>
                    <a:gd name="T111" fmla="*/ 132 h 194"/>
                    <a:gd name="T112" fmla="*/ 54 w 218"/>
                    <a:gd name="T113" fmla="*/ 125 h 194"/>
                    <a:gd name="T114" fmla="*/ 52 w 218"/>
                    <a:gd name="T115" fmla="*/ 116 h 194"/>
                    <a:gd name="T116" fmla="*/ 26 w 218"/>
                    <a:gd name="T117" fmla="*/ 116 h 194"/>
                    <a:gd name="T118" fmla="*/ 12 w 218"/>
                    <a:gd name="T119" fmla="*/ 116 h 194"/>
                    <a:gd name="T120" fmla="*/ 7 w 218"/>
                    <a:gd name="T121" fmla="*/ 116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8" h="194">
                      <a:moveTo>
                        <a:pt x="0" y="113"/>
                      </a:moveTo>
                      <a:lnTo>
                        <a:pt x="2" y="113"/>
                      </a:lnTo>
                      <a:lnTo>
                        <a:pt x="5" y="113"/>
                      </a:lnTo>
                      <a:lnTo>
                        <a:pt x="7" y="111"/>
                      </a:lnTo>
                      <a:lnTo>
                        <a:pt x="7" y="109"/>
                      </a:lnTo>
                      <a:lnTo>
                        <a:pt x="7" y="106"/>
                      </a:lnTo>
                      <a:lnTo>
                        <a:pt x="9" y="104"/>
                      </a:lnTo>
                      <a:lnTo>
                        <a:pt x="12" y="104"/>
                      </a:lnTo>
                      <a:lnTo>
                        <a:pt x="14" y="104"/>
                      </a:lnTo>
                      <a:lnTo>
                        <a:pt x="14" y="101"/>
                      </a:lnTo>
                      <a:lnTo>
                        <a:pt x="16" y="104"/>
                      </a:lnTo>
                      <a:lnTo>
                        <a:pt x="16" y="104"/>
                      </a:lnTo>
                      <a:lnTo>
                        <a:pt x="16" y="104"/>
                      </a:lnTo>
                      <a:lnTo>
                        <a:pt x="19" y="104"/>
                      </a:lnTo>
                      <a:lnTo>
                        <a:pt x="19" y="101"/>
                      </a:lnTo>
                      <a:lnTo>
                        <a:pt x="21" y="101"/>
                      </a:lnTo>
                      <a:lnTo>
                        <a:pt x="21" y="101"/>
                      </a:lnTo>
                      <a:lnTo>
                        <a:pt x="24" y="99"/>
                      </a:lnTo>
                      <a:lnTo>
                        <a:pt x="28" y="99"/>
                      </a:lnTo>
                      <a:lnTo>
                        <a:pt x="28" y="99"/>
                      </a:lnTo>
                      <a:lnTo>
                        <a:pt x="26" y="101"/>
                      </a:lnTo>
                      <a:lnTo>
                        <a:pt x="26" y="101"/>
                      </a:lnTo>
                      <a:lnTo>
                        <a:pt x="28" y="104"/>
                      </a:lnTo>
                      <a:lnTo>
                        <a:pt x="31" y="104"/>
                      </a:lnTo>
                      <a:lnTo>
                        <a:pt x="33" y="104"/>
                      </a:lnTo>
                      <a:lnTo>
                        <a:pt x="35" y="101"/>
                      </a:lnTo>
                      <a:lnTo>
                        <a:pt x="40" y="97"/>
                      </a:lnTo>
                      <a:lnTo>
                        <a:pt x="40" y="97"/>
                      </a:lnTo>
                      <a:lnTo>
                        <a:pt x="42" y="94"/>
                      </a:lnTo>
                      <a:lnTo>
                        <a:pt x="42" y="94"/>
                      </a:lnTo>
                      <a:lnTo>
                        <a:pt x="45" y="92"/>
                      </a:lnTo>
                      <a:lnTo>
                        <a:pt x="45" y="90"/>
                      </a:lnTo>
                      <a:lnTo>
                        <a:pt x="47" y="87"/>
                      </a:lnTo>
                      <a:lnTo>
                        <a:pt x="47" y="82"/>
                      </a:lnTo>
                      <a:lnTo>
                        <a:pt x="45" y="80"/>
                      </a:lnTo>
                      <a:lnTo>
                        <a:pt x="45" y="78"/>
                      </a:lnTo>
                      <a:lnTo>
                        <a:pt x="47" y="75"/>
                      </a:lnTo>
                      <a:lnTo>
                        <a:pt x="50" y="73"/>
                      </a:lnTo>
                      <a:lnTo>
                        <a:pt x="50" y="71"/>
                      </a:lnTo>
                      <a:lnTo>
                        <a:pt x="52" y="68"/>
                      </a:lnTo>
                      <a:lnTo>
                        <a:pt x="54" y="66"/>
                      </a:lnTo>
                      <a:lnTo>
                        <a:pt x="57" y="66"/>
                      </a:lnTo>
                      <a:lnTo>
                        <a:pt x="59" y="66"/>
                      </a:lnTo>
                      <a:lnTo>
                        <a:pt x="61" y="64"/>
                      </a:lnTo>
                      <a:lnTo>
                        <a:pt x="64" y="59"/>
                      </a:lnTo>
                      <a:lnTo>
                        <a:pt x="64" y="56"/>
                      </a:lnTo>
                      <a:lnTo>
                        <a:pt x="66" y="52"/>
                      </a:lnTo>
                      <a:lnTo>
                        <a:pt x="66" y="52"/>
                      </a:lnTo>
                      <a:lnTo>
                        <a:pt x="66" y="49"/>
                      </a:lnTo>
                      <a:lnTo>
                        <a:pt x="66" y="49"/>
                      </a:lnTo>
                      <a:lnTo>
                        <a:pt x="69" y="45"/>
                      </a:lnTo>
                      <a:lnTo>
                        <a:pt x="66" y="45"/>
                      </a:lnTo>
                      <a:lnTo>
                        <a:pt x="69" y="40"/>
                      </a:lnTo>
                      <a:lnTo>
                        <a:pt x="69" y="40"/>
                      </a:lnTo>
                      <a:lnTo>
                        <a:pt x="69" y="37"/>
                      </a:lnTo>
                      <a:lnTo>
                        <a:pt x="71" y="35"/>
                      </a:lnTo>
                      <a:lnTo>
                        <a:pt x="69" y="30"/>
                      </a:lnTo>
                      <a:lnTo>
                        <a:pt x="73" y="26"/>
                      </a:lnTo>
                      <a:lnTo>
                        <a:pt x="73" y="23"/>
                      </a:lnTo>
                      <a:lnTo>
                        <a:pt x="76" y="23"/>
                      </a:lnTo>
                      <a:lnTo>
                        <a:pt x="76" y="18"/>
                      </a:lnTo>
                      <a:lnTo>
                        <a:pt x="76" y="16"/>
                      </a:lnTo>
                      <a:lnTo>
                        <a:pt x="76" y="14"/>
                      </a:lnTo>
                      <a:lnTo>
                        <a:pt x="76" y="11"/>
                      </a:lnTo>
                      <a:lnTo>
                        <a:pt x="76" y="11"/>
                      </a:lnTo>
                      <a:lnTo>
                        <a:pt x="76" y="9"/>
                      </a:lnTo>
                      <a:lnTo>
                        <a:pt x="76" y="9"/>
                      </a:lnTo>
                      <a:lnTo>
                        <a:pt x="76" y="9"/>
                      </a:lnTo>
                      <a:lnTo>
                        <a:pt x="78" y="7"/>
                      </a:lnTo>
                      <a:lnTo>
                        <a:pt x="78" y="7"/>
                      </a:lnTo>
                      <a:lnTo>
                        <a:pt x="78" y="4"/>
                      </a:lnTo>
                      <a:lnTo>
                        <a:pt x="78" y="4"/>
                      </a:lnTo>
                      <a:lnTo>
                        <a:pt x="80" y="4"/>
                      </a:lnTo>
                      <a:lnTo>
                        <a:pt x="80" y="4"/>
                      </a:lnTo>
                      <a:lnTo>
                        <a:pt x="83" y="2"/>
                      </a:lnTo>
                      <a:lnTo>
                        <a:pt x="85" y="2"/>
                      </a:lnTo>
                      <a:lnTo>
                        <a:pt x="85" y="2"/>
                      </a:lnTo>
                      <a:lnTo>
                        <a:pt x="85" y="2"/>
                      </a:lnTo>
                      <a:lnTo>
                        <a:pt x="87" y="2"/>
                      </a:lnTo>
                      <a:lnTo>
                        <a:pt x="90" y="2"/>
                      </a:lnTo>
                      <a:lnTo>
                        <a:pt x="92" y="4"/>
                      </a:lnTo>
                      <a:lnTo>
                        <a:pt x="95" y="4"/>
                      </a:lnTo>
                      <a:lnTo>
                        <a:pt x="97" y="7"/>
                      </a:lnTo>
                      <a:lnTo>
                        <a:pt x="97" y="9"/>
                      </a:lnTo>
                      <a:lnTo>
                        <a:pt x="99" y="9"/>
                      </a:lnTo>
                      <a:lnTo>
                        <a:pt x="102" y="9"/>
                      </a:lnTo>
                      <a:lnTo>
                        <a:pt x="104" y="9"/>
                      </a:lnTo>
                      <a:lnTo>
                        <a:pt x="106" y="9"/>
                      </a:lnTo>
                      <a:lnTo>
                        <a:pt x="109" y="9"/>
                      </a:lnTo>
                      <a:lnTo>
                        <a:pt x="109" y="9"/>
                      </a:lnTo>
                      <a:lnTo>
                        <a:pt x="111" y="9"/>
                      </a:lnTo>
                      <a:lnTo>
                        <a:pt x="113" y="11"/>
                      </a:lnTo>
                      <a:lnTo>
                        <a:pt x="116" y="11"/>
                      </a:lnTo>
                      <a:lnTo>
                        <a:pt x="118" y="11"/>
                      </a:lnTo>
                      <a:lnTo>
                        <a:pt x="118" y="9"/>
                      </a:lnTo>
                      <a:lnTo>
                        <a:pt x="118" y="9"/>
                      </a:lnTo>
                      <a:lnTo>
                        <a:pt x="118" y="7"/>
                      </a:lnTo>
                      <a:lnTo>
                        <a:pt x="118" y="7"/>
                      </a:lnTo>
                      <a:lnTo>
                        <a:pt x="121" y="4"/>
                      </a:lnTo>
                      <a:lnTo>
                        <a:pt x="123" y="4"/>
                      </a:lnTo>
                      <a:lnTo>
                        <a:pt x="125" y="4"/>
                      </a:lnTo>
                      <a:lnTo>
                        <a:pt x="125" y="7"/>
                      </a:lnTo>
                      <a:lnTo>
                        <a:pt x="128" y="4"/>
                      </a:lnTo>
                      <a:lnTo>
                        <a:pt x="132" y="4"/>
                      </a:lnTo>
                      <a:lnTo>
                        <a:pt x="132" y="4"/>
                      </a:lnTo>
                      <a:lnTo>
                        <a:pt x="135" y="2"/>
                      </a:lnTo>
                      <a:lnTo>
                        <a:pt x="139" y="2"/>
                      </a:lnTo>
                      <a:lnTo>
                        <a:pt x="142" y="2"/>
                      </a:lnTo>
                      <a:lnTo>
                        <a:pt x="142" y="2"/>
                      </a:lnTo>
                      <a:lnTo>
                        <a:pt x="142" y="2"/>
                      </a:lnTo>
                      <a:lnTo>
                        <a:pt x="142" y="4"/>
                      </a:lnTo>
                      <a:lnTo>
                        <a:pt x="144" y="4"/>
                      </a:lnTo>
                      <a:lnTo>
                        <a:pt x="144" y="2"/>
                      </a:lnTo>
                      <a:lnTo>
                        <a:pt x="149" y="2"/>
                      </a:lnTo>
                      <a:lnTo>
                        <a:pt x="149" y="2"/>
                      </a:lnTo>
                      <a:lnTo>
                        <a:pt x="151" y="2"/>
                      </a:lnTo>
                      <a:lnTo>
                        <a:pt x="151" y="0"/>
                      </a:lnTo>
                      <a:lnTo>
                        <a:pt x="151" y="0"/>
                      </a:lnTo>
                      <a:lnTo>
                        <a:pt x="151" y="0"/>
                      </a:lnTo>
                      <a:lnTo>
                        <a:pt x="154" y="0"/>
                      </a:lnTo>
                      <a:lnTo>
                        <a:pt x="154" y="0"/>
                      </a:lnTo>
                      <a:lnTo>
                        <a:pt x="156" y="0"/>
                      </a:lnTo>
                      <a:lnTo>
                        <a:pt x="158" y="0"/>
                      </a:lnTo>
                      <a:lnTo>
                        <a:pt x="158" y="0"/>
                      </a:lnTo>
                      <a:lnTo>
                        <a:pt x="161" y="0"/>
                      </a:lnTo>
                      <a:lnTo>
                        <a:pt x="163" y="2"/>
                      </a:lnTo>
                      <a:lnTo>
                        <a:pt x="168" y="2"/>
                      </a:lnTo>
                      <a:lnTo>
                        <a:pt x="168" y="2"/>
                      </a:lnTo>
                      <a:lnTo>
                        <a:pt x="170" y="0"/>
                      </a:lnTo>
                      <a:lnTo>
                        <a:pt x="173" y="0"/>
                      </a:lnTo>
                      <a:lnTo>
                        <a:pt x="175" y="2"/>
                      </a:lnTo>
                      <a:lnTo>
                        <a:pt x="177" y="2"/>
                      </a:lnTo>
                      <a:lnTo>
                        <a:pt x="177" y="4"/>
                      </a:lnTo>
                      <a:lnTo>
                        <a:pt x="177" y="4"/>
                      </a:lnTo>
                      <a:lnTo>
                        <a:pt x="180" y="4"/>
                      </a:lnTo>
                      <a:lnTo>
                        <a:pt x="180" y="7"/>
                      </a:lnTo>
                      <a:lnTo>
                        <a:pt x="182" y="9"/>
                      </a:lnTo>
                      <a:lnTo>
                        <a:pt x="184" y="9"/>
                      </a:lnTo>
                      <a:lnTo>
                        <a:pt x="187" y="9"/>
                      </a:lnTo>
                      <a:lnTo>
                        <a:pt x="187" y="7"/>
                      </a:lnTo>
                      <a:lnTo>
                        <a:pt x="189" y="7"/>
                      </a:lnTo>
                      <a:lnTo>
                        <a:pt x="192" y="7"/>
                      </a:lnTo>
                      <a:lnTo>
                        <a:pt x="194" y="7"/>
                      </a:lnTo>
                      <a:lnTo>
                        <a:pt x="194" y="7"/>
                      </a:lnTo>
                      <a:lnTo>
                        <a:pt x="194" y="7"/>
                      </a:lnTo>
                      <a:lnTo>
                        <a:pt x="196" y="7"/>
                      </a:lnTo>
                      <a:lnTo>
                        <a:pt x="199" y="7"/>
                      </a:lnTo>
                      <a:lnTo>
                        <a:pt x="199" y="4"/>
                      </a:lnTo>
                      <a:lnTo>
                        <a:pt x="201" y="4"/>
                      </a:lnTo>
                      <a:lnTo>
                        <a:pt x="201" y="4"/>
                      </a:lnTo>
                      <a:lnTo>
                        <a:pt x="203" y="7"/>
                      </a:lnTo>
                      <a:lnTo>
                        <a:pt x="206" y="9"/>
                      </a:lnTo>
                      <a:lnTo>
                        <a:pt x="206" y="9"/>
                      </a:lnTo>
                      <a:lnTo>
                        <a:pt x="208" y="11"/>
                      </a:lnTo>
                      <a:lnTo>
                        <a:pt x="210" y="11"/>
                      </a:lnTo>
                      <a:lnTo>
                        <a:pt x="210" y="14"/>
                      </a:lnTo>
                      <a:lnTo>
                        <a:pt x="210" y="14"/>
                      </a:lnTo>
                      <a:lnTo>
                        <a:pt x="213" y="16"/>
                      </a:lnTo>
                      <a:lnTo>
                        <a:pt x="213" y="16"/>
                      </a:lnTo>
                      <a:lnTo>
                        <a:pt x="213" y="16"/>
                      </a:lnTo>
                      <a:lnTo>
                        <a:pt x="215" y="16"/>
                      </a:lnTo>
                      <a:lnTo>
                        <a:pt x="215" y="16"/>
                      </a:lnTo>
                      <a:lnTo>
                        <a:pt x="215" y="18"/>
                      </a:lnTo>
                      <a:lnTo>
                        <a:pt x="215" y="21"/>
                      </a:lnTo>
                      <a:lnTo>
                        <a:pt x="215" y="23"/>
                      </a:lnTo>
                      <a:lnTo>
                        <a:pt x="213" y="28"/>
                      </a:lnTo>
                      <a:lnTo>
                        <a:pt x="213" y="30"/>
                      </a:lnTo>
                      <a:lnTo>
                        <a:pt x="215" y="30"/>
                      </a:lnTo>
                      <a:lnTo>
                        <a:pt x="215" y="33"/>
                      </a:lnTo>
                      <a:lnTo>
                        <a:pt x="218" y="33"/>
                      </a:lnTo>
                      <a:lnTo>
                        <a:pt x="218" y="35"/>
                      </a:lnTo>
                      <a:lnTo>
                        <a:pt x="210" y="42"/>
                      </a:lnTo>
                      <a:lnTo>
                        <a:pt x="208" y="45"/>
                      </a:lnTo>
                      <a:lnTo>
                        <a:pt x="206" y="47"/>
                      </a:lnTo>
                      <a:lnTo>
                        <a:pt x="201" y="54"/>
                      </a:lnTo>
                      <a:lnTo>
                        <a:pt x="201" y="54"/>
                      </a:lnTo>
                      <a:lnTo>
                        <a:pt x="201" y="59"/>
                      </a:lnTo>
                      <a:lnTo>
                        <a:pt x="201" y="61"/>
                      </a:lnTo>
                      <a:lnTo>
                        <a:pt x="199" y="66"/>
                      </a:lnTo>
                      <a:lnTo>
                        <a:pt x="199" y="68"/>
                      </a:lnTo>
                      <a:lnTo>
                        <a:pt x="196" y="71"/>
                      </a:lnTo>
                      <a:lnTo>
                        <a:pt x="194" y="73"/>
                      </a:lnTo>
                      <a:lnTo>
                        <a:pt x="192" y="78"/>
                      </a:lnTo>
                      <a:lnTo>
                        <a:pt x="192" y="80"/>
                      </a:lnTo>
                      <a:lnTo>
                        <a:pt x="194" y="82"/>
                      </a:lnTo>
                      <a:lnTo>
                        <a:pt x="194" y="85"/>
                      </a:lnTo>
                      <a:lnTo>
                        <a:pt x="194" y="87"/>
                      </a:lnTo>
                      <a:lnTo>
                        <a:pt x="196" y="109"/>
                      </a:lnTo>
                      <a:lnTo>
                        <a:pt x="201" y="120"/>
                      </a:lnTo>
                      <a:lnTo>
                        <a:pt x="208" y="130"/>
                      </a:lnTo>
                      <a:lnTo>
                        <a:pt x="210" y="139"/>
                      </a:lnTo>
                      <a:lnTo>
                        <a:pt x="208" y="139"/>
                      </a:lnTo>
                      <a:lnTo>
                        <a:pt x="192" y="142"/>
                      </a:lnTo>
                      <a:lnTo>
                        <a:pt x="187" y="151"/>
                      </a:lnTo>
                      <a:lnTo>
                        <a:pt x="187" y="154"/>
                      </a:lnTo>
                      <a:lnTo>
                        <a:pt x="187" y="154"/>
                      </a:lnTo>
                      <a:lnTo>
                        <a:pt x="189" y="154"/>
                      </a:lnTo>
                      <a:lnTo>
                        <a:pt x="189" y="156"/>
                      </a:lnTo>
                      <a:lnTo>
                        <a:pt x="189" y="156"/>
                      </a:lnTo>
                      <a:lnTo>
                        <a:pt x="189" y="158"/>
                      </a:lnTo>
                      <a:lnTo>
                        <a:pt x="189" y="158"/>
                      </a:lnTo>
                      <a:lnTo>
                        <a:pt x="189" y="161"/>
                      </a:lnTo>
                      <a:lnTo>
                        <a:pt x="189" y="163"/>
                      </a:lnTo>
                      <a:lnTo>
                        <a:pt x="187" y="163"/>
                      </a:lnTo>
                      <a:lnTo>
                        <a:pt x="187" y="163"/>
                      </a:lnTo>
                      <a:lnTo>
                        <a:pt x="187" y="165"/>
                      </a:lnTo>
                      <a:lnTo>
                        <a:pt x="184" y="165"/>
                      </a:lnTo>
                      <a:lnTo>
                        <a:pt x="184" y="168"/>
                      </a:lnTo>
                      <a:lnTo>
                        <a:pt x="184" y="173"/>
                      </a:lnTo>
                      <a:lnTo>
                        <a:pt x="184" y="177"/>
                      </a:lnTo>
                      <a:lnTo>
                        <a:pt x="187" y="177"/>
                      </a:lnTo>
                      <a:lnTo>
                        <a:pt x="189" y="180"/>
                      </a:lnTo>
                      <a:lnTo>
                        <a:pt x="189" y="182"/>
                      </a:lnTo>
                      <a:lnTo>
                        <a:pt x="192" y="182"/>
                      </a:lnTo>
                      <a:lnTo>
                        <a:pt x="196" y="184"/>
                      </a:lnTo>
                      <a:lnTo>
                        <a:pt x="196" y="182"/>
                      </a:lnTo>
                      <a:lnTo>
                        <a:pt x="196" y="182"/>
                      </a:lnTo>
                      <a:lnTo>
                        <a:pt x="196" y="180"/>
                      </a:lnTo>
                      <a:lnTo>
                        <a:pt x="199" y="180"/>
                      </a:lnTo>
                      <a:lnTo>
                        <a:pt x="199" y="182"/>
                      </a:lnTo>
                      <a:lnTo>
                        <a:pt x="199" y="192"/>
                      </a:lnTo>
                      <a:lnTo>
                        <a:pt x="199" y="194"/>
                      </a:lnTo>
                      <a:lnTo>
                        <a:pt x="196" y="192"/>
                      </a:lnTo>
                      <a:lnTo>
                        <a:pt x="196" y="192"/>
                      </a:lnTo>
                      <a:lnTo>
                        <a:pt x="196" y="192"/>
                      </a:lnTo>
                      <a:lnTo>
                        <a:pt x="194" y="192"/>
                      </a:lnTo>
                      <a:lnTo>
                        <a:pt x="194" y="194"/>
                      </a:lnTo>
                      <a:lnTo>
                        <a:pt x="192" y="194"/>
                      </a:lnTo>
                      <a:lnTo>
                        <a:pt x="189" y="192"/>
                      </a:lnTo>
                      <a:lnTo>
                        <a:pt x="187" y="189"/>
                      </a:lnTo>
                      <a:lnTo>
                        <a:pt x="184" y="187"/>
                      </a:lnTo>
                      <a:lnTo>
                        <a:pt x="182" y="184"/>
                      </a:lnTo>
                      <a:lnTo>
                        <a:pt x="180" y="182"/>
                      </a:lnTo>
                      <a:lnTo>
                        <a:pt x="175" y="182"/>
                      </a:lnTo>
                      <a:lnTo>
                        <a:pt x="173" y="180"/>
                      </a:lnTo>
                      <a:lnTo>
                        <a:pt x="173" y="180"/>
                      </a:lnTo>
                      <a:lnTo>
                        <a:pt x="170" y="177"/>
                      </a:lnTo>
                      <a:lnTo>
                        <a:pt x="170" y="175"/>
                      </a:lnTo>
                      <a:lnTo>
                        <a:pt x="170" y="173"/>
                      </a:lnTo>
                      <a:lnTo>
                        <a:pt x="168" y="175"/>
                      </a:lnTo>
                      <a:lnTo>
                        <a:pt x="168" y="175"/>
                      </a:lnTo>
                      <a:lnTo>
                        <a:pt x="166" y="177"/>
                      </a:lnTo>
                      <a:lnTo>
                        <a:pt x="166" y="177"/>
                      </a:lnTo>
                      <a:lnTo>
                        <a:pt x="163" y="180"/>
                      </a:lnTo>
                      <a:lnTo>
                        <a:pt x="161" y="180"/>
                      </a:lnTo>
                      <a:lnTo>
                        <a:pt x="161" y="177"/>
                      </a:lnTo>
                      <a:lnTo>
                        <a:pt x="158" y="177"/>
                      </a:lnTo>
                      <a:lnTo>
                        <a:pt x="156" y="177"/>
                      </a:lnTo>
                      <a:lnTo>
                        <a:pt x="154" y="177"/>
                      </a:lnTo>
                      <a:lnTo>
                        <a:pt x="151" y="175"/>
                      </a:lnTo>
                      <a:lnTo>
                        <a:pt x="149" y="175"/>
                      </a:lnTo>
                      <a:lnTo>
                        <a:pt x="149" y="175"/>
                      </a:lnTo>
                      <a:lnTo>
                        <a:pt x="149" y="175"/>
                      </a:lnTo>
                      <a:lnTo>
                        <a:pt x="149" y="173"/>
                      </a:lnTo>
                      <a:lnTo>
                        <a:pt x="149" y="173"/>
                      </a:lnTo>
                      <a:lnTo>
                        <a:pt x="149" y="170"/>
                      </a:lnTo>
                      <a:lnTo>
                        <a:pt x="149" y="170"/>
                      </a:lnTo>
                      <a:lnTo>
                        <a:pt x="144" y="170"/>
                      </a:lnTo>
                      <a:lnTo>
                        <a:pt x="144" y="170"/>
                      </a:lnTo>
                      <a:lnTo>
                        <a:pt x="142" y="170"/>
                      </a:lnTo>
                      <a:lnTo>
                        <a:pt x="142" y="173"/>
                      </a:lnTo>
                      <a:lnTo>
                        <a:pt x="139" y="173"/>
                      </a:lnTo>
                      <a:lnTo>
                        <a:pt x="139" y="173"/>
                      </a:lnTo>
                      <a:lnTo>
                        <a:pt x="139" y="173"/>
                      </a:lnTo>
                      <a:lnTo>
                        <a:pt x="139" y="170"/>
                      </a:lnTo>
                      <a:lnTo>
                        <a:pt x="137" y="170"/>
                      </a:lnTo>
                      <a:lnTo>
                        <a:pt x="137" y="168"/>
                      </a:lnTo>
                      <a:lnTo>
                        <a:pt x="135" y="168"/>
                      </a:lnTo>
                      <a:lnTo>
                        <a:pt x="135" y="168"/>
                      </a:lnTo>
                      <a:lnTo>
                        <a:pt x="135" y="168"/>
                      </a:lnTo>
                      <a:lnTo>
                        <a:pt x="132" y="168"/>
                      </a:lnTo>
                      <a:lnTo>
                        <a:pt x="130" y="168"/>
                      </a:lnTo>
                      <a:lnTo>
                        <a:pt x="128" y="170"/>
                      </a:lnTo>
                      <a:lnTo>
                        <a:pt x="128" y="170"/>
                      </a:lnTo>
                      <a:lnTo>
                        <a:pt x="125" y="170"/>
                      </a:lnTo>
                      <a:lnTo>
                        <a:pt x="125" y="170"/>
                      </a:lnTo>
                      <a:lnTo>
                        <a:pt x="123" y="170"/>
                      </a:lnTo>
                      <a:lnTo>
                        <a:pt x="121" y="170"/>
                      </a:lnTo>
                      <a:lnTo>
                        <a:pt x="118" y="168"/>
                      </a:lnTo>
                      <a:lnTo>
                        <a:pt x="118" y="168"/>
                      </a:lnTo>
                      <a:lnTo>
                        <a:pt x="118" y="170"/>
                      </a:lnTo>
                      <a:lnTo>
                        <a:pt x="116" y="170"/>
                      </a:lnTo>
                      <a:lnTo>
                        <a:pt x="116" y="170"/>
                      </a:lnTo>
                      <a:lnTo>
                        <a:pt x="113" y="170"/>
                      </a:lnTo>
                      <a:lnTo>
                        <a:pt x="113" y="170"/>
                      </a:lnTo>
                      <a:lnTo>
                        <a:pt x="113" y="168"/>
                      </a:lnTo>
                      <a:lnTo>
                        <a:pt x="116" y="168"/>
                      </a:lnTo>
                      <a:lnTo>
                        <a:pt x="116" y="165"/>
                      </a:lnTo>
                      <a:lnTo>
                        <a:pt x="116" y="165"/>
                      </a:lnTo>
                      <a:lnTo>
                        <a:pt x="113" y="163"/>
                      </a:lnTo>
                      <a:lnTo>
                        <a:pt x="113" y="161"/>
                      </a:lnTo>
                      <a:lnTo>
                        <a:pt x="113" y="161"/>
                      </a:lnTo>
                      <a:lnTo>
                        <a:pt x="113" y="161"/>
                      </a:lnTo>
                      <a:lnTo>
                        <a:pt x="113" y="158"/>
                      </a:lnTo>
                      <a:lnTo>
                        <a:pt x="113" y="158"/>
                      </a:lnTo>
                      <a:lnTo>
                        <a:pt x="113" y="156"/>
                      </a:lnTo>
                      <a:lnTo>
                        <a:pt x="113" y="156"/>
                      </a:lnTo>
                      <a:lnTo>
                        <a:pt x="111" y="156"/>
                      </a:lnTo>
                      <a:lnTo>
                        <a:pt x="111" y="154"/>
                      </a:lnTo>
                      <a:lnTo>
                        <a:pt x="111" y="154"/>
                      </a:lnTo>
                      <a:lnTo>
                        <a:pt x="111" y="151"/>
                      </a:lnTo>
                      <a:lnTo>
                        <a:pt x="109" y="151"/>
                      </a:lnTo>
                      <a:lnTo>
                        <a:pt x="109" y="149"/>
                      </a:lnTo>
                      <a:lnTo>
                        <a:pt x="109" y="149"/>
                      </a:lnTo>
                      <a:lnTo>
                        <a:pt x="109" y="146"/>
                      </a:lnTo>
                      <a:lnTo>
                        <a:pt x="109" y="144"/>
                      </a:lnTo>
                      <a:lnTo>
                        <a:pt x="109" y="142"/>
                      </a:lnTo>
                      <a:lnTo>
                        <a:pt x="109" y="142"/>
                      </a:lnTo>
                      <a:lnTo>
                        <a:pt x="109" y="139"/>
                      </a:lnTo>
                      <a:lnTo>
                        <a:pt x="109" y="139"/>
                      </a:lnTo>
                      <a:lnTo>
                        <a:pt x="109" y="137"/>
                      </a:lnTo>
                      <a:lnTo>
                        <a:pt x="109" y="135"/>
                      </a:lnTo>
                      <a:lnTo>
                        <a:pt x="111" y="135"/>
                      </a:lnTo>
                      <a:lnTo>
                        <a:pt x="111" y="132"/>
                      </a:lnTo>
                      <a:lnTo>
                        <a:pt x="111" y="130"/>
                      </a:lnTo>
                      <a:lnTo>
                        <a:pt x="111" y="130"/>
                      </a:lnTo>
                      <a:lnTo>
                        <a:pt x="97" y="130"/>
                      </a:lnTo>
                      <a:lnTo>
                        <a:pt x="97" y="128"/>
                      </a:lnTo>
                      <a:lnTo>
                        <a:pt x="97" y="128"/>
                      </a:lnTo>
                      <a:lnTo>
                        <a:pt x="97" y="125"/>
                      </a:lnTo>
                      <a:lnTo>
                        <a:pt x="95" y="125"/>
                      </a:lnTo>
                      <a:lnTo>
                        <a:pt x="95" y="125"/>
                      </a:lnTo>
                      <a:lnTo>
                        <a:pt x="83" y="128"/>
                      </a:lnTo>
                      <a:lnTo>
                        <a:pt x="83" y="130"/>
                      </a:lnTo>
                      <a:lnTo>
                        <a:pt x="83" y="130"/>
                      </a:lnTo>
                      <a:lnTo>
                        <a:pt x="80" y="132"/>
                      </a:lnTo>
                      <a:lnTo>
                        <a:pt x="80" y="132"/>
                      </a:lnTo>
                      <a:lnTo>
                        <a:pt x="80" y="137"/>
                      </a:lnTo>
                      <a:lnTo>
                        <a:pt x="73" y="137"/>
                      </a:lnTo>
                      <a:lnTo>
                        <a:pt x="71" y="137"/>
                      </a:lnTo>
                      <a:lnTo>
                        <a:pt x="66" y="137"/>
                      </a:lnTo>
                      <a:lnTo>
                        <a:pt x="66" y="137"/>
                      </a:lnTo>
                      <a:lnTo>
                        <a:pt x="64" y="137"/>
                      </a:lnTo>
                      <a:lnTo>
                        <a:pt x="61" y="137"/>
                      </a:lnTo>
                      <a:lnTo>
                        <a:pt x="59" y="137"/>
                      </a:lnTo>
                      <a:lnTo>
                        <a:pt x="59" y="132"/>
                      </a:lnTo>
                      <a:lnTo>
                        <a:pt x="57" y="132"/>
                      </a:lnTo>
                      <a:lnTo>
                        <a:pt x="57" y="130"/>
                      </a:lnTo>
                      <a:lnTo>
                        <a:pt x="54" y="130"/>
                      </a:lnTo>
                      <a:lnTo>
                        <a:pt x="54" y="128"/>
                      </a:lnTo>
                      <a:lnTo>
                        <a:pt x="54" y="128"/>
                      </a:lnTo>
                      <a:lnTo>
                        <a:pt x="54" y="125"/>
                      </a:lnTo>
                      <a:lnTo>
                        <a:pt x="52" y="123"/>
                      </a:lnTo>
                      <a:lnTo>
                        <a:pt x="52" y="120"/>
                      </a:lnTo>
                      <a:lnTo>
                        <a:pt x="54" y="120"/>
                      </a:lnTo>
                      <a:lnTo>
                        <a:pt x="54" y="118"/>
                      </a:lnTo>
                      <a:lnTo>
                        <a:pt x="52" y="118"/>
                      </a:lnTo>
                      <a:lnTo>
                        <a:pt x="52" y="116"/>
                      </a:lnTo>
                      <a:lnTo>
                        <a:pt x="52" y="116"/>
                      </a:lnTo>
                      <a:lnTo>
                        <a:pt x="52" y="116"/>
                      </a:lnTo>
                      <a:lnTo>
                        <a:pt x="40" y="116"/>
                      </a:lnTo>
                      <a:lnTo>
                        <a:pt x="33" y="116"/>
                      </a:lnTo>
                      <a:lnTo>
                        <a:pt x="28" y="116"/>
                      </a:lnTo>
                      <a:lnTo>
                        <a:pt x="26" y="116"/>
                      </a:lnTo>
                      <a:lnTo>
                        <a:pt x="24" y="116"/>
                      </a:lnTo>
                      <a:lnTo>
                        <a:pt x="21" y="116"/>
                      </a:lnTo>
                      <a:lnTo>
                        <a:pt x="16" y="116"/>
                      </a:lnTo>
                      <a:lnTo>
                        <a:pt x="14" y="116"/>
                      </a:lnTo>
                      <a:lnTo>
                        <a:pt x="14" y="116"/>
                      </a:lnTo>
                      <a:lnTo>
                        <a:pt x="12" y="116"/>
                      </a:lnTo>
                      <a:lnTo>
                        <a:pt x="9" y="116"/>
                      </a:lnTo>
                      <a:lnTo>
                        <a:pt x="7" y="116"/>
                      </a:lnTo>
                      <a:lnTo>
                        <a:pt x="7" y="116"/>
                      </a:lnTo>
                      <a:lnTo>
                        <a:pt x="7" y="116"/>
                      </a:lnTo>
                      <a:lnTo>
                        <a:pt x="7" y="116"/>
                      </a:lnTo>
                      <a:lnTo>
                        <a:pt x="7" y="116"/>
                      </a:lnTo>
                      <a:lnTo>
                        <a:pt x="5" y="116"/>
                      </a:lnTo>
                      <a:lnTo>
                        <a:pt x="5" y="116"/>
                      </a:lnTo>
                      <a:lnTo>
                        <a:pt x="5" y="116"/>
                      </a:lnTo>
                      <a:lnTo>
                        <a:pt x="2" y="116"/>
                      </a:lnTo>
                      <a:lnTo>
                        <a:pt x="0" y="113"/>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2" name="Freeform 147">
                  <a:extLst>
                    <a:ext uri="{FF2B5EF4-FFF2-40B4-BE49-F238E27FC236}">
                      <a16:creationId xmlns:a16="http://schemas.microsoft.com/office/drawing/2014/main" id="{DC74B2CD-5F5D-27B4-032C-1EB30D02C64C}"/>
                    </a:ext>
                  </a:extLst>
                </p:cNvPr>
                <p:cNvSpPr>
                  <a:spLocks/>
                </p:cNvSpPr>
                <p:nvPr/>
              </p:nvSpPr>
              <p:spPr bwMode="auto">
                <a:xfrm>
                  <a:off x="3023" y="2699"/>
                  <a:ext cx="36" cy="83"/>
                </a:xfrm>
                <a:custGeom>
                  <a:avLst/>
                  <a:gdLst>
                    <a:gd name="T0" fmla="*/ 2 w 36"/>
                    <a:gd name="T1" fmla="*/ 0 h 83"/>
                    <a:gd name="T2" fmla="*/ 5 w 36"/>
                    <a:gd name="T3" fmla="*/ 0 h 83"/>
                    <a:gd name="T4" fmla="*/ 7 w 36"/>
                    <a:gd name="T5" fmla="*/ 3 h 83"/>
                    <a:gd name="T6" fmla="*/ 10 w 36"/>
                    <a:gd name="T7" fmla="*/ 0 h 83"/>
                    <a:gd name="T8" fmla="*/ 10 w 36"/>
                    <a:gd name="T9" fmla="*/ 3 h 83"/>
                    <a:gd name="T10" fmla="*/ 12 w 36"/>
                    <a:gd name="T11" fmla="*/ 3 h 83"/>
                    <a:gd name="T12" fmla="*/ 17 w 36"/>
                    <a:gd name="T13" fmla="*/ 7 h 83"/>
                    <a:gd name="T14" fmla="*/ 17 w 36"/>
                    <a:gd name="T15" fmla="*/ 29 h 83"/>
                    <a:gd name="T16" fmla="*/ 19 w 36"/>
                    <a:gd name="T17" fmla="*/ 41 h 83"/>
                    <a:gd name="T18" fmla="*/ 24 w 36"/>
                    <a:gd name="T19" fmla="*/ 43 h 83"/>
                    <a:gd name="T20" fmla="*/ 26 w 36"/>
                    <a:gd name="T21" fmla="*/ 45 h 83"/>
                    <a:gd name="T22" fmla="*/ 31 w 36"/>
                    <a:gd name="T23" fmla="*/ 50 h 83"/>
                    <a:gd name="T24" fmla="*/ 33 w 36"/>
                    <a:gd name="T25" fmla="*/ 55 h 83"/>
                    <a:gd name="T26" fmla="*/ 36 w 36"/>
                    <a:gd name="T27" fmla="*/ 59 h 83"/>
                    <a:gd name="T28" fmla="*/ 33 w 36"/>
                    <a:gd name="T29" fmla="*/ 59 h 83"/>
                    <a:gd name="T30" fmla="*/ 31 w 36"/>
                    <a:gd name="T31" fmla="*/ 62 h 83"/>
                    <a:gd name="T32" fmla="*/ 31 w 36"/>
                    <a:gd name="T33" fmla="*/ 62 h 83"/>
                    <a:gd name="T34" fmla="*/ 33 w 36"/>
                    <a:gd name="T35" fmla="*/ 67 h 83"/>
                    <a:gd name="T36" fmla="*/ 31 w 36"/>
                    <a:gd name="T37" fmla="*/ 71 h 83"/>
                    <a:gd name="T38" fmla="*/ 26 w 36"/>
                    <a:gd name="T39" fmla="*/ 74 h 83"/>
                    <a:gd name="T40" fmla="*/ 26 w 36"/>
                    <a:gd name="T41" fmla="*/ 78 h 83"/>
                    <a:gd name="T42" fmla="*/ 26 w 36"/>
                    <a:gd name="T43" fmla="*/ 81 h 83"/>
                    <a:gd name="T44" fmla="*/ 24 w 36"/>
                    <a:gd name="T45" fmla="*/ 81 h 83"/>
                    <a:gd name="T46" fmla="*/ 24 w 36"/>
                    <a:gd name="T47" fmla="*/ 78 h 83"/>
                    <a:gd name="T48" fmla="*/ 19 w 36"/>
                    <a:gd name="T49" fmla="*/ 76 h 83"/>
                    <a:gd name="T50" fmla="*/ 17 w 36"/>
                    <a:gd name="T51" fmla="*/ 71 h 83"/>
                    <a:gd name="T52" fmla="*/ 14 w 36"/>
                    <a:gd name="T53" fmla="*/ 69 h 83"/>
                    <a:gd name="T54" fmla="*/ 17 w 36"/>
                    <a:gd name="T55" fmla="*/ 64 h 83"/>
                    <a:gd name="T56" fmla="*/ 19 w 36"/>
                    <a:gd name="T57" fmla="*/ 59 h 83"/>
                    <a:gd name="T58" fmla="*/ 19 w 36"/>
                    <a:gd name="T59" fmla="*/ 55 h 83"/>
                    <a:gd name="T60" fmla="*/ 14 w 36"/>
                    <a:gd name="T61" fmla="*/ 52 h 83"/>
                    <a:gd name="T62" fmla="*/ 12 w 36"/>
                    <a:gd name="T63" fmla="*/ 55 h 83"/>
                    <a:gd name="T64" fmla="*/ 10 w 36"/>
                    <a:gd name="T65" fmla="*/ 55 h 83"/>
                    <a:gd name="T66" fmla="*/ 7 w 36"/>
                    <a:gd name="T67" fmla="*/ 52 h 83"/>
                    <a:gd name="T68" fmla="*/ 7 w 36"/>
                    <a:gd name="T69" fmla="*/ 50 h 83"/>
                    <a:gd name="T70" fmla="*/ 2 w 36"/>
                    <a:gd name="T71" fmla="*/ 50 h 83"/>
                    <a:gd name="T72" fmla="*/ 0 w 36"/>
                    <a:gd name="T73" fmla="*/ 45 h 83"/>
                    <a:gd name="T74" fmla="*/ 0 w 36"/>
                    <a:gd name="T75" fmla="*/ 43 h 83"/>
                    <a:gd name="T76" fmla="*/ 2 w 36"/>
                    <a:gd name="T77" fmla="*/ 41 h 83"/>
                    <a:gd name="T78" fmla="*/ 2 w 36"/>
                    <a:gd name="T79" fmla="*/ 38 h 83"/>
                    <a:gd name="T80" fmla="*/ 2 w 36"/>
                    <a:gd name="T81" fmla="*/ 36 h 83"/>
                    <a:gd name="T82" fmla="*/ 5 w 36"/>
                    <a:gd name="T83" fmla="*/ 33 h 83"/>
                    <a:gd name="T84" fmla="*/ 7 w 36"/>
                    <a:gd name="T85" fmla="*/ 33 h 83"/>
                    <a:gd name="T86" fmla="*/ 7 w 36"/>
                    <a:gd name="T87" fmla="*/ 31 h 83"/>
                    <a:gd name="T88" fmla="*/ 7 w 36"/>
                    <a:gd name="T89" fmla="*/ 29 h 83"/>
                    <a:gd name="T90" fmla="*/ 7 w 36"/>
                    <a:gd name="T91" fmla="*/ 29 h 83"/>
                    <a:gd name="T92" fmla="*/ 7 w 36"/>
                    <a:gd name="T93" fmla="*/ 26 h 83"/>
                    <a:gd name="T94" fmla="*/ 7 w 36"/>
                    <a:gd name="T95" fmla="*/ 22 h 83"/>
                    <a:gd name="T96" fmla="*/ 5 w 36"/>
                    <a:gd name="T97" fmla="*/ 19 h 83"/>
                    <a:gd name="T98" fmla="*/ 10 w 36"/>
                    <a:gd name="T99" fmla="*/ 14 h 83"/>
                    <a:gd name="T100" fmla="*/ 10 w 36"/>
                    <a:gd name="T101" fmla="*/ 14 h 83"/>
                    <a:gd name="T102" fmla="*/ 10 w 36"/>
                    <a:gd name="T103" fmla="*/ 10 h 83"/>
                    <a:gd name="T104" fmla="*/ 7 w 36"/>
                    <a:gd name="T105" fmla="*/ 7 h 83"/>
                    <a:gd name="T106" fmla="*/ 7 w 36"/>
                    <a:gd name="T107" fmla="*/ 5 h 83"/>
                    <a:gd name="T108" fmla="*/ 5 w 36"/>
                    <a:gd name="T109" fmla="*/ 3 h 83"/>
                    <a:gd name="T110" fmla="*/ 2 w 36"/>
                    <a:gd name="T111"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6" h="83">
                      <a:moveTo>
                        <a:pt x="2" y="0"/>
                      </a:moveTo>
                      <a:lnTo>
                        <a:pt x="2" y="0"/>
                      </a:lnTo>
                      <a:lnTo>
                        <a:pt x="5" y="0"/>
                      </a:lnTo>
                      <a:lnTo>
                        <a:pt x="5" y="0"/>
                      </a:lnTo>
                      <a:lnTo>
                        <a:pt x="7" y="0"/>
                      </a:lnTo>
                      <a:lnTo>
                        <a:pt x="7" y="3"/>
                      </a:lnTo>
                      <a:lnTo>
                        <a:pt x="7" y="0"/>
                      </a:lnTo>
                      <a:lnTo>
                        <a:pt x="10" y="0"/>
                      </a:lnTo>
                      <a:lnTo>
                        <a:pt x="10" y="3"/>
                      </a:lnTo>
                      <a:lnTo>
                        <a:pt x="10" y="3"/>
                      </a:lnTo>
                      <a:lnTo>
                        <a:pt x="12" y="3"/>
                      </a:lnTo>
                      <a:lnTo>
                        <a:pt x="12" y="3"/>
                      </a:lnTo>
                      <a:lnTo>
                        <a:pt x="14" y="5"/>
                      </a:lnTo>
                      <a:lnTo>
                        <a:pt x="17" y="7"/>
                      </a:lnTo>
                      <a:lnTo>
                        <a:pt x="19" y="12"/>
                      </a:lnTo>
                      <a:lnTo>
                        <a:pt x="17" y="29"/>
                      </a:lnTo>
                      <a:lnTo>
                        <a:pt x="17" y="31"/>
                      </a:lnTo>
                      <a:lnTo>
                        <a:pt x="19" y="41"/>
                      </a:lnTo>
                      <a:lnTo>
                        <a:pt x="24" y="43"/>
                      </a:lnTo>
                      <a:lnTo>
                        <a:pt x="24" y="43"/>
                      </a:lnTo>
                      <a:lnTo>
                        <a:pt x="26" y="45"/>
                      </a:lnTo>
                      <a:lnTo>
                        <a:pt x="26" y="45"/>
                      </a:lnTo>
                      <a:lnTo>
                        <a:pt x="31" y="48"/>
                      </a:lnTo>
                      <a:lnTo>
                        <a:pt x="31" y="50"/>
                      </a:lnTo>
                      <a:lnTo>
                        <a:pt x="33" y="52"/>
                      </a:lnTo>
                      <a:lnTo>
                        <a:pt x="33" y="55"/>
                      </a:lnTo>
                      <a:lnTo>
                        <a:pt x="36" y="57"/>
                      </a:lnTo>
                      <a:lnTo>
                        <a:pt x="36" y="59"/>
                      </a:lnTo>
                      <a:lnTo>
                        <a:pt x="33" y="59"/>
                      </a:lnTo>
                      <a:lnTo>
                        <a:pt x="33" y="59"/>
                      </a:lnTo>
                      <a:lnTo>
                        <a:pt x="31" y="59"/>
                      </a:lnTo>
                      <a:lnTo>
                        <a:pt x="31" y="62"/>
                      </a:lnTo>
                      <a:lnTo>
                        <a:pt x="33" y="62"/>
                      </a:lnTo>
                      <a:lnTo>
                        <a:pt x="31" y="62"/>
                      </a:lnTo>
                      <a:lnTo>
                        <a:pt x="33" y="64"/>
                      </a:lnTo>
                      <a:lnTo>
                        <a:pt x="33" y="67"/>
                      </a:lnTo>
                      <a:lnTo>
                        <a:pt x="33" y="69"/>
                      </a:lnTo>
                      <a:lnTo>
                        <a:pt x="31" y="71"/>
                      </a:lnTo>
                      <a:lnTo>
                        <a:pt x="29" y="71"/>
                      </a:lnTo>
                      <a:lnTo>
                        <a:pt x="26" y="74"/>
                      </a:lnTo>
                      <a:lnTo>
                        <a:pt x="26" y="76"/>
                      </a:lnTo>
                      <a:lnTo>
                        <a:pt x="26" y="78"/>
                      </a:lnTo>
                      <a:lnTo>
                        <a:pt x="26" y="81"/>
                      </a:lnTo>
                      <a:lnTo>
                        <a:pt x="26" y="81"/>
                      </a:lnTo>
                      <a:lnTo>
                        <a:pt x="24" y="83"/>
                      </a:lnTo>
                      <a:lnTo>
                        <a:pt x="24" y="81"/>
                      </a:lnTo>
                      <a:lnTo>
                        <a:pt x="24" y="78"/>
                      </a:lnTo>
                      <a:lnTo>
                        <a:pt x="24" y="78"/>
                      </a:lnTo>
                      <a:lnTo>
                        <a:pt x="21" y="76"/>
                      </a:lnTo>
                      <a:lnTo>
                        <a:pt x="19" y="76"/>
                      </a:lnTo>
                      <a:lnTo>
                        <a:pt x="19" y="74"/>
                      </a:lnTo>
                      <a:lnTo>
                        <a:pt x="17" y="71"/>
                      </a:lnTo>
                      <a:lnTo>
                        <a:pt x="17" y="71"/>
                      </a:lnTo>
                      <a:lnTo>
                        <a:pt x="14" y="69"/>
                      </a:lnTo>
                      <a:lnTo>
                        <a:pt x="14" y="67"/>
                      </a:lnTo>
                      <a:lnTo>
                        <a:pt x="17" y="64"/>
                      </a:lnTo>
                      <a:lnTo>
                        <a:pt x="17" y="62"/>
                      </a:lnTo>
                      <a:lnTo>
                        <a:pt x="19" y="59"/>
                      </a:lnTo>
                      <a:lnTo>
                        <a:pt x="19" y="57"/>
                      </a:lnTo>
                      <a:lnTo>
                        <a:pt x="19" y="55"/>
                      </a:lnTo>
                      <a:lnTo>
                        <a:pt x="19" y="52"/>
                      </a:lnTo>
                      <a:lnTo>
                        <a:pt x="14" y="52"/>
                      </a:lnTo>
                      <a:lnTo>
                        <a:pt x="12" y="52"/>
                      </a:lnTo>
                      <a:lnTo>
                        <a:pt x="12" y="55"/>
                      </a:lnTo>
                      <a:lnTo>
                        <a:pt x="10" y="55"/>
                      </a:lnTo>
                      <a:lnTo>
                        <a:pt x="10" y="55"/>
                      </a:lnTo>
                      <a:lnTo>
                        <a:pt x="7" y="52"/>
                      </a:lnTo>
                      <a:lnTo>
                        <a:pt x="7" y="52"/>
                      </a:lnTo>
                      <a:lnTo>
                        <a:pt x="7" y="50"/>
                      </a:lnTo>
                      <a:lnTo>
                        <a:pt x="7" y="50"/>
                      </a:lnTo>
                      <a:lnTo>
                        <a:pt x="5" y="48"/>
                      </a:lnTo>
                      <a:lnTo>
                        <a:pt x="2" y="50"/>
                      </a:lnTo>
                      <a:lnTo>
                        <a:pt x="2" y="48"/>
                      </a:lnTo>
                      <a:lnTo>
                        <a:pt x="0" y="45"/>
                      </a:lnTo>
                      <a:lnTo>
                        <a:pt x="0" y="45"/>
                      </a:lnTo>
                      <a:lnTo>
                        <a:pt x="0" y="43"/>
                      </a:lnTo>
                      <a:lnTo>
                        <a:pt x="0" y="43"/>
                      </a:lnTo>
                      <a:lnTo>
                        <a:pt x="2" y="41"/>
                      </a:lnTo>
                      <a:lnTo>
                        <a:pt x="2" y="41"/>
                      </a:lnTo>
                      <a:lnTo>
                        <a:pt x="2" y="38"/>
                      </a:lnTo>
                      <a:lnTo>
                        <a:pt x="2" y="38"/>
                      </a:lnTo>
                      <a:lnTo>
                        <a:pt x="2" y="36"/>
                      </a:lnTo>
                      <a:lnTo>
                        <a:pt x="2" y="36"/>
                      </a:lnTo>
                      <a:lnTo>
                        <a:pt x="5" y="33"/>
                      </a:lnTo>
                      <a:lnTo>
                        <a:pt x="7" y="33"/>
                      </a:lnTo>
                      <a:lnTo>
                        <a:pt x="7" y="33"/>
                      </a:lnTo>
                      <a:lnTo>
                        <a:pt x="7" y="31"/>
                      </a:lnTo>
                      <a:lnTo>
                        <a:pt x="7" y="31"/>
                      </a:lnTo>
                      <a:lnTo>
                        <a:pt x="7" y="31"/>
                      </a:lnTo>
                      <a:lnTo>
                        <a:pt x="7" y="29"/>
                      </a:lnTo>
                      <a:lnTo>
                        <a:pt x="7" y="29"/>
                      </a:lnTo>
                      <a:lnTo>
                        <a:pt x="7" y="29"/>
                      </a:lnTo>
                      <a:lnTo>
                        <a:pt x="7" y="26"/>
                      </a:lnTo>
                      <a:lnTo>
                        <a:pt x="7" y="26"/>
                      </a:lnTo>
                      <a:lnTo>
                        <a:pt x="7" y="24"/>
                      </a:lnTo>
                      <a:lnTo>
                        <a:pt x="7" y="22"/>
                      </a:lnTo>
                      <a:lnTo>
                        <a:pt x="7" y="22"/>
                      </a:lnTo>
                      <a:lnTo>
                        <a:pt x="5" y="19"/>
                      </a:lnTo>
                      <a:lnTo>
                        <a:pt x="7" y="17"/>
                      </a:lnTo>
                      <a:lnTo>
                        <a:pt x="10" y="14"/>
                      </a:lnTo>
                      <a:lnTo>
                        <a:pt x="10" y="14"/>
                      </a:lnTo>
                      <a:lnTo>
                        <a:pt x="10" y="14"/>
                      </a:lnTo>
                      <a:lnTo>
                        <a:pt x="10" y="12"/>
                      </a:lnTo>
                      <a:lnTo>
                        <a:pt x="10" y="10"/>
                      </a:lnTo>
                      <a:lnTo>
                        <a:pt x="7" y="10"/>
                      </a:lnTo>
                      <a:lnTo>
                        <a:pt x="7" y="7"/>
                      </a:lnTo>
                      <a:lnTo>
                        <a:pt x="7" y="5"/>
                      </a:lnTo>
                      <a:lnTo>
                        <a:pt x="7" y="5"/>
                      </a:lnTo>
                      <a:lnTo>
                        <a:pt x="7" y="5"/>
                      </a:lnTo>
                      <a:lnTo>
                        <a:pt x="5" y="3"/>
                      </a:lnTo>
                      <a:lnTo>
                        <a:pt x="5" y="3"/>
                      </a:lnTo>
                      <a:lnTo>
                        <a:pt x="2" y="0"/>
                      </a:lnTo>
                      <a:lnTo>
                        <a:pt x="2" y="0"/>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3" name="Freeform 148">
                  <a:extLst>
                    <a:ext uri="{FF2B5EF4-FFF2-40B4-BE49-F238E27FC236}">
                      <a16:creationId xmlns:a16="http://schemas.microsoft.com/office/drawing/2014/main" id="{879DAE62-2B43-184D-7355-E7F5BC293F0C}"/>
                    </a:ext>
                  </a:extLst>
                </p:cNvPr>
                <p:cNvSpPr>
                  <a:spLocks/>
                </p:cNvSpPr>
                <p:nvPr/>
              </p:nvSpPr>
              <p:spPr bwMode="auto">
                <a:xfrm>
                  <a:off x="2898" y="2687"/>
                  <a:ext cx="135" cy="102"/>
                </a:xfrm>
                <a:custGeom>
                  <a:avLst/>
                  <a:gdLst>
                    <a:gd name="T0" fmla="*/ 28 w 135"/>
                    <a:gd name="T1" fmla="*/ 31 h 102"/>
                    <a:gd name="T2" fmla="*/ 30 w 135"/>
                    <a:gd name="T3" fmla="*/ 34 h 102"/>
                    <a:gd name="T4" fmla="*/ 35 w 135"/>
                    <a:gd name="T5" fmla="*/ 31 h 102"/>
                    <a:gd name="T6" fmla="*/ 40 w 135"/>
                    <a:gd name="T7" fmla="*/ 34 h 102"/>
                    <a:gd name="T8" fmla="*/ 42 w 135"/>
                    <a:gd name="T9" fmla="*/ 36 h 102"/>
                    <a:gd name="T10" fmla="*/ 52 w 135"/>
                    <a:gd name="T11" fmla="*/ 38 h 102"/>
                    <a:gd name="T12" fmla="*/ 57 w 135"/>
                    <a:gd name="T13" fmla="*/ 38 h 102"/>
                    <a:gd name="T14" fmla="*/ 61 w 135"/>
                    <a:gd name="T15" fmla="*/ 36 h 102"/>
                    <a:gd name="T16" fmla="*/ 66 w 135"/>
                    <a:gd name="T17" fmla="*/ 43 h 102"/>
                    <a:gd name="T18" fmla="*/ 78 w 135"/>
                    <a:gd name="T19" fmla="*/ 50 h 102"/>
                    <a:gd name="T20" fmla="*/ 85 w 135"/>
                    <a:gd name="T21" fmla="*/ 53 h 102"/>
                    <a:gd name="T22" fmla="*/ 90 w 135"/>
                    <a:gd name="T23" fmla="*/ 55 h 102"/>
                    <a:gd name="T24" fmla="*/ 87 w 135"/>
                    <a:gd name="T25" fmla="*/ 41 h 102"/>
                    <a:gd name="T26" fmla="*/ 83 w 135"/>
                    <a:gd name="T27" fmla="*/ 43 h 102"/>
                    <a:gd name="T28" fmla="*/ 75 w 135"/>
                    <a:gd name="T29" fmla="*/ 38 h 102"/>
                    <a:gd name="T30" fmla="*/ 78 w 135"/>
                    <a:gd name="T31" fmla="*/ 26 h 102"/>
                    <a:gd name="T32" fmla="*/ 80 w 135"/>
                    <a:gd name="T33" fmla="*/ 22 h 102"/>
                    <a:gd name="T34" fmla="*/ 80 w 135"/>
                    <a:gd name="T35" fmla="*/ 17 h 102"/>
                    <a:gd name="T36" fmla="*/ 78 w 135"/>
                    <a:gd name="T37" fmla="*/ 12 h 102"/>
                    <a:gd name="T38" fmla="*/ 106 w 135"/>
                    <a:gd name="T39" fmla="*/ 3 h 102"/>
                    <a:gd name="T40" fmla="*/ 111 w 135"/>
                    <a:gd name="T41" fmla="*/ 5 h 102"/>
                    <a:gd name="T42" fmla="*/ 123 w 135"/>
                    <a:gd name="T43" fmla="*/ 7 h 102"/>
                    <a:gd name="T44" fmla="*/ 127 w 135"/>
                    <a:gd name="T45" fmla="*/ 12 h 102"/>
                    <a:gd name="T46" fmla="*/ 130 w 135"/>
                    <a:gd name="T47" fmla="*/ 15 h 102"/>
                    <a:gd name="T48" fmla="*/ 132 w 135"/>
                    <a:gd name="T49" fmla="*/ 19 h 102"/>
                    <a:gd name="T50" fmla="*/ 135 w 135"/>
                    <a:gd name="T51" fmla="*/ 26 h 102"/>
                    <a:gd name="T52" fmla="*/ 130 w 135"/>
                    <a:gd name="T53" fmla="*/ 31 h 102"/>
                    <a:gd name="T54" fmla="*/ 132 w 135"/>
                    <a:gd name="T55" fmla="*/ 38 h 102"/>
                    <a:gd name="T56" fmla="*/ 132 w 135"/>
                    <a:gd name="T57" fmla="*/ 41 h 102"/>
                    <a:gd name="T58" fmla="*/ 132 w 135"/>
                    <a:gd name="T59" fmla="*/ 45 h 102"/>
                    <a:gd name="T60" fmla="*/ 127 w 135"/>
                    <a:gd name="T61" fmla="*/ 48 h 102"/>
                    <a:gd name="T62" fmla="*/ 127 w 135"/>
                    <a:gd name="T63" fmla="*/ 53 h 102"/>
                    <a:gd name="T64" fmla="*/ 125 w 135"/>
                    <a:gd name="T65" fmla="*/ 57 h 102"/>
                    <a:gd name="T66" fmla="*/ 123 w 135"/>
                    <a:gd name="T67" fmla="*/ 62 h 102"/>
                    <a:gd name="T68" fmla="*/ 101 w 135"/>
                    <a:gd name="T69" fmla="*/ 69 h 102"/>
                    <a:gd name="T70" fmla="*/ 97 w 135"/>
                    <a:gd name="T71" fmla="*/ 76 h 102"/>
                    <a:gd name="T72" fmla="*/ 92 w 135"/>
                    <a:gd name="T73" fmla="*/ 76 h 102"/>
                    <a:gd name="T74" fmla="*/ 85 w 135"/>
                    <a:gd name="T75" fmla="*/ 79 h 102"/>
                    <a:gd name="T76" fmla="*/ 78 w 135"/>
                    <a:gd name="T77" fmla="*/ 83 h 102"/>
                    <a:gd name="T78" fmla="*/ 78 w 135"/>
                    <a:gd name="T79" fmla="*/ 86 h 102"/>
                    <a:gd name="T80" fmla="*/ 59 w 135"/>
                    <a:gd name="T81" fmla="*/ 102 h 102"/>
                    <a:gd name="T82" fmla="*/ 52 w 135"/>
                    <a:gd name="T83" fmla="*/ 100 h 102"/>
                    <a:gd name="T84" fmla="*/ 47 w 135"/>
                    <a:gd name="T85" fmla="*/ 100 h 102"/>
                    <a:gd name="T86" fmla="*/ 40 w 135"/>
                    <a:gd name="T87" fmla="*/ 100 h 102"/>
                    <a:gd name="T88" fmla="*/ 35 w 135"/>
                    <a:gd name="T89" fmla="*/ 98 h 102"/>
                    <a:gd name="T90" fmla="*/ 30 w 135"/>
                    <a:gd name="T91" fmla="*/ 98 h 102"/>
                    <a:gd name="T92" fmla="*/ 16 w 135"/>
                    <a:gd name="T93" fmla="*/ 100 h 102"/>
                    <a:gd name="T94" fmla="*/ 12 w 135"/>
                    <a:gd name="T95" fmla="*/ 95 h 102"/>
                    <a:gd name="T96" fmla="*/ 4 w 135"/>
                    <a:gd name="T97" fmla="*/ 88 h 102"/>
                    <a:gd name="T98" fmla="*/ 0 w 135"/>
                    <a:gd name="T99" fmla="*/ 83 h 102"/>
                    <a:gd name="T100" fmla="*/ 26 w 135"/>
                    <a:gd name="T101" fmla="*/ 45 h 102"/>
                    <a:gd name="T102" fmla="*/ 26 w 135"/>
                    <a:gd name="T103" fmla="*/ 38 h 102"/>
                    <a:gd name="T104" fmla="*/ 26 w 135"/>
                    <a:gd name="T105" fmla="*/ 29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5" h="102">
                      <a:moveTo>
                        <a:pt x="26" y="29"/>
                      </a:moveTo>
                      <a:lnTo>
                        <a:pt x="26" y="29"/>
                      </a:lnTo>
                      <a:lnTo>
                        <a:pt x="28" y="29"/>
                      </a:lnTo>
                      <a:lnTo>
                        <a:pt x="28" y="31"/>
                      </a:lnTo>
                      <a:lnTo>
                        <a:pt x="30" y="31"/>
                      </a:lnTo>
                      <a:lnTo>
                        <a:pt x="30" y="34"/>
                      </a:lnTo>
                      <a:lnTo>
                        <a:pt x="30" y="34"/>
                      </a:lnTo>
                      <a:lnTo>
                        <a:pt x="30" y="34"/>
                      </a:lnTo>
                      <a:lnTo>
                        <a:pt x="33" y="34"/>
                      </a:lnTo>
                      <a:lnTo>
                        <a:pt x="33" y="31"/>
                      </a:lnTo>
                      <a:lnTo>
                        <a:pt x="35" y="31"/>
                      </a:lnTo>
                      <a:lnTo>
                        <a:pt x="35" y="31"/>
                      </a:lnTo>
                      <a:lnTo>
                        <a:pt x="40" y="31"/>
                      </a:lnTo>
                      <a:lnTo>
                        <a:pt x="40" y="31"/>
                      </a:lnTo>
                      <a:lnTo>
                        <a:pt x="40" y="34"/>
                      </a:lnTo>
                      <a:lnTo>
                        <a:pt x="40" y="34"/>
                      </a:lnTo>
                      <a:lnTo>
                        <a:pt x="40" y="36"/>
                      </a:lnTo>
                      <a:lnTo>
                        <a:pt x="40" y="36"/>
                      </a:lnTo>
                      <a:lnTo>
                        <a:pt x="40" y="36"/>
                      </a:lnTo>
                      <a:lnTo>
                        <a:pt x="42" y="36"/>
                      </a:lnTo>
                      <a:lnTo>
                        <a:pt x="45" y="38"/>
                      </a:lnTo>
                      <a:lnTo>
                        <a:pt x="47" y="38"/>
                      </a:lnTo>
                      <a:lnTo>
                        <a:pt x="49" y="38"/>
                      </a:lnTo>
                      <a:lnTo>
                        <a:pt x="52" y="38"/>
                      </a:lnTo>
                      <a:lnTo>
                        <a:pt x="52" y="41"/>
                      </a:lnTo>
                      <a:lnTo>
                        <a:pt x="54" y="41"/>
                      </a:lnTo>
                      <a:lnTo>
                        <a:pt x="57" y="38"/>
                      </a:lnTo>
                      <a:lnTo>
                        <a:pt x="57" y="38"/>
                      </a:lnTo>
                      <a:lnTo>
                        <a:pt x="59" y="36"/>
                      </a:lnTo>
                      <a:lnTo>
                        <a:pt x="59" y="36"/>
                      </a:lnTo>
                      <a:lnTo>
                        <a:pt x="61" y="34"/>
                      </a:lnTo>
                      <a:lnTo>
                        <a:pt x="61" y="36"/>
                      </a:lnTo>
                      <a:lnTo>
                        <a:pt x="61" y="38"/>
                      </a:lnTo>
                      <a:lnTo>
                        <a:pt x="64" y="41"/>
                      </a:lnTo>
                      <a:lnTo>
                        <a:pt x="64" y="41"/>
                      </a:lnTo>
                      <a:lnTo>
                        <a:pt x="66" y="43"/>
                      </a:lnTo>
                      <a:lnTo>
                        <a:pt x="71" y="43"/>
                      </a:lnTo>
                      <a:lnTo>
                        <a:pt x="73" y="45"/>
                      </a:lnTo>
                      <a:lnTo>
                        <a:pt x="75" y="48"/>
                      </a:lnTo>
                      <a:lnTo>
                        <a:pt x="78" y="50"/>
                      </a:lnTo>
                      <a:lnTo>
                        <a:pt x="80" y="53"/>
                      </a:lnTo>
                      <a:lnTo>
                        <a:pt x="83" y="55"/>
                      </a:lnTo>
                      <a:lnTo>
                        <a:pt x="85" y="55"/>
                      </a:lnTo>
                      <a:lnTo>
                        <a:pt x="85" y="53"/>
                      </a:lnTo>
                      <a:lnTo>
                        <a:pt x="87" y="53"/>
                      </a:lnTo>
                      <a:lnTo>
                        <a:pt x="87" y="53"/>
                      </a:lnTo>
                      <a:lnTo>
                        <a:pt x="87" y="53"/>
                      </a:lnTo>
                      <a:lnTo>
                        <a:pt x="90" y="55"/>
                      </a:lnTo>
                      <a:lnTo>
                        <a:pt x="90" y="53"/>
                      </a:lnTo>
                      <a:lnTo>
                        <a:pt x="90" y="43"/>
                      </a:lnTo>
                      <a:lnTo>
                        <a:pt x="90" y="41"/>
                      </a:lnTo>
                      <a:lnTo>
                        <a:pt x="87" y="41"/>
                      </a:lnTo>
                      <a:lnTo>
                        <a:pt x="87" y="43"/>
                      </a:lnTo>
                      <a:lnTo>
                        <a:pt x="87" y="43"/>
                      </a:lnTo>
                      <a:lnTo>
                        <a:pt x="87" y="45"/>
                      </a:lnTo>
                      <a:lnTo>
                        <a:pt x="83" y="43"/>
                      </a:lnTo>
                      <a:lnTo>
                        <a:pt x="80" y="43"/>
                      </a:lnTo>
                      <a:lnTo>
                        <a:pt x="80" y="41"/>
                      </a:lnTo>
                      <a:lnTo>
                        <a:pt x="78" y="38"/>
                      </a:lnTo>
                      <a:lnTo>
                        <a:pt x="75" y="38"/>
                      </a:lnTo>
                      <a:lnTo>
                        <a:pt x="75" y="34"/>
                      </a:lnTo>
                      <a:lnTo>
                        <a:pt x="75" y="29"/>
                      </a:lnTo>
                      <a:lnTo>
                        <a:pt x="75" y="26"/>
                      </a:lnTo>
                      <a:lnTo>
                        <a:pt x="78" y="26"/>
                      </a:lnTo>
                      <a:lnTo>
                        <a:pt x="78" y="24"/>
                      </a:lnTo>
                      <a:lnTo>
                        <a:pt x="78" y="24"/>
                      </a:lnTo>
                      <a:lnTo>
                        <a:pt x="80" y="24"/>
                      </a:lnTo>
                      <a:lnTo>
                        <a:pt x="80" y="22"/>
                      </a:lnTo>
                      <a:lnTo>
                        <a:pt x="80" y="19"/>
                      </a:lnTo>
                      <a:lnTo>
                        <a:pt x="80" y="19"/>
                      </a:lnTo>
                      <a:lnTo>
                        <a:pt x="80" y="17"/>
                      </a:lnTo>
                      <a:lnTo>
                        <a:pt x="80" y="17"/>
                      </a:lnTo>
                      <a:lnTo>
                        <a:pt x="80" y="15"/>
                      </a:lnTo>
                      <a:lnTo>
                        <a:pt x="78" y="15"/>
                      </a:lnTo>
                      <a:lnTo>
                        <a:pt x="78" y="15"/>
                      </a:lnTo>
                      <a:lnTo>
                        <a:pt x="78" y="12"/>
                      </a:lnTo>
                      <a:lnTo>
                        <a:pt x="83" y="3"/>
                      </a:lnTo>
                      <a:lnTo>
                        <a:pt x="99" y="0"/>
                      </a:lnTo>
                      <a:lnTo>
                        <a:pt x="106" y="3"/>
                      </a:lnTo>
                      <a:lnTo>
                        <a:pt x="106" y="3"/>
                      </a:lnTo>
                      <a:lnTo>
                        <a:pt x="109" y="3"/>
                      </a:lnTo>
                      <a:lnTo>
                        <a:pt x="111" y="3"/>
                      </a:lnTo>
                      <a:lnTo>
                        <a:pt x="111" y="3"/>
                      </a:lnTo>
                      <a:lnTo>
                        <a:pt x="111" y="5"/>
                      </a:lnTo>
                      <a:lnTo>
                        <a:pt x="113" y="5"/>
                      </a:lnTo>
                      <a:lnTo>
                        <a:pt x="116" y="5"/>
                      </a:lnTo>
                      <a:lnTo>
                        <a:pt x="120" y="7"/>
                      </a:lnTo>
                      <a:lnTo>
                        <a:pt x="123" y="7"/>
                      </a:lnTo>
                      <a:lnTo>
                        <a:pt x="123" y="7"/>
                      </a:lnTo>
                      <a:lnTo>
                        <a:pt x="125" y="7"/>
                      </a:lnTo>
                      <a:lnTo>
                        <a:pt x="125" y="10"/>
                      </a:lnTo>
                      <a:lnTo>
                        <a:pt x="127" y="12"/>
                      </a:lnTo>
                      <a:lnTo>
                        <a:pt x="127" y="12"/>
                      </a:lnTo>
                      <a:lnTo>
                        <a:pt x="127" y="12"/>
                      </a:lnTo>
                      <a:lnTo>
                        <a:pt x="130" y="15"/>
                      </a:lnTo>
                      <a:lnTo>
                        <a:pt x="130" y="15"/>
                      </a:lnTo>
                      <a:lnTo>
                        <a:pt x="132" y="17"/>
                      </a:lnTo>
                      <a:lnTo>
                        <a:pt x="132" y="17"/>
                      </a:lnTo>
                      <a:lnTo>
                        <a:pt x="132" y="17"/>
                      </a:lnTo>
                      <a:lnTo>
                        <a:pt x="132" y="19"/>
                      </a:lnTo>
                      <a:lnTo>
                        <a:pt x="132" y="22"/>
                      </a:lnTo>
                      <a:lnTo>
                        <a:pt x="135" y="22"/>
                      </a:lnTo>
                      <a:lnTo>
                        <a:pt x="135" y="24"/>
                      </a:lnTo>
                      <a:lnTo>
                        <a:pt x="135" y="26"/>
                      </a:lnTo>
                      <a:lnTo>
                        <a:pt x="135" y="26"/>
                      </a:lnTo>
                      <a:lnTo>
                        <a:pt x="135" y="26"/>
                      </a:lnTo>
                      <a:lnTo>
                        <a:pt x="132" y="29"/>
                      </a:lnTo>
                      <a:lnTo>
                        <a:pt x="130" y="31"/>
                      </a:lnTo>
                      <a:lnTo>
                        <a:pt x="132" y="34"/>
                      </a:lnTo>
                      <a:lnTo>
                        <a:pt x="132" y="34"/>
                      </a:lnTo>
                      <a:lnTo>
                        <a:pt x="132" y="36"/>
                      </a:lnTo>
                      <a:lnTo>
                        <a:pt x="132" y="38"/>
                      </a:lnTo>
                      <a:lnTo>
                        <a:pt x="132" y="38"/>
                      </a:lnTo>
                      <a:lnTo>
                        <a:pt x="132" y="41"/>
                      </a:lnTo>
                      <a:lnTo>
                        <a:pt x="132" y="41"/>
                      </a:lnTo>
                      <a:lnTo>
                        <a:pt x="132" y="41"/>
                      </a:lnTo>
                      <a:lnTo>
                        <a:pt x="132" y="43"/>
                      </a:lnTo>
                      <a:lnTo>
                        <a:pt x="132" y="43"/>
                      </a:lnTo>
                      <a:lnTo>
                        <a:pt x="132" y="43"/>
                      </a:lnTo>
                      <a:lnTo>
                        <a:pt x="132" y="45"/>
                      </a:lnTo>
                      <a:lnTo>
                        <a:pt x="132" y="45"/>
                      </a:lnTo>
                      <a:lnTo>
                        <a:pt x="130" y="45"/>
                      </a:lnTo>
                      <a:lnTo>
                        <a:pt x="127" y="48"/>
                      </a:lnTo>
                      <a:lnTo>
                        <a:pt x="127" y="48"/>
                      </a:lnTo>
                      <a:lnTo>
                        <a:pt x="127" y="50"/>
                      </a:lnTo>
                      <a:lnTo>
                        <a:pt x="127" y="50"/>
                      </a:lnTo>
                      <a:lnTo>
                        <a:pt x="127" y="53"/>
                      </a:lnTo>
                      <a:lnTo>
                        <a:pt x="127" y="53"/>
                      </a:lnTo>
                      <a:lnTo>
                        <a:pt x="125" y="55"/>
                      </a:lnTo>
                      <a:lnTo>
                        <a:pt x="125" y="55"/>
                      </a:lnTo>
                      <a:lnTo>
                        <a:pt x="125" y="57"/>
                      </a:lnTo>
                      <a:lnTo>
                        <a:pt x="125" y="57"/>
                      </a:lnTo>
                      <a:lnTo>
                        <a:pt x="127" y="60"/>
                      </a:lnTo>
                      <a:lnTo>
                        <a:pt x="127" y="62"/>
                      </a:lnTo>
                      <a:lnTo>
                        <a:pt x="127" y="62"/>
                      </a:lnTo>
                      <a:lnTo>
                        <a:pt x="123" y="62"/>
                      </a:lnTo>
                      <a:lnTo>
                        <a:pt x="118" y="64"/>
                      </a:lnTo>
                      <a:lnTo>
                        <a:pt x="116" y="64"/>
                      </a:lnTo>
                      <a:lnTo>
                        <a:pt x="104" y="69"/>
                      </a:lnTo>
                      <a:lnTo>
                        <a:pt x="101" y="69"/>
                      </a:lnTo>
                      <a:lnTo>
                        <a:pt x="97" y="71"/>
                      </a:lnTo>
                      <a:lnTo>
                        <a:pt x="97" y="74"/>
                      </a:lnTo>
                      <a:lnTo>
                        <a:pt x="97" y="76"/>
                      </a:lnTo>
                      <a:lnTo>
                        <a:pt x="97" y="76"/>
                      </a:lnTo>
                      <a:lnTo>
                        <a:pt x="97" y="76"/>
                      </a:lnTo>
                      <a:lnTo>
                        <a:pt x="94" y="79"/>
                      </a:lnTo>
                      <a:lnTo>
                        <a:pt x="92" y="76"/>
                      </a:lnTo>
                      <a:lnTo>
                        <a:pt x="92" y="76"/>
                      </a:lnTo>
                      <a:lnTo>
                        <a:pt x="92" y="76"/>
                      </a:lnTo>
                      <a:lnTo>
                        <a:pt x="87" y="76"/>
                      </a:lnTo>
                      <a:lnTo>
                        <a:pt x="85" y="79"/>
                      </a:lnTo>
                      <a:lnTo>
                        <a:pt x="85" y="79"/>
                      </a:lnTo>
                      <a:lnTo>
                        <a:pt x="83" y="79"/>
                      </a:lnTo>
                      <a:lnTo>
                        <a:pt x="80" y="81"/>
                      </a:lnTo>
                      <a:lnTo>
                        <a:pt x="78" y="81"/>
                      </a:lnTo>
                      <a:lnTo>
                        <a:pt x="78" y="83"/>
                      </a:lnTo>
                      <a:lnTo>
                        <a:pt x="78" y="83"/>
                      </a:lnTo>
                      <a:lnTo>
                        <a:pt x="78" y="86"/>
                      </a:lnTo>
                      <a:lnTo>
                        <a:pt x="78" y="86"/>
                      </a:lnTo>
                      <a:lnTo>
                        <a:pt x="78" y="86"/>
                      </a:lnTo>
                      <a:lnTo>
                        <a:pt x="73" y="88"/>
                      </a:lnTo>
                      <a:lnTo>
                        <a:pt x="66" y="90"/>
                      </a:lnTo>
                      <a:lnTo>
                        <a:pt x="61" y="98"/>
                      </a:lnTo>
                      <a:lnTo>
                        <a:pt x="59" y="102"/>
                      </a:lnTo>
                      <a:lnTo>
                        <a:pt x="54" y="102"/>
                      </a:lnTo>
                      <a:lnTo>
                        <a:pt x="54" y="102"/>
                      </a:lnTo>
                      <a:lnTo>
                        <a:pt x="52" y="100"/>
                      </a:lnTo>
                      <a:lnTo>
                        <a:pt x="52" y="100"/>
                      </a:lnTo>
                      <a:lnTo>
                        <a:pt x="49" y="100"/>
                      </a:lnTo>
                      <a:lnTo>
                        <a:pt x="49" y="100"/>
                      </a:lnTo>
                      <a:lnTo>
                        <a:pt x="49" y="100"/>
                      </a:lnTo>
                      <a:lnTo>
                        <a:pt x="47" y="100"/>
                      </a:lnTo>
                      <a:lnTo>
                        <a:pt x="45" y="102"/>
                      </a:lnTo>
                      <a:lnTo>
                        <a:pt x="42" y="102"/>
                      </a:lnTo>
                      <a:lnTo>
                        <a:pt x="42" y="100"/>
                      </a:lnTo>
                      <a:lnTo>
                        <a:pt x="40" y="100"/>
                      </a:lnTo>
                      <a:lnTo>
                        <a:pt x="38" y="100"/>
                      </a:lnTo>
                      <a:lnTo>
                        <a:pt x="35" y="100"/>
                      </a:lnTo>
                      <a:lnTo>
                        <a:pt x="35" y="98"/>
                      </a:lnTo>
                      <a:lnTo>
                        <a:pt x="35" y="98"/>
                      </a:lnTo>
                      <a:lnTo>
                        <a:pt x="33" y="98"/>
                      </a:lnTo>
                      <a:lnTo>
                        <a:pt x="33" y="98"/>
                      </a:lnTo>
                      <a:lnTo>
                        <a:pt x="30" y="98"/>
                      </a:lnTo>
                      <a:lnTo>
                        <a:pt x="30" y="98"/>
                      </a:lnTo>
                      <a:lnTo>
                        <a:pt x="30" y="95"/>
                      </a:lnTo>
                      <a:lnTo>
                        <a:pt x="28" y="98"/>
                      </a:lnTo>
                      <a:lnTo>
                        <a:pt x="26" y="98"/>
                      </a:lnTo>
                      <a:lnTo>
                        <a:pt x="16" y="100"/>
                      </a:lnTo>
                      <a:lnTo>
                        <a:pt x="16" y="98"/>
                      </a:lnTo>
                      <a:lnTo>
                        <a:pt x="14" y="98"/>
                      </a:lnTo>
                      <a:lnTo>
                        <a:pt x="12" y="95"/>
                      </a:lnTo>
                      <a:lnTo>
                        <a:pt x="12" y="95"/>
                      </a:lnTo>
                      <a:lnTo>
                        <a:pt x="9" y="93"/>
                      </a:lnTo>
                      <a:lnTo>
                        <a:pt x="9" y="93"/>
                      </a:lnTo>
                      <a:lnTo>
                        <a:pt x="7" y="90"/>
                      </a:lnTo>
                      <a:lnTo>
                        <a:pt x="4" y="88"/>
                      </a:lnTo>
                      <a:lnTo>
                        <a:pt x="4" y="88"/>
                      </a:lnTo>
                      <a:lnTo>
                        <a:pt x="2" y="88"/>
                      </a:lnTo>
                      <a:lnTo>
                        <a:pt x="0" y="86"/>
                      </a:lnTo>
                      <a:lnTo>
                        <a:pt x="0" y="83"/>
                      </a:lnTo>
                      <a:lnTo>
                        <a:pt x="2" y="50"/>
                      </a:lnTo>
                      <a:lnTo>
                        <a:pt x="26" y="50"/>
                      </a:lnTo>
                      <a:lnTo>
                        <a:pt x="26" y="48"/>
                      </a:lnTo>
                      <a:lnTo>
                        <a:pt x="26" y="45"/>
                      </a:lnTo>
                      <a:lnTo>
                        <a:pt x="26" y="45"/>
                      </a:lnTo>
                      <a:lnTo>
                        <a:pt x="26" y="43"/>
                      </a:lnTo>
                      <a:lnTo>
                        <a:pt x="26" y="41"/>
                      </a:lnTo>
                      <a:lnTo>
                        <a:pt x="26" y="38"/>
                      </a:lnTo>
                      <a:lnTo>
                        <a:pt x="26" y="36"/>
                      </a:lnTo>
                      <a:lnTo>
                        <a:pt x="23" y="31"/>
                      </a:lnTo>
                      <a:lnTo>
                        <a:pt x="26" y="31"/>
                      </a:lnTo>
                      <a:lnTo>
                        <a:pt x="26" y="29"/>
                      </a:lnTo>
                      <a:lnTo>
                        <a:pt x="26" y="29"/>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4" name="Freeform 149">
                  <a:extLst>
                    <a:ext uri="{FF2B5EF4-FFF2-40B4-BE49-F238E27FC236}">
                      <a16:creationId xmlns:a16="http://schemas.microsoft.com/office/drawing/2014/main" id="{18FE1C02-C104-180B-E962-C020E32F2D7B}"/>
                    </a:ext>
                  </a:extLst>
                </p:cNvPr>
                <p:cNvSpPr>
                  <a:spLocks/>
                </p:cNvSpPr>
                <p:nvPr/>
              </p:nvSpPr>
              <p:spPr bwMode="auto">
                <a:xfrm>
                  <a:off x="2782" y="2664"/>
                  <a:ext cx="142" cy="125"/>
                </a:xfrm>
                <a:custGeom>
                  <a:avLst/>
                  <a:gdLst>
                    <a:gd name="T0" fmla="*/ 128 w 142"/>
                    <a:gd name="T1" fmla="*/ 118 h 125"/>
                    <a:gd name="T2" fmla="*/ 123 w 142"/>
                    <a:gd name="T3" fmla="*/ 113 h 125"/>
                    <a:gd name="T4" fmla="*/ 116 w 142"/>
                    <a:gd name="T5" fmla="*/ 109 h 125"/>
                    <a:gd name="T6" fmla="*/ 142 w 142"/>
                    <a:gd name="T7" fmla="*/ 71 h 125"/>
                    <a:gd name="T8" fmla="*/ 142 w 142"/>
                    <a:gd name="T9" fmla="*/ 64 h 125"/>
                    <a:gd name="T10" fmla="*/ 142 w 142"/>
                    <a:gd name="T11" fmla="*/ 54 h 125"/>
                    <a:gd name="T12" fmla="*/ 137 w 142"/>
                    <a:gd name="T13" fmla="*/ 52 h 125"/>
                    <a:gd name="T14" fmla="*/ 132 w 142"/>
                    <a:gd name="T15" fmla="*/ 54 h 125"/>
                    <a:gd name="T16" fmla="*/ 125 w 142"/>
                    <a:gd name="T17" fmla="*/ 52 h 125"/>
                    <a:gd name="T18" fmla="*/ 120 w 142"/>
                    <a:gd name="T19" fmla="*/ 54 h 125"/>
                    <a:gd name="T20" fmla="*/ 123 w 142"/>
                    <a:gd name="T21" fmla="*/ 49 h 125"/>
                    <a:gd name="T22" fmla="*/ 120 w 142"/>
                    <a:gd name="T23" fmla="*/ 45 h 125"/>
                    <a:gd name="T24" fmla="*/ 120 w 142"/>
                    <a:gd name="T25" fmla="*/ 40 h 125"/>
                    <a:gd name="T26" fmla="*/ 118 w 142"/>
                    <a:gd name="T27" fmla="*/ 38 h 125"/>
                    <a:gd name="T28" fmla="*/ 116 w 142"/>
                    <a:gd name="T29" fmla="*/ 33 h 125"/>
                    <a:gd name="T30" fmla="*/ 116 w 142"/>
                    <a:gd name="T31" fmla="*/ 26 h 125"/>
                    <a:gd name="T32" fmla="*/ 116 w 142"/>
                    <a:gd name="T33" fmla="*/ 19 h 125"/>
                    <a:gd name="T34" fmla="*/ 118 w 142"/>
                    <a:gd name="T35" fmla="*/ 14 h 125"/>
                    <a:gd name="T36" fmla="*/ 104 w 142"/>
                    <a:gd name="T37" fmla="*/ 9 h 125"/>
                    <a:gd name="T38" fmla="*/ 90 w 142"/>
                    <a:gd name="T39" fmla="*/ 14 h 125"/>
                    <a:gd name="T40" fmla="*/ 87 w 142"/>
                    <a:gd name="T41" fmla="*/ 21 h 125"/>
                    <a:gd name="T42" fmla="*/ 73 w 142"/>
                    <a:gd name="T43" fmla="*/ 21 h 125"/>
                    <a:gd name="T44" fmla="*/ 66 w 142"/>
                    <a:gd name="T45" fmla="*/ 16 h 125"/>
                    <a:gd name="T46" fmla="*/ 61 w 142"/>
                    <a:gd name="T47" fmla="*/ 12 h 125"/>
                    <a:gd name="T48" fmla="*/ 59 w 142"/>
                    <a:gd name="T49" fmla="*/ 4 h 125"/>
                    <a:gd name="T50" fmla="*/ 59 w 142"/>
                    <a:gd name="T51" fmla="*/ 0 h 125"/>
                    <a:gd name="T52" fmla="*/ 40 w 142"/>
                    <a:gd name="T53" fmla="*/ 0 h 125"/>
                    <a:gd name="T54" fmla="*/ 28 w 142"/>
                    <a:gd name="T55" fmla="*/ 0 h 125"/>
                    <a:gd name="T56" fmla="*/ 19 w 142"/>
                    <a:gd name="T57" fmla="*/ 0 h 125"/>
                    <a:gd name="T58" fmla="*/ 14 w 142"/>
                    <a:gd name="T59" fmla="*/ 0 h 125"/>
                    <a:gd name="T60" fmla="*/ 9 w 142"/>
                    <a:gd name="T61" fmla="*/ 2 h 125"/>
                    <a:gd name="T62" fmla="*/ 16 w 142"/>
                    <a:gd name="T63" fmla="*/ 19 h 125"/>
                    <a:gd name="T64" fmla="*/ 19 w 142"/>
                    <a:gd name="T65" fmla="*/ 33 h 125"/>
                    <a:gd name="T66" fmla="*/ 23 w 142"/>
                    <a:gd name="T67" fmla="*/ 47 h 125"/>
                    <a:gd name="T68" fmla="*/ 21 w 142"/>
                    <a:gd name="T69" fmla="*/ 68 h 125"/>
                    <a:gd name="T70" fmla="*/ 9 w 142"/>
                    <a:gd name="T71" fmla="*/ 78 h 125"/>
                    <a:gd name="T72" fmla="*/ 5 w 142"/>
                    <a:gd name="T73" fmla="*/ 94 h 125"/>
                    <a:gd name="T74" fmla="*/ 0 w 142"/>
                    <a:gd name="T75" fmla="*/ 109 h 125"/>
                    <a:gd name="T76" fmla="*/ 0 w 142"/>
                    <a:gd name="T77" fmla="*/ 118 h 125"/>
                    <a:gd name="T78" fmla="*/ 5 w 142"/>
                    <a:gd name="T79" fmla="*/ 118 h 125"/>
                    <a:gd name="T80" fmla="*/ 9 w 142"/>
                    <a:gd name="T81" fmla="*/ 118 h 125"/>
                    <a:gd name="T82" fmla="*/ 16 w 142"/>
                    <a:gd name="T83" fmla="*/ 113 h 125"/>
                    <a:gd name="T84" fmla="*/ 21 w 142"/>
                    <a:gd name="T85" fmla="*/ 113 h 125"/>
                    <a:gd name="T86" fmla="*/ 21 w 142"/>
                    <a:gd name="T87" fmla="*/ 116 h 125"/>
                    <a:gd name="T88" fmla="*/ 31 w 142"/>
                    <a:gd name="T89" fmla="*/ 118 h 125"/>
                    <a:gd name="T90" fmla="*/ 76 w 142"/>
                    <a:gd name="T91" fmla="*/ 118 h 125"/>
                    <a:gd name="T92" fmla="*/ 80 w 142"/>
                    <a:gd name="T93" fmla="*/ 123 h 125"/>
                    <a:gd name="T94" fmla="*/ 85 w 142"/>
                    <a:gd name="T95" fmla="*/ 123 h 125"/>
                    <a:gd name="T96" fmla="*/ 94 w 142"/>
                    <a:gd name="T97" fmla="*/ 123 h 125"/>
                    <a:gd name="T98" fmla="*/ 97 w 142"/>
                    <a:gd name="T99" fmla="*/ 123 h 125"/>
                    <a:gd name="T100" fmla="*/ 106 w 142"/>
                    <a:gd name="T101" fmla="*/ 125 h 125"/>
                    <a:gd name="T102" fmla="*/ 109 w 142"/>
                    <a:gd name="T103" fmla="*/ 125 h 125"/>
                    <a:gd name="T104" fmla="*/ 111 w 142"/>
                    <a:gd name="T105" fmla="*/ 125 h 125"/>
                    <a:gd name="T106" fmla="*/ 132 w 142"/>
                    <a:gd name="T107" fmla="*/ 123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2" h="125">
                      <a:moveTo>
                        <a:pt x="132" y="123"/>
                      </a:moveTo>
                      <a:lnTo>
                        <a:pt x="132" y="121"/>
                      </a:lnTo>
                      <a:lnTo>
                        <a:pt x="130" y="121"/>
                      </a:lnTo>
                      <a:lnTo>
                        <a:pt x="128" y="118"/>
                      </a:lnTo>
                      <a:lnTo>
                        <a:pt x="128" y="118"/>
                      </a:lnTo>
                      <a:lnTo>
                        <a:pt x="125" y="116"/>
                      </a:lnTo>
                      <a:lnTo>
                        <a:pt x="125" y="116"/>
                      </a:lnTo>
                      <a:lnTo>
                        <a:pt x="123" y="113"/>
                      </a:lnTo>
                      <a:lnTo>
                        <a:pt x="120" y="111"/>
                      </a:lnTo>
                      <a:lnTo>
                        <a:pt x="120" y="111"/>
                      </a:lnTo>
                      <a:lnTo>
                        <a:pt x="118" y="111"/>
                      </a:lnTo>
                      <a:lnTo>
                        <a:pt x="116" y="109"/>
                      </a:lnTo>
                      <a:lnTo>
                        <a:pt x="116" y="106"/>
                      </a:lnTo>
                      <a:lnTo>
                        <a:pt x="118" y="73"/>
                      </a:lnTo>
                      <a:lnTo>
                        <a:pt x="142" y="73"/>
                      </a:lnTo>
                      <a:lnTo>
                        <a:pt x="142" y="71"/>
                      </a:lnTo>
                      <a:lnTo>
                        <a:pt x="142" y="68"/>
                      </a:lnTo>
                      <a:lnTo>
                        <a:pt x="142" y="68"/>
                      </a:lnTo>
                      <a:lnTo>
                        <a:pt x="142" y="66"/>
                      </a:lnTo>
                      <a:lnTo>
                        <a:pt x="142" y="64"/>
                      </a:lnTo>
                      <a:lnTo>
                        <a:pt x="142" y="61"/>
                      </a:lnTo>
                      <a:lnTo>
                        <a:pt x="142" y="59"/>
                      </a:lnTo>
                      <a:lnTo>
                        <a:pt x="139" y="54"/>
                      </a:lnTo>
                      <a:lnTo>
                        <a:pt x="142" y="54"/>
                      </a:lnTo>
                      <a:lnTo>
                        <a:pt x="142" y="52"/>
                      </a:lnTo>
                      <a:lnTo>
                        <a:pt x="142" y="52"/>
                      </a:lnTo>
                      <a:lnTo>
                        <a:pt x="139" y="52"/>
                      </a:lnTo>
                      <a:lnTo>
                        <a:pt x="137" y="52"/>
                      </a:lnTo>
                      <a:lnTo>
                        <a:pt x="135" y="54"/>
                      </a:lnTo>
                      <a:lnTo>
                        <a:pt x="135" y="54"/>
                      </a:lnTo>
                      <a:lnTo>
                        <a:pt x="132" y="54"/>
                      </a:lnTo>
                      <a:lnTo>
                        <a:pt x="132" y="54"/>
                      </a:lnTo>
                      <a:lnTo>
                        <a:pt x="130" y="54"/>
                      </a:lnTo>
                      <a:lnTo>
                        <a:pt x="128" y="54"/>
                      </a:lnTo>
                      <a:lnTo>
                        <a:pt x="125" y="52"/>
                      </a:lnTo>
                      <a:lnTo>
                        <a:pt x="125" y="52"/>
                      </a:lnTo>
                      <a:lnTo>
                        <a:pt x="125" y="54"/>
                      </a:lnTo>
                      <a:lnTo>
                        <a:pt x="123" y="54"/>
                      </a:lnTo>
                      <a:lnTo>
                        <a:pt x="123" y="54"/>
                      </a:lnTo>
                      <a:lnTo>
                        <a:pt x="120" y="54"/>
                      </a:lnTo>
                      <a:lnTo>
                        <a:pt x="120" y="54"/>
                      </a:lnTo>
                      <a:lnTo>
                        <a:pt x="120" y="52"/>
                      </a:lnTo>
                      <a:lnTo>
                        <a:pt x="123" y="52"/>
                      </a:lnTo>
                      <a:lnTo>
                        <a:pt x="123" y="49"/>
                      </a:lnTo>
                      <a:lnTo>
                        <a:pt x="123" y="49"/>
                      </a:lnTo>
                      <a:lnTo>
                        <a:pt x="120" y="47"/>
                      </a:lnTo>
                      <a:lnTo>
                        <a:pt x="120" y="45"/>
                      </a:lnTo>
                      <a:lnTo>
                        <a:pt x="120" y="45"/>
                      </a:lnTo>
                      <a:lnTo>
                        <a:pt x="120" y="45"/>
                      </a:lnTo>
                      <a:lnTo>
                        <a:pt x="120" y="42"/>
                      </a:lnTo>
                      <a:lnTo>
                        <a:pt x="120" y="42"/>
                      </a:lnTo>
                      <a:lnTo>
                        <a:pt x="120" y="40"/>
                      </a:lnTo>
                      <a:lnTo>
                        <a:pt x="120" y="40"/>
                      </a:lnTo>
                      <a:lnTo>
                        <a:pt x="118" y="40"/>
                      </a:lnTo>
                      <a:lnTo>
                        <a:pt x="118" y="38"/>
                      </a:lnTo>
                      <a:lnTo>
                        <a:pt x="118" y="38"/>
                      </a:lnTo>
                      <a:lnTo>
                        <a:pt x="118" y="35"/>
                      </a:lnTo>
                      <a:lnTo>
                        <a:pt x="116" y="35"/>
                      </a:lnTo>
                      <a:lnTo>
                        <a:pt x="116" y="33"/>
                      </a:lnTo>
                      <a:lnTo>
                        <a:pt x="116" y="33"/>
                      </a:lnTo>
                      <a:lnTo>
                        <a:pt x="116" y="30"/>
                      </a:lnTo>
                      <a:lnTo>
                        <a:pt x="116" y="28"/>
                      </a:lnTo>
                      <a:lnTo>
                        <a:pt x="116" y="26"/>
                      </a:lnTo>
                      <a:lnTo>
                        <a:pt x="116" y="26"/>
                      </a:lnTo>
                      <a:lnTo>
                        <a:pt x="116" y="23"/>
                      </a:lnTo>
                      <a:lnTo>
                        <a:pt x="116" y="23"/>
                      </a:lnTo>
                      <a:lnTo>
                        <a:pt x="116" y="21"/>
                      </a:lnTo>
                      <a:lnTo>
                        <a:pt x="116" y="19"/>
                      </a:lnTo>
                      <a:lnTo>
                        <a:pt x="118" y="19"/>
                      </a:lnTo>
                      <a:lnTo>
                        <a:pt x="118" y="16"/>
                      </a:lnTo>
                      <a:lnTo>
                        <a:pt x="118" y="14"/>
                      </a:lnTo>
                      <a:lnTo>
                        <a:pt x="118" y="14"/>
                      </a:lnTo>
                      <a:lnTo>
                        <a:pt x="104" y="14"/>
                      </a:lnTo>
                      <a:lnTo>
                        <a:pt x="104" y="12"/>
                      </a:lnTo>
                      <a:lnTo>
                        <a:pt x="104" y="12"/>
                      </a:lnTo>
                      <a:lnTo>
                        <a:pt x="104" y="9"/>
                      </a:lnTo>
                      <a:lnTo>
                        <a:pt x="102" y="9"/>
                      </a:lnTo>
                      <a:lnTo>
                        <a:pt x="102" y="9"/>
                      </a:lnTo>
                      <a:lnTo>
                        <a:pt x="90" y="12"/>
                      </a:lnTo>
                      <a:lnTo>
                        <a:pt x="90" y="14"/>
                      </a:lnTo>
                      <a:lnTo>
                        <a:pt x="90" y="14"/>
                      </a:lnTo>
                      <a:lnTo>
                        <a:pt x="87" y="16"/>
                      </a:lnTo>
                      <a:lnTo>
                        <a:pt x="87" y="16"/>
                      </a:lnTo>
                      <a:lnTo>
                        <a:pt x="87" y="21"/>
                      </a:lnTo>
                      <a:lnTo>
                        <a:pt x="80" y="21"/>
                      </a:lnTo>
                      <a:lnTo>
                        <a:pt x="78" y="21"/>
                      </a:lnTo>
                      <a:lnTo>
                        <a:pt x="73" y="21"/>
                      </a:lnTo>
                      <a:lnTo>
                        <a:pt x="73" y="21"/>
                      </a:lnTo>
                      <a:lnTo>
                        <a:pt x="71" y="21"/>
                      </a:lnTo>
                      <a:lnTo>
                        <a:pt x="68" y="21"/>
                      </a:lnTo>
                      <a:lnTo>
                        <a:pt x="66" y="21"/>
                      </a:lnTo>
                      <a:lnTo>
                        <a:pt x="66" y="16"/>
                      </a:lnTo>
                      <a:lnTo>
                        <a:pt x="64" y="16"/>
                      </a:lnTo>
                      <a:lnTo>
                        <a:pt x="64" y="14"/>
                      </a:lnTo>
                      <a:lnTo>
                        <a:pt x="61" y="14"/>
                      </a:lnTo>
                      <a:lnTo>
                        <a:pt x="61" y="12"/>
                      </a:lnTo>
                      <a:lnTo>
                        <a:pt x="61" y="12"/>
                      </a:lnTo>
                      <a:lnTo>
                        <a:pt x="61" y="9"/>
                      </a:lnTo>
                      <a:lnTo>
                        <a:pt x="59" y="7"/>
                      </a:lnTo>
                      <a:lnTo>
                        <a:pt x="59" y="4"/>
                      </a:lnTo>
                      <a:lnTo>
                        <a:pt x="61" y="4"/>
                      </a:lnTo>
                      <a:lnTo>
                        <a:pt x="61" y="2"/>
                      </a:lnTo>
                      <a:lnTo>
                        <a:pt x="59" y="2"/>
                      </a:lnTo>
                      <a:lnTo>
                        <a:pt x="59" y="0"/>
                      </a:lnTo>
                      <a:lnTo>
                        <a:pt x="59" y="0"/>
                      </a:lnTo>
                      <a:lnTo>
                        <a:pt x="59" y="0"/>
                      </a:lnTo>
                      <a:lnTo>
                        <a:pt x="47" y="0"/>
                      </a:lnTo>
                      <a:lnTo>
                        <a:pt x="40" y="0"/>
                      </a:lnTo>
                      <a:lnTo>
                        <a:pt x="35" y="0"/>
                      </a:lnTo>
                      <a:lnTo>
                        <a:pt x="33" y="0"/>
                      </a:lnTo>
                      <a:lnTo>
                        <a:pt x="31" y="0"/>
                      </a:lnTo>
                      <a:lnTo>
                        <a:pt x="28" y="0"/>
                      </a:lnTo>
                      <a:lnTo>
                        <a:pt x="23" y="0"/>
                      </a:lnTo>
                      <a:lnTo>
                        <a:pt x="21" y="0"/>
                      </a:lnTo>
                      <a:lnTo>
                        <a:pt x="21" y="0"/>
                      </a:lnTo>
                      <a:lnTo>
                        <a:pt x="19" y="0"/>
                      </a:lnTo>
                      <a:lnTo>
                        <a:pt x="16" y="0"/>
                      </a:lnTo>
                      <a:lnTo>
                        <a:pt x="14" y="0"/>
                      </a:lnTo>
                      <a:lnTo>
                        <a:pt x="14" y="0"/>
                      </a:lnTo>
                      <a:lnTo>
                        <a:pt x="14" y="0"/>
                      </a:lnTo>
                      <a:lnTo>
                        <a:pt x="14" y="0"/>
                      </a:lnTo>
                      <a:lnTo>
                        <a:pt x="14" y="0"/>
                      </a:lnTo>
                      <a:lnTo>
                        <a:pt x="12" y="0"/>
                      </a:lnTo>
                      <a:lnTo>
                        <a:pt x="9" y="2"/>
                      </a:lnTo>
                      <a:lnTo>
                        <a:pt x="12" y="4"/>
                      </a:lnTo>
                      <a:lnTo>
                        <a:pt x="12" y="4"/>
                      </a:lnTo>
                      <a:lnTo>
                        <a:pt x="16" y="12"/>
                      </a:lnTo>
                      <a:lnTo>
                        <a:pt x="16" y="19"/>
                      </a:lnTo>
                      <a:lnTo>
                        <a:pt x="21" y="23"/>
                      </a:lnTo>
                      <a:lnTo>
                        <a:pt x="21" y="28"/>
                      </a:lnTo>
                      <a:lnTo>
                        <a:pt x="16" y="33"/>
                      </a:lnTo>
                      <a:lnTo>
                        <a:pt x="19" y="33"/>
                      </a:lnTo>
                      <a:lnTo>
                        <a:pt x="19" y="38"/>
                      </a:lnTo>
                      <a:lnTo>
                        <a:pt x="21" y="40"/>
                      </a:lnTo>
                      <a:lnTo>
                        <a:pt x="21" y="42"/>
                      </a:lnTo>
                      <a:lnTo>
                        <a:pt x="23" y="47"/>
                      </a:lnTo>
                      <a:lnTo>
                        <a:pt x="23" y="49"/>
                      </a:lnTo>
                      <a:lnTo>
                        <a:pt x="26" y="52"/>
                      </a:lnTo>
                      <a:lnTo>
                        <a:pt x="26" y="61"/>
                      </a:lnTo>
                      <a:lnTo>
                        <a:pt x="21" y="68"/>
                      </a:lnTo>
                      <a:lnTo>
                        <a:pt x="19" y="68"/>
                      </a:lnTo>
                      <a:lnTo>
                        <a:pt x="14" y="71"/>
                      </a:lnTo>
                      <a:lnTo>
                        <a:pt x="14" y="73"/>
                      </a:lnTo>
                      <a:lnTo>
                        <a:pt x="9" y="78"/>
                      </a:lnTo>
                      <a:lnTo>
                        <a:pt x="9" y="83"/>
                      </a:lnTo>
                      <a:lnTo>
                        <a:pt x="7" y="83"/>
                      </a:lnTo>
                      <a:lnTo>
                        <a:pt x="7" y="92"/>
                      </a:lnTo>
                      <a:lnTo>
                        <a:pt x="5" y="94"/>
                      </a:lnTo>
                      <a:lnTo>
                        <a:pt x="5" y="99"/>
                      </a:lnTo>
                      <a:lnTo>
                        <a:pt x="0" y="102"/>
                      </a:lnTo>
                      <a:lnTo>
                        <a:pt x="0" y="106"/>
                      </a:lnTo>
                      <a:lnTo>
                        <a:pt x="0" y="109"/>
                      </a:lnTo>
                      <a:lnTo>
                        <a:pt x="0" y="113"/>
                      </a:lnTo>
                      <a:lnTo>
                        <a:pt x="0" y="116"/>
                      </a:lnTo>
                      <a:lnTo>
                        <a:pt x="0" y="118"/>
                      </a:lnTo>
                      <a:lnTo>
                        <a:pt x="0" y="118"/>
                      </a:lnTo>
                      <a:lnTo>
                        <a:pt x="2" y="118"/>
                      </a:lnTo>
                      <a:lnTo>
                        <a:pt x="2" y="118"/>
                      </a:lnTo>
                      <a:lnTo>
                        <a:pt x="5" y="118"/>
                      </a:lnTo>
                      <a:lnTo>
                        <a:pt x="5" y="118"/>
                      </a:lnTo>
                      <a:lnTo>
                        <a:pt x="5" y="116"/>
                      </a:lnTo>
                      <a:lnTo>
                        <a:pt x="7" y="118"/>
                      </a:lnTo>
                      <a:lnTo>
                        <a:pt x="9" y="118"/>
                      </a:lnTo>
                      <a:lnTo>
                        <a:pt x="9" y="118"/>
                      </a:lnTo>
                      <a:lnTo>
                        <a:pt x="9" y="116"/>
                      </a:lnTo>
                      <a:lnTo>
                        <a:pt x="14" y="113"/>
                      </a:lnTo>
                      <a:lnTo>
                        <a:pt x="14" y="113"/>
                      </a:lnTo>
                      <a:lnTo>
                        <a:pt x="16" y="113"/>
                      </a:lnTo>
                      <a:lnTo>
                        <a:pt x="16" y="116"/>
                      </a:lnTo>
                      <a:lnTo>
                        <a:pt x="19" y="113"/>
                      </a:lnTo>
                      <a:lnTo>
                        <a:pt x="19" y="113"/>
                      </a:lnTo>
                      <a:lnTo>
                        <a:pt x="21" y="113"/>
                      </a:lnTo>
                      <a:lnTo>
                        <a:pt x="21" y="116"/>
                      </a:lnTo>
                      <a:lnTo>
                        <a:pt x="21" y="116"/>
                      </a:lnTo>
                      <a:lnTo>
                        <a:pt x="21" y="116"/>
                      </a:lnTo>
                      <a:lnTo>
                        <a:pt x="21" y="116"/>
                      </a:lnTo>
                      <a:lnTo>
                        <a:pt x="23" y="118"/>
                      </a:lnTo>
                      <a:lnTo>
                        <a:pt x="28" y="121"/>
                      </a:lnTo>
                      <a:lnTo>
                        <a:pt x="28" y="118"/>
                      </a:lnTo>
                      <a:lnTo>
                        <a:pt x="31" y="118"/>
                      </a:lnTo>
                      <a:lnTo>
                        <a:pt x="31" y="118"/>
                      </a:lnTo>
                      <a:lnTo>
                        <a:pt x="33" y="118"/>
                      </a:lnTo>
                      <a:lnTo>
                        <a:pt x="33" y="118"/>
                      </a:lnTo>
                      <a:lnTo>
                        <a:pt x="76" y="118"/>
                      </a:lnTo>
                      <a:lnTo>
                        <a:pt x="76" y="118"/>
                      </a:lnTo>
                      <a:lnTo>
                        <a:pt x="78" y="121"/>
                      </a:lnTo>
                      <a:lnTo>
                        <a:pt x="78" y="121"/>
                      </a:lnTo>
                      <a:lnTo>
                        <a:pt x="80" y="123"/>
                      </a:lnTo>
                      <a:lnTo>
                        <a:pt x="83" y="123"/>
                      </a:lnTo>
                      <a:lnTo>
                        <a:pt x="85" y="123"/>
                      </a:lnTo>
                      <a:lnTo>
                        <a:pt x="85" y="123"/>
                      </a:lnTo>
                      <a:lnTo>
                        <a:pt x="85" y="123"/>
                      </a:lnTo>
                      <a:lnTo>
                        <a:pt x="87" y="125"/>
                      </a:lnTo>
                      <a:lnTo>
                        <a:pt x="90" y="123"/>
                      </a:lnTo>
                      <a:lnTo>
                        <a:pt x="92" y="123"/>
                      </a:lnTo>
                      <a:lnTo>
                        <a:pt x="94" y="123"/>
                      </a:lnTo>
                      <a:lnTo>
                        <a:pt x="94" y="123"/>
                      </a:lnTo>
                      <a:lnTo>
                        <a:pt x="94" y="123"/>
                      </a:lnTo>
                      <a:lnTo>
                        <a:pt x="97" y="123"/>
                      </a:lnTo>
                      <a:lnTo>
                        <a:pt x="97" y="123"/>
                      </a:lnTo>
                      <a:lnTo>
                        <a:pt x="99" y="125"/>
                      </a:lnTo>
                      <a:lnTo>
                        <a:pt x="102" y="125"/>
                      </a:lnTo>
                      <a:lnTo>
                        <a:pt x="104" y="125"/>
                      </a:lnTo>
                      <a:lnTo>
                        <a:pt x="106" y="125"/>
                      </a:lnTo>
                      <a:lnTo>
                        <a:pt x="106" y="125"/>
                      </a:lnTo>
                      <a:lnTo>
                        <a:pt x="106" y="123"/>
                      </a:lnTo>
                      <a:lnTo>
                        <a:pt x="109" y="125"/>
                      </a:lnTo>
                      <a:lnTo>
                        <a:pt x="109" y="125"/>
                      </a:lnTo>
                      <a:lnTo>
                        <a:pt x="109" y="125"/>
                      </a:lnTo>
                      <a:lnTo>
                        <a:pt x="111" y="125"/>
                      </a:lnTo>
                      <a:lnTo>
                        <a:pt x="111" y="125"/>
                      </a:lnTo>
                      <a:lnTo>
                        <a:pt x="111" y="125"/>
                      </a:lnTo>
                      <a:lnTo>
                        <a:pt x="113" y="125"/>
                      </a:lnTo>
                      <a:lnTo>
                        <a:pt x="113" y="125"/>
                      </a:lnTo>
                      <a:lnTo>
                        <a:pt x="113" y="125"/>
                      </a:lnTo>
                      <a:lnTo>
                        <a:pt x="132" y="123"/>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5" name="Freeform 150">
                  <a:extLst>
                    <a:ext uri="{FF2B5EF4-FFF2-40B4-BE49-F238E27FC236}">
                      <a16:creationId xmlns:a16="http://schemas.microsoft.com/office/drawing/2014/main" id="{3668F19E-AA6E-0B38-FFCB-546EA990F86C}"/>
                    </a:ext>
                  </a:extLst>
                </p:cNvPr>
                <p:cNvSpPr>
                  <a:spLocks/>
                </p:cNvSpPr>
                <p:nvPr/>
              </p:nvSpPr>
              <p:spPr bwMode="auto">
                <a:xfrm>
                  <a:off x="2933" y="2763"/>
                  <a:ext cx="90" cy="74"/>
                </a:xfrm>
                <a:custGeom>
                  <a:avLst/>
                  <a:gdLst>
                    <a:gd name="T0" fmla="*/ 5 w 90"/>
                    <a:gd name="T1" fmla="*/ 24 h 74"/>
                    <a:gd name="T2" fmla="*/ 10 w 90"/>
                    <a:gd name="T3" fmla="*/ 26 h 74"/>
                    <a:gd name="T4" fmla="*/ 14 w 90"/>
                    <a:gd name="T5" fmla="*/ 24 h 74"/>
                    <a:gd name="T6" fmla="*/ 17 w 90"/>
                    <a:gd name="T7" fmla="*/ 24 h 74"/>
                    <a:gd name="T8" fmla="*/ 24 w 90"/>
                    <a:gd name="T9" fmla="*/ 26 h 74"/>
                    <a:gd name="T10" fmla="*/ 38 w 90"/>
                    <a:gd name="T11" fmla="*/ 12 h 74"/>
                    <a:gd name="T12" fmla="*/ 43 w 90"/>
                    <a:gd name="T13" fmla="*/ 10 h 74"/>
                    <a:gd name="T14" fmla="*/ 43 w 90"/>
                    <a:gd name="T15" fmla="*/ 5 h 74"/>
                    <a:gd name="T16" fmla="*/ 50 w 90"/>
                    <a:gd name="T17" fmla="*/ 3 h 74"/>
                    <a:gd name="T18" fmla="*/ 57 w 90"/>
                    <a:gd name="T19" fmla="*/ 0 h 74"/>
                    <a:gd name="T20" fmla="*/ 59 w 90"/>
                    <a:gd name="T21" fmla="*/ 3 h 74"/>
                    <a:gd name="T22" fmla="*/ 62 w 90"/>
                    <a:gd name="T23" fmla="*/ 5 h 74"/>
                    <a:gd name="T24" fmla="*/ 69 w 90"/>
                    <a:gd name="T25" fmla="*/ 7 h 74"/>
                    <a:gd name="T26" fmla="*/ 74 w 90"/>
                    <a:gd name="T27" fmla="*/ 5 h 74"/>
                    <a:gd name="T28" fmla="*/ 81 w 90"/>
                    <a:gd name="T29" fmla="*/ 10 h 74"/>
                    <a:gd name="T30" fmla="*/ 88 w 90"/>
                    <a:gd name="T31" fmla="*/ 14 h 74"/>
                    <a:gd name="T32" fmla="*/ 90 w 90"/>
                    <a:gd name="T33" fmla="*/ 17 h 74"/>
                    <a:gd name="T34" fmla="*/ 90 w 90"/>
                    <a:gd name="T35" fmla="*/ 22 h 74"/>
                    <a:gd name="T36" fmla="*/ 88 w 90"/>
                    <a:gd name="T37" fmla="*/ 26 h 74"/>
                    <a:gd name="T38" fmla="*/ 90 w 90"/>
                    <a:gd name="T39" fmla="*/ 29 h 74"/>
                    <a:gd name="T40" fmla="*/ 88 w 90"/>
                    <a:gd name="T41" fmla="*/ 33 h 74"/>
                    <a:gd name="T42" fmla="*/ 85 w 90"/>
                    <a:gd name="T43" fmla="*/ 38 h 74"/>
                    <a:gd name="T44" fmla="*/ 85 w 90"/>
                    <a:gd name="T45" fmla="*/ 41 h 74"/>
                    <a:gd name="T46" fmla="*/ 88 w 90"/>
                    <a:gd name="T47" fmla="*/ 45 h 74"/>
                    <a:gd name="T48" fmla="*/ 83 w 90"/>
                    <a:gd name="T49" fmla="*/ 50 h 74"/>
                    <a:gd name="T50" fmla="*/ 83 w 90"/>
                    <a:gd name="T51" fmla="*/ 55 h 74"/>
                    <a:gd name="T52" fmla="*/ 81 w 90"/>
                    <a:gd name="T53" fmla="*/ 59 h 74"/>
                    <a:gd name="T54" fmla="*/ 66 w 90"/>
                    <a:gd name="T55" fmla="*/ 74 h 74"/>
                    <a:gd name="T56" fmla="*/ 59 w 90"/>
                    <a:gd name="T57" fmla="*/ 74 h 74"/>
                    <a:gd name="T58" fmla="*/ 52 w 90"/>
                    <a:gd name="T59" fmla="*/ 71 h 74"/>
                    <a:gd name="T60" fmla="*/ 45 w 90"/>
                    <a:gd name="T61" fmla="*/ 69 h 74"/>
                    <a:gd name="T62" fmla="*/ 45 w 90"/>
                    <a:gd name="T63" fmla="*/ 67 h 74"/>
                    <a:gd name="T64" fmla="*/ 40 w 90"/>
                    <a:gd name="T65" fmla="*/ 64 h 74"/>
                    <a:gd name="T66" fmla="*/ 33 w 90"/>
                    <a:gd name="T67" fmla="*/ 64 h 74"/>
                    <a:gd name="T68" fmla="*/ 29 w 90"/>
                    <a:gd name="T69" fmla="*/ 59 h 74"/>
                    <a:gd name="T70" fmla="*/ 26 w 90"/>
                    <a:gd name="T71" fmla="*/ 55 h 74"/>
                    <a:gd name="T72" fmla="*/ 24 w 90"/>
                    <a:gd name="T73" fmla="*/ 52 h 74"/>
                    <a:gd name="T74" fmla="*/ 24 w 90"/>
                    <a:gd name="T75" fmla="*/ 50 h 74"/>
                    <a:gd name="T76" fmla="*/ 19 w 90"/>
                    <a:gd name="T77" fmla="*/ 48 h 74"/>
                    <a:gd name="T78" fmla="*/ 12 w 90"/>
                    <a:gd name="T79" fmla="*/ 41 h 74"/>
                    <a:gd name="T80" fmla="*/ 10 w 90"/>
                    <a:gd name="T81" fmla="*/ 38 h 74"/>
                    <a:gd name="T82" fmla="*/ 7 w 90"/>
                    <a:gd name="T83" fmla="*/ 33 h 74"/>
                    <a:gd name="T84" fmla="*/ 5 w 90"/>
                    <a:gd name="T85" fmla="*/ 31 h 74"/>
                    <a:gd name="T86" fmla="*/ 3 w 90"/>
                    <a:gd name="T87" fmla="*/ 26 h 74"/>
                    <a:gd name="T88" fmla="*/ 3 w 90"/>
                    <a:gd name="T89" fmla="*/ 24 h 74"/>
                    <a:gd name="T90" fmla="*/ 0 w 90"/>
                    <a:gd name="T91" fmla="*/ 2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0" h="74">
                      <a:moveTo>
                        <a:pt x="0" y="24"/>
                      </a:moveTo>
                      <a:lnTo>
                        <a:pt x="3" y="24"/>
                      </a:lnTo>
                      <a:lnTo>
                        <a:pt x="5" y="24"/>
                      </a:lnTo>
                      <a:lnTo>
                        <a:pt x="7" y="24"/>
                      </a:lnTo>
                      <a:lnTo>
                        <a:pt x="7" y="26"/>
                      </a:lnTo>
                      <a:lnTo>
                        <a:pt x="10" y="26"/>
                      </a:lnTo>
                      <a:lnTo>
                        <a:pt x="12" y="24"/>
                      </a:lnTo>
                      <a:lnTo>
                        <a:pt x="14" y="24"/>
                      </a:lnTo>
                      <a:lnTo>
                        <a:pt x="14" y="24"/>
                      </a:lnTo>
                      <a:lnTo>
                        <a:pt x="14" y="24"/>
                      </a:lnTo>
                      <a:lnTo>
                        <a:pt x="17" y="24"/>
                      </a:lnTo>
                      <a:lnTo>
                        <a:pt x="17" y="24"/>
                      </a:lnTo>
                      <a:lnTo>
                        <a:pt x="19" y="26"/>
                      </a:lnTo>
                      <a:lnTo>
                        <a:pt x="19" y="26"/>
                      </a:lnTo>
                      <a:lnTo>
                        <a:pt x="24" y="26"/>
                      </a:lnTo>
                      <a:lnTo>
                        <a:pt x="26" y="22"/>
                      </a:lnTo>
                      <a:lnTo>
                        <a:pt x="31" y="14"/>
                      </a:lnTo>
                      <a:lnTo>
                        <a:pt x="38" y="12"/>
                      </a:lnTo>
                      <a:lnTo>
                        <a:pt x="43" y="10"/>
                      </a:lnTo>
                      <a:lnTo>
                        <a:pt x="43" y="10"/>
                      </a:lnTo>
                      <a:lnTo>
                        <a:pt x="43" y="10"/>
                      </a:lnTo>
                      <a:lnTo>
                        <a:pt x="43" y="7"/>
                      </a:lnTo>
                      <a:lnTo>
                        <a:pt x="43" y="7"/>
                      </a:lnTo>
                      <a:lnTo>
                        <a:pt x="43" y="5"/>
                      </a:lnTo>
                      <a:lnTo>
                        <a:pt x="45" y="5"/>
                      </a:lnTo>
                      <a:lnTo>
                        <a:pt x="48" y="3"/>
                      </a:lnTo>
                      <a:lnTo>
                        <a:pt x="50" y="3"/>
                      </a:lnTo>
                      <a:lnTo>
                        <a:pt x="50" y="3"/>
                      </a:lnTo>
                      <a:lnTo>
                        <a:pt x="52" y="0"/>
                      </a:lnTo>
                      <a:lnTo>
                        <a:pt x="57" y="0"/>
                      </a:lnTo>
                      <a:lnTo>
                        <a:pt x="57" y="0"/>
                      </a:lnTo>
                      <a:lnTo>
                        <a:pt x="57" y="0"/>
                      </a:lnTo>
                      <a:lnTo>
                        <a:pt x="59" y="3"/>
                      </a:lnTo>
                      <a:lnTo>
                        <a:pt x="62" y="0"/>
                      </a:lnTo>
                      <a:lnTo>
                        <a:pt x="62" y="0"/>
                      </a:lnTo>
                      <a:lnTo>
                        <a:pt x="62" y="5"/>
                      </a:lnTo>
                      <a:lnTo>
                        <a:pt x="66" y="5"/>
                      </a:lnTo>
                      <a:lnTo>
                        <a:pt x="69" y="5"/>
                      </a:lnTo>
                      <a:lnTo>
                        <a:pt x="69" y="7"/>
                      </a:lnTo>
                      <a:lnTo>
                        <a:pt x="69" y="7"/>
                      </a:lnTo>
                      <a:lnTo>
                        <a:pt x="71" y="5"/>
                      </a:lnTo>
                      <a:lnTo>
                        <a:pt x="74" y="5"/>
                      </a:lnTo>
                      <a:lnTo>
                        <a:pt x="76" y="7"/>
                      </a:lnTo>
                      <a:lnTo>
                        <a:pt x="78" y="10"/>
                      </a:lnTo>
                      <a:lnTo>
                        <a:pt x="81" y="10"/>
                      </a:lnTo>
                      <a:lnTo>
                        <a:pt x="83" y="10"/>
                      </a:lnTo>
                      <a:lnTo>
                        <a:pt x="85" y="12"/>
                      </a:lnTo>
                      <a:lnTo>
                        <a:pt x="88" y="14"/>
                      </a:lnTo>
                      <a:lnTo>
                        <a:pt x="90" y="14"/>
                      </a:lnTo>
                      <a:lnTo>
                        <a:pt x="90" y="14"/>
                      </a:lnTo>
                      <a:lnTo>
                        <a:pt x="90" y="17"/>
                      </a:lnTo>
                      <a:lnTo>
                        <a:pt x="90" y="19"/>
                      </a:lnTo>
                      <a:lnTo>
                        <a:pt x="90" y="19"/>
                      </a:lnTo>
                      <a:lnTo>
                        <a:pt x="90" y="22"/>
                      </a:lnTo>
                      <a:lnTo>
                        <a:pt x="90" y="22"/>
                      </a:lnTo>
                      <a:lnTo>
                        <a:pt x="88" y="24"/>
                      </a:lnTo>
                      <a:lnTo>
                        <a:pt x="88" y="26"/>
                      </a:lnTo>
                      <a:lnTo>
                        <a:pt x="88" y="29"/>
                      </a:lnTo>
                      <a:lnTo>
                        <a:pt x="88" y="29"/>
                      </a:lnTo>
                      <a:lnTo>
                        <a:pt x="90" y="29"/>
                      </a:lnTo>
                      <a:lnTo>
                        <a:pt x="88" y="31"/>
                      </a:lnTo>
                      <a:lnTo>
                        <a:pt x="88" y="31"/>
                      </a:lnTo>
                      <a:lnTo>
                        <a:pt x="88" y="33"/>
                      </a:lnTo>
                      <a:lnTo>
                        <a:pt x="88" y="36"/>
                      </a:lnTo>
                      <a:lnTo>
                        <a:pt x="85" y="36"/>
                      </a:lnTo>
                      <a:lnTo>
                        <a:pt x="85" y="38"/>
                      </a:lnTo>
                      <a:lnTo>
                        <a:pt x="88" y="38"/>
                      </a:lnTo>
                      <a:lnTo>
                        <a:pt x="88" y="41"/>
                      </a:lnTo>
                      <a:lnTo>
                        <a:pt x="85" y="41"/>
                      </a:lnTo>
                      <a:lnTo>
                        <a:pt x="85" y="43"/>
                      </a:lnTo>
                      <a:lnTo>
                        <a:pt x="88" y="45"/>
                      </a:lnTo>
                      <a:lnTo>
                        <a:pt x="88" y="45"/>
                      </a:lnTo>
                      <a:lnTo>
                        <a:pt x="88" y="48"/>
                      </a:lnTo>
                      <a:lnTo>
                        <a:pt x="85" y="50"/>
                      </a:lnTo>
                      <a:lnTo>
                        <a:pt x="83" y="50"/>
                      </a:lnTo>
                      <a:lnTo>
                        <a:pt x="83" y="50"/>
                      </a:lnTo>
                      <a:lnTo>
                        <a:pt x="83" y="52"/>
                      </a:lnTo>
                      <a:lnTo>
                        <a:pt x="83" y="55"/>
                      </a:lnTo>
                      <a:lnTo>
                        <a:pt x="83" y="55"/>
                      </a:lnTo>
                      <a:lnTo>
                        <a:pt x="83" y="57"/>
                      </a:lnTo>
                      <a:lnTo>
                        <a:pt x="81" y="59"/>
                      </a:lnTo>
                      <a:lnTo>
                        <a:pt x="81" y="62"/>
                      </a:lnTo>
                      <a:lnTo>
                        <a:pt x="69" y="74"/>
                      </a:lnTo>
                      <a:lnTo>
                        <a:pt x="66" y="74"/>
                      </a:lnTo>
                      <a:lnTo>
                        <a:pt x="64" y="71"/>
                      </a:lnTo>
                      <a:lnTo>
                        <a:pt x="59" y="71"/>
                      </a:lnTo>
                      <a:lnTo>
                        <a:pt x="59" y="74"/>
                      </a:lnTo>
                      <a:lnTo>
                        <a:pt x="57" y="71"/>
                      </a:lnTo>
                      <a:lnTo>
                        <a:pt x="55" y="71"/>
                      </a:lnTo>
                      <a:lnTo>
                        <a:pt x="52" y="71"/>
                      </a:lnTo>
                      <a:lnTo>
                        <a:pt x="52" y="69"/>
                      </a:lnTo>
                      <a:lnTo>
                        <a:pt x="50" y="69"/>
                      </a:lnTo>
                      <a:lnTo>
                        <a:pt x="45" y="69"/>
                      </a:lnTo>
                      <a:lnTo>
                        <a:pt x="45" y="69"/>
                      </a:lnTo>
                      <a:lnTo>
                        <a:pt x="45" y="69"/>
                      </a:lnTo>
                      <a:lnTo>
                        <a:pt x="45" y="67"/>
                      </a:lnTo>
                      <a:lnTo>
                        <a:pt x="43" y="67"/>
                      </a:lnTo>
                      <a:lnTo>
                        <a:pt x="43" y="67"/>
                      </a:lnTo>
                      <a:lnTo>
                        <a:pt x="40" y="64"/>
                      </a:lnTo>
                      <a:lnTo>
                        <a:pt x="38" y="64"/>
                      </a:lnTo>
                      <a:lnTo>
                        <a:pt x="36" y="64"/>
                      </a:lnTo>
                      <a:lnTo>
                        <a:pt x="33" y="64"/>
                      </a:lnTo>
                      <a:lnTo>
                        <a:pt x="31" y="64"/>
                      </a:lnTo>
                      <a:lnTo>
                        <a:pt x="31" y="62"/>
                      </a:lnTo>
                      <a:lnTo>
                        <a:pt x="29" y="59"/>
                      </a:lnTo>
                      <a:lnTo>
                        <a:pt x="29" y="59"/>
                      </a:lnTo>
                      <a:lnTo>
                        <a:pt x="26" y="57"/>
                      </a:lnTo>
                      <a:lnTo>
                        <a:pt x="26" y="55"/>
                      </a:lnTo>
                      <a:lnTo>
                        <a:pt x="29" y="55"/>
                      </a:lnTo>
                      <a:lnTo>
                        <a:pt x="26" y="52"/>
                      </a:lnTo>
                      <a:lnTo>
                        <a:pt x="24" y="52"/>
                      </a:lnTo>
                      <a:lnTo>
                        <a:pt x="24" y="50"/>
                      </a:lnTo>
                      <a:lnTo>
                        <a:pt x="24" y="50"/>
                      </a:lnTo>
                      <a:lnTo>
                        <a:pt x="24" y="50"/>
                      </a:lnTo>
                      <a:lnTo>
                        <a:pt x="22" y="48"/>
                      </a:lnTo>
                      <a:lnTo>
                        <a:pt x="22" y="48"/>
                      </a:lnTo>
                      <a:lnTo>
                        <a:pt x="19" y="48"/>
                      </a:lnTo>
                      <a:lnTo>
                        <a:pt x="17" y="45"/>
                      </a:lnTo>
                      <a:lnTo>
                        <a:pt x="14" y="41"/>
                      </a:lnTo>
                      <a:lnTo>
                        <a:pt x="12" y="41"/>
                      </a:lnTo>
                      <a:lnTo>
                        <a:pt x="12" y="41"/>
                      </a:lnTo>
                      <a:lnTo>
                        <a:pt x="10" y="38"/>
                      </a:lnTo>
                      <a:lnTo>
                        <a:pt x="10" y="38"/>
                      </a:lnTo>
                      <a:lnTo>
                        <a:pt x="10" y="36"/>
                      </a:lnTo>
                      <a:lnTo>
                        <a:pt x="10" y="33"/>
                      </a:lnTo>
                      <a:lnTo>
                        <a:pt x="7" y="33"/>
                      </a:lnTo>
                      <a:lnTo>
                        <a:pt x="7" y="31"/>
                      </a:lnTo>
                      <a:lnTo>
                        <a:pt x="7" y="31"/>
                      </a:lnTo>
                      <a:lnTo>
                        <a:pt x="5" y="31"/>
                      </a:lnTo>
                      <a:lnTo>
                        <a:pt x="5" y="29"/>
                      </a:lnTo>
                      <a:lnTo>
                        <a:pt x="3" y="29"/>
                      </a:lnTo>
                      <a:lnTo>
                        <a:pt x="3" y="26"/>
                      </a:lnTo>
                      <a:lnTo>
                        <a:pt x="3" y="26"/>
                      </a:lnTo>
                      <a:lnTo>
                        <a:pt x="3" y="26"/>
                      </a:lnTo>
                      <a:lnTo>
                        <a:pt x="3" y="24"/>
                      </a:lnTo>
                      <a:lnTo>
                        <a:pt x="0" y="24"/>
                      </a:lnTo>
                      <a:lnTo>
                        <a:pt x="0" y="24"/>
                      </a:lnTo>
                      <a:lnTo>
                        <a:pt x="0" y="24"/>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6" name="Freeform 151">
                  <a:extLst>
                    <a:ext uri="{FF2B5EF4-FFF2-40B4-BE49-F238E27FC236}">
                      <a16:creationId xmlns:a16="http://schemas.microsoft.com/office/drawing/2014/main" id="{6EAE992B-7302-E4C3-1551-0D1F2FBBEE95}"/>
                    </a:ext>
                  </a:extLst>
                </p:cNvPr>
                <p:cNvSpPr>
                  <a:spLocks/>
                </p:cNvSpPr>
                <p:nvPr/>
              </p:nvSpPr>
              <p:spPr bwMode="auto">
                <a:xfrm>
                  <a:off x="2874" y="2787"/>
                  <a:ext cx="104" cy="95"/>
                </a:xfrm>
                <a:custGeom>
                  <a:avLst/>
                  <a:gdLst>
                    <a:gd name="T0" fmla="*/ 62 w 104"/>
                    <a:gd name="T1" fmla="*/ 2 h 95"/>
                    <a:gd name="T2" fmla="*/ 62 w 104"/>
                    <a:gd name="T3" fmla="*/ 5 h 95"/>
                    <a:gd name="T4" fmla="*/ 66 w 104"/>
                    <a:gd name="T5" fmla="*/ 7 h 95"/>
                    <a:gd name="T6" fmla="*/ 69 w 104"/>
                    <a:gd name="T7" fmla="*/ 9 h 95"/>
                    <a:gd name="T8" fmla="*/ 69 w 104"/>
                    <a:gd name="T9" fmla="*/ 14 h 95"/>
                    <a:gd name="T10" fmla="*/ 73 w 104"/>
                    <a:gd name="T11" fmla="*/ 17 h 95"/>
                    <a:gd name="T12" fmla="*/ 81 w 104"/>
                    <a:gd name="T13" fmla="*/ 24 h 95"/>
                    <a:gd name="T14" fmla="*/ 83 w 104"/>
                    <a:gd name="T15" fmla="*/ 26 h 95"/>
                    <a:gd name="T16" fmla="*/ 85 w 104"/>
                    <a:gd name="T17" fmla="*/ 28 h 95"/>
                    <a:gd name="T18" fmla="*/ 85 w 104"/>
                    <a:gd name="T19" fmla="*/ 33 h 95"/>
                    <a:gd name="T20" fmla="*/ 90 w 104"/>
                    <a:gd name="T21" fmla="*/ 38 h 95"/>
                    <a:gd name="T22" fmla="*/ 95 w 104"/>
                    <a:gd name="T23" fmla="*/ 40 h 95"/>
                    <a:gd name="T24" fmla="*/ 102 w 104"/>
                    <a:gd name="T25" fmla="*/ 43 h 95"/>
                    <a:gd name="T26" fmla="*/ 104 w 104"/>
                    <a:gd name="T27" fmla="*/ 45 h 95"/>
                    <a:gd name="T28" fmla="*/ 104 w 104"/>
                    <a:gd name="T29" fmla="*/ 45 h 95"/>
                    <a:gd name="T30" fmla="*/ 99 w 104"/>
                    <a:gd name="T31" fmla="*/ 47 h 95"/>
                    <a:gd name="T32" fmla="*/ 97 w 104"/>
                    <a:gd name="T33" fmla="*/ 50 h 95"/>
                    <a:gd name="T34" fmla="*/ 92 w 104"/>
                    <a:gd name="T35" fmla="*/ 52 h 95"/>
                    <a:gd name="T36" fmla="*/ 88 w 104"/>
                    <a:gd name="T37" fmla="*/ 54 h 95"/>
                    <a:gd name="T38" fmla="*/ 85 w 104"/>
                    <a:gd name="T39" fmla="*/ 57 h 95"/>
                    <a:gd name="T40" fmla="*/ 81 w 104"/>
                    <a:gd name="T41" fmla="*/ 59 h 95"/>
                    <a:gd name="T42" fmla="*/ 76 w 104"/>
                    <a:gd name="T43" fmla="*/ 66 h 95"/>
                    <a:gd name="T44" fmla="*/ 76 w 104"/>
                    <a:gd name="T45" fmla="*/ 69 h 95"/>
                    <a:gd name="T46" fmla="*/ 71 w 104"/>
                    <a:gd name="T47" fmla="*/ 71 h 95"/>
                    <a:gd name="T48" fmla="*/ 69 w 104"/>
                    <a:gd name="T49" fmla="*/ 73 h 95"/>
                    <a:gd name="T50" fmla="*/ 64 w 104"/>
                    <a:gd name="T51" fmla="*/ 76 h 95"/>
                    <a:gd name="T52" fmla="*/ 62 w 104"/>
                    <a:gd name="T53" fmla="*/ 81 h 95"/>
                    <a:gd name="T54" fmla="*/ 62 w 104"/>
                    <a:gd name="T55" fmla="*/ 85 h 95"/>
                    <a:gd name="T56" fmla="*/ 57 w 104"/>
                    <a:gd name="T57" fmla="*/ 85 h 95"/>
                    <a:gd name="T58" fmla="*/ 50 w 104"/>
                    <a:gd name="T59" fmla="*/ 85 h 95"/>
                    <a:gd name="T60" fmla="*/ 43 w 104"/>
                    <a:gd name="T61" fmla="*/ 83 h 95"/>
                    <a:gd name="T62" fmla="*/ 36 w 104"/>
                    <a:gd name="T63" fmla="*/ 81 h 95"/>
                    <a:gd name="T64" fmla="*/ 28 w 104"/>
                    <a:gd name="T65" fmla="*/ 88 h 95"/>
                    <a:gd name="T66" fmla="*/ 21 w 104"/>
                    <a:gd name="T67" fmla="*/ 92 h 95"/>
                    <a:gd name="T68" fmla="*/ 17 w 104"/>
                    <a:gd name="T69" fmla="*/ 95 h 95"/>
                    <a:gd name="T70" fmla="*/ 7 w 104"/>
                    <a:gd name="T71" fmla="*/ 95 h 95"/>
                    <a:gd name="T72" fmla="*/ 7 w 104"/>
                    <a:gd name="T73" fmla="*/ 90 h 95"/>
                    <a:gd name="T74" fmla="*/ 2 w 104"/>
                    <a:gd name="T75" fmla="*/ 78 h 95"/>
                    <a:gd name="T76" fmla="*/ 0 w 104"/>
                    <a:gd name="T77" fmla="*/ 76 h 95"/>
                    <a:gd name="T78" fmla="*/ 12 w 104"/>
                    <a:gd name="T79" fmla="*/ 43 h 95"/>
                    <a:gd name="T80" fmla="*/ 33 w 104"/>
                    <a:gd name="T81" fmla="*/ 5 h 95"/>
                    <a:gd name="T82" fmla="*/ 38 w 104"/>
                    <a:gd name="T83" fmla="*/ 2 h 95"/>
                    <a:gd name="T84" fmla="*/ 40 w 104"/>
                    <a:gd name="T85" fmla="*/ 7 h 95"/>
                    <a:gd name="T86" fmla="*/ 40 w 104"/>
                    <a:gd name="T87" fmla="*/ 9 h 95"/>
                    <a:gd name="T88" fmla="*/ 47 w 104"/>
                    <a:gd name="T89" fmla="*/ 2 h 95"/>
                    <a:gd name="T90" fmla="*/ 52 w 104"/>
                    <a:gd name="T91" fmla="*/ 2 h 95"/>
                    <a:gd name="T92" fmla="*/ 59 w 104"/>
                    <a:gd name="T9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4" h="95">
                      <a:moveTo>
                        <a:pt x="59" y="0"/>
                      </a:moveTo>
                      <a:lnTo>
                        <a:pt x="62" y="0"/>
                      </a:lnTo>
                      <a:lnTo>
                        <a:pt x="62" y="2"/>
                      </a:lnTo>
                      <a:lnTo>
                        <a:pt x="62" y="2"/>
                      </a:lnTo>
                      <a:lnTo>
                        <a:pt x="62" y="2"/>
                      </a:lnTo>
                      <a:lnTo>
                        <a:pt x="62" y="5"/>
                      </a:lnTo>
                      <a:lnTo>
                        <a:pt x="64" y="5"/>
                      </a:lnTo>
                      <a:lnTo>
                        <a:pt x="64" y="7"/>
                      </a:lnTo>
                      <a:lnTo>
                        <a:pt x="66" y="7"/>
                      </a:lnTo>
                      <a:lnTo>
                        <a:pt x="66" y="7"/>
                      </a:lnTo>
                      <a:lnTo>
                        <a:pt x="66" y="9"/>
                      </a:lnTo>
                      <a:lnTo>
                        <a:pt x="69" y="9"/>
                      </a:lnTo>
                      <a:lnTo>
                        <a:pt x="69" y="12"/>
                      </a:lnTo>
                      <a:lnTo>
                        <a:pt x="69" y="14"/>
                      </a:lnTo>
                      <a:lnTo>
                        <a:pt x="69" y="14"/>
                      </a:lnTo>
                      <a:lnTo>
                        <a:pt x="71" y="17"/>
                      </a:lnTo>
                      <a:lnTo>
                        <a:pt x="71" y="17"/>
                      </a:lnTo>
                      <a:lnTo>
                        <a:pt x="73" y="17"/>
                      </a:lnTo>
                      <a:lnTo>
                        <a:pt x="76" y="21"/>
                      </a:lnTo>
                      <a:lnTo>
                        <a:pt x="78" y="24"/>
                      </a:lnTo>
                      <a:lnTo>
                        <a:pt x="81" y="24"/>
                      </a:lnTo>
                      <a:lnTo>
                        <a:pt x="81" y="24"/>
                      </a:lnTo>
                      <a:lnTo>
                        <a:pt x="83" y="26"/>
                      </a:lnTo>
                      <a:lnTo>
                        <a:pt x="83" y="26"/>
                      </a:lnTo>
                      <a:lnTo>
                        <a:pt x="83" y="26"/>
                      </a:lnTo>
                      <a:lnTo>
                        <a:pt x="83" y="28"/>
                      </a:lnTo>
                      <a:lnTo>
                        <a:pt x="85" y="28"/>
                      </a:lnTo>
                      <a:lnTo>
                        <a:pt x="88" y="31"/>
                      </a:lnTo>
                      <a:lnTo>
                        <a:pt x="85" y="31"/>
                      </a:lnTo>
                      <a:lnTo>
                        <a:pt x="85" y="33"/>
                      </a:lnTo>
                      <a:lnTo>
                        <a:pt x="88" y="35"/>
                      </a:lnTo>
                      <a:lnTo>
                        <a:pt x="88" y="35"/>
                      </a:lnTo>
                      <a:lnTo>
                        <a:pt x="90" y="38"/>
                      </a:lnTo>
                      <a:lnTo>
                        <a:pt x="90" y="40"/>
                      </a:lnTo>
                      <a:lnTo>
                        <a:pt x="92" y="40"/>
                      </a:lnTo>
                      <a:lnTo>
                        <a:pt x="95" y="40"/>
                      </a:lnTo>
                      <a:lnTo>
                        <a:pt x="97" y="40"/>
                      </a:lnTo>
                      <a:lnTo>
                        <a:pt x="99" y="40"/>
                      </a:lnTo>
                      <a:lnTo>
                        <a:pt x="102" y="43"/>
                      </a:lnTo>
                      <a:lnTo>
                        <a:pt x="102" y="43"/>
                      </a:lnTo>
                      <a:lnTo>
                        <a:pt x="104" y="43"/>
                      </a:lnTo>
                      <a:lnTo>
                        <a:pt x="104" y="45"/>
                      </a:lnTo>
                      <a:lnTo>
                        <a:pt x="104" y="45"/>
                      </a:lnTo>
                      <a:lnTo>
                        <a:pt x="104" y="45"/>
                      </a:lnTo>
                      <a:lnTo>
                        <a:pt x="104" y="45"/>
                      </a:lnTo>
                      <a:lnTo>
                        <a:pt x="102" y="47"/>
                      </a:lnTo>
                      <a:lnTo>
                        <a:pt x="102" y="47"/>
                      </a:lnTo>
                      <a:lnTo>
                        <a:pt x="99" y="47"/>
                      </a:lnTo>
                      <a:lnTo>
                        <a:pt x="99" y="50"/>
                      </a:lnTo>
                      <a:lnTo>
                        <a:pt x="99" y="50"/>
                      </a:lnTo>
                      <a:lnTo>
                        <a:pt x="97" y="50"/>
                      </a:lnTo>
                      <a:lnTo>
                        <a:pt x="97" y="52"/>
                      </a:lnTo>
                      <a:lnTo>
                        <a:pt x="95" y="52"/>
                      </a:lnTo>
                      <a:lnTo>
                        <a:pt x="92" y="52"/>
                      </a:lnTo>
                      <a:lnTo>
                        <a:pt x="92" y="52"/>
                      </a:lnTo>
                      <a:lnTo>
                        <a:pt x="90" y="52"/>
                      </a:lnTo>
                      <a:lnTo>
                        <a:pt x="88" y="54"/>
                      </a:lnTo>
                      <a:lnTo>
                        <a:pt x="88" y="54"/>
                      </a:lnTo>
                      <a:lnTo>
                        <a:pt x="85" y="57"/>
                      </a:lnTo>
                      <a:lnTo>
                        <a:pt x="85" y="57"/>
                      </a:lnTo>
                      <a:lnTo>
                        <a:pt x="83" y="57"/>
                      </a:lnTo>
                      <a:lnTo>
                        <a:pt x="83" y="59"/>
                      </a:lnTo>
                      <a:lnTo>
                        <a:pt x="81" y="59"/>
                      </a:lnTo>
                      <a:lnTo>
                        <a:pt x="81" y="59"/>
                      </a:lnTo>
                      <a:lnTo>
                        <a:pt x="76" y="64"/>
                      </a:lnTo>
                      <a:lnTo>
                        <a:pt x="76" y="66"/>
                      </a:lnTo>
                      <a:lnTo>
                        <a:pt x="76" y="66"/>
                      </a:lnTo>
                      <a:lnTo>
                        <a:pt x="76" y="69"/>
                      </a:lnTo>
                      <a:lnTo>
                        <a:pt x="76" y="69"/>
                      </a:lnTo>
                      <a:lnTo>
                        <a:pt x="73" y="69"/>
                      </a:lnTo>
                      <a:lnTo>
                        <a:pt x="73" y="69"/>
                      </a:lnTo>
                      <a:lnTo>
                        <a:pt x="71" y="71"/>
                      </a:lnTo>
                      <a:lnTo>
                        <a:pt x="71" y="71"/>
                      </a:lnTo>
                      <a:lnTo>
                        <a:pt x="71" y="73"/>
                      </a:lnTo>
                      <a:lnTo>
                        <a:pt x="69" y="73"/>
                      </a:lnTo>
                      <a:lnTo>
                        <a:pt x="69" y="73"/>
                      </a:lnTo>
                      <a:lnTo>
                        <a:pt x="66" y="73"/>
                      </a:lnTo>
                      <a:lnTo>
                        <a:pt x="64" y="76"/>
                      </a:lnTo>
                      <a:lnTo>
                        <a:pt x="64" y="76"/>
                      </a:lnTo>
                      <a:lnTo>
                        <a:pt x="64" y="78"/>
                      </a:lnTo>
                      <a:lnTo>
                        <a:pt x="62" y="81"/>
                      </a:lnTo>
                      <a:lnTo>
                        <a:pt x="62" y="81"/>
                      </a:lnTo>
                      <a:lnTo>
                        <a:pt x="62" y="83"/>
                      </a:lnTo>
                      <a:lnTo>
                        <a:pt x="62" y="85"/>
                      </a:lnTo>
                      <a:lnTo>
                        <a:pt x="59" y="85"/>
                      </a:lnTo>
                      <a:lnTo>
                        <a:pt x="59" y="85"/>
                      </a:lnTo>
                      <a:lnTo>
                        <a:pt x="57" y="85"/>
                      </a:lnTo>
                      <a:lnTo>
                        <a:pt x="54" y="85"/>
                      </a:lnTo>
                      <a:lnTo>
                        <a:pt x="52" y="85"/>
                      </a:lnTo>
                      <a:lnTo>
                        <a:pt x="50" y="85"/>
                      </a:lnTo>
                      <a:lnTo>
                        <a:pt x="47" y="85"/>
                      </a:lnTo>
                      <a:lnTo>
                        <a:pt x="47" y="85"/>
                      </a:lnTo>
                      <a:lnTo>
                        <a:pt x="43" y="83"/>
                      </a:lnTo>
                      <a:lnTo>
                        <a:pt x="40" y="83"/>
                      </a:lnTo>
                      <a:lnTo>
                        <a:pt x="40" y="81"/>
                      </a:lnTo>
                      <a:lnTo>
                        <a:pt x="36" y="81"/>
                      </a:lnTo>
                      <a:lnTo>
                        <a:pt x="33" y="81"/>
                      </a:lnTo>
                      <a:lnTo>
                        <a:pt x="31" y="83"/>
                      </a:lnTo>
                      <a:lnTo>
                        <a:pt x="28" y="88"/>
                      </a:lnTo>
                      <a:lnTo>
                        <a:pt x="26" y="90"/>
                      </a:lnTo>
                      <a:lnTo>
                        <a:pt x="24" y="90"/>
                      </a:lnTo>
                      <a:lnTo>
                        <a:pt x="21" y="92"/>
                      </a:lnTo>
                      <a:lnTo>
                        <a:pt x="19" y="92"/>
                      </a:lnTo>
                      <a:lnTo>
                        <a:pt x="17" y="95"/>
                      </a:lnTo>
                      <a:lnTo>
                        <a:pt x="17" y="95"/>
                      </a:lnTo>
                      <a:lnTo>
                        <a:pt x="14" y="95"/>
                      </a:lnTo>
                      <a:lnTo>
                        <a:pt x="12" y="95"/>
                      </a:lnTo>
                      <a:lnTo>
                        <a:pt x="7" y="95"/>
                      </a:lnTo>
                      <a:lnTo>
                        <a:pt x="5" y="95"/>
                      </a:lnTo>
                      <a:lnTo>
                        <a:pt x="5" y="92"/>
                      </a:lnTo>
                      <a:lnTo>
                        <a:pt x="7" y="90"/>
                      </a:lnTo>
                      <a:lnTo>
                        <a:pt x="7" y="88"/>
                      </a:lnTo>
                      <a:lnTo>
                        <a:pt x="5" y="81"/>
                      </a:lnTo>
                      <a:lnTo>
                        <a:pt x="2" y="78"/>
                      </a:lnTo>
                      <a:lnTo>
                        <a:pt x="0" y="76"/>
                      </a:lnTo>
                      <a:lnTo>
                        <a:pt x="0" y="76"/>
                      </a:lnTo>
                      <a:lnTo>
                        <a:pt x="0" y="76"/>
                      </a:lnTo>
                      <a:lnTo>
                        <a:pt x="0" y="76"/>
                      </a:lnTo>
                      <a:lnTo>
                        <a:pt x="2" y="43"/>
                      </a:lnTo>
                      <a:lnTo>
                        <a:pt x="12" y="43"/>
                      </a:lnTo>
                      <a:lnTo>
                        <a:pt x="14" y="7"/>
                      </a:lnTo>
                      <a:lnTo>
                        <a:pt x="21" y="7"/>
                      </a:lnTo>
                      <a:lnTo>
                        <a:pt x="33" y="5"/>
                      </a:lnTo>
                      <a:lnTo>
                        <a:pt x="36" y="5"/>
                      </a:lnTo>
                      <a:lnTo>
                        <a:pt x="38" y="5"/>
                      </a:lnTo>
                      <a:lnTo>
                        <a:pt x="38" y="2"/>
                      </a:lnTo>
                      <a:lnTo>
                        <a:pt x="38" y="5"/>
                      </a:lnTo>
                      <a:lnTo>
                        <a:pt x="40" y="5"/>
                      </a:lnTo>
                      <a:lnTo>
                        <a:pt x="40" y="7"/>
                      </a:lnTo>
                      <a:lnTo>
                        <a:pt x="40" y="7"/>
                      </a:lnTo>
                      <a:lnTo>
                        <a:pt x="40" y="7"/>
                      </a:lnTo>
                      <a:lnTo>
                        <a:pt x="40" y="9"/>
                      </a:lnTo>
                      <a:lnTo>
                        <a:pt x="45" y="7"/>
                      </a:lnTo>
                      <a:lnTo>
                        <a:pt x="45" y="5"/>
                      </a:lnTo>
                      <a:lnTo>
                        <a:pt x="47" y="2"/>
                      </a:lnTo>
                      <a:lnTo>
                        <a:pt x="50" y="2"/>
                      </a:lnTo>
                      <a:lnTo>
                        <a:pt x="52" y="2"/>
                      </a:lnTo>
                      <a:lnTo>
                        <a:pt x="52" y="2"/>
                      </a:lnTo>
                      <a:lnTo>
                        <a:pt x="54" y="2"/>
                      </a:lnTo>
                      <a:lnTo>
                        <a:pt x="57" y="0"/>
                      </a:lnTo>
                      <a:lnTo>
                        <a:pt x="59" y="0"/>
                      </a:lnTo>
                      <a:lnTo>
                        <a:pt x="59" y="0"/>
                      </a:lnTo>
                      <a:lnTo>
                        <a:pt x="59" y="0"/>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7" name="Freeform 152">
                  <a:extLst>
                    <a:ext uri="{FF2B5EF4-FFF2-40B4-BE49-F238E27FC236}">
                      <a16:creationId xmlns:a16="http://schemas.microsoft.com/office/drawing/2014/main" id="{9F8AD7A8-5DF2-6E8B-D653-A85786EAA467}"/>
                    </a:ext>
                  </a:extLst>
                </p:cNvPr>
                <p:cNvSpPr>
                  <a:spLocks/>
                </p:cNvSpPr>
                <p:nvPr/>
              </p:nvSpPr>
              <p:spPr bwMode="auto">
                <a:xfrm>
                  <a:off x="2782" y="2777"/>
                  <a:ext cx="151" cy="131"/>
                </a:xfrm>
                <a:custGeom>
                  <a:avLst/>
                  <a:gdLst>
                    <a:gd name="T0" fmla="*/ 94 w 151"/>
                    <a:gd name="T1" fmla="*/ 53 h 131"/>
                    <a:gd name="T2" fmla="*/ 113 w 151"/>
                    <a:gd name="T3" fmla="*/ 17 h 131"/>
                    <a:gd name="T4" fmla="*/ 130 w 151"/>
                    <a:gd name="T5" fmla="*/ 15 h 131"/>
                    <a:gd name="T6" fmla="*/ 132 w 151"/>
                    <a:gd name="T7" fmla="*/ 15 h 131"/>
                    <a:gd name="T8" fmla="*/ 132 w 151"/>
                    <a:gd name="T9" fmla="*/ 17 h 131"/>
                    <a:gd name="T10" fmla="*/ 137 w 151"/>
                    <a:gd name="T11" fmla="*/ 15 h 131"/>
                    <a:gd name="T12" fmla="*/ 144 w 151"/>
                    <a:gd name="T13" fmla="*/ 12 h 131"/>
                    <a:gd name="T14" fmla="*/ 149 w 151"/>
                    <a:gd name="T15" fmla="*/ 10 h 131"/>
                    <a:gd name="T16" fmla="*/ 151 w 151"/>
                    <a:gd name="T17" fmla="*/ 8 h 131"/>
                    <a:gd name="T18" fmla="*/ 146 w 151"/>
                    <a:gd name="T19" fmla="*/ 8 h 131"/>
                    <a:gd name="T20" fmla="*/ 144 w 151"/>
                    <a:gd name="T21" fmla="*/ 8 h 131"/>
                    <a:gd name="T22" fmla="*/ 113 w 151"/>
                    <a:gd name="T23" fmla="*/ 12 h 131"/>
                    <a:gd name="T24" fmla="*/ 111 w 151"/>
                    <a:gd name="T25" fmla="*/ 12 h 131"/>
                    <a:gd name="T26" fmla="*/ 109 w 151"/>
                    <a:gd name="T27" fmla="*/ 12 h 131"/>
                    <a:gd name="T28" fmla="*/ 106 w 151"/>
                    <a:gd name="T29" fmla="*/ 12 h 131"/>
                    <a:gd name="T30" fmla="*/ 102 w 151"/>
                    <a:gd name="T31" fmla="*/ 12 h 131"/>
                    <a:gd name="T32" fmla="*/ 97 w 151"/>
                    <a:gd name="T33" fmla="*/ 10 h 131"/>
                    <a:gd name="T34" fmla="*/ 94 w 151"/>
                    <a:gd name="T35" fmla="*/ 10 h 131"/>
                    <a:gd name="T36" fmla="*/ 87 w 151"/>
                    <a:gd name="T37" fmla="*/ 12 h 131"/>
                    <a:gd name="T38" fmla="*/ 85 w 151"/>
                    <a:gd name="T39" fmla="*/ 10 h 131"/>
                    <a:gd name="T40" fmla="*/ 78 w 151"/>
                    <a:gd name="T41" fmla="*/ 8 h 131"/>
                    <a:gd name="T42" fmla="*/ 76 w 151"/>
                    <a:gd name="T43" fmla="*/ 5 h 131"/>
                    <a:gd name="T44" fmla="*/ 31 w 151"/>
                    <a:gd name="T45" fmla="*/ 5 h 131"/>
                    <a:gd name="T46" fmla="*/ 28 w 151"/>
                    <a:gd name="T47" fmla="*/ 8 h 131"/>
                    <a:gd name="T48" fmla="*/ 21 w 151"/>
                    <a:gd name="T49" fmla="*/ 3 h 131"/>
                    <a:gd name="T50" fmla="*/ 21 w 151"/>
                    <a:gd name="T51" fmla="*/ 0 h 131"/>
                    <a:gd name="T52" fmla="*/ 16 w 151"/>
                    <a:gd name="T53" fmla="*/ 3 h 131"/>
                    <a:gd name="T54" fmla="*/ 14 w 151"/>
                    <a:gd name="T55" fmla="*/ 0 h 131"/>
                    <a:gd name="T56" fmla="*/ 9 w 151"/>
                    <a:gd name="T57" fmla="*/ 5 h 131"/>
                    <a:gd name="T58" fmla="*/ 5 w 151"/>
                    <a:gd name="T59" fmla="*/ 5 h 131"/>
                    <a:gd name="T60" fmla="*/ 2 w 151"/>
                    <a:gd name="T61" fmla="*/ 5 h 131"/>
                    <a:gd name="T62" fmla="*/ 0 w 151"/>
                    <a:gd name="T63" fmla="*/ 15 h 131"/>
                    <a:gd name="T64" fmla="*/ 16 w 151"/>
                    <a:gd name="T65" fmla="*/ 36 h 131"/>
                    <a:gd name="T66" fmla="*/ 23 w 151"/>
                    <a:gd name="T67" fmla="*/ 53 h 131"/>
                    <a:gd name="T68" fmla="*/ 28 w 151"/>
                    <a:gd name="T69" fmla="*/ 64 h 131"/>
                    <a:gd name="T70" fmla="*/ 33 w 151"/>
                    <a:gd name="T71" fmla="*/ 86 h 131"/>
                    <a:gd name="T72" fmla="*/ 33 w 151"/>
                    <a:gd name="T73" fmla="*/ 93 h 131"/>
                    <a:gd name="T74" fmla="*/ 35 w 151"/>
                    <a:gd name="T75" fmla="*/ 100 h 131"/>
                    <a:gd name="T76" fmla="*/ 35 w 151"/>
                    <a:gd name="T77" fmla="*/ 105 h 131"/>
                    <a:gd name="T78" fmla="*/ 40 w 151"/>
                    <a:gd name="T79" fmla="*/ 114 h 131"/>
                    <a:gd name="T80" fmla="*/ 45 w 151"/>
                    <a:gd name="T81" fmla="*/ 124 h 131"/>
                    <a:gd name="T82" fmla="*/ 54 w 151"/>
                    <a:gd name="T83" fmla="*/ 124 h 131"/>
                    <a:gd name="T84" fmla="*/ 54 w 151"/>
                    <a:gd name="T85" fmla="*/ 121 h 131"/>
                    <a:gd name="T86" fmla="*/ 61 w 151"/>
                    <a:gd name="T87" fmla="*/ 121 h 131"/>
                    <a:gd name="T88" fmla="*/ 64 w 151"/>
                    <a:gd name="T89" fmla="*/ 128 h 131"/>
                    <a:gd name="T90" fmla="*/ 71 w 151"/>
                    <a:gd name="T91" fmla="*/ 128 h 131"/>
                    <a:gd name="T92" fmla="*/ 76 w 151"/>
                    <a:gd name="T93" fmla="*/ 128 h 131"/>
                    <a:gd name="T94" fmla="*/ 78 w 151"/>
                    <a:gd name="T95" fmla="*/ 131 h 131"/>
                    <a:gd name="T96" fmla="*/ 80 w 151"/>
                    <a:gd name="T97" fmla="*/ 126 h 131"/>
                    <a:gd name="T98" fmla="*/ 90 w 151"/>
                    <a:gd name="T99" fmla="*/ 124 h 131"/>
                    <a:gd name="T100" fmla="*/ 92 w 151"/>
                    <a:gd name="T101" fmla="*/ 86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51" h="131">
                      <a:moveTo>
                        <a:pt x="92" y="86"/>
                      </a:moveTo>
                      <a:lnTo>
                        <a:pt x="92" y="86"/>
                      </a:lnTo>
                      <a:lnTo>
                        <a:pt x="94" y="53"/>
                      </a:lnTo>
                      <a:lnTo>
                        <a:pt x="104" y="53"/>
                      </a:lnTo>
                      <a:lnTo>
                        <a:pt x="106" y="17"/>
                      </a:lnTo>
                      <a:lnTo>
                        <a:pt x="113" y="17"/>
                      </a:lnTo>
                      <a:lnTo>
                        <a:pt x="125" y="15"/>
                      </a:lnTo>
                      <a:lnTo>
                        <a:pt x="128" y="15"/>
                      </a:lnTo>
                      <a:lnTo>
                        <a:pt x="130" y="15"/>
                      </a:lnTo>
                      <a:lnTo>
                        <a:pt x="130" y="12"/>
                      </a:lnTo>
                      <a:lnTo>
                        <a:pt x="130" y="15"/>
                      </a:lnTo>
                      <a:lnTo>
                        <a:pt x="132" y="15"/>
                      </a:lnTo>
                      <a:lnTo>
                        <a:pt x="132" y="17"/>
                      </a:lnTo>
                      <a:lnTo>
                        <a:pt x="132" y="17"/>
                      </a:lnTo>
                      <a:lnTo>
                        <a:pt x="132" y="17"/>
                      </a:lnTo>
                      <a:lnTo>
                        <a:pt x="132" y="19"/>
                      </a:lnTo>
                      <a:lnTo>
                        <a:pt x="137" y="17"/>
                      </a:lnTo>
                      <a:lnTo>
                        <a:pt x="137" y="15"/>
                      </a:lnTo>
                      <a:lnTo>
                        <a:pt x="139" y="12"/>
                      </a:lnTo>
                      <a:lnTo>
                        <a:pt x="142" y="12"/>
                      </a:lnTo>
                      <a:lnTo>
                        <a:pt x="144" y="12"/>
                      </a:lnTo>
                      <a:lnTo>
                        <a:pt x="144" y="12"/>
                      </a:lnTo>
                      <a:lnTo>
                        <a:pt x="146" y="12"/>
                      </a:lnTo>
                      <a:lnTo>
                        <a:pt x="149" y="10"/>
                      </a:lnTo>
                      <a:lnTo>
                        <a:pt x="151" y="10"/>
                      </a:lnTo>
                      <a:lnTo>
                        <a:pt x="151" y="8"/>
                      </a:lnTo>
                      <a:lnTo>
                        <a:pt x="151" y="8"/>
                      </a:lnTo>
                      <a:lnTo>
                        <a:pt x="149" y="8"/>
                      </a:lnTo>
                      <a:lnTo>
                        <a:pt x="149" y="8"/>
                      </a:lnTo>
                      <a:lnTo>
                        <a:pt x="146" y="8"/>
                      </a:lnTo>
                      <a:lnTo>
                        <a:pt x="146" y="8"/>
                      </a:lnTo>
                      <a:lnTo>
                        <a:pt x="146" y="5"/>
                      </a:lnTo>
                      <a:lnTo>
                        <a:pt x="144" y="8"/>
                      </a:lnTo>
                      <a:lnTo>
                        <a:pt x="142" y="8"/>
                      </a:lnTo>
                      <a:lnTo>
                        <a:pt x="113" y="12"/>
                      </a:lnTo>
                      <a:lnTo>
                        <a:pt x="113" y="12"/>
                      </a:lnTo>
                      <a:lnTo>
                        <a:pt x="113" y="12"/>
                      </a:lnTo>
                      <a:lnTo>
                        <a:pt x="111" y="12"/>
                      </a:lnTo>
                      <a:lnTo>
                        <a:pt x="111" y="12"/>
                      </a:lnTo>
                      <a:lnTo>
                        <a:pt x="111" y="12"/>
                      </a:lnTo>
                      <a:lnTo>
                        <a:pt x="109" y="12"/>
                      </a:lnTo>
                      <a:lnTo>
                        <a:pt x="109" y="12"/>
                      </a:lnTo>
                      <a:lnTo>
                        <a:pt x="109" y="12"/>
                      </a:lnTo>
                      <a:lnTo>
                        <a:pt x="106" y="10"/>
                      </a:lnTo>
                      <a:lnTo>
                        <a:pt x="106" y="12"/>
                      </a:lnTo>
                      <a:lnTo>
                        <a:pt x="106" y="12"/>
                      </a:lnTo>
                      <a:lnTo>
                        <a:pt x="104" y="12"/>
                      </a:lnTo>
                      <a:lnTo>
                        <a:pt x="102" y="12"/>
                      </a:lnTo>
                      <a:lnTo>
                        <a:pt x="99" y="12"/>
                      </a:lnTo>
                      <a:lnTo>
                        <a:pt x="97" y="10"/>
                      </a:lnTo>
                      <a:lnTo>
                        <a:pt x="97" y="10"/>
                      </a:lnTo>
                      <a:lnTo>
                        <a:pt x="94" y="10"/>
                      </a:lnTo>
                      <a:lnTo>
                        <a:pt x="94" y="10"/>
                      </a:lnTo>
                      <a:lnTo>
                        <a:pt x="94" y="10"/>
                      </a:lnTo>
                      <a:lnTo>
                        <a:pt x="92" y="10"/>
                      </a:lnTo>
                      <a:lnTo>
                        <a:pt x="90" y="10"/>
                      </a:lnTo>
                      <a:lnTo>
                        <a:pt x="87" y="12"/>
                      </a:lnTo>
                      <a:lnTo>
                        <a:pt x="85" y="10"/>
                      </a:lnTo>
                      <a:lnTo>
                        <a:pt x="85" y="10"/>
                      </a:lnTo>
                      <a:lnTo>
                        <a:pt x="85" y="10"/>
                      </a:lnTo>
                      <a:lnTo>
                        <a:pt x="83" y="10"/>
                      </a:lnTo>
                      <a:lnTo>
                        <a:pt x="80" y="10"/>
                      </a:lnTo>
                      <a:lnTo>
                        <a:pt x="78" y="8"/>
                      </a:lnTo>
                      <a:lnTo>
                        <a:pt x="78" y="8"/>
                      </a:lnTo>
                      <a:lnTo>
                        <a:pt x="76" y="5"/>
                      </a:lnTo>
                      <a:lnTo>
                        <a:pt x="76" y="5"/>
                      </a:lnTo>
                      <a:lnTo>
                        <a:pt x="33" y="5"/>
                      </a:lnTo>
                      <a:lnTo>
                        <a:pt x="33" y="5"/>
                      </a:lnTo>
                      <a:lnTo>
                        <a:pt x="31" y="5"/>
                      </a:lnTo>
                      <a:lnTo>
                        <a:pt x="31" y="5"/>
                      </a:lnTo>
                      <a:lnTo>
                        <a:pt x="28" y="5"/>
                      </a:lnTo>
                      <a:lnTo>
                        <a:pt x="28" y="8"/>
                      </a:lnTo>
                      <a:lnTo>
                        <a:pt x="23" y="5"/>
                      </a:lnTo>
                      <a:lnTo>
                        <a:pt x="21" y="3"/>
                      </a:lnTo>
                      <a:lnTo>
                        <a:pt x="21" y="3"/>
                      </a:lnTo>
                      <a:lnTo>
                        <a:pt x="21" y="3"/>
                      </a:lnTo>
                      <a:lnTo>
                        <a:pt x="21" y="3"/>
                      </a:lnTo>
                      <a:lnTo>
                        <a:pt x="21" y="0"/>
                      </a:lnTo>
                      <a:lnTo>
                        <a:pt x="19" y="0"/>
                      </a:lnTo>
                      <a:lnTo>
                        <a:pt x="19" y="0"/>
                      </a:lnTo>
                      <a:lnTo>
                        <a:pt x="16" y="3"/>
                      </a:lnTo>
                      <a:lnTo>
                        <a:pt x="16" y="0"/>
                      </a:lnTo>
                      <a:lnTo>
                        <a:pt x="14" y="0"/>
                      </a:lnTo>
                      <a:lnTo>
                        <a:pt x="14" y="0"/>
                      </a:lnTo>
                      <a:lnTo>
                        <a:pt x="9" y="3"/>
                      </a:lnTo>
                      <a:lnTo>
                        <a:pt x="9" y="5"/>
                      </a:lnTo>
                      <a:lnTo>
                        <a:pt x="9" y="5"/>
                      </a:lnTo>
                      <a:lnTo>
                        <a:pt x="7" y="5"/>
                      </a:lnTo>
                      <a:lnTo>
                        <a:pt x="5" y="3"/>
                      </a:lnTo>
                      <a:lnTo>
                        <a:pt x="5" y="5"/>
                      </a:lnTo>
                      <a:lnTo>
                        <a:pt x="5" y="5"/>
                      </a:lnTo>
                      <a:lnTo>
                        <a:pt x="2" y="5"/>
                      </a:lnTo>
                      <a:lnTo>
                        <a:pt x="2" y="5"/>
                      </a:lnTo>
                      <a:lnTo>
                        <a:pt x="0" y="5"/>
                      </a:lnTo>
                      <a:lnTo>
                        <a:pt x="0" y="5"/>
                      </a:lnTo>
                      <a:lnTo>
                        <a:pt x="0" y="15"/>
                      </a:lnTo>
                      <a:lnTo>
                        <a:pt x="7" y="19"/>
                      </a:lnTo>
                      <a:lnTo>
                        <a:pt x="12" y="27"/>
                      </a:lnTo>
                      <a:lnTo>
                        <a:pt x="16" y="36"/>
                      </a:lnTo>
                      <a:lnTo>
                        <a:pt x="16" y="41"/>
                      </a:lnTo>
                      <a:lnTo>
                        <a:pt x="23" y="48"/>
                      </a:lnTo>
                      <a:lnTo>
                        <a:pt x="23" y="53"/>
                      </a:lnTo>
                      <a:lnTo>
                        <a:pt x="28" y="60"/>
                      </a:lnTo>
                      <a:lnTo>
                        <a:pt x="28" y="64"/>
                      </a:lnTo>
                      <a:lnTo>
                        <a:pt x="28" y="64"/>
                      </a:lnTo>
                      <a:lnTo>
                        <a:pt x="28" y="69"/>
                      </a:lnTo>
                      <a:lnTo>
                        <a:pt x="31" y="76"/>
                      </a:lnTo>
                      <a:lnTo>
                        <a:pt x="33" y="86"/>
                      </a:lnTo>
                      <a:lnTo>
                        <a:pt x="33" y="91"/>
                      </a:lnTo>
                      <a:lnTo>
                        <a:pt x="33" y="93"/>
                      </a:lnTo>
                      <a:lnTo>
                        <a:pt x="33" y="93"/>
                      </a:lnTo>
                      <a:lnTo>
                        <a:pt x="33" y="95"/>
                      </a:lnTo>
                      <a:lnTo>
                        <a:pt x="35" y="100"/>
                      </a:lnTo>
                      <a:lnTo>
                        <a:pt x="35" y="100"/>
                      </a:lnTo>
                      <a:lnTo>
                        <a:pt x="38" y="102"/>
                      </a:lnTo>
                      <a:lnTo>
                        <a:pt x="35" y="105"/>
                      </a:lnTo>
                      <a:lnTo>
                        <a:pt x="35" y="105"/>
                      </a:lnTo>
                      <a:lnTo>
                        <a:pt x="38" y="107"/>
                      </a:lnTo>
                      <a:lnTo>
                        <a:pt x="38" y="112"/>
                      </a:lnTo>
                      <a:lnTo>
                        <a:pt x="40" y="114"/>
                      </a:lnTo>
                      <a:lnTo>
                        <a:pt x="42" y="119"/>
                      </a:lnTo>
                      <a:lnTo>
                        <a:pt x="45" y="121"/>
                      </a:lnTo>
                      <a:lnTo>
                        <a:pt x="45" y="124"/>
                      </a:lnTo>
                      <a:lnTo>
                        <a:pt x="49" y="126"/>
                      </a:lnTo>
                      <a:lnTo>
                        <a:pt x="52" y="124"/>
                      </a:lnTo>
                      <a:lnTo>
                        <a:pt x="54" y="124"/>
                      </a:lnTo>
                      <a:lnTo>
                        <a:pt x="54" y="124"/>
                      </a:lnTo>
                      <a:lnTo>
                        <a:pt x="52" y="121"/>
                      </a:lnTo>
                      <a:lnTo>
                        <a:pt x="54" y="121"/>
                      </a:lnTo>
                      <a:lnTo>
                        <a:pt x="57" y="119"/>
                      </a:lnTo>
                      <a:lnTo>
                        <a:pt x="59" y="121"/>
                      </a:lnTo>
                      <a:lnTo>
                        <a:pt x="61" y="121"/>
                      </a:lnTo>
                      <a:lnTo>
                        <a:pt x="59" y="124"/>
                      </a:lnTo>
                      <a:lnTo>
                        <a:pt x="61" y="126"/>
                      </a:lnTo>
                      <a:lnTo>
                        <a:pt x="64" y="128"/>
                      </a:lnTo>
                      <a:lnTo>
                        <a:pt x="66" y="128"/>
                      </a:lnTo>
                      <a:lnTo>
                        <a:pt x="68" y="128"/>
                      </a:lnTo>
                      <a:lnTo>
                        <a:pt x="71" y="128"/>
                      </a:lnTo>
                      <a:lnTo>
                        <a:pt x="73" y="128"/>
                      </a:lnTo>
                      <a:lnTo>
                        <a:pt x="73" y="128"/>
                      </a:lnTo>
                      <a:lnTo>
                        <a:pt x="76" y="128"/>
                      </a:lnTo>
                      <a:lnTo>
                        <a:pt x="76" y="131"/>
                      </a:lnTo>
                      <a:lnTo>
                        <a:pt x="78" y="128"/>
                      </a:lnTo>
                      <a:lnTo>
                        <a:pt x="78" y="131"/>
                      </a:lnTo>
                      <a:lnTo>
                        <a:pt x="78" y="128"/>
                      </a:lnTo>
                      <a:lnTo>
                        <a:pt x="80" y="126"/>
                      </a:lnTo>
                      <a:lnTo>
                        <a:pt x="80" y="126"/>
                      </a:lnTo>
                      <a:lnTo>
                        <a:pt x="83" y="124"/>
                      </a:lnTo>
                      <a:lnTo>
                        <a:pt x="85" y="124"/>
                      </a:lnTo>
                      <a:lnTo>
                        <a:pt x="90" y="124"/>
                      </a:lnTo>
                      <a:lnTo>
                        <a:pt x="90" y="124"/>
                      </a:lnTo>
                      <a:lnTo>
                        <a:pt x="92" y="86"/>
                      </a:lnTo>
                      <a:lnTo>
                        <a:pt x="92" y="86"/>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8" name="Freeform 153">
                  <a:extLst>
                    <a:ext uri="{FF2B5EF4-FFF2-40B4-BE49-F238E27FC236}">
                      <a16:creationId xmlns:a16="http://schemas.microsoft.com/office/drawing/2014/main" id="{FD48880C-897B-728D-AFD1-E5F7FBD85E60}"/>
                    </a:ext>
                  </a:extLst>
                </p:cNvPr>
                <p:cNvSpPr>
                  <a:spLocks noEditPoints="1"/>
                </p:cNvSpPr>
                <p:nvPr/>
              </p:nvSpPr>
              <p:spPr bwMode="auto">
                <a:xfrm>
                  <a:off x="4502" y="2830"/>
                  <a:ext cx="45" cy="30"/>
                </a:xfrm>
                <a:custGeom>
                  <a:avLst/>
                  <a:gdLst>
                    <a:gd name="T0" fmla="*/ 5 w 45"/>
                    <a:gd name="T1" fmla="*/ 4 h 30"/>
                    <a:gd name="T2" fmla="*/ 7 w 45"/>
                    <a:gd name="T3" fmla="*/ 4 h 30"/>
                    <a:gd name="T4" fmla="*/ 9 w 45"/>
                    <a:gd name="T5" fmla="*/ 7 h 30"/>
                    <a:gd name="T6" fmla="*/ 12 w 45"/>
                    <a:gd name="T7" fmla="*/ 9 h 30"/>
                    <a:gd name="T8" fmla="*/ 19 w 45"/>
                    <a:gd name="T9" fmla="*/ 19 h 30"/>
                    <a:gd name="T10" fmla="*/ 21 w 45"/>
                    <a:gd name="T11" fmla="*/ 19 h 30"/>
                    <a:gd name="T12" fmla="*/ 28 w 45"/>
                    <a:gd name="T13" fmla="*/ 26 h 30"/>
                    <a:gd name="T14" fmla="*/ 31 w 45"/>
                    <a:gd name="T15" fmla="*/ 30 h 30"/>
                    <a:gd name="T16" fmla="*/ 28 w 45"/>
                    <a:gd name="T17" fmla="*/ 30 h 30"/>
                    <a:gd name="T18" fmla="*/ 24 w 45"/>
                    <a:gd name="T19" fmla="*/ 28 h 30"/>
                    <a:gd name="T20" fmla="*/ 21 w 45"/>
                    <a:gd name="T21" fmla="*/ 26 h 30"/>
                    <a:gd name="T22" fmla="*/ 16 w 45"/>
                    <a:gd name="T23" fmla="*/ 23 h 30"/>
                    <a:gd name="T24" fmla="*/ 14 w 45"/>
                    <a:gd name="T25" fmla="*/ 23 h 30"/>
                    <a:gd name="T26" fmla="*/ 12 w 45"/>
                    <a:gd name="T27" fmla="*/ 19 h 30"/>
                    <a:gd name="T28" fmla="*/ 9 w 45"/>
                    <a:gd name="T29" fmla="*/ 16 h 30"/>
                    <a:gd name="T30" fmla="*/ 7 w 45"/>
                    <a:gd name="T31" fmla="*/ 11 h 30"/>
                    <a:gd name="T32" fmla="*/ 2 w 45"/>
                    <a:gd name="T33" fmla="*/ 7 h 30"/>
                    <a:gd name="T34" fmla="*/ 0 w 45"/>
                    <a:gd name="T35" fmla="*/ 2 h 30"/>
                    <a:gd name="T36" fmla="*/ 2 w 45"/>
                    <a:gd name="T37" fmla="*/ 0 h 30"/>
                    <a:gd name="T38" fmla="*/ 45 w 45"/>
                    <a:gd name="T39" fmla="*/ 19 h 30"/>
                    <a:gd name="T40" fmla="*/ 45 w 45"/>
                    <a:gd name="T41" fmla="*/ 21 h 30"/>
                    <a:gd name="T42" fmla="*/ 42 w 45"/>
                    <a:gd name="T43" fmla="*/ 23 h 30"/>
                    <a:gd name="T44" fmla="*/ 40 w 45"/>
                    <a:gd name="T45" fmla="*/ 19 h 30"/>
                    <a:gd name="T46" fmla="*/ 35 w 45"/>
                    <a:gd name="T47" fmla="*/ 9 h 30"/>
                    <a:gd name="T48" fmla="*/ 35 w 45"/>
                    <a:gd name="T49" fmla="*/ 11 h 30"/>
                    <a:gd name="T50" fmla="*/ 35 w 45"/>
                    <a:gd name="T51" fmla="*/ 14 h 30"/>
                    <a:gd name="T52" fmla="*/ 38 w 45"/>
                    <a:gd name="T53" fmla="*/ 14 h 30"/>
                    <a:gd name="T54" fmla="*/ 38 w 45"/>
                    <a:gd name="T55" fmla="*/ 11 h 30"/>
                    <a:gd name="T56" fmla="*/ 35 w 45"/>
                    <a:gd name="T57" fmla="*/ 9 h 30"/>
                    <a:gd name="T58" fmla="*/ 28 w 45"/>
                    <a:gd name="T59" fmla="*/ 7 h 30"/>
                    <a:gd name="T60" fmla="*/ 28 w 45"/>
                    <a:gd name="T61" fmla="*/ 9 h 30"/>
                    <a:gd name="T62" fmla="*/ 31 w 45"/>
                    <a:gd name="T63" fmla="*/ 7 h 30"/>
                    <a:gd name="T64" fmla="*/ 28 w 45"/>
                    <a:gd name="T65" fmla="*/ 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30">
                      <a:moveTo>
                        <a:pt x="2" y="0"/>
                      </a:moveTo>
                      <a:lnTo>
                        <a:pt x="5" y="4"/>
                      </a:lnTo>
                      <a:lnTo>
                        <a:pt x="5" y="2"/>
                      </a:lnTo>
                      <a:lnTo>
                        <a:pt x="7" y="4"/>
                      </a:lnTo>
                      <a:lnTo>
                        <a:pt x="7" y="7"/>
                      </a:lnTo>
                      <a:lnTo>
                        <a:pt x="9" y="7"/>
                      </a:lnTo>
                      <a:lnTo>
                        <a:pt x="12" y="9"/>
                      </a:lnTo>
                      <a:lnTo>
                        <a:pt x="12" y="9"/>
                      </a:lnTo>
                      <a:lnTo>
                        <a:pt x="16" y="16"/>
                      </a:lnTo>
                      <a:lnTo>
                        <a:pt x="19" y="19"/>
                      </a:lnTo>
                      <a:lnTo>
                        <a:pt x="21" y="19"/>
                      </a:lnTo>
                      <a:lnTo>
                        <a:pt x="21" y="19"/>
                      </a:lnTo>
                      <a:lnTo>
                        <a:pt x="26" y="23"/>
                      </a:lnTo>
                      <a:lnTo>
                        <a:pt x="28" y="26"/>
                      </a:lnTo>
                      <a:lnTo>
                        <a:pt x="31" y="28"/>
                      </a:lnTo>
                      <a:lnTo>
                        <a:pt x="31" y="30"/>
                      </a:lnTo>
                      <a:lnTo>
                        <a:pt x="28" y="30"/>
                      </a:lnTo>
                      <a:lnTo>
                        <a:pt x="28" y="30"/>
                      </a:lnTo>
                      <a:lnTo>
                        <a:pt x="26" y="28"/>
                      </a:lnTo>
                      <a:lnTo>
                        <a:pt x="24" y="28"/>
                      </a:lnTo>
                      <a:lnTo>
                        <a:pt x="21" y="28"/>
                      </a:lnTo>
                      <a:lnTo>
                        <a:pt x="21" y="26"/>
                      </a:lnTo>
                      <a:lnTo>
                        <a:pt x="19" y="26"/>
                      </a:lnTo>
                      <a:lnTo>
                        <a:pt x="16" y="23"/>
                      </a:lnTo>
                      <a:lnTo>
                        <a:pt x="16" y="21"/>
                      </a:lnTo>
                      <a:lnTo>
                        <a:pt x="14" y="23"/>
                      </a:lnTo>
                      <a:lnTo>
                        <a:pt x="14" y="19"/>
                      </a:lnTo>
                      <a:lnTo>
                        <a:pt x="12" y="19"/>
                      </a:lnTo>
                      <a:lnTo>
                        <a:pt x="9" y="16"/>
                      </a:lnTo>
                      <a:lnTo>
                        <a:pt x="9" y="16"/>
                      </a:lnTo>
                      <a:lnTo>
                        <a:pt x="7" y="14"/>
                      </a:lnTo>
                      <a:lnTo>
                        <a:pt x="7" y="11"/>
                      </a:lnTo>
                      <a:lnTo>
                        <a:pt x="5" y="11"/>
                      </a:lnTo>
                      <a:lnTo>
                        <a:pt x="2" y="7"/>
                      </a:lnTo>
                      <a:lnTo>
                        <a:pt x="2" y="4"/>
                      </a:lnTo>
                      <a:lnTo>
                        <a:pt x="0" y="2"/>
                      </a:lnTo>
                      <a:lnTo>
                        <a:pt x="2" y="0"/>
                      </a:lnTo>
                      <a:lnTo>
                        <a:pt x="2" y="0"/>
                      </a:lnTo>
                      <a:close/>
                      <a:moveTo>
                        <a:pt x="40" y="19"/>
                      </a:moveTo>
                      <a:lnTo>
                        <a:pt x="45" y="19"/>
                      </a:lnTo>
                      <a:lnTo>
                        <a:pt x="45" y="19"/>
                      </a:lnTo>
                      <a:lnTo>
                        <a:pt x="45" y="21"/>
                      </a:lnTo>
                      <a:lnTo>
                        <a:pt x="45" y="21"/>
                      </a:lnTo>
                      <a:lnTo>
                        <a:pt x="42" y="23"/>
                      </a:lnTo>
                      <a:lnTo>
                        <a:pt x="40" y="21"/>
                      </a:lnTo>
                      <a:lnTo>
                        <a:pt x="40" y="19"/>
                      </a:lnTo>
                      <a:lnTo>
                        <a:pt x="40" y="19"/>
                      </a:lnTo>
                      <a:close/>
                      <a:moveTo>
                        <a:pt x="35" y="9"/>
                      </a:moveTo>
                      <a:lnTo>
                        <a:pt x="33" y="9"/>
                      </a:lnTo>
                      <a:lnTo>
                        <a:pt x="35" y="11"/>
                      </a:lnTo>
                      <a:lnTo>
                        <a:pt x="33" y="11"/>
                      </a:lnTo>
                      <a:lnTo>
                        <a:pt x="35" y="14"/>
                      </a:lnTo>
                      <a:lnTo>
                        <a:pt x="38" y="14"/>
                      </a:lnTo>
                      <a:lnTo>
                        <a:pt x="38" y="14"/>
                      </a:lnTo>
                      <a:lnTo>
                        <a:pt x="38" y="11"/>
                      </a:lnTo>
                      <a:lnTo>
                        <a:pt x="38" y="11"/>
                      </a:lnTo>
                      <a:lnTo>
                        <a:pt x="38" y="9"/>
                      </a:lnTo>
                      <a:lnTo>
                        <a:pt x="35" y="9"/>
                      </a:lnTo>
                      <a:lnTo>
                        <a:pt x="35" y="9"/>
                      </a:lnTo>
                      <a:close/>
                      <a:moveTo>
                        <a:pt x="28" y="7"/>
                      </a:moveTo>
                      <a:lnTo>
                        <a:pt x="28" y="7"/>
                      </a:lnTo>
                      <a:lnTo>
                        <a:pt x="28" y="9"/>
                      </a:lnTo>
                      <a:lnTo>
                        <a:pt x="31" y="9"/>
                      </a:lnTo>
                      <a:lnTo>
                        <a:pt x="31" y="7"/>
                      </a:lnTo>
                      <a:lnTo>
                        <a:pt x="31" y="7"/>
                      </a:lnTo>
                      <a:lnTo>
                        <a:pt x="28" y="7"/>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9" name="Freeform 154">
                  <a:extLst>
                    <a:ext uri="{FF2B5EF4-FFF2-40B4-BE49-F238E27FC236}">
                      <a16:creationId xmlns:a16="http://schemas.microsoft.com/office/drawing/2014/main" id="{F396422D-224C-7AB9-45CB-A0A0FC7A6369}"/>
                    </a:ext>
                  </a:extLst>
                </p:cNvPr>
                <p:cNvSpPr>
                  <a:spLocks/>
                </p:cNvSpPr>
                <p:nvPr/>
              </p:nvSpPr>
              <p:spPr bwMode="auto">
                <a:xfrm>
                  <a:off x="3295" y="2811"/>
                  <a:ext cx="7" cy="7"/>
                </a:xfrm>
                <a:custGeom>
                  <a:avLst/>
                  <a:gdLst>
                    <a:gd name="T0" fmla="*/ 3 w 7"/>
                    <a:gd name="T1" fmla="*/ 2 h 7"/>
                    <a:gd name="T2" fmla="*/ 3 w 7"/>
                    <a:gd name="T3" fmla="*/ 4 h 7"/>
                    <a:gd name="T4" fmla="*/ 0 w 7"/>
                    <a:gd name="T5" fmla="*/ 4 h 7"/>
                    <a:gd name="T6" fmla="*/ 5 w 7"/>
                    <a:gd name="T7" fmla="*/ 7 h 7"/>
                    <a:gd name="T8" fmla="*/ 7 w 7"/>
                    <a:gd name="T9" fmla="*/ 7 h 7"/>
                    <a:gd name="T10" fmla="*/ 5 w 7"/>
                    <a:gd name="T11" fmla="*/ 4 h 7"/>
                    <a:gd name="T12" fmla="*/ 7 w 7"/>
                    <a:gd name="T13" fmla="*/ 2 h 7"/>
                    <a:gd name="T14" fmla="*/ 7 w 7"/>
                    <a:gd name="T15" fmla="*/ 2 h 7"/>
                    <a:gd name="T16" fmla="*/ 5 w 7"/>
                    <a:gd name="T17" fmla="*/ 0 h 7"/>
                    <a:gd name="T18" fmla="*/ 5 w 7"/>
                    <a:gd name="T19" fmla="*/ 2 h 7"/>
                    <a:gd name="T20" fmla="*/ 3 w 7"/>
                    <a:gd name="T21"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7">
                      <a:moveTo>
                        <a:pt x="3" y="2"/>
                      </a:moveTo>
                      <a:lnTo>
                        <a:pt x="3" y="4"/>
                      </a:lnTo>
                      <a:lnTo>
                        <a:pt x="0" y="4"/>
                      </a:lnTo>
                      <a:lnTo>
                        <a:pt x="5" y="7"/>
                      </a:lnTo>
                      <a:lnTo>
                        <a:pt x="7" y="7"/>
                      </a:lnTo>
                      <a:lnTo>
                        <a:pt x="5" y="4"/>
                      </a:lnTo>
                      <a:lnTo>
                        <a:pt x="7" y="2"/>
                      </a:lnTo>
                      <a:lnTo>
                        <a:pt x="7" y="2"/>
                      </a:lnTo>
                      <a:lnTo>
                        <a:pt x="5" y="0"/>
                      </a:lnTo>
                      <a:lnTo>
                        <a:pt x="5" y="2"/>
                      </a:lnTo>
                      <a:lnTo>
                        <a:pt x="3" y="2"/>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0" name="Freeform 155">
                  <a:extLst>
                    <a:ext uri="{FF2B5EF4-FFF2-40B4-BE49-F238E27FC236}">
                      <a16:creationId xmlns:a16="http://schemas.microsoft.com/office/drawing/2014/main" id="{FC6F17C5-78BC-BFB9-48AE-CD64ECB94CD1}"/>
                    </a:ext>
                  </a:extLst>
                </p:cNvPr>
                <p:cNvSpPr>
                  <a:spLocks/>
                </p:cNvSpPr>
                <p:nvPr/>
              </p:nvSpPr>
              <p:spPr bwMode="auto">
                <a:xfrm>
                  <a:off x="3274" y="2820"/>
                  <a:ext cx="5" cy="7"/>
                </a:xfrm>
                <a:custGeom>
                  <a:avLst/>
                  <a:gdLst>
                    <a:gd name="T0" fmla="*/ 0 w 5"/>
                    <a:gd name="T1" fmla="*/ 0 h 7"/>
                    <a:gd name="T2" fmla="*/ 0 w 5"/>
                    <a:gd name="T3" fmla="*/ 2 h 7"/>
                    <a:gd name="T4" fmla="*/ 2 w 5"/>
                    <a:gd name="T5" fmla="*/ 5 h 7"/>
                    <a:gd name="T6" fmla="*/ 2 w 5"/>
                    <a:gd name="T7" fmla="*/ 7 h 7"/>
                    <a:gd name="T8" fmla="*/ 5 w 5"/>
                    <a:gd name="T9" fmla="*/ 5 h 7"/>
                    <a:gd name="T10" fmla="*/ 5 w 5"/>
                    <a:gd name="T11" fmla="*/ 2 h 7"/>
                    <a:gd name="T12" fmla="*/ 2 w 5"/>
                    <a:gd name="T13" fmla="*/ 0 h 7"/>
                    <a:gd name="T14" fmla="*/ 0 w 5"/>
                    <a:gd name="T15" fmla="*/ 0 h 7"/>
                    <a:gd name="T16" fmla="*/ 0 w 5"/>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7">
                      <a:moveTo>
                        <a:pt x="0" y="0"/>
                      </a:moveTo>
                      <a:lnTo>
                        <a:pt x="0" y="2"/>
                      </a:lnTo>
                      <a:lnTo>
                        <a:pt x="2" y="5"/>
                      </a:lnTo>
                      <a:lnTo>
                        <a:pt x="2" y="7"/>
                      </a:lnTo>
                      <a:lnTo>
                        <a:pt x="5" y="5"/>
                      </a:lnTo>
                      <a:lnTo>
                        <a:pt x="5" y="2"/>
                      </a:lnTo>
                      <a:lnTo>
                        <a:pt x="2" y="0"/>
                      </a:lnTo>
                      <a:lnTo>
                        <a:pt x="0" y="0"/>
                      </a:lnTo>
                      <a:lnTo>
                        <a:pt x="0" y="0"/>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1" name="Freeform 156">
                  <a:extLst>
                    <a:ext uri="{FF2B5EF4-FFF2-40B4-BE49-F238E27FC236}">
                      <a16:creationId xmlns:a16="http://schemas.microsoft.com/office/drawing/2014/main" id="{07CE6CA5-B88A-6B4F-6BE8-D0430639A5F7}"/>
                    </a:ext>
                  </a:extLst>
                </p:cNvPr>
                <p:cNvSpPr>
                  <a:spLocks noEditPoints="1"/>
                </p:cNvSpPr>
                <p:nvPr/>
              </p:nvSpPr>
              <p:spPr bwMode="auto">
                <a:xfrm>
                  <a:off x="3134" y="2725"/>
                  <a:ext cx="86" cy="147"/>
                </a:xfrm>
                <a:custGeom>
                  <a:avLst/>
                  <a:gdLst>
                    <a:gd name="T0" fmla="*/ 24 w 86"/>
                    <a:gd name="T1" fmla="*/ 145 h 147"/>
                    <a:gd name="T2" fmla="*/ 41 w 86"/>
                    <a:gd name="T3" fmla="*/ 140 h 147"/>
                    <a:gd name="T4" fmla="*/ 45 w 86"/>
                    <a:gd name="T5" fmla="*/ 133 h 147"/>
                    <a:gd name="T6" fmla="*/ 48 w 86"/>
                    <a:gd name="T7" fmla="*/ 126 h 147"/>
                    <a:gd name="T8" fmla="*/ 50 w 86"/>
                    <a:gd name="T9" fmla="*/ 121 h 147"/>
                    <a:gd name="T10" fmla="*/ 57 w 86"/>
                    <a:gd name="T11" fmla="*/ 107 h 147"/>
                    <a:gd name="T12" fmla="*/ 67 w 86"/>
                    <a:gd name="T13" fmla="*/ 86 h 147"/>
                    <a:gd name="T14" fmla="*/ 71 w 86"/>
                    <a:gd name="T15" fmla="*/ 74 h 147"/>
                    <a:gd name="T16" fmla="*/ 74 w 86"/>
                    <a:gd name="T17" fmla="*/ 60 h 147"/>
                    <a:gd name="T18" fmla="*/ 76 w 86"/>
                    <a:gd name="T19" fmla="*/ 50 h 147"/>
                    <a:gd name="T20" fmla="*/ 78 w 86"/>
                    <a:gd name="T21" fmla="*/ 43 h 147"/>
                    <a:gd name="T22" fmla="*/ 78 w 86"/>
                    <a:gd name="T23" fmla="*/ 38 h 147"/>
                    <a:gd name="T24" fmla="*/ 83 w 86"/>
                    <a:gd name="T25" fmla="*/ 43 h 147"/>
                    <a:gd name="T26" fmla="*/ 86 w 86"/>
                    <a:gd name="T27" fmla="*/ 38 h 147"/>
                    <a:gd name="T28" fmla="*/ 83 w 86"/>
                    <a:gd name="T29" fmla="*/ 31 h 147"/>
                    <a:gd name="T30" fmla="*/ 83 w 86"/>
                    <a:gd name="T31" fmla="*/ 24 h 147"/>
                    <a:gd name="T32" fmla="*/ 81 w 86"/>
                    <a:gd name="T33" fmla="*/ 10 h 147"/>
                    <a:gd name="T34" fmla="*/ 76 w 86"/>
                    <a:gd name="T35" fmla="*/ 5 h 147"/>
                    <a:gd name="T36" fmla="*/ 74 w 86"/>
                    <a:gd name="T37" fmla="*/ 5 h 147"/>
                    <a:gd name="T38" fmla="*/ 71 w 86"/>
                    <a:gd name="T39" fmla="*/ 7 h 147"/>
                    <a:gd name="T40" fmla="*/ 69 w 86"/>
                    <a:gd name="T41" fmla="*/ 12 h 147"/>
                    <a:gd name="T42" fmla="*/ 64 w 86"/>
                    <a:gd name="T43" fmla="*/ 19 h 147"/>
                    <a:gd name="T44" fmla="*/ 62 w 86"/>
                    <a:gd name="T45" fmla="*/ 19 h 147"/>
                    <a:gd name="T46" fmla="*/ 62 w 86"/>
                    <a:gd name="T47" fmla="*/ 24 h 147"/>
                    <a:gd name="T48" fmla="*/ 57 w 86"/>
                    <a:gd name="T49" fmla="*/ 26 h 147"/>
                    <a:gd name="T50" fmla="*/ 59 w 86"/>
                    <a:gd name="T51" fmla="*/ 31 h 147"/>
                    <a:gd name="T52" fmla="*/ 52 w 86"/>
                    <a:gd name="T53" fmla="*/ 33 h 147"/>
                    <a:gd name="T54" fmla="*/ 50 w 86"/>
                    <a:gd name="T55" fmla="*/ 31 h 147"/>
                    <a:gd name="T56" fmla="*/ 50 w 86"/>
                    <a:gd name="T57" fmla="*/ 36 h 147"/>
                    <a:gd name="T58" fmla="*/ 48 w 86"/>
                    <a:gd name="T59" fmla="*/ 38 h 147"/>
                    <a:gd name="T60" fmla="*/ 48 w 86"/>
                    <a:gd name="T61" fmla="*/ 36 h 147"/>
                    <a:gd name="T62" fmla="*/ 43 w 86"/>
                    <a:gd name="T63" fmla="*/ 43 h 147"/>
                    <a:gd name="T64" fmla="*/ 38 w 86"/>
                    <a:gd name="T65" fmla="*/ 41 h 147"/>
                    <a:gd name="T66" fmla="*/ 31 w 86"/>
                    <a:gd name="T67" fmla="*/ 41 h 147"/>
                    <a:gd name="T68" fmla="*/ 31 w 86"/>
                    <a:gd name="T69" fmla="*/ 43 h 147"/>
                    <a:gd name="T70" fmla="*/ 22 w 86"/>
                    <a:gd name="T71" fmla="*/ 45 h 147"/>
                    <a:gd name="T72" fmla="*/ 17 w 86"/>
                    <a:gd name="T73" fmla="*/ 48 h 147"/>
                    <a:gd name="T74" fmla="*/ 10 w 86"/>
                    <a:gd name="T75" fmla="*/ 60 h 147"/>
                    <a:gd name="T76" fmla="*/ 12 w 86"/>
                    <a:gd name="T77" fmla="*/ 67 h 147"/>
                    <a:gd name="T78" fmla="*/ 17 w 86"/>
                    <a:gd name="T79" fmla="*/ 79 h 147"/>
                    <a:gd name="T80" fmla="*/ 15 w 86"/>
                    <a:gd name="T81" fmla="*/ 86 h 147"/>
                    <a:gd name="T82" fmla="*/ 10 w 86"/>
                    <a:gd name="T83" fmla="*/ 93 h 147"/>
                    <a:gd name="T84" fmla="*/ 3 w 86"/>
                    <a:gd name="T85" fmla="*/ 100 h 147"/>
                    <a:gd name="T86" fmla="*/ 0 w 86"/>
                    <a:gd name="T87" fmla="*/ 109 h 147"/>
                    <a:gd name="T88" fmla="*/ 3 w 86"/>
                    <a:gd name="T89" fmla="*/ 119 h 147"/>
                    <a:gd name="T90" fmla="*/ 5 w 86"/>
                    <a:gd name="T91" fmla="*/ 124 h 147"/>
                    <a:gd name="T92" fmla="*/ 3 w 86"/>
                    <a:gd name="T93" fmla="*/ 128 h 147"/>
                    <a:gd name="T94" fmla="*/ 5 w 86"/>
                    <a:gd name="T95" fmla="*/ 135 h 147"/>
                    <a:gd name="T96" fmla="*/ 10 w 86"/>
                    <a:gd name="T97" fmla="*/ 143 h 147"/>
                    <a:gd name="T98" fmla="*/ 17 w 86"/>
                    <a:gd name="T99" fmla="*/ 145 h 147"/>
                    <a:gd name="T100" fmla="*/ 17 w 86"/>
                    <a:gd name="T101" fmla="*/ 147 h 147"/>
                    <a:gd name="T102" fmla="*/ 69 w 86"/>
                    <a:gd name="T103" fmla="*/ 10 h 147"/>
                    <a:gd name="T104" fmla="*/ 67 w 86"/>
                    <a:gd name="T105" fmla="*/ 15 h 147"/>
                    <a:gd name="T106" fmla="*/ 67 w 86"/>
                    <a:gd name="T107" fmla="*/ 15 h 147"/>
                    <a:gd name="T108" fmla="*/ 64 w 86"/>
                    <a:gd name="T109" fmla="*/ 15 h 147"/>
                    <a:gd name="T110" fmla="*/ 62 w 86"/>
                    <a:gd name="T111" fmla="*/ 15 h 147"/>
                    <a:gd name="T112" fmla="*/ 78 w 86"/>
                    <a:gd name="T113" fmla="*/ 52 h 147"/>
                    <a:gd name="T114" fmla="*/ 81 w 86"/>
                    <a:gd name="T115" fmla="*/ 52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6" h="147">
                      <a:moveTo>
                        <a:pt x="17" y="147"/>
                      </a:moveTo>
                      <a:lnTo>
                        <a:pt x="19" y="145"/>
                      </a:lnTo>
                      <a:lnTo>
                        <a:pt x="22" y="145"/>
                      </a:lnTo>
                      <a:lnTo>
                        <a:pt x="24" y="145"/>
                      </a:lnTo>
                      <a:lnTo>
                        <a:pt x="26" y="143"/>
                      </a:lnTo>
                      <a:lnTo>
                        <a:pt x="33" y="143"/>
                      </a:lnTo>
                      <a:lnTo>
                        <a:pt x="36" y="143"/>
                      </a:lnTo>
                      <a:lnTo>
                        <a:pt x="41" y="140"/>
                      </a:lnTo>
                      <a:lnTo>
                        <a:pt x="41" y="140"/>
                      </a:lnTo>
                      <a:lnTo>
                        <a:pt x="43" y="138"/>
                      </a:lnTo>
                      <a:lnTo>
                        <a:pt x="43" y="135"/>
                      </a:lnTo>
                      <a:lnTo>
                        <a:pt x="45" y="133"/>
                      </a:lnTo>
                      <a:lnTo>
                        <a:pt x="45" y="131"/>
                      </a:lnTo>
                      <a:lnTo>
                        <a:pt x="48" y="131"/>
                      </a:lnTo>
                      <a:lnTo>
                        <a:pt x="48" y="126"/>
                      </a:lnTo>
                      <a:lnTo>
                        <a:pt x="48" y="126"/>
                      </a:lnTo>
                      <a:lnTo>
                        <a:pt x="48" y="126"/>
                      </a:lnTo>
                      <a:lnTo>
                        <a:pt x="50" y="121"/>
                      </a:lnTo>
                      <a:lnTo>
                        <a:pt x="50" y="121"/>
                      </a:lnTo>
                      <a:lnTo>
                        <a:pt x="50" y="121"/>
                      </a:lnTo>
                      <a:lnTo>
                        <a:pt x="52" y="119"/>
                      </a:lnTo>
                      <a:lnTo>
                        <a:pt x="55" y="112"/>
                      </a:lnTo>
                      <a:lnTo>
                        <a:pt x="55" y="107"/>
                      </a:lnTo>
                      <a:lnTo>
                        <a:pt x="57" y="107"/>
                      </a:lnTo>
                      <a:lnTo>
                        <a:pt x="57" y="102"/>
                      </a:lnTo>
                      <a:lnTo>
                        <a:pt x="59" y="97"/>
                      </a:lnTo>
                      <a:lnTo>
                        <a:pt x="64" y="88"/>
                      </a:lnTo>
                      <a:lnTo>
                        <a:pt x="67" y="86"/>
                      </a:lnTo>
                      <a:lnTo>
                        <a:pt x="67" y="83"/>
                      </a:lnTo>
                      <a:lnTo>
                        <a:pt x="69" y="79"/>
                      </a:lnTo>
                      <a:lnTo>
                        <a:pt x="69" y="76"/>
                      </a:lnTo>
                      <a:lnTo>
                        <a:pt x="71" y="74"/>
                      </a:lnTo>
                      <a:lnTo>
                        <a:pt x="71" y="67"/>
                      </a:lnTo>
                      <a:lnTo>
                        <a:pt x="74" y="64"/>
                      </a:lnTo>
                      <a:lnTo>
                        <a:pt x="74" y="62"/>
                      </a:lnTo>
                      <a:lnTo>
                        <a:pt x="74" y="60"/>
                      </a:lnTo>
                      <a:lnTo>
                        <a:pt x="74" y="57"/>
                      </a:lnTo>
                      <a:lnTo>
                        <a:pt x="74" y="55"/>
                      </a:lnTo>
                      <a:lnTo>
                        <a:pt x="76" y="52"/>
                      </a:lnTo>
                      <a:lnTo>
                        <a:pt x="76" y="50"/>
                      </a:lnTo>
                      <a:lnTo>
                        <a:pt x="78" y="50"/>
                      </a:lnTo>
                      <a:lnTo>
                        <a:pt x="78" y="48"/>
                      </a:lnTo>
                      <a:lnTo>
                        <a:pt x="76" y="45"/>
                      </a:lnTo>
                      <a:lnTo>
                        <a:pt x="78" y="43"/>
                      </a:lnTo>
                      <a:lnTo>
                        <a:pt x="78" y="41"/>
                      </a:lnTo>
                      <a:lnTo>
                        <a:pt x="76" y="41"/>
                      </a:lnTo>
                      <a:lnTo>
                        <a:pt x="76" y="38"/>
                      </a:lnTo>
                      <a:lnTo>
                        <a:pt x="78" y="38"/>
                      </a:lnTo>
                      <a:lnTo>
                        <a:pt x="78" y="38"/>
                      </a:lnTo>
                      <a:lnTo>
                        <a:pt x="81" y="41"/>
                      </a:lnTo>
                      <a:lnTo>
                        <a:pt x="81" y="43"/>
                      </a:lnTo>
                      <a:lnTo>
                        <a:pt x="83" y="43"/>
                      </a:lnTo>
                      <a:lnTo>
                        <a:pt x="83" y="43"/>
                      </a:lnTo>
                      <a:lnTo>
                        <a:pt x="83" y="41"/>
                      </a:lnTo>
                      <a:lnTo>
                        <a:pt x="86" y="41"/>
                      </a:lnTo>
                      <a:lnTo>
                        <a:pt x="86" y="38"/>
                      </a:lnTo>
                      <a:lnTo>
                        <a:pt x="86" y="38"/>
                      </a:lnTo>
                      <a:lnTo>
                        <a:pt x="86" y="36"/>
                      </a:lnTo>
                      <a:lnTo>
                        <a:pt x="83" y="33"/>
                      </a:lnTo>
                      <a:lnTo>
                        <a:pt x="83" y="31"/>
                      </a:lnTo>
                      <a:lnTo>
                        <a:pt x="83" y="29"/>
                      </a:lnTo>
                      <a:lnTo>
                        <a:pt x="83" y="26"/>
                      </a:lnTo>
                      <a:lnTo>
                        <a:pt x="83" y="24"/>
                      </a:lnTo>
                      <a:lnTo>
                        <a:pt x="83" y="24"/>
                      </a:lnTo>
                      <a:lnTo>
                        <a:pt x="83" y="19"/>
                      </a:lnTo>
                      <a:lnTo>
                        <a:pt x="81" y="17"/>
                      </a:lnTo>
                      <a:lnTo>
                        <a:pt x="81" y="12"/>
                      </a:lnTo>
                      <a:lnTo>
                        <a:pt x="81" y="10"/>
                      </a:lnTo>
                      <a:lnTo>
                        <a:pt x="81" y="10"/>
                      </a:lnTo>
                      <a:lnTo>
                        <a:pt x="78" y="7"/>
                      </a:lnTo>
                      <a:lnTo>
                        <a:pt x="78" y="5"/>
                      </a:lnTo>
                      <a:lnTo>
                        <a:pt x="76" y="5"/>
                      </a:lnTo>
                      <a:lnTo>
                        <a:pt x="76" y="3"/>
                      </a:lnTo>
                      <a:lnTo>
                        <a:pt x="76" y="0"/>
                      </a:lnTo>
                      <a:lnTo>
                        <a:pt x="74" y="3"/>
                      </a:lnTo>
                      <a:lnTo>
                        <a:pt x="74" y="5"/>
                      </a:lnTo>
                      <a:lnTo>
                        <a:pt x="71" y="5"/>
                      </a:lnTo>
                      <a:lnTo>
                        <a:pt x="69" y="5"/>
                      </a:lnTo>
                      <a:lnTo>
                        <a:pt x="69" y="5"/>
                      </a:lnTo>
                      <a:lnTo>
                        <a:pt x="71" y="7"/>
                      </a:lnTo>
                      <a:lnTo>
                        <a:pt x="71" y="10"/>
                      </a:lnTo>
                      <a:lnTo>
                        <a:pt x="71" y="10"/>
                      </a:lnTo>
                      <a:lnTo>
                        <a:pt x="71" y="10"/>
                      </a:lnTo>
                      <a:lnTo>
                        <a:pt x="69" y="12"/>
                      </a:lnTo>
                      <a:lnTo>
                        <a:pt x="69" y="15"/>
                      </a:lnTo>
                      <a:lnTo>
                        <a:pt x="69" y="17"/>
                      </a:lnTo>
                      <a:lnTo>
                        <a:pt x="67" y="17"/>
                      </a:lnTo>
                      <a:lnTo>
                        <a:pt x="64" y="19"/>
                      </a:lnTo>
                      <a:lnTo>
                        <a:pt x="64" y="22"/>
                      </a:lnTo>
                      <a:lnTo>
                        <a:pt x="64" y="22"/>
                      </a:lnTo>
                      <a:lnTo>
                        <a:pt x="62" y="22"/>
                      </a:lnTo>
                      <a:lnTo>
                        <a:pt x="62" y="19"/>
                      </a:lnTo>
                      <a:lnTo>
                        <a:pt x="62" y="19"/>
                      </a:lnTo>
                      <a:lnTo>
                        <a:pt x="59" y="19"/>
                      </a:lnTo>
                      <a:lnTo>
                        <a:pt x="59" y="22"/>
                      </a:lnTo>
                      <a:lnTo>
                        <a:pt x="62" y="24"/>
                      </a:lnTo>
                      <a:lnTo>
                        <a:pt x="62" y="24"/>
                      </a:lnTo>
                      <a:lnTo>
                        <a:pt x="62" y="26"/>
                      </a:lnTo>
                      <a:lnTo>
                        <a:pt x="59" y="26"/>
                      </a:lnTo>
                      <a:lnTo>
                        <a:pt x="57" y="26"/>
                      </a:lnTo>
                      <a:lnTo>
                        <a:pt x="57" y="29"/>
                      </a:lnTo>
                      <a:lnTo>
                        <a:pt x="59" y="29"/>
                      </a:lnTo>
                      <a:lnTo>
                        <a:pt x="59" y="29"/>
                      </a:lnTo>
                      <a:lnTo>
                        <a:pt x="59" y="31"/>
                      </a:lnTo>
                      <a:lnTo>
                        <a:pt x="59" y="29"/>
                      </a:lnTo>
                      <a:lnTo>
                        <a:pt x="57" y="31"/>
                      </a:lnTo>
                      <a:lnTo>
                        <a:pt x="57" y="31"/>
                      </a:lnTo>
                      <a:lnTo>
                        <a:pt x="52" y="33"/>
                      </a:lnTo>
                      <a:lnTo>
                        <a:pt x="52" y="31"/>
                      </a:lnTo>
                      <a:lnTo>
                        <a:pt x="55" y="31"/>
                      </a:lnTo>
                      <a:lnTo>
                        <a:pt x="52" y="29"/>
                      </a:lnTo>
                      <a:lnTo>
                        <a:pt x="50" y="31"/>
                      </a:lnTo>
                      <a:lnTo>
                        <a:pt x="52" y="31"/>
                      </a:lnTo>
                      <a:lnTo>
                        <a:pt x="52" y="33"/>
                      </a:lnTo>
                      <a:lnTo>
                        <a:pt x="50" y="33"/>
                      </a:lnTo>
                      <a:lnTo>
                        <a:pt x="50" y="36"/>
                      </a:lnTo>
                      <a:lnTo>
                        <a:pt x="52" y="36"/>
                      </a:lnTo>
                      <a:lnTo>
                        <a:pt x="52" y="38"/>
                      </a:lnTo>
                      <a:lnTo>
                        <a:pt x="50" y="38"/>
                      </a:lnTo>
                      <a:lnTo>
                        <a:pt x="48" y="38"/>
                      </a:lnTo>
                      <a:lnTo>
                        <a:pt x="48" y="38"/>
                      </a:lnTo>
                      <a:lnTo>
                        <a:pt x="48" y="38"/>
                      </a:lnTo>
                      <a:lnTo>
                        <a:pt x="48" y="36"/>
                      </a:lnTo>
                      <a:lnTo>
                        <a:pt x="48" y="36"/>
                      </a:lnTo>
                      <a:lnTo>
                        <a:pt x="43" y="38"/>
                      </a:lnTo>
                      <a:lnTo>
                        <a:pt x="43" y="41"/>
                      </a:lnTo>
                      <a:lnTo>
                        <a:pt x="43" y="43"/>
                      </a:lnTo>
                      <a:lnTo>
                        <a:pt x="43" y="43"/>
                      </a:lnTo>
                      <a:lnTo>
                        <a:pt x="41" y="43"/>
                      </a:lnTo>
                      <a:lnTo>
                        <a:pt x="41" y="43"/>
                      </a:lnTo>
                      <a:lnTo>
                        <a:pt x="41" y="41"/>
                      </a:lnTo>
                      <a:lnTo>
                        <a:pt x="38" y="41"/>
                      </a:lnTo>
                      <a:lnTo>
                        <a:pt x="36" y="43"/>
                      </a:lnTo>
                      <a:lnTo>
                        <a:pt x="33" y="41"/>
                      </a:lnTo>
                      <a:lnTo>
                        <a:pt x="33" y="41"/>
                      </a:lnTo>
                      <a:lnTo>
                        <a:pt x="31" y="41"/>
                      </a:lnTo>
                      <a:lnTo>
                        <a:pt x="31" y="45"/>
                      </a:lnTo>
                      <a:lnTo>
                        <a:pt x="31" y="45"/>
                      </a:lnTo>
                      <a:lnTo>
                        <a:pt x="31" y="45"/>
                      </a:lnTo>
                      <a:lnTo>
                        <a:pt x="31" y="43"/>
                      </a:lnTo>
                      <a:lnTo>
                        <a:pt x="29" y="43"/>
                      </a:lnTo>
                      <a:lnTo>
                        <a:pt x="29" y="43"/>
                      </a:lnTo>
                      <a:lnTo>
                        <a:pt x="26" y="43"/>
                      </a:lnTo>
                      <a:lnTo>
                        <a:pt x="22" y="45"/>
                      </a:lnTo>
                      <a:lnTo>
                        <a:pt x="22" y="45"/>
                      </a:lnTo>
                      <a:lnTo>
                        <a:pt x="19" y="45"/>
                      </a:lnTo>
                      <a:lnTo>
                        <a:pt x="17" y="45"/>
                      </a:lnTo>
                      <a:lnTo>
                        <a:pt x="17" y="48"/>
                      </a:lnTo>
                      <a:lnTo>
                        <a:pt x="17" y="50"/>
                      </a:lnTo>
                      <a:lnTo>
                        <a:pt x="15" y="55"/>
                      </a:lnTo>
                      <a:lnTo>
                        <a:pt x="15" y="55"/>
                      </a:lnTo>
                      <a:lnTo>
                        <a:pt x="10" y="60"/>
                      </a:lnTo>
                      <a:lnTo>
                        <a:pt x="10" y="60"/>
                      </a:lnTo>
                      <a:lnTo>
                        <a:pt x="12" y="62"/>
                      </a:lnTo>
                      <a:lnTo>
                        <a:pt x="12" y="64"/>
                      </a:lnTo>
                      <a:lnTo>
                        <a:pt x="12" y="67"/>
                      </a:lnTo>
                      <a:lnTo>
                        <a:pt x="12" y="69"/>
                      </a:lnTo>
                      <a:lnTo>
                        <a:pt x="15" y="74"/>
                      </a:lnTo>
                      <a:lnTo>
                        <a:pt x="15" y="76"/>
                      </a:lnTo>
                      <a:lnTo>
                        <a:pt x="17" y="79"/>
                      </a:lnTo>
                      <a:lnTo>
                        <a:pt x="17" y="79"/>
                      </a:lnTo>
                      <a:lnTo>
                        <a:pt x="15" y="81"/>
                      </a:lnTo>
                      <a:lnTo>
                        <a:pt x="17" y="81"/>
                      </a:lnTo>
                      <a:lnTo>
                        <a:pt x="15" y="86"/>
                      </a:lnTo>
                      <a:lnTo>
                        <a:pt x="12" y="88"/>
                      </a:lnTo>
                      <a:lnTo>
                        <a:pt x="12" y="90"/>
                      </a:lnTo>
                      <a:lnTo>
                        <a:pt x="10" y="90"/>
                      </a:lnTo>
                      <a:lnTo>
                        <a:pt x="10" y="93"/>
                      </a:lnTo>
                      <a:lnTo>
                        <a:pt x="7" y="93"/>
                      </a:lnTo>
                      <a:lnTo>
                        <a:pt x="7" y="97"/>
                      </a:lnTo>
                      <a:lnTo>
                        <a:pt x="7" y="100"/>
                      </a:lnTo>
                      <a:lnTo>
                        <a:pt x="3" y="100"/>
                      </a:lnTo>
                      <a:lnTo>
                        <a:pt x="3" y="100"/>
                      </a:lnTo>
                      <a:lnTo>
                        <a:pt x="3" y="105"/>
                      </a:lnTo>
                      <a:lnTo>
                        <a:pt x="0" y="107"/>
                      </a:lnTo>
                      <a:lnTo>
                        <a:pt x="0" y="109"/>
                      </a:lnTo>
                      <a:lnTo>
                        <a:pt x="0" y="112"/>
                      </a:lnTo>
                      <a:lnTo>
                        <a:pt x="0" y="112"/>
                      </a:lnTo>
                      <a:lnTo>
                        <a:pt x="0" y="114"/>
                      </a:lnTo>
                      <a:lnTo>
                        <a:pt x="3" y="119"/>
                      </a:lnTo>
                      <a:lnTo>
                        <a:pt x="3" y="121"/>
                      </a:lnTo>
                      <a:lnTo>
                        <a:pt x="3" y="121"/>
                      </a:lnTo>
                      <a:lnTo>
                        <a:pt x="5" y="124"/>
                      </a:lnTo>
                      <a:lnTo>
                        <a:pt x="5" y="124"/>
                      </a:lnTo>
                      <a:lnTo>
                        <a:pt x="5" y="124"/>
                      </a:lnTo>
                      <a:lnTo>
                        <a:pt x="3" y="124"/>
                      </a:lnTo>
                      <a:lnTo>
                        <a:pt x="3" y="126"/>
                      </a:lnTo>
                      <a:lnTo>
                        <a:pt x="3" y="128"/>
                      </a:lnTo>
                      <a:lnTo>
                        <a:pt x="3" y="133"/>
                      </a:lnTo>
                      <a:lnTo>
                        <a:pt x="3" y="135"/>
                      </a:lnTo>
                      <a:lnTo>
                        <a:pt x="3" y="135"/>
                      </a:lnTo>
                      <a:lnTo>
                        <a:pt x="5" y="135"/>
                      </a:lnTo>
                      <a:lnTo>
                        <a:pt x="5" y="138"/>
                      </a:lnTo>
                      <a:lnTo>
                        <a:pt x="7" y="140"/>
                      </a:lnTo>
                      <a:lnTo>
                        <a:pt x="7" y="140"/>
                      </a:lnTo>
                      <a:lnTo>
                        <a:pt x="10" y="143"/>
                      </a:lnTo>
                      <a:lnTo>
                        <a:pt x="12" y="143"/>
                      </a:lnTo>
                      <a:lnTo>
                        <a:pt x="12" y="143"/>
                      </a:lnTo>
                      <a:lnTo>
                        <a:pt x="15" y="143"/>
                      </a:lnTo>
                      <a:lnTo>
                        <a:pt x="17" y="145"/>
                      </a:lnTo>
                      <a:lnTo>
                        <a:pt x="17" y="145"/>
                      </a:lnTo>
                      <a:lnTo>
                        <a:pt x="17" y="147"/>
                      </a:lnTo>
                      <a:lnTo>
                        <a:pt x="17" y="147"/>
                      </a:lnTo>
                      <a:lnTo>
                        <a:pt x="17" y="147"/>
                      </a:lnTo>
                      <a:close/>
                      <a:moveTo>
                        <a:pt x="67" y="12"/>
                      </a:moveTo>
                      <a:lnTo>
                        <a:pt x="67" y="10"/>
                      </a:lnTo>
                      <a:lnTo>
                        <a:pt x="69" y="10"/>
                      </a:lnTo>
                      <a:lnTo>
                        <a:pt x="69" y="10"/>
                      </a:lnTo>
                      <a:lnTo>
                        <a:pt x="67" y="12"/>
                      </a:lnTo>
                      <a:lnTo>
                        <a:pt x="67" y="12"/>
                      </a:lnTo>
                      <a:close/>
                      <a:moveTo>
                        <a:pt x="67" y="15"/>
                      </a:moveTo>
                      <a:lnTo>
                        <a:pt x="67" y="15"/>
                      </a:lnTo>
                      <a:lnTo>
                        <a:pt x="67" y="15"/>
                      </a:lnTo>
                      <a:lnTo>
                        <a:pt x="67" y="17"/>
                      </a:lnTo>
                      <a:lnTo>
                        <a:pt x="67" y="15"/>
                      </a:lnTo>
                      <a:lnTo>
                        <a:pt x="67" y="15"/>
                      </a:lnTo>
                      <a:close/>
                      <a:moveTo>
                        <a:pt x="62" y="15"/>
                      </a:moveTo>
                      <a:lnTo>
                        <a:pt x="64" y="15"/>
                      </a:lnTo>
                      <a:lnTo>
                        <a:pt x="64" y="15"/>
                      </a:lnTo>
                      <a:lnTo>
                        <a:pt x="64" y="15"/>
                      </a:lnTo>
                      <a:lnTo>
                        <a:pt x="64" y="17"/>
                      </a:lnTo>
                      <a:lnTo>
                        <a:pt x="64" y="17"/>
                      </a:lnTo>
                      <a:lnTo>
                        <a:pt x="62" y="17"/>
                      </a:lnTo>
                      <a:lnTo>
                        <a:pt x="62" y="15"/>
                      </a:lnTo>
                      <a:lnTo>
                        <a:pt x="62" y="15"/>
                      </a:lnTo>
                      <a:close/>
                      <a:moveTo>
                        <a:pt x="78" y="55"/>
                      </a:moveTo>
                      <a:lnTo>
                        <a:pt x="78" y="55"/>
                      </a:lnTo>
                      <a:lnTo>
                        <a:pt x="78" y="52"/>
                      </a:lnTo>
                      <a:lnTo>
                        <a:pt x="78" y="52"/>
                      </a:lnTo>
                      <a:lnTo>
                        <a:pt x="78" y="52"/>
                      </a:lnTo>
                      <a:lnTo>
                        <a:pt x="81" y="50"/>
                      </a:lnTo>
                      <a:lnTo>
                        <a:pt x="81" y="52"/>
                      </a:lnTo>
                      <a:lnTo>
                        <a:pt x="78" y="52"/>
                      </a:lnTo>
                      <a:lnTo>
                        <a:pt x="78" y="55"/>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2" name="Freeform 157">
                  <a:extLst>
                    <a:ext uri="{FF2B5EF4-FFF2-40B4-BE49-F238E27FC236}">
                      <a16:creationId xmlns:a16="http://schemas.microsoft.com/office/drawing/2014/main" id="{A0819A04-8FC6-5070-7BBC-786E01F45A7F}"/>
                    </a:ext>
                  </a:extLst>
                </p:cNvPr>
                <p:cNvSpPr>
                  <a:spLocks/>
                </p:cNvSpPr>
                <p:nvPr/>
              </p:nvSpPr>
              <p:spPr bwMode="auto">
                <a:xfrm>
                  <a:off x="2995" y="2711"/>
                  <a:ext cx="118" cy="171"/>
                </a:xfrm>
                <a:custGeom>
                  <a:avLst/>
                  <a:gdLst>
                    <a:gd name="T0" fmla="*/ 21 w 118"/>
                    <a:gd name="T1" fmla="*/ 107 h 171"/>
                    <a:gd name="T2" fmla="*/ 23 w 118"/>
                    <a:gd name="T3" fmla="*/ 102 h 171"/>
                    <a:gd name="T4" fmla="*/ 23 w 118"/>
                    <a:gd name="T5" fmla="*/ 93 h 171"/>
                    <a:gd name="T6" fmla="*/ 26 w 118"/>
                    <a:gd name="T7" fmla="*/ 88 h 171"/>
                    <a:gd name="T8" fmla="*/ 26 w 118"/>
                    <a:gd name="T9" fmla="*/ 81 h 171"/>
                    <a:gd name="T10" fmla="*/ 28 w 118"/>
                    <a:gd name="T11" fmla="*/ 74 h 171"/>
                    <a:gd name="T12" fmla="*/ 28 w 118"/>
                    <a:gd name="T13" fmla="*/ 66 h 171"/>
                    <a:gd name="T14" fmla="*/ 16 w 118"/>
                    <a:gd name="T15" fmla="*/ 62 h 171"/>
                    <a:gd name="T16" fmla="*/ 7 w 118"/>
                    <a:gd name="T17" fmla="*/ 59 h 171"/>
                    <a:gd name="T18" fmla="*/ 0 w 118"/>
                    <a:gd name="T19" fmla="*/ 50 h 171"/>
                    <a:gd name="T20" fmla="*/ 21 w 118"/>
                    <a:gd name="T21" fmla="*/ 40 h 171"/>
                    <a:gd name="T22" fmla="*/ 35 w 118"/>
                    <a:gd name="T23" fmla="*/ 38 h 171"/>
                    <a:gd name="T24" fmla="*/ 40 w 118"/>
                    <a:gd name="T25" fmla="*/ 43 h 171"/>
                    <a:gd name="T26" fmla="*/ 47 w 118"/>
                    <a:gd name="T27" fmla="*/ 45 h 171"/>
                    <a:gd name="T28" fmla="*/ 42 w 118"/>
                    <a:gd name="T29" fmla="*/ 57 h 171"/>
                    <a:gd name="T30" fmla="*/ 49 w 118"/>
                    <a:gd name="T31" fmla="*/ 64 h 171"/>
                    <a:gd name="T32" fmla="*/ 54 w 118"/>
                    <a:gd name="T33" fmla="*/ 69 h 171"/>
                    <a:gd name="T34" fmla="*/ 57 w 118"/>
                    <a:gd name="T35" fmla="*/ 59 h 171"/>
                    <a:gd name="T36" fmla="*/ 59 w 118"/>
                    <a:gd name="T37" fmla="*/ 50 h 171"/>
                    <a:gd name="T38" fmla="*/ 61 w 118"/>
                    <a:gd name="T39" fmla="*/ 47 h 171"/>
                    <a:gd name="T40" fmla="*/ 59 w 118"/>
                    <a:gd name="T41" fmla="*/ 38 h 171"/>
                    <a:gd name="T42" fmla="*/ 52 w 118"/>
                    <a:gd name="T43" fmla="*/ 31 h 171"/>
                    <a:gd name="T44" fmla="*/ 61 w 118"/>
                    <a:gd name="T45" fmla="*/ 10 h 171"/>
                    <a:gd name="T46" fmla="*/ 66 w 118"/>
                    <a:gd name="T47" fmla="*/ 12 h 171"/>
                    <a:gd name="T48" fmla="*/ 73 w 118"/>
                    <a:gd name="T49" fmla="*/ 10 h 171"/>
                    <a:gd name="T50" fmla="*/ 78 w 118"/>
                    <a:gd name="T51" fmla="*/ 12 h 171"/>
                    <a:gd name="T52" fmla="*/ 85 w 118"/>
                    <a:gd name="T53" fmla="*/ 7 h 171"/>
                    <a:gd name="T54" fmla="*/ 94 w 118"/>
                    <a:gd name="T55" fmla="*/ 7 h 171"/>
                    <a:gd name="T56" fmla="*/ 104 w 118"/>
                    <a:gd name="T57" fmla="*/ 5 h 171"/>
                    <a:gd name="T58" fmla="*/ 113 w 118"/>
                    <a:gd name="T59" fmla="*/ 0 h 171"/>
                    <a:gd name="T60" fmla="*/ 118 w 118"/>
                    <a:gd name="T61" fmla="*/ 2 h 171"/>
                    <a:gd name="T62" fmla="*/ 116 w 118"/>
                    <a:gd name="T63" fmla="*/ 10 h 171"/>
                    <a:gd name="T64" fmla="*/ 116 w 118"/>
                    <a:gd name="T65" fmla="*/ 17 h 171"/>
                    <a:gd name="T66" fmla="*/ 116 w 118"/>
                    <a:gd name="T67" fmla="*/ 26 h 171"/>
                    <a:gd name="T68" fmla="*/ 113 w 118"/>
                    <a:gd name="T69" fmla="*/ 38 h 171"/>
                    <a:gd name="T70" fmla="*/ 116 w 118"/>
                    <a:gd name="T71" fmla="*/ 43 h 171"/>
                    <a:gd name="T72" fmla="*/ 113 w 118"/>
                    <a:gd name="T73" fmla="*/ 47 h 171"/>
                    <a:gd name="T74" fmla="*/ 113 w 118"/>
                    <a:gd name="T75" fmla="*/ 50 h 171"/>
                    <a:gd name="T76" fmla="*/ 106 w 118"/>
                    <a:gd name="T77" fmla="*/ 59 h 171"/>
                    <a:gd name="T78" fmla="*/ 97 w 118"/>
                    <a:gd name="T79" fmla="*/ 66 h 171"/>
                    <a:gd name="T80" fmla="*/ 78 w 118"/>
                    <a:gd name="T81" fmla="*/ 74 h 171"/>
                    <a:gd name="T82" fmla="*/ 71 w 118"/>
                    <a:gd name="T83" fmla="*/ 78 h 171"/>
                    <a:gd name="T84" fmla="*/ 66 w 118"/>
                    <a:gd name="T85" fmla="*/ 85 h 171"/>
                    <a:gd name="T86" fmla="*/ 54 w 118"/>
                    <a:gd name="T87" fmla="*/ 93 h 171"/>
                    <a:gd name="T88" fmla="*/ 47 w 118"/>
                    <a:gd name="T89" fmla="*/ 95 h 171"/>
                    <a:gd name="T90" fmla="*/ 45 w 118"/>
                    <a:gd name="T91" fmla="*/ 100 h 171"/>
                    <a:gd name="T92" fmla="*/ 47 w 118"/>
                    <a:gd name="T93" fmla="*/ 109 h 171"/>
                    <a:gd name="T94" fmla="*/ 49 w 118"/>
                    <a:gd name="T95" fmla="*/ 123 h 171"/>
                    <a:gd name="T96" fmla="*/ 52 w 118"/>
                    <a:gd name="T97" fmla="*/ 123 h 171"/>
                    <a:gd name="T98" fmla="*/ 52 w 118"/>
                    <a:gd name="T99" fmla="*/ 130 h 171"/>
                    <a:gd name="T100" fmla="*/ 49 w 118"/>
                    <a:gd name="T101" fmla="*/ 138 h 171"/>
                    <a:gd name="T102" fmla="*/ 49 w 118"/>
                    <a:gd name="T103" fmla="*/ 145 h 171"/>
                    <a:gd name="T104" fmla="*/ 21 w 118"/>
                    <a:gd name="T105" fmla="*/ 157 h 171"/>
                    <a:gd name="T106" fmla="*/ 16 w 118"/>
                    <a:gd name="T107" fmla="*/ 164 h 171"/>
                    <a:gd name="T108" fmla="*/ 21 w 118"/>
                    <a:gd name="T109" fmla="*/ 166 h 171"/>
                    <a:gd name="T110" fmla="*/ 21 w 118"/>
                    <a:gd name="T111" fmla="*/ 171 h 171"/>
                    <a:gd name="T112" fmla="*/ 12 w 118"/>
                    <a:gd name="T113" fmla="*/ 171 h 171"/>
                    <a:gd name="T114" fmla="*/ 12 w 118"/>
                    <a:gd name="T115" fmla="*/ 164 h 171"/>
                    <a:gd name="T116" fmla="*/ 12 w 118"/>
                    <a:gd name="T117" fmla="*/ 154 h 171"/>
                    <a:gd name="T118" fmla="*/ 9 w 118"/>
                    <a:gd name="T119" fmla="*/ 140 h 171"/>
                    <a:gd name="T120" fmla="*/ 7 w 118"/>
                    <a:gd name="T121" fmla="*/ 126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8" h="171">
                      <a:moveTo>
                        <a:pt x="7" y="126"/>
                      </a:moveTo>
                      <a:lnTo>
                        <a:pt x="19" y="114"/>
                      </a:lnTo>
                      <a:lnTo>
                        <a:pt x="19" y="111"/>
                      </a:lnTo>
                      <a:lnTo>
                        <a:pt x="21" y="109"/>
                      </a:lnTo>
                      <a:lnTo>
                        <a:pt x="21" y="107"/>
                      </a:lnTo>
                      <a:lnTo>
                        <a:pt x="21" y="107"/>
                      </a:lnTo>
                      <a:lnTo>
                        <a:pt x="21" y="104"/>
                      </a:lnTo>
                      <a:lnTo>
                        <a:pt x="21" y="102"/>
                      </a:lnTo>
                      <a:lnTo>
                        <a:pt x="21" y="102"/>
                      </a:lnTo>
                      <a:lnTo>
                        <a:pt x="23" y="102"/>
                      </a:lnTo>
                      <a:lnTo>
                        <a:pt x="26" y="100"/>
                      </a:lnTo>
                      <a:lnTo>
                        <a:pt x="26" y="97"/>
                      </a:lnTo>
                      <a:lnTo>
                        <a:pt x="26" y="97"/>
                      </a:lnTo>
                      <a:lnTo>
                        <a:pt x="23" y="95"/>
                      </a:lnTo>
                      <a:lnTo>
                        <a:pt x="23" y="93"/>
                      </a:lnTo>
                      <a:lnTo>
                        <a:pt x="26" y="93"/>
                      </a:lnTo>
                      <a:lnTo>
                        <a:pt x="26" y="90"/>
                      </a:lnTo>
                      <a:lnTo>
                        <a:pt x="23" y="90"/>
                      </a:lnTo>
                      <a:lnTo>
                        <a:pt x="23" y="88"/>
                      </a:lnTo>
                      <a:lnTo>
                        <a:pt x="26" y="88"/>
                      </a:lnTo>
                      <a:lnTo>
                        <a:pt x="26" y="85"/>
                      </a:lnTo>
                      <a:lnTo>
                        <a:pt x="26" y="83"/>
                      </a:lnTo>
                      <a:lnTo>
                        <a:pt x="26" y="83"/>
                      </a:lnTo>
                      <a:lnTo>
                        <a:pt x="28" y="81"/>
                      </a:lnTo>
                      <a:lnTo>
                        <a:pt x="26" y="81"/>
                      </a:lnTo>
                      <a:lnTo>
                        <a:pt x="26" y="81"/>
                      </a:lnTo>
                      <a:lnTo>
                        <a:pt x="26" y="78"/>
                      </a:lnTo>
                      <a:lnTo>
                        <a:pt x="26" y="76"/>
                      </a:lnTo>
                      <a:lnTo>
                        <a:pt x="28" y="74"/>
                      </a:lnTo>
                      <a:lnTo>
                        <a:pt x="28" y="74"/>
                      </a:lnTo>
                      <a:lnTo>
                        <a:pt x="28" y="71"/>
                      </a:lnTo>
                      <a:lnTo>
                        <a:pt x="28" y="71"/>
                      </a:lnTo>
                      <a:lnTo>
                        <a:pt x="28" y="69"/>
                      </a:lnTo>
                      <a:lnTo>
                        <a:pt x="28" y="66"/>
                      </a:lnTo>
                      <a:lnTo>
                        <a:pt x="28" y="66"/>
                      </a:lnTo>
                      <a:lnTo>
                        <a:pt x="26" y="66"/>
                      </a:lnTo>
                      <a:lnTo>
                        <a:pt x="23" y="64"/>
                      </a:lnTo>
                      <a:lnTo>
                        <a:pt x="21" y="62"/>
                      </a:lnTo>
                      <a:lnTo>
                        <a:pt x="19" y="62"/>
                      </a:lnTo>
                      <a:lnTo>
                        <a:pt x="16" y="62"/>
                      </a:lnTo>
                      <a:lnTo>
                        <a:pt x="14" y="59"/>
                      </a:lnTo>
                      <a:lnTo>
                        <a:pt x="12" y="57"/>
                      </a:lnTo>
                      <a:lnTo>
                        <a:pt x="9" y="57"/>
                      </a:lnTo>
                      <a:lnTo>
                        <a:pt x="7" y="59"/>
                      </a:lnTo>
                      <a:lnTo>
                        <a:pt x="7" y="59"/>
                      </a:lnTo>
                      <a:lnTo>
                        <a:pt x="7" y="57"/>
                      </a:lnTo>
                      <a:lnTo>
                        <a:pt x="4" y="57"/>
                      </a:lnTo>
                      <a:lnTo>
                        <a:pt x="0" y="57"/>
                      </a:lnTo>
                      <a:lnTo>
                        <a:pt x="0" y="52"/>
                      </a:lnTo>
                      <a:lnTo>
                        <a:pt x="0" y="50"/>
                      </a:lnTo>
                      <a:lnTo>
                        <a:pt x="0" y="47"/>
                      </a:lnTo>
                      <a:lnTo>
                        <a:pt x="4" y="45"/>
                      </a:lnTo>
                      <a:lnTo>
                        <a:pt x="7" y="45"/>
                      </a:lnTo>
                      <a:lnTo>
                        <a:pt x="19" y="40"/>
                      </a:lnTo>
                      <a:lnTo>
                        <a:pt x="21" y="40"/>
                      </a:lnTo>
                      <a:lnTo>
                        <a:pt x="26" y="38"/>
                      </a:lnTo>
                      <a:lnTo>
                        <a:pt x="30" y="38"/>
                      </a:lnTo>
                      <a:lnTo>
                        <a:pt x="33" y="36"/>
                      </a:lnTo>
                      <a:lnTo>
                        <a:pt x="35" y="38"/>
                      </a:lnTo>
                      <a:lnTo>
                        <a:pt x="35" y="38"/>
                      </a:lnTo>
                      <a:lnTo>
                        <a:pt x="35" y="40"/>
                      </a:lnTo>
                      <a:lnTo>
                        <a:pt x="35" y="40"/>
                      </a:lnTo>
                      <a:lnTo>
                        <a:pt x="38" y="43"/>
                      </a:lnTo>
                      <a:lnTo>
                        <a:pt x="38" y="43"/>
                      </a:lnTo>
                      <a:lnTo>
                        <a:pt x="40" y="43"/>
                      </a:lnTo>
                      <a:lnTo>
                        <a:pt x="40" y="40"/>
                      </a:lnTo>
                      <a:lnTo>
                        <a:pt x="42" y="40"/>
                      </a:lnTo>
                      <a:lnTo>
                        <a:pt x="47" y="40"/>
                      </a:lnTo>
                      <a:lnTo>
                        <a:pt x="47" y="43"/>
                      </a:lnTo>
                      <a:lnTo>
                        <a:pt x="47" y="45"/>
                      </a:lnTo>
                      <a:lnTo>
                        <a:pt x="47" y="47"/>
                      </a:lnTo>
                      <a:lnTo>
                        <a:pt x="45" y="50"/>
                      </a:lnTo>
                      <a:lnTo>
                        <a:pt x="45" y="52"/>
                      </a:lnTo>
                      <a:lnTo>
                        <a:pt x="42" y="55"/>
                      </a:lnTo>
                      <a:lnTo>
                        <a:pt x="42" y="57"/>
                      </a:lnTo>
                      <a:lnTo>
                        <a:pt x="45" y="59"/>
                      </a:lnTo>
                      <a:lnTo>
                        <a:pt x="45" y="59"/>
                      </a:lnTo>
                      <a:lnTo>
                        <a:pt x="47" y="62"/>
                      </a:lnTo>
                      <a:lnTo>
                        <a:pt x="47" y="64"/>
                      </a:lnTo>
                      <a:lnTo>
                        <a:pt x="49" y="64"/>
                      </a:lnTo>
                      <a:lnTo>
                        <a:pt x="52" y="66"/>
                      </a:lnTo>
                      <a:lnTo>
                        <a:pt x="52" y="66"/>
                      </a:lnTo>
                      <a:lnTo>
                        <a:pt x="52" y="69"/>
                      </a:lnTo>
                      <a:lnTo>
                        <a:pt x="52" y="71"/>
                      </a:lnTo>
                      <a:lnTo>
                        <a:pt x="54" y="69"/>
                      </a:lnTo>
                      <a:lnTo>
                        <a:pt x="54" y="69"/>
                      </a:lnTo>
                      <a:lnTo>
                        <a:pt x="54" y="66"/>
                      </a:lnTo>
                      <a:lnTo>
                        <a:pt x="54" y="64"/>
                      </a:lnTo>
                      <a:lnTo>
                        <a:pt x="54" y="62"/>
                      </a:lnTo>
                      <a:lnTo>
                        <a:pt x="57" y="59"/>
                      </a:lnTo>
                      <a:lnTo>
                        <a:pt x="59" y="59"/>
                      </a:lnTo>
                      <a:lnTo>
                        <a:pt x="61" y="57"/>
                      </a:lnTo>
                      <a:lnTo>
                        <a:pt x="61" y="55"/>
                      </a:lnTo>
                      <a:lnTo>
                        <a:pt x="61" y="52"/>
                      </a:lnTo>
                      <a:lnTo>
                        <a:pt x="59" y="50"/>
                      </a:lnTo>
                      <a:lnTo>
                        <a:pt x="61" y="50"/>
                      </a:lnTo>
                      <a:lnTo>
                        <a:pt x="59" y="50"/>
                      </a:lnTo>
                      <a:lnTo>
                        <a:pt x="59" y="47"/>
                      </a:lnTo>
                      <a:lnTo>
                        <a:pt x="61" y="47"/>
                      </a:lnTo>
                      <a:lnTo>
                        <a:pt x="61" y="47"/>
                      </a:lnTo>
                      <a:lnTo>
                        <a:pt x="64" y="47"/>
                      </a:lnTo>
                      <a:lnTo>
                        <a:pt x="64" y="45"/>
                      </a:lnTo>
                      <a:lnTo>
                        <a:pt x="61" y="43"/>
                      </a:lnTo>
                      <a:lnTo>
                        <a:pt x="61" y="40"/>
                      </a:lnTo>
                      <a:lnTo>
                        <a:pt x="59" y="38"/>
                      </a:lnTo>
                      <a:lnTo>
                        <a:pt x="59" y="36"/>
                      </a:lnTo>
                      <a:lnTo>
                        <a:pt x="54" y="33"/>
                      </a:lnTo>
                      <a:lnTo>
                        <a:pt x="54" y="33"/>
                      </a:lnTo>
                      <a:lnTo>
                        <a:pt x="52" y="31"/>
                      </a:lnTo>
                      <a:lnTo>
                        <a:pt x="52" y="31"/>
                      </a:lnTo>
                      <a:lnTo>
                        <a:pt x="47" y="29"/>
                      </a:lnTo>
                      <a:lnTo>
                        <a:pt x="45" y="19"/>
                      </a:lnTo>
                      <a:lnTo>
                        <a:pt x="47" y="10"/>
                      </a:lnTo>
                      <a:lnTo>
                        <a:pt x="59" y="10"/>
                      </a:lnTo>
                      <a:lnTo>
                        <a:pt x="61" y="10"/>
                      </a:lnTo>
                      <a:lnTo>
                        <a:pt x="61" y="10"/>
                      </a:lnTo>
                      <a:lnTo>
                        <a:pt x="64" y="10"/>
                      </a:lnTo>
                      <a:lnTo>
                        <a:pt x="64" y="10"/>
                      </a:lnTo>
                      <a:lnTo>
                        <a:pt x="64" y="10"/>
                      </a:lnTo>
                      <a:lnTo>
                        <a:pt x="66" y="12"/>
                      </a:lnTo>
                      <a:lnTo>
                        <a:pt x="68" y="12"/>
                      </a:lnTo>
                      <a:lnTo>
                        <a:pt x="68" y="12"/>
                      </a:lnTo>
                      <a:lnTo>
                        <a:pt x="68" y="12"/>
                      </a:lnTo>
                      <a:lnTo>
                        <a:pt x="71" y="12"/>
                      </a:lnTo>
                      <a:lnTo>
                        <a:pt x="73" y="10"/>
                      </a:lnTo>
                      <a:lnTo>
                        <a:pt x="75" y="10"/>
                      </a:lnTo>
                      <a:lnTo>
                        <a:pt x="75" y="10"/>
                      </a:lnTo>
                      <a:lnTo>
                        <a:pt x="78" y="10"/>
                      </a:lnTo>
                      <a:lnTo>
                        <a:pt x="78" y="10"/>
                      </a:lnTo>
                      <a:lnTo>
                        <a:pt x="78" y="12"/>
                      </a:lnTo>
                      <a:lnTo>
                        <a:pt x="80" y="12"/>
                      </a:lnTo>
                      <a:lnTo>
                        <a:pt x="83" y="12"/>
                      </a:lnTo>
                      <a:lnTo>
                        <a:pt x="85" y="10"/>
                      </a:lnTo>
                      <a:lnTo>
                        <a:pt x="87" y="10"/>
                      </a:lnTo>
                      <a:lnTo>
                        <a:pt x="85" y="7"/>
                      </a:lnTo>
                      <a:lnTo>
                        <a:pt x="87" y="7"/>
                      </a:lnTo>
                      <a:lnTo>
                        <a:pt x="90" y="7"/>
                      </a:lnTo>
                      <a:lnTo>
                        <a:pt x="90" y="7"/>
                      </a:lnTo>
                      <a:lnTo>
                        <a:pt x="92" y="10"/>
                      </a:lnTo>
                      <a:lnTo>
                        <a:pt x="94" y="7"/>
                      </a:lnTo>
                      <a:lnTo>
                        <a:pt x="94" y="7"/>
                      </a:lnTo>
                      <a:lnTo>
                        <a:pt x="99" y="7"/>
                      </a:lnTo>
                      <a:lnTo>
                        <a:pt x="101" y="7"/>
                      </a:lnTo>
                      <a:lnTo>
                        <a:pt x="104" y="7"/>
                      </a:lnTo>
                      <a:lnTo>
                        <a:pt x="104" y="5"/>
                      </a:lnTo>
                      <a:lnTo>
                        <a:pt x="106" y="5"/>
                      </a:lnTo>
                      <a:lnTo>
                        <a:pt x="109" y="5"/>
                      </a:lnTo>
                      <a:lnTo>
                        <a:pt x="111" y="2"/>
                      </a:lnTo>
                      <a:lnTo>
                        <a:pt x="111" y="2"/>
                      </a:lnTo>
                      <a:lnTo>
                        <a:pt x="113" y="0"/>
                      </a:lnTo>
                      <a:lnTo>
                        <a:pt x="116" y="0"/>
                      </a:lnTo>
                      <a:lnTo>
                        <a:pt x="116" y="0"/>
                      </a:lnTo>
                      <a:lnTo>
                        <a:pt x="116" y="0"/>
                      </a:lnTo>
                      <a:lnTo>
                        <a:pt x="118" y="0"/>
                      </a:lnTo>
                      <a:lnTo>
                        <a:pt x="118" y="2"/>
                      </a:lnTo>
                      <a:lnTo>
                        <a:pt x="116" y="5"/>
                      </a:lnTo>
                      <a:lnTo>
                        <a:pt x="118" y="5"/>
                      </a:lnTo>
                      <a:lnTo>
                        <a:pt x="116" y="7"/>
                      </a:lnTo>
                      <a:lnTo>
                        <a:pt x="113" y="10"/>
                      </a:lnTo>
                      <a:lnTo>
                        <a:pt x="116" y="10"/>
                      </a:lnTo>
                      <a:lnTo>
                        <a:pt x="116" y="10"/>
                      </a:lnTo>
                      <a:lnTo>
                        <a:pt x="113" y="10"/>
                      </a:lnTo>
                      <a:lnTo>
                        <a:pt x="116" y="14"/>
                      </a:lnTo>
                      <a:lnTo>
                        <a:pt x="116" y="17"/>
                      </a:lnTo>
                      <a:lnTo>
                        <a:pt x="116" y="17"/>
                      </a:lnTo>
                      <a:lnTo>
                        <a:pt x="116" y="19"/>
                      </a:lnTo>
                      <a:lnTo>
                        <a:pt x="116" y="21"/>
                      </a:lnTo>
                      <a:lnTo>
                        <a:pt x="116" y="24"/>
                      </a:lnTo>
                      <a:lnTo>
                        <a:pt x="116" y="24"/>
                      </a:lnTo>
                      <a:lnTo>
                        <a:pt x="116" y="26"/>
                      </a:lnTo>
                      <a:lnTo>
                        <a:pt x="113" y="31"/>
                      </a:lnTo>
                      <a:lnTo>
                        <a:pt x="113" y="31"/>
                      </a:lnTo>
                      <a:lnTo>
                        <a:pt x="116" y="33"/>
                      </a:lnTo>
                      <a:lnTo>
                        <a:pt x="116" y="38"/>
                      </a:lnTo>
                      <a:lnTo>
                        <a:pt x="113" y="38"/>
                      </a:lnTo>
                      <a:lnTo>
                        <a:pt x="113" y="38"/>
                      </a:lnTo>
                      <a:lnTo>
                        <a:pt x="113" y="38"/>
                      </a:lnTo>
                      <a:lnTo>
                        <a:pt x="116" y="38"/>
                      </a:lnTo>
                      <a:lnTo>
                        <a:pt x="116" y="40"/>
                      </a:lnTo>
                      <a:lnTo>
                        <a:pt x="116" y="43"/>
                      </a:lnTo>
                      <a:lnTo>
                        <a:pt x="116" y="45"/>
                      </a:lnTo>
                      <a:lnTo>
                        <a:pt x="113" y="45"/>
                      </a:lnTo>
                      <a:lnTo>
                        <a:pt x="116" y="45"/>
                      </a:lnTo>
                      <a:lnTo>
                        <a:pt x="116" y="47"/>
                      </a:lnTo>
                      <a:lnTo>
                        <a:pt x="113" y="47"/>
                      </a:lnTo>
                      <a:lnTo>
                        <a:pt x="111" y="50"/>
                      </a:lnTo>
                      <a:lnTo>
                        <a:pt x="113" y="50"/>
                      </a:lnTo>
                      <a:lnTo>
                        <a:pt x="113" y="50"/>
                      </a:lnTo>
                      <a:lnTo>
                        <a:pt x="113" y="50"/>
                      </a:lnTo>
                      <a:lnTo>
                        <a:pt x="113" y="50"/>
                      </a:lnTo>
                      <a:lnTo>
                        <a:pt x="113" y="52"/>
                      </a:lnTo>
                      <a:lnTo>
                        <a:pt x="111" y="52"/>
                      </a:lnTo>
                      <a:lnTo>
                        <a:pt x="109" y="55"/>
                      </a:lnTo>
                      <a:lnTo>
                        <a:pt x="109" y="57"/>
                      </a:lnTo>
                      <a:lnTo>
                        <a:pt x="106" y="59"/>
                      </a:lnTo>
                      <a:lnTo>
                        <a:pt x="104" y="59"/>
                      </a:lnTo>
                      <a:lnTo>
                        <a:pt x="104" y="62"/>
                      </a:lnTo>
                      <a:lnTo>
                        <a:pt x="97" y="66"/>
                      </a:lnTo>
                      <a:lnTo>
                        <a:pt x="97" y="66"/>
                      </a:lnTo>
                      <a:lnTo>
                        <a:pt x="97" y="66"/>
                      </a:lnTo>
                      <a:lnTo>
                        <a:pt x="90" y="71"/>
                      </a:lnTo>
                      <a:lnTo>
                        <a:pt x="85" y="71"/>
                      </a:lnTo>
                      <a:lnTo>
                        <a:pt x="85" y="71"/>
                      </a:lnTo>
                      <a:lnTo>
                        <a:pt x="83" y="71"/>
                      </a:lnTo>
                      <a:lnTo>
                        <a:pt x="78" y="74"/>
                      </a:lnTo>
                      <a:lnTo>
                        <a:pt x="78" y="74"/>
                      </a:lnTo>
                      <a:lnTo>
                        <a:pt x="75" y="76"/>
                      </a:lnTo>
                      <a:lnTo>
                        <a:pt x="73" y="78"/>
                      </a:lnTo>
                      <a:lnTo>
                        <a:pt x="73" y="78"/>
                      </a:lnTo>
                      <a:lnTo>
                        <a:pt x="71" y="78"/>
                      </a:lnTo>
                      <a:lnTo>
                        <a:pt x="71" y="81"/>
                      </a:lnTo>
                      <a:lnTo>
                        <a:pt x="71" y="81"/>
                      </a:lnTo>
                      <a:lnTo>
                        <a:pt x="68" y="81"/>
                      </a:lnTo>
                      <a:lnTo>
                        <a:pt x="66" y="85"/>
                      </a:lnTo>
                      <a:lnTo>
                        <a:pt x="66" y="85"/>
                      </a:lnTo>
                      <a:lnTo>
                        <a:pt x="64" y="85"/>
                      </a:lnTo>
                      <a:lnTo>
                        <a:pt x="64" y="85"/>
                      </a:lnTo>
                      <a:lnTo>
                        <a:pt x="64" y="88"/>
                      </a:lnTo>
                      <a:lnTo>
                        <a:pt x="59" y="88"/>
                      </a:lnTo>
                      <a:lnTo>
                        <a:pt x="54" y="93"/>
                      </a:lnTo>
                      <a:lnTo>
                        <a:pt x="54" y="95"/>
                      </a:lnTo>
                      <a:lnTo>
                        <a:pt x="52" y="95"/>
                      </a:lnTo>
                      <a:lnTo>
                        <a:pt x="49" y="95"/>
                      </a:lnTo>
                      <a:lnTo>
                        <a:pt x="49" y="97"/>
                      </a:lnTo>
                      <a:lnTo>
                        <a:pt x="47" y="95"/>
                      </a:lnTo>
                      <a:lnTo>
                        <a:pt x="45" y="95"/>
                      </a:lnTo>
                      <a:lnTo>
                        <a:pt x="45" y="97"/>
                      </a:lnTo>
                      <a:lnTo>
                        <a:pt x="47" y="97"/>
                      </a:lnTo>
                      <a:lnTo>
                        <a:pt x="47" y="100"/>
                      </a:lnTo>
                      <a:lnTo>
                        <a:pt x="45" y="100"/>
                      </a:lnTo>
                      <a:lnTo>
                        <a:pt x="45" y="102"/>
                      </a:lnTo>
                      <a:lnTo>
                        <a:pt x="45" y="104"/>
                      </a:lnTo>
                      <a:lnTo>
                        <a:pt x="47" y="107"/>
                      </a:lnTo>
                      <a:lnTo>
                        <a:pt x="47" y="109"/>
                      </a:lnTo>
                      <a:lnTo>
                        <a:pt x="47" y="109"/>
                      </a:lnTo>
                      <a:lnTo>
                        <a:pt x="47" y="111"/>
                      </a:lnTo>
                      <a:lnTo>
                        <a:pt x="49" y="111"/>
                      </a:lnTo>
                      <a:lnTo>
                        <a:pt x="49" y="114"/>
                      </a:lnTo>
                      <a:lnTo>
                        <a:pt x="49" y="116"/>
                      </a:lnTo>
                      <a:lnTo>
                        <a:pt x="49" y="123"/>
                      </a:lnTo>
                      <a:lnTo>
                        <a:pt x="49" y="126"/>
                      </a:lnTo>
                      <a:lnTo>
                        <a:pt x="52" y="126"/>
                      </a:lnTo>
                      <a:lnTo>
                        <a:pt x="52" y="123"/>
                      </a:lnTo>
                      <a:lnTo>
                        <a:pt x="52" y="121"/>
                      </a:lnTo>
                      <a:lnTo>
                        <a:pt x="52" y="123"/>
                      </a:lnTo>
                      <a:lnTo>
                        <a:pt x="54" y="123"/>
                      </a:lnTo>
                      <a:lnTo>
                        <a:pt x="52" y="126"/>
                      </a:lnTo>
                      <a:lnTo>
                        <a:pt x="52" y="128"/>
                      </a:lnTo>
                      <a:lnTo>
                        <a:pt x="52" y="130"/>
                      </a:lnTo>
                      <a:lnTo>
                        <a:pt x="52" y="130"/>
                      </a:lnTo>
                      <a:lnTo>
                        <a:pt x="52" y="133"/>
                      </a:lnTo>
                      <a:lnTo>
                        <a:pt x="52" y="135"/>
                      </a:lnTo>
                      <a:lnTo>
                        <a:pt x="49" y="135"/>
                      </a:lnTo>
                      <a:lnTo>
                        <a:pt x="49" y="138"/>
                      </a:lnTo>
                      <a:lnTo>
                        <a:pt x="49" y="138"/>
                      </a:lnTo>
                      <a:lnTo>
                        <a:pt x="49" y="140"/>
                      </a:lnTo>
                      <a:lnTo>
                        <a:pt x="52" y="140"/>
                      </a:lnTo>
                      <a:lnTo>
                        <a:pt x="52" y="140"/>
                      </a:lnTo>
                      <a:lnTo>
                        <a:pt x="49" y="142"/>
                      </a:lnTo>
                      <a:lnTo>
                        <a:pt x="49" y="145"/>
                      </a:lnTo>
                      <a:lnTo>
                        <a:pt x="45" y="149"/>
                      </a:lnTo>
                      <a:lnTo>
                        <a:pt x="38" y="152"/>
                      </a:lnTo>
                      <a:lnTo>
                        <a:pt x="28" y="154"/>
                      </a:lnTo>
                      <a:lnTo>
                        <a:pt x="23" y="157"/>
                      </a:lnTo>
                      <a:lnTo>
                        <a:pt x="21" y="157"/>
                      </a:lnTo>
                      <a:lnTo>
                        <a:pt x="21" y="159"/>
                      </a:lnTo>
                      <a:lnTo>
                        <a:pt x="19" y="159"/>
                      </a:lnTo>
                      <a:lnTo>
                        <a:pt x="19" y="161"/>
                      </a:lnTo>
                      <a:lnTo>
                        <a:pt x="16" y="161"/>
                      </a:lnTo>
                      <a:lnTo>
                        <a:pt x="16" y="164"/>
                      </a:lnTo>
                      <a:lnTo>
                        <a:pt x="16" y="164"/>
                      </a:lnTo>
                      <a:lnTo>
                        <a:pt x="19" y="166"/>
                      </a:lnTo>
                      <a:lnTo>
                        <a:pt x="19" y="168"/>
                      </a:lnTo>
                      <a:lnTo>
                        <a:pt x="19" y="166"/>
                      </a:lnTo>
                      <a:lnTo>
                        <a:pt x="21" y="166"/>
                      </a:lnTo>
                      <a:lnTo>
                        <a:pt x="21" y="166"/>
                      </a:lnTo>
                      <a:lnTo>
                        <a:pt x="21" y="164"/>
                      </a:lnTo>
                      <a:lnTo>
                        <a:pt x="21" y="166"/>
                      </a:lnTo>
                      <a:lnTo>
                        <a:pt x="21" y="168"/>
                      </a:lnTo>
                      <a:lnTo>
                        <a:pt x="21" y="171"/>
                      </a:lnTo>
                      <a:lnTo>
                        <a:pt x="21" y="171"/>
                      </a:lnTo>
                      <a:lnTo>
                        <a:pt x="19" y="171"/>
                      </a:lnTo>
                      <a:lnTo>
                        <a:pt x="14" y="171"/>
                      </a:lnTo>
                      <a:lnTo>
                        <a:pt x="12" y="171"/>
                      </a:lnTo>
                      <a:lnTo>
                        <a:pt x="12" y="171"/>
                      </a:lnTo>
                      <a:lnTo>
                        <a:pt x="14" y="168"/>
                      </a:lnTo>
                      <a:lnTo>
                        <a:pt x="14" y="168"/>
                      </a:lnTo>
                      <a:lnTo>
                        <a:pt x="14" y="166"/>
                      </a:lnTo>
                      <a:lnTo>
                        <a:pt x="12" y="166"/>
                      </a:lnTo>
                      <a:lnTo>
                        <a:pt x="12" y="164"/>
                      </a:lnTo>
                      <a:lnTo>
                        <a:pt x="9" y="164"/>
                      </a:lnTo>
                      <a:lnTo>
                        <a:pt x="9" y="164"/>
                      </a:lnTo>
                      <a:lnTo>
                        <a:pt x="9" y="159"/>
                      </a:lnTo>
                      <a:lnTo>
                        <a:pt x="9" y="157"/>
                      </a:lnTo>
                      <a:lnTo>
                        <a:pt x="12" y="154"/>
                      </a:lnTo>
                      <a:lnTo>
                        <a:pt x="12" y="145"/>
                      </a:lnTo>
                      <a:lnTo>
                        <a:pt x="12" y="142"/>
                      </a:lnTo>
                      <a:lnTo>
                        <a:pt x="9" y="142"/>
                      </a:lnTo>
                      <a:lnTo>
                        <a:pt x="9" y="140"/>
                      </a:lnTo>
                      <a:lnTo>
                        <a:pt x="9" y="140"/>
                      </a:lnTo>
                      <a:lnTo>
                        <a:pt x="9" y="135"/>
                      </a:lnTo>
                      <a:lnTo>
                        <a:pt x="9" y="130"/>
                      </a:lnTo>
                      <a:lnTo>
                        <a:pt x="7" y="128"/>
                      </a:lnTo>
                      <a:lnTo>
                        <a:pt x="7" y="126"/>
                      </a:lnTo>
                      <a:lnTo>
                        <a:pt x="7" y="126"/>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3" name="Freeform 158">
                  <a:extLst>
                    <a:ext uri="{FF2B5EF4-FFF2-40B4-BE49-F238E27FC236}">
                      <a16:creationId xmlns:a16="http://schemas.microsoft.com/office/drawing/2014/main" id="{0535F803-2385-FCDA-5454-B8D8BACC72C2}"/>
                    </a:ext>
                  </a:extLst>
                </p:cNvPr>
                <p:cNvSpPr>
                  <a:spLocks/>
                </p:cNvSpPr>
                <p:nvPr/>
              </p:nvSpPr>
              <p:spPr bwMode="auto">
                <a:xfrm>
                  <a:off x="2992" y="2870"/>
                  <a:ext cx="17" cy="16"/>
                </a:xfrm>
                <a:custGeom>
                  <a:avLst/>
                  <a:gdLst>
                    <a:gd name="T0" fmla="*/ 12 w 17"/>
                    <a:gd name="T1" fmla="*/ 5 h 16"/>
                    <a:gd name="T2" fmla="*/ 12 w 17"/>
                    <a:gd name="T3" fmla="*/ 5 h 16"/>
                    <a:gd name="T4" fmla="*/ 15 w 17"/>
                    <a:gd name="T5" fmla="*/ 5 h 16"/>
                    <a:gd name="T6" fmla="*/ 15 w 17"/>
                    <a:gd name="T7" fmla="*/ 7 h 16"/>
                    <a:gd name="T8" fmla="*/ 17 w 17"/>
                    <a:gd name="T9" fmla="*/ 7 h 16"/>
                    <a:gd name="T10" fmla="*/ 17 w 17"/>
                    <a:gd name="T11" fmla="*/ 9 h 16"/>
                    <a:gd name="T12" fmla="*/ 17 w 17"/>
                    <a:gd name="T13" fmla="*/ 9 h 16"/>
                    <a:gd name="T14" fmla="*/ 15 w 17"/>
                    <a:gd name="T15" fmla="*/ 12 h 16"/>
                    <a:gd name="T16" fmla="*/ 15 w 17"/>
                    <a:gd name="T17" fmla="*/ 12 h 16"/>
                    <a:gd name="T18" fmla="*/ 15 w 17"/>
                    <a:gd name="T19" fmla="*/ 12 h 16"/>
                    <a:gd name="T20" fmla="*/ 15 w 17"/>
                    <a:gd name="T21" fmla="*/ 14 h 16"/>
                    <a:gd name="T22" fmla="*/ 15 w 17"/>
                    <a:gd name="T23" fmla="*/ 14 h 16"/>
                    <a:gd name="T24" fmla="*/ 12 w 17"/>
                    <a:gd name="T25" fmla="*/ 16 h 16"/>
                    <a:gd name="T26" fmla="*/ 12 w 17"/>
                    <a:gd name="T27" fmla="*/ 16 h 16"/>
                    <a:gd name="T28" fmla="*/ 7 w 17"/>
                    <a:gd name="T29" fmla="*/ 16 h 16"/>
                    <a:gd name="T30" fmla="*/ 3 w 17"/>
                    <a:gd name="T31" fmla="*/ 14 h 16"/>
                    <a:gd name="T32" fmla="*/ 3 w 17"/>
                    <a:gd name="T33" fmla="*/ 14 h 16"/>
                    <a:gd name="T34" fmla="*/ 0 w 17"/>
                    <a:gd name="T35" fmla="*/ 12 h 16"/>
                    <a:gd name="T36" fmla="*/ 0 w 17"/>
                    <a:gd name="T37" fmla="*/ 12 h 16"/>
                    <a:gd name="T38" fmla="*/ 0 w 17"/>
                    <a:gd name="T39" fmla="*/ 9 h 16"/>
                    <a:gd name="T40" fmla="*/ 5 w 17"/>
                    <a:gd name="T41" fmla="*/ 5 h 16"/>
                    <a:gd name="T42" fmla="*/ 5 w 17"/>
                    <a:gd name="T43" fmla="*/ 2 h 16"/>
                    <a:gd name="T44" fmla="*/ 7 w 17"/>
                    <a:gd name="T45" fmla="*/ 0 h 16"/>
                    <a:gd name="T46" fmla="*/ 10 w 17"/>
                    <a:gd name="T47" fmla="*/ 2 h 16"/>
                    <a:gd name="T48" fmla="*/ 12 w 17"/>
                    <a:gd name="T49" fmla="*/ 5 h 16"/>
                    <a:gd name="T50" fmla="*/ 12 w 17"/>
                    <a:gd name="T51" fmla="*/ 5 h 16"/>
                    <a:gd name="T52" fmla="*/ 12 w 17"/>
                    <a:gd name="T53" fmla="*/ 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 h="16">
                      <a:moveTo>
                        <a:pt x="12" y="5"/>
                      </a:moveTo>
                      <a:lnTo>
                        <a:pt x="12" y="5"/>
                      </a:lnTo>
                      <a:lnTo>
                        <a:pt x="15" y="5"/>
                      </a:lnTo>
                      <a:lnTo>
                        <a:pt x="15" y="7"/>
                      </a:lnTo>
                      <a:lnTo>
                        <a:pt x="17" y="7"/>
                      </a:lnTo>
                      <a:lnTo>
                        <a:pt x="17" y="9"/>
                      </a:lnTo>
                      <a:lnTo>
                        <a:pt x="17" y="9"/>
                      </a:lnTo>
                      <a:lnTo>
                        <a:pt x="15" y="12"/>
                      </a:lnTo>
                      <a:lnTo>
                        <a:pt x="15" y="12"/>
                      </a:lnTo>
                      <a:lnTo>
                        <a:pt x="15" y="12"/>
                      </a:lnTo>
                      <a:lnTo>
                        <a:pt x="15" y="14"/>
                      </a:lnTo>
                      <a:lnTo>
                        <a:pt x="15" y="14"/>
                      </a:lnTo>
                      <a:lnTo>
                        <a:pt x="12" y="16"/>
                      </a:lnTo>
                      <a:lnTo>
                        <a:pt x="12" y="16"/>
                      </a:lnTo>
                      <a:lnTo>
                        <a:pt x="7" y="16"/>
                      </a:lnTo>
                      <a:lnTo>
                        <a:pt x="3" y="14"/>
                      </a:lnTo>
                      <a:lnTo>
                        <a:pt x="3" y="14"/>
                      </a:lnTo>
                      <a:lnTo>
                        <a:pt x="0" y="12"/>
                      </a:lnTo>
                      <a:lnTo>
                        <a:pt x="0" y="12"/>
                      </a:lnTo>
                      <a:lnTo>
                        <a:pt x="0" y="9"/>
                      </a:lnTo>
                      <a:lnTo>
                        <a:pt x="5" y="5"/>
                      </a:lnTo>
                      <a:lnTo>
                        <a:pt x="5" y="2"/>
                      </a:lnTo>
                      <a:lnTo>
                        <a:pt x="7" y="0"/>
                      </a:lnTo>
                      <a:lnTo>
                        <a:pt x="10" y="2"/>
                      </a:lnTo>
                      <a:lnTo>
                        <a:pt x="12" y="5"/>
                      </a:lnTo>
                      <a:lnTo>
                        <a:pt x="12" y="5"/>
                      </a:lnTo>
                      <a:lnTo>
                        <a:pt x="12" y="5"/>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4" name="Freeform 159">
                  <a:extLst>
                    <a:ext uri="{FF2B5EF4-FFF2-40B4-BE49-F238E27FC236}">
                      <a16:creationId xmlns:a16="http://schemas.microsoft.com/office/drawing/2014/main" id="{9760D36F-6456-0E55-2AF8-A6969D5CEE68}"/>
                    </a:ext>
                  </a:extLst>
                </p:cNvPr>
                <p:cNvSpPr>
                  <a:spLocks noEditPoints="1"/>
                </p:cNvSpPr>
                <p:nvPr/>
              </p:nvSpPr>
              <p:spPr bwMode="auto">
                <a:xfrm>
                  <a:off x="2831" y="2832"/>
                  <a:ext cx="185" cy="142"/>
                </a:xfrm>
                <a:custGeom>
                  <a:avLst/>
                  <a:gdLst>
                    <a:gd name="T0" fmla="*/ 3 w 185"/>
                    <a:gd name="T1" fmla="*/ 66 h 142"/>
                    <a:gd name="T2" fmla="*/ 10 w 185"/>
                    <a:gd name="T3" fmla="*/ 69 h 142"/>
                    <a:gd name="T4" fmla="*/ 22 w 185"/>
                    <a:gd name="T5" fmla="*/ 73 h 142"/>
                    <a:gd name="T6" fmla="*/ 29 w 185"/>
                    <a:gd name="T7" fmla="*/ 73 h 142"/>
                    <a:gd name="T8" fmla="*/ 34 w 185"/>
                    <a:gd name="T9" fmla="*/ 69 h 142"/>
                    <a:gd name="T10" fmla="*/ 45 w 185"/>
                    <a:gd name="T11" fmla="*/ 33 h 142"/>
                    <a:gd name="T12" fmla="*/ 48 w 185"/>
                    <a:gd name="T13" fmla="*/ 50 h 142"/>
                    <a:gd name="T14" fmla="*/ 60 w 185"/>
                    <a:gd name="T15" fmla="*/ 50 h 142"/>
                    <a:gd name="T16" fmla="*/ 71 w 185"/>
                    <a:gd name="T17" fmla="*/ 43 h 142"/>
                    <a:gd name="T18" fmla="*/ 83 w 185"/>
                    <a:gd name="T19" fmla="*/ 38 h 142"/>
                    <a:gd name="T20" fmla="*/ 95 w 185"/>
                    <a:gd name="T21" fmla="*/ 40 h 142"/>
                    <a:gd name="T22" fmla="*/ 105 w 185"/>
                    <a:gd name="T23" fmla="*/ 40 h 142"/>
                    <a:gd name="T24" fmla="*/ 107 w 185"/>
                    <a:gd name="T25" fmla="*/ 31 h 142"/>
                    <a:gd name="T26" fmla="*/ 114 w 185"/>
                    <a:gd name="T27" fmla="*/ 28 h 142"/>
                    <a:gd name="T28" fmla="*/ 119 w 185"/>
                    <a:gd name="T29" fmla="*/ 24 h 142"/>
                    <a:gd name="T30" fmla="*/ 124 w 185"/>
                    <a:gd name="T31" fmla="*/ 14 h 142"/>
                    <a:gd name="T32" fmla="*/ 128 w 185"/>
                    <a:gd name="T33" fmla="*/ 12 h 142"/>
                    <a:gd name="T34" fmla="*/ 135 w 185"/>
                    <a:gd name="T35" fmla="*/ 7 h 142"/>
                    <a:gd name="T36" fmla="*/ 142 w 185"/>
                    <a:gd name="T37" fmla="*/ 5 h 142"/>
                    <a:gd name="T38" fmla="*/ 152 w 185"/>
                    <a:gd name="T39" fmla="*/ 0 h 142"/>
                    <a:gd name="T40" fmla="*/ 161 w 185"/>
                    <a:gd name="T41" fmla="*/ 5 h 142"/>
                    <a:gd name="T42" fmla="*/ 171 w 185"/>
                    <a:gd name="T43" fmla="*/ 7 h 142"/>
                    <a:gd name="T44" fmla="*/ 173 w 185"/>
                    <a:gd name="T45" fmla="*/ 21 h 142"/>
                    <a:gd name="T46" fmla="*/ 173 w 185"/>
                    <a:gd name="T47" fmla="*/ 38 h 142"/>
                    <a:gd name="T48" fmla="*/ 166 w 185"/>
                    <a:gd name="T49" fmla="*/ 40 h 142"/>
                    <a:gd name="T50" fmla="*/ 164 w 185"/>
                    <a:gd name="T51" fmla="*/ 52 h 142"/>
                    <a:gd name="T52" fmla="*/ 176 w 185"/>
                    <a:gd name="T53" fmla="*/ 52 h 142"/>
                    <a:gd name="T54" fmla="*/ 185 w 185"/>
                    <a:gd name="T55" fmla="*/ 50 h 142"/>
                    <a:gd name="T56" fmla="*/ 180 w 185"/>
                    <a:gd name="T57" fmla="*/ 59 h 142"/>
                    <a:gd name="T58" fmla="*/ 173 w 185"/>
                    <a:gd name="T59" fmla="*/ 73 h 142"/>
                    <a:gd name="T60" fmla="*/ 166 w 185"/>
                    <a:gd name="T61" fmla="*/ 78 h 142"/>
                    <a:gd name="T62" fmla="*/ 159 w 185"/>
                    <a:gd name="T63" fmla="*/ 88 h 142"/>
                    <a:gd name="T64" fmla="*/ 145 w 185"/>
                    <a:gd name="T65" fmla="*/ 104 h 142"/>
                    <a:gd name="T66" fmla="*/ 128 w 185"/>
                    <a:gd name="T67" fmla="*/ 118 h 142"/>
                    <a:gd name="T68" fmla="*/ 114 w 185"/>
                    <a:gd name="T69" fmla="*/ 126 h 142"/>
                    <a:gd name="T70" fmla="*/ 105 w 185"/>
                    <a:gd name="T71" fmla="*/ 130 h 142"/>
                    <a:gd name="T72" fmla="*/ 97 w 185"/>
                    <a:gd name="T73" fmla="*/ 133 h 142"/>
                    <a:gd name="T74" fmla="*/ 90 w 185"/>
                    <a:gd name="T75" fmla="*/ 135 h 142"/>
                    <a:gd name="T76" fmla="*/ 74 w 185"/>
                    <a:gd name="T77" fmla="*/ 133 h 142"/>
                    <a:gd name="T78" fmla="*/ 60 w 185"/>
                    <a:gd name="T79" fmla="*/ 135 h 142"/>
                    <a:gd name="T80" fmla="*/ 55 w 185"/>
                    <a:gd name="T81" fmla="*/ 137 h 142"/>
                    <a:gd name="T82" fmla="*/ 45 w 185"/>
                    <a:gd name="T83" fmla="*/ 137 h 142"/>
                    <a:gd name="T84" fmla="*/ 36 w 185"/>
                    <a:gd name="T85" fmla="*/ 142 h 142"/>
                    <a:gd name="T86" fmla="*/ 27 w 185"/>
                    <a:gd name="T87" fmla="*/ 137 h 142"/>
                    <a:gd name="T88" fmla="*/ 19 w 185"/>
                    <a:gd name="T89" fmla="*/ 133 h 142"/>
                    <a:gd name="T90" fmla="*/ 17 w 185"/>
                    <a:gd name="T91" fmla="*/ 133 h 142"/>
                    <a:gd name="T92" fmla="*/ 12 w 185"/>
                    <a:gd name="T93" fmla="*/ 121 h 142"/>
                    <a:gd name="T94" fmla="*/ 17 w 185"/>
                    <a:gd name="T95" fmla="*/ 116 h 142"/>
                    <a:gd name="T96" fmla="*/ 15 w 185"/>
                    <a:gd name="T97" fmla="*/ 100 h 142"/>
                    <a:gd name="T98" fmla="*/ 5 w 185"/>
                    <a:gd name="T99" fmla="*/ 76 h 142"/>
                    <a:gd name="T100" fmla="*/ 121 w 185"/>
                    <a:gd name="T101" fmla="*/ 90 h 142"/>
                    <a:gd name="T102" fmla="*/ 128 w 185"/>
                    <a:gd name="T103" fmla="*/ 92 h 142"/>
                    <a:gd name="T104" fmla="*/ 135 w 185"/>
                    <a:gd name="T105" fmla="*/ 88 h 142"/>
                    <a:gd name="T106" fmla="*/ 140 w 185"/>
                    <a:gd name="T107" fmla="*/ 83 h 142"/>
                    <a:gd name="T108" fmla="*/ 140 w 185"/>
                    <a:gd name="T109" fmla="*/ 73 h 142"/>
                    <a:gd name="T110" fmla="*/ 133 w 185"/>
                    <a:gd name="T111" fmla="*/ 71 h 142"/>
                    <a:gd name="T112" fmla="*/ 124 w 185"/>
                    <a:gd name="T113" fmla="*/ 76 h 142"/>
                    <a:gd name="T114" fmla="*/ 119 w 185"/>
                    <a:gd name="T115" fmla="*/ 8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85" h="142">
                      <a:moveTo>
                        <a:pt x="0" y="71"/>
                      </a:moveTo>
                      <a:lnTo>
                        <a:pt x="3" y="69"/>
                      </a:lnTo>
                      <a:lnTo>
                        <a:pt x="5" y="69"/>
                      </a:lnTo>
                      <a:lnTo>
                        <a:pt x="5" y="69"/>
                      </a:lnTo>
                      <a:lnTo>
                        <a:pt x="3" y="66"/>
                      </a:lnTo>
                      <a:lnTo>
                        <a:pt x="5" y="66"/>
                      </a:lnTo>
                      <a:lnTo>
                        <a:pt x="8" y="64"/>
                      </a:lnTo>
                      <a:lnTo>
                        <a:pt x="10" y="66"/>
                      </a:lnTo>
                      <a:lnTo>
                        <a:pt x="12" y="66"/>
                      </a:lnTo>
                      <a:lnTo>
                        <a:pt x="10" y="69"/>
                      </a:lnTo>
                      <a:lnTo>
                        <a:pt x="12" y="71"/>
                      </a:lnTo>
                      <a:lnTo>
                        <a:pt x="15" y="73"/>
                      </a:lnTo>
                      <a:lnTo>
                        <a:pt x="17" y="73"/>
                      </a:lnTo>
                      <a:lnTo>
                        <a:pt x="19" y="73"/>
                      </a:lnTo>
                      <a:lnTo>
                        <a:pt x="22" y="73"/>
                      </a:lnTo>
                      <a:lnTo>
                        <a:pt x="24" y="73"/>
                      </a:lnTo>
                      <a:lnTo>
                        <a:pt x="24" y="73"/>
                      </a:lnTo>
                      <a:lnTo>
                        <a:pt x="27" y="73"/>
                      </a:lnTo>
                      <a:lnTo>
                        <a:pt x="27" y="76"/>
                      </a:lnTo>
                      <a:lnTo>
                        <a:pt x="29" y="73"/>
                      </a:lnTo>
                      <a:lnTo>
                        <a:pt x="29" y="76"/>
                      </a:lnTo>
                      <a:lnTo>
                        <a:pt x="29" y="73"/>
                      </a:lnTo>
                      <a:lnTo>
                        <a:pt x="31" y="71"/>
                      </a:lnTo>
                      <a:lnTo>
                        <a:pt x="31" y="71"/>
                      </a:lnTo>
                      <a:lnTo>
                        <a:pt x="34" y="69"/>
                      </a:lnTo>
                      <a:lnTo>
                        <a:pt x="36" y="69"/>
                      </a:lnTo>
                      <a:lnTo>
                        <a:pt x="41" y="69"/>
                      </a:lnTo>
                      <a:lnTo>
                        <a:pt x="41" y="69"/>
                      </a:lnTo>
                      <a:lnTo>
                        <a:pt x="43" y="31"/>
                      </a:lnTo>
                      <a:lnTo>
                        <a:pt x="45" y="33"/>
                      </a:lnTo>
                      <a:lnTo>
                        <a:pt x="48" y="36"/>
                      </a:lnTo>
                      <a:lnTo>
                        <a:pt x="50" y="43"/>
                      </a:lnTo>
                      <a:lnTo>
                        <a:pt x="50" y="45"/>
                      </a:lnTo>
                      <a:lnTo>
                        <a:pt x="48" y="47"/>
                      </a:lnTo>
                      <a:lnTo>
                        <a:pt x="48" y="50"/>
                      </a:lnTo>
                      <a:lnTo>
                        <a:pt x="50" y="50"/>
                      </a:lnTo>
                      <a:lnTo>
                        <a:pt x="55" y="50"/>
                      </a:lnTo>
                      <a:lnTo>
                        <a:pt x="57" y="50"/>
                      </a:lnTo>
                      <a:lnTo>
                        <a:pt x="60" y="50"/>
                      </a:lnTo>
                      <a:lnTo>
                        <a:pt x="60" y="50"/>
                      </a:lnTo>
                      <a:lnTo>
                        <a:pt x="62" y="47"/>
                      </a:lnTo>
                      <a:lnTo>
                        <a:pt x="64" y="47"/>
                      </a:lnTo>
                      <a:lnTo>
                        <a:pt x="67" y="45"/>
                      </a:lnTo>
                      <a:lnTo>
                        <a:pt x="69" y="45"/>
                      </a:lnTo>
                      <a:lnTo>
                        <a:pt x="71" y="43"/>
                      </a:lnTo>
                      <a:lnTo>
                        <a:pt x="74" y="38"/>
                      </a:lnTo>
                      <a:lnTo>
                        <a:pt x="76" y="36"/>
                      </a:lnTo>
                      <a:lnTo>
                        <a:pt x="79" y="36"/>
                      </a:lnTo>
                      <a:lnTo>
                        <a:pt x="83" y="36"/>
                      </a:lnTo>
                      <a:lnTo>
                        <a:pt x="83" y="38"/>
                      </a:lnTo>
                      <a:lnTo>
                        <a:pt x="86" y="38"/>
                      </a:lnTo>
                      <a:lnTo>
                        <a:pt x="90" y="40"/>
                      </a:lnTo>
                      <a:lnTo>
                        <a:pt x="90" y="40"/>
                      </a:lnTo>
                      <a:lnTo>
                        <a:pt x="93" y="40"/>
                      </a:lnTo>
                      <a:lnTo>
                        <a:pt x="95" y="40"/>
                      </a:lnTo>
                      <a:lnTo>
                        <a:pt x="97" y="40"/>
                      </a:lnTo>
                      <a:lnTo>
                        <a:pt x="100" y="40"/>
                      </a:lnTo>
                      <a:lnTo>
                        <a:pt x="102" y="40"/>
                      </a:lnTo>
                      <a:lnTo>
                        <a:pt x="102" y="40"/>
                      </a:lnTo>
                      <a:lnTo>
                        <a:pt x="105" y="40"/>
                      </a:lnTo>
                      <a:lnTo>
                        <a:pt x="105" y="38"/>
                      </a:lnTo>
                      <a:lnTo>
                        <a:pt x="105" y="36"/>
                      </a:lnTo>
                      <a:lnTo>
                        <a:pt x="105" y="36"/>
                      </a:lnTo>
                      <a:lnTo>
                        <a:pt x="107" y="33"/>
                      </a:lnTo>
                      <a:lnTo>
                        <a:pt x="107" y="31"/>
                      </a:lnTo>
                      <a:lnTo>
                        <a:pt x="107" y="31"/>
                      </a:lnTo>
                      <a:lnTo>
                        <a:pt x="109" y="28"/>
                      </a:lnTo>
                      <a:lnTo>
                        <a:pt x="112" y="28"/>
                      </a:lnTo>
                      <a:lnTo>
                        <a:pt x="112" y="28"/>
                      </a:lnTo>
                      <a:lnTo>
                        <a:pt x="114" y="28"/>
                      </a:lnTo>
                      <a:lnTo>
                        <a:pt x="114" y="26"/>
                      </a:lnTo>
                      <a:lnTo>
                        <a:pt x="114" y="26"/>
                      </a:lnTo>
                      <a:lnTo>
                        <a:pt x="116" y="24"/>
                      </a:lnTo>
                      <a:lnTo>
                        <a:pt x="116" y="24"/>
                      </a:lnTo>
                      <a:lnTo>
                        <a:pt x="119" y="24"/>
                      </a:lnTo>
                      <a:lnTo>
                        <a:pt x="119" y="24"/>
                      </a:lnTo>
                      <a:lnTo>
                        <a:pt x="119" y="21"/>
                      </a:lnTo>
                      <a:lnTo>
                        <a:pt x="119" y="21"/>
                      </a:lnTo>
                      <a:lnTo>
                        <a:pt x="119" y="19"/>
                      </a:lnTo>
                      <a:lnTo>
                        <a:pt x="124" y="14"/>
                      </a:lnTo>
                      <a:lnTo>
                        <a:pt x="124" y="14"/>
                      </a:lnTo>
                      <a:lnTo>
                        <a:pt x="126" y="14"/>
                      </a:lnTo>
                      <a:lnTo>
                        <a:pt x="126" y="12"/>
                      </a:lnTo>
                      <a:lnTo>
                        <a:pt x="128" y="12"/>
                      </a:lnTo>
                      <a:lnTo>
                        <a:pt x="128" y="12"/>
                      </a:lnTo>
                      <a:lnTo>
                        <a:pt x="131" y="9"/>
                      </a:lnTo>
                      <a:lnTo>
                        <a:pt x="131" y="9"/>
                      </a:lnTo>
                      <a:lnTo>
                        <a:pt x="133" y="7"/>
                      </a:lnTo>
                      <a:lnTo>
                        <a:pt x="135" y="7"/>
                      </a:lnTo>
                      <a:lnTo>
                        <a:pt x="135" y="7"/>
                      </a:lnTo>
                      <a:lnTo>
                        <a:pt x="138" y="7"/>
                      </a:lnTo>
                      <a:lnTo>
                        <a:pt x="140" y="7"/>
                      </a:lnTo>
                      <a:lnTo>
                        <a:pt x="140" y="5"/>
                      </a:lnTo>
                      <a:lnTo>
                        <a:pt x="142" y="5"/>
                      </a:lnTo>
                      <a:lnTo>
                        <a:pt x="142" y="5"/>
                      </a:lnTo>
                      <a:lnTo>
                        <a:pt x="142" y="2"/>
                      </a:lnTo>
                      <a:lnTo>
                        <a:pt x="145" y="2"/>
                      </a:lnTo>
                      <a:lnTo>
                        <a:pt x="145" y="2"/>
                      </a:lnTo>
                      <a:lnTo>
                        <a:pt x="147" y="0"/>
                      </a:lnTo>
                      <a:lnTo>
                        <a:pt x="152" y="0"/>
                      </a:lnTo>
                      <a:lnTo>
                        <a:pt x="154" y="0"/>
                      </a:lnTo>
                      <a:lnTo>
                        <a:pt x="154" y="2"/>
                      </a:lnTo>
                      <a:lnTo>
                        <a:pt x="157" y="2"/>
                      </a:lnTo>
                      <a:lnTo>
                        <a:pt x="159" y="2"/>
                      </a:lnTo>
                      <a:lnTo>
                        <a:pt x="161" y="5"/>
                      </a:lnTo>
                      <a:lnTo>
                        <a:pt x="161" y="2"/>
                      </a:lnTo>
                      <a:lnTo>
                        <a:pt x="166" y="2"/>
                      </a:lnTo>
                      <a:lnTo>
                        <a:pt x="168" y="5"/>
                      </a:lnTo>
                      <a:lnTo>
                        <a:pt x="171" y="5"/>
                      </a:lnTo>
                      <a:lnTo>
                        <a:pt x="171" y="7"/>
                      </a:lnTo>
                      <a:lnTo>
                        <a:pt x="173" y="9"/>
                      </a:lnTo>
                      <a:lnTo>
                        <a:pt x="173" y="14"/>
                      </a:lnTo>
                      <a:lnTo>
                        <a:pt x="173" y="19"/>
                      </a:lnTo>
                      <a:lnTo>
                        <a:pt x="173" y="19"/>
                      </a:lnTo>
                      <a:lnTo>
                        <a:pt x="173" y="21"/>
                      </a:lnTo>
                      <a:lnTo>
                        <a:pt x="176" y="21"/>
                      </a:lnTo>
                      <a:lnTo>
                        <a:pt x="176" y="24"/>
                      </a:lnTo>
                      <a:lnTo>
                        <a:pt x="176" y="33"/>
                      </a:lnTo>
                      <a:lnTo>
                        <a:pt x="173" y="36"/>
                      </a:lnTo>
                      <a:lnTo>
                        <a:pt x="173" y="38"/>
                      </a:lnTo>
                      <a:lnTo>
                        <a:pt x="173" y="43"/>
                      </a:lnTo>
                      <a:lnTo>
                        <a:pt x="173" y="43"/>
                      </a:lnTo>
                      <a:lnTo>
                        <a:pt x="171" y="40"/>
                      </a:lnTo>
                      <a:lnTo>
                        <a:pt x="168" y="38"/>
                      </a:lnTo>
                      <a:lnTo>
                        <a:pt x="166" y="40"/>
                      </a:lnTo>
                      <a:lnTo>
                        <a:pt x="166" y="43"/>
                      </a:lnTo>
                      <a:lnTo>
                        <a:pt x="161" y="47"/>
                      </a:lnTo>
                      <a:lnTo>
                        <a:pt x="161" y="50"/>
                      </a:lnTo>
                      <a:lnTo>
                        <a:pt x="161" y="50"/>
                      </a:lnTo>
                      <a:lnTo>
                        <a:pt x="164" y="52"/>
                      </a:lnTo>
                      <a:lnTo>
                        <a:pt x="164" y="52"/>
                      </a:lnTo>
                      <a:lnTo>
                        <a:pt x="168" y="54"/>
                      </a:lnTo>
                      <a:lnTo>
                        <a:pt x="173" y="54"/>
                      </a:lnTo>
                      <a:lnTo>
                        <a:pt x="173" y="54"/>
                      </a:lnTo>
                      <a:lnTo>
                        <a:pt x="176" y="52"/>
                      </a:lnTo>
                      <a:lnTo>
                        <a:pt x="176" y="52"/>
                      </a:lnTo>
                      <a:lnTo>
                        <a:pt x="176" y="50"/>
                      </a:lnTo>
                      <a:lnTo>
                        <a:pt x="178" y="50"/>
                      </a:lnTo>
                      <a:lnTo>
                        <a:pt x="183" y="50"/>
                      </a:lnTo>
                      <a:lnTo>
                        <a:pt x="185" y="50"/>
                      </a:lnTo>
                      <a:lnTo>
                        <a:pt x="185" y="52"/>
                      </a:lnTo>
                      <a:lnTo>
                        <a:pt x="183" y="52"/>
                      </a:lnTo>
                      <a:lnTo>
                        <a:pt x="183" y="52"/>
                      </a:lnTo>
                      <a:lnTo>
                        <a:pt x="183" y="57"/>
                      </a:lnTo>
                      <a:lnTo>
                        <a:pt x="180" y="59"/>
                      </a:lnTo>
                      <a:lnTo>
                        <a:pt x="180" y="64"/>
                      </a:lnTo>
                      <a:lnTo>
                        <a:pt x="178" y="66"/>
                      </a:lnTo>
                      <a:lnTo>
                        <a:pt x="178" y="69"/>
                      </a:lnTo>
                      <a:lnTo>
                        <a:pt x="176" y="71"/>
                      </a:lnTo>
                      <a:lnTo>
                        <a:pt x="173" y="73"/>
                      </a:lnTo>
                      <a:lnTo>
                        <a:pt x="173" y="73"/>
                      </a:lnTo>
                      <a:lnTo>
                        <a:pt x="171" y="76"/>
                      </a:lnTo>
                      <a:lnTo>
                        <a:pt x="168" y="76"/>
                      </a:lnTo>
                      <a:lnTo>
                        <a:pt x="168" y="78"/>
                      </a:lnTo>
                      <a:lnTo>
                        <a:pt x="166" y="78"/>
                      </a:lnTo>
                      <a:lnTo>
                        <a:pt x="164" y="81"/>
                      </a:lnTo>
                      <a:lnTo>
                        <a:pt x="161" y="83"/>
                      </a:lnTo>
                      <a:lnTo>
                        <a:pt x="161" y="85"/>
                      </a:lnTo>
                      <a:lnTo>
                        <a:pt x="161" y="88"/>
                      </a:lnTo>
                      <a:lnTo>
                        <a:pt x="159" y="88"/>
                      </a:lnTo>
                      <a:lnTo>
                        <a:pt x="157" y="90"/>
                      </a:lnTo>
                      <a:lnTo>
                        <a:pt x="152" y="97"/>
                      </a:lnTo>
                      <a:lnTo>
                        <a:pt x="150" y="100"/>
                      </a:lnTo>
                      <a:lnTo>
                        <a:pt x="147" y="102"/>
                      </a:lnTo>
                      <a:lnTo>
                        <a:pt x="145" y="104"/>
                      </a:lnTo>
                      <a:lnTo>
                        <a:pt x="145" y="107"/>
                      </a:lnTo>
                      <a:lnTo>
                        <a:pt x="142" y="107"/>
                      </a:lnTo>
                      <a:lnTo>
                        <a:pt x="142" y="107"/>
                      </a:lnTo>
                      <a:lnTo>
                        <a:pt x="131" y="116"/>
                      </a:lnTo>
                      <a:lnTo>
                        <a:pt x="128" y="118"/>
                      </a:lnTo>
                      <a:lnTo>
                        <a:pt x="128" y="118"/>
                      </a:lnTo>
                      <a:lnTo>
                        <a:pt x="128" y="121"/>
                      </a:lnTo>
                      <a:lnTo>
                        <a:pt x="119" y="123"/>
                      </a:lnTo>
                      <a:lnTo>
                        <a:pt x="119" y="126"/>
                      </a:lnTo>
                      <a:lnTo>
                        <a:pt x="114" y="126"/>
                      </a:lnTo>
                      <a:lnTo>
                        <a:pt x="114" y="128"/>
                      </a:lnTo>
                      <a:lnTo>
                        <a:pt x="112" y="128"/>
                      </a:lnTo>
                      <a:lnTo>
                        <a:pt x="109" y="130"/>
                      </a:lnTo>
                      <a:lnTo>
                        <a:pt x="105" y="130"/>
                      </a:lnTo>
                      <a:lnTo>
                        <a:pt x="105" y="130"/>
                      </a:lnTo>
                      <a:lnTo>
                        <a:pt x="100" y="130"/>
                      </a:lnTo>
                      <a:lnTo>
                        <a:pt x="97" y="130"/>
                      </a:lnTo>
                      <a:lnTo>
                        <a:pt x="97" y="133"/>
                      </a:lnTo>
                      <a:lnTo>
                        <a:pt x="97" y="133"/>
                      </a:lnTo>
                      <a:lnTo>
                        <a:pt x="97" y="133"/>
                      </a:lnTo>
                      <a:lnTo>
                        <a:pt x="95" y="133"/>
                      </a:lnTo>
                      <a:lnTo>
                        <a:pt x="93" y="133"/>
                      </a:lnTo>
                      <a:lnTo>
                        <a:pt x="90" y="133"/>
                      </a:lnTo>
                      <a:lnTo>
                        <a:pt x="88" y="135"/>
                      </a:lnTo>
                      <a:lnTo>
                        <a:pt x="90" y="135"/>
                      </a:lnTo>
                      <a:lnTo>
                        <a:pt x="88" y="135"/>
                      </a:lnTo>
                      <a:lnTo>
                        <a:pt x="83" y="135"/>
                      </a:lnTo>
                      <a:lnTo>
                        <a:pt x="81" y="135"/>
                      </a:lnTo>
                      <a:lnTo>
                        <a:pt x="76" y="133"/>
                      </a:lnTo>
                      <a:lnTo>
                        <a:pt x="74" y="133"/>
                      </a:lnTo>
                      <a:lnTo>
                        <a:pt x="74" y="135"/>
                      </a:lnTo>
                      <a:lnTo>
                        <a:pt x="71" y="135"/>
                      </a:lnTo>
                      <a:lnTo>
                        <a:pt x="69" y="133"/>
                      </a:lnTo>
                      <a:lnTo>
                        <a:pt x="62" y="133"/>
                      </a:lnTo>
                      <a:lnTo>
                        <a:pt x="60" y="135"/>
                      </a:lnTo>
                      <a:lnTo>
                        <a:pt x="60" y="135"/>
                      </a:lnTo>
                      <a:lnTo>
                        <a:pt x="60" y="135"/>
                      </a:lnTo>
                      <a:lnTo>
                        <a:pt x="57" y="135"/>
                      </a:lnTo>
                      <a:lnTo>
                        <a:pt x="57" y="137"/>
                      </a:lnTo>
                      <a:lnTo>
                        <a:pt x="55" y="137"/>
                      </a:lnTo>
                      <a:lnTo>
                        <a:pt x="53" y="137"/>
                      </a:lnTo>
                      <a:lnTo>
                        <a:pt x="50" y="137"/>
                      </a:lnTo>
                      <a:lnTo>
                        <a:pt x="48" y="137"/>
                      </a:lnTo>
                      <a:lnTo>
                        <a:pt x="45" y="137"/>
                      </a:lnTo>
                      <a:lnTo>
                        <a:pt x="45" y="137"/>
                      </a:lnTo>
                      <a:lnTo>
                        <a:pt x="41" y="137"/>
                      </a:lnTo>
                      <a:lnTo>
                        <a:pt x="38" y="140"/>
                      </a:lnTo>
                      <a:lnTo>
                        <a:pt x="38" y="140"/>
                      </a:lnTo>
                      <a:lnTo>
                        <a:pt x="36" y="142"/>
                      </a:lnTo>
                      <a:lnTo>
                        <a:pt x="36" y="142"/>
                      </a:lnTo>
                      <a:lnTo>
                        <a:pt x="34" y="142"/>
                      </a:lnTo>
                      <a:lnTo>
                        <a:pt x="29" y="140"/>
                      </a:lnTo>
                      <a:lnTo>
                        <a:pt x="27" y="140"/>
                      </a:lnTo>
                      <a:lnTo>
                        <a:pt x="27" y="137"/>
                      </a:lnTo>
                      <a:lnTo>
                        <a:pt x="27" y="137"/>
                      </a:lnTo>
                      <a:lnTo>
                        <a:pt x="24" y="137"/>
                      </a:lnTo>
                      <a:lnTo>
                        <a:pt x="22" y="137"/>
                      </a:lnTo>
                      <a:lnTo>
                        <a:pt x="24" y="135"/>
                      </a:lnTo>
                      <a:lnTo>
                        <a:pt x="24" y="135"/>
                      </a:lnTo>
                      <a:lnTo>
                        <a:pt x="19" y="133"/>
                      </a:lnTo>
                      <a:lnTo>
                        <a:pt x="19" y="135"/>
                      </a:lnTo>
                      <a:lnTo>
                        <a:pt x="19" y="137"/>
                      </a:lnTo>
                      <a:lnTo>
                        <a:pt x="17" y="135"/>
                      </a:lnTo>
                      <a:lnTo>
                        <a:pt x="17" y="135"/>
                      </a:lnTo>
                      <a:lnTo>
                        <a:pt x="17" y="133"/>
                      </a:lnTo>
                      <a:lnTo>
                        <a:pt x="17" y="130"/>
                      </a:lnTo>
                      <a:lnTo>
                        <a:pt x="19" y="128"/>
                      </a:lnTo>
                      <a:lnTo>
                        <a:pt x="17" y="123"/>
                      </a:lnTo>
                      <a:lnTo>
                        <a:pt x="15" y="123"/>
                      </a:lnTo>
                      <a:lnTo>
                        <a:pt x="12" y="121"/>
                      </a:lnTo>
                      <a:lnTo>
                        <a:pt x="12" y="116"/>
                      </a:lnTo>
                      <a:lnTo>
                        <a:pt x="15" y="116"/>
                      </a:lnTo>
                      <a:lnTo>
                        <a:pt x="15" y="116"/>
                      </a:lnTo>
                      <a:lnTo>
                        <a:pt x="17" y="116"/>
                      </a:lnTo>
                      <a:lnTo>
                        <a:pt x="17" y="116"/>
                      </a:lnTo>
                      <a:lnTo>
                        <a:pt x="19" y="114"/>
                      </a:lnTo>
                      <a:lnTo>
                        <a:pt x="17" y="109"/>
                      </a:lnTo>
                      <a:lnTo>
                        <a:pt x="17" y="107"/>
                      </a:lnTo>
                      <a:lnTo>
                        <a:pt x="15" y="102"/>
                      </a:lnTo>
                      <a:lnTo>
                        <a:pt x="15" y="100"/>
                      </a:lnTo>
                      <a:lnTo>
                        <a:pt x="10" y="97"/>
                      </a:lnTo>
                      <a:lnTo>
                        <a:pt x="10" y="90"/>
                      </a:lnTo>
                      <a:lnTo>
                        <a:pt x="8" y="85"/>
                      </a:lnTo>
                      <a:lnTo>
                        <a:pt x="8" y="83"/>
                      </a:lnTo>
                      <a:lnTo>
                        <a:pt x="5" y="76"/>
                      </a:lnTo>
                      <a:lnTo>
                        <a:pt x="0" y="73"/>
                      </a:lnTo>
                      <a:lnTo>
                        <a:pt x="0" y="71"/>
                      </a:lnTo>
                      <a:lnTo>
                        <a:pt x="0" y="71"/>
                      </a:lnTo>
                      <a:lnTo>
                        <a:pt x="0" y="71"/>
                      </a:lnTo>
                      <a:close/>
                      <a:moveTo>
                        <a:pt x="121" y="90"/>
                      </a:moveTo>
                      <a:lnTo>
                        <a:pt x="124" y="92"/>
                      </a:lnTo>
                      <a:lnTo>
                        <a:pt x="124" y="92"/>
                      </a:lnTo>
                      <a:lnTo>
                        <a:pt x="126" y="95"/>
                      </a:lnTo>
                      <a:lnTo>
                        <a:pt x="128" y="95"/>
                      </a:lnTo>
                      <a:lnTo>
                        <a:pt x="128" y="92"/>
                      </a:lnTo>
                      <a:lnTo>
                        <a:pt x="131" y="92"/>
                      </a:lnTo>
                      <a:lnTo>
                        <a:pt x="131" y="90"/>
                      </a:lnTo>
                      <a:lnTo>
                        <a:pt x="133" y="90"/>
                      </a:lnTo>
                      <a:lnTo>
                        <a:pt x="135" y="88"/>
                      </a:lnTo>
                      <a:lnTo>
                        <a:pt x="135" y="88"/>
                      </a:lnTo>
                      <a:lnTo>
                        <a:pt x="138" y="88"/>
                      </a:lnTo>
                      <a:lnTo>
                        <a:pt x="140" y="88"/>
                      </a:lnTo>
                      <a:lnTo>
                        <a:pt x="140" y="85"/>
                      </a:lnTo>
                      <a:lnTo>
                        <a:pt x="140" y="85"/>
                      </a:lnTo>
                      <a:lnTo>
                        <a:pt x="140" y="83"/>
                      </a:lnTo>
                      <a:lnTo>
                        <a:pt x="142" y="83"/>
                      </a:lnTo>
                      <a:lnTo>
                        <a:pt x="142" y="81"/>
                      </a:lnTo>
                      <a:lnTo>
                        <a:pt x="142" y="78"/>
                      </a:lnTo>
                      <a:lnTo>
                        <a:pt x="142" y="73"/>
                      </a:lnTo>
                      <a:lnTo>
                        <a:pt x="140" y="73"/>
                      </a:lnTo>
                      <a:lnTo>
                        <a:pt x="138" y="73"/>
                      </a:lnTo>
                      <a:lnTo>
                        <a:pt x="135" y="71"/>
                      </a:lnTo>
                      <a:lnTo>
                        <a:pt x="135" y="73"/>
                      </a:lnTo>
                      <a:lnTo>
                        <a:pt x="133" y="71"/>
                      </a:lnTo>
                      <a:lnTo>
                        <a:pt x="133" y="71"/>
                      </a:lnTo>
                      <a:lnTo>
                        <a:pt x="133" y="73"/>
                      </a:lnTo>
                      <a:lnTo>
                        <a:pt x="131" y="73"/>
                      </a:lnTo>
                      <a:lnTo>
                        <a:pt x="128" y="73"/>
                      </a:lnTo>
                      <a:lnTo>
                        <a:pt x="126" y="76"/>
                      </a:lnTo>
                      <a:lnTo>
                        <a:pt x="124" y="76"/>
                      </a:lnTo>
                      <a:lnTo>
                        <a:pt x="121" y="81"/>
                      </a:lnTo>
                      <a:lnTo>
                        <a:pt x="119" y="81"/>
                      </a:lnTo>
                      <a:lnTo>
                        <a:pt x="116" y="83"/>
                      </a:lnTo>
                      <a:lnTo>
                        <a:pt x="119" y="85"/>
                      </a:lnTo>
                      <a:lnTo>
                        <a:pt x="119" y="85"/>
                      </a:lnTo>
                      <a:lnTo>
                        <a:pt x="119" y="88"/>
                      </a:lnTo>
                      <a:lnTo>
                        <a:pt x="121" y="88"/>
                      </a:lnTo>
                      <a:lnTo>
                        <a:pt x="121" y="90"/>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5" name="Freeform 160">
                  <a:extLst>
                    <a:ext uri="{FF2B5EF4-FFF2-40B4-BE49-F238E27FC236}">
                      <a16:creationId xmlns:a16="http://schemas.microsoft.com/office/drawing/2014/main" id="{5F1220AA-E07F-1AD1-2A90-39740D0ED6F6}"/>
                    </a:ext>
                  </a:extLst>
                </p:cNvPr>
                <p:cNvSpPr>
                  <a:spLocks/>
                </p:cNvSpPr>
                <p:nvPr/>
              </p:nvSpPr>
              <p:spPr bwMode="auto">
                <a:xfrm>
                  <a:off x="2947" y="2903"/>
                  <a:ext cx="26" cy="24"/>
                </a:xfrm>
                <a:custGeom>
                  <a:avLst/>
                  <a:gdLst>
                    <a:gd name="T0" fmla="*/ 5 w 26"/>
                    <a:gd name="T1" fmla="*/ 19 h 24"/>
                    <a:gd name="T2" fmla="*/ 5 w 26"/>
                    <a:gd name="T3" fmla="*/ 17 h 24"/>
                    <a:gd name="T4" fmla="*/ 3 w 26"/>
                    <a:gd name="T5" fmla="*/ 17 h 24"/>
                    <a:gd name="T6" fmla="*/ 3 w 26"/>
                    <a:gd name="T7" fmla="*/ 14 h 24"/>
                    <a:gd name="T8" fmla="*/ 3 w 26"/>
                    <a:gd name="T9" fmla="*/ 14 h 24"/>
                    <a:gd name="T10" fmla="*/ 0 w 26"/>
                    <a:gd name="T11" fmla="*/ 12 h 24"/>
                    <a:gd name="T12" fmla="*/ 3 w 26"/>
                    <a:gd name="T13" fmla="*/ 10 h 24"/>
                    <a:gd name="T14" fmla="*/ 5 w 26"/>
                    <a:gd name="T15" fmla="*/ 10 h 24"/>
                    <a:gd name="T16" fmla="*/ 8 w 26"/>
                    <a:gd name="T17" fmla="*/ 5 h 24"/>
                    <a:gd name="T18" fmla="*/ 10 w 26"/>
                    <a:gd name="T19" fmla="*/ 5 h 24"/>
                    <a:gd name="T20" fmla="*/ 12 w 26"/>
                    <a:gd name="T21" fmla="*/ 2 h 24"/>
                    <a:gd name="T22" fmla="*/ 15 w 26"/>
                    <a:gd name="T23" fmla="*/ 2 h 24"/>
                    <a:gd name="T24" fmla="*/ 17 w 26"/>
                    <a:gd name="T25" fmla="*/ 2 h 24"/>
                    <a:gd name="T26" fmla="*/ 17 w 26"/>
                    <a:gd name="T27" fmla="*/ 0 h 24"/>
                    <a:gd name="T28" fmla="*/ 17 w 26"/>
                    <a:gd name="T29" fmla="*/ 0 h 24"/>
                    <a:gd name="T30" fmla="*/ 19 w 26"/>
                    <a:gd name="T31" fmla="*/ 2 h 24"/>
                    <a:gd name="T32" fmla="*/ 19 w 26"/>
                    <a:gd name="T33" fmla="*/ 0 h 24"/>
                    <a:gd name="T34" fmla="*/ 22 w 26"/>
                    <a:gd name="T35" fmla="*/ 2 h 24"/>
                    <a:gd name="T36" fmla="*/ 24 w 26"/>
                    <a:gd name="T37" fmla="*/ 2 h 24"/>
                    <a:gd name="T38" fmla="*/ 26 w 26"/>
                    <a:gd name="T39" fmla="*/ 2 h 24"/>
                    <a:gd name="T40" fmla="*/ 26 w 26"/>
                    <a:gd name="T41" fmla="*/ 7 h 24"/>
                    <a:gd name="T42" fmla="*/ 26 w 26"/>
                    <a:gd name="T43" fmla="*/ 10 h 24"/>
                    <a:gd name="T44" fmla="*/ 26 w 26"/>
                    <a:gd name="T45" fmla="*/ 12 h 24"/>
                    <a:gd name="T46" fmla="*/ 24 w 26"/>
                    <a:gd name="T47" fmla="*/ 12 h 24"/>
                    <a:gd name="T48" fmla="*/ 24 w 26"/>
                    <a:gd name="T49" fmla="*/ 14 h 24"/>
                    <a:gd name="T50" fmla="*/ 24 w 26"/>
                    <a:gd name="T51" fmla="*/ 14 h 24"/>
                    <a:gd name="T52" fmla="*/ 24 w 26"/>
                    <a:gd name="T53" fmla="*/ 17 h 24"/>
                    <a:gd name="T54" fmla="*/ 22 w 26"/>
                    <a:gd name="T55" fmla="*/ 17 h 24"/>
                    <a:gd name="T56" fmla="*/ 19 w 26"/>
                    <a:gd name="T57" fmla="*/ 17 h 24"/>
                    <a:gd name="T58" fmla="*/ 19 w 26"/>
                    <a:gd name="T59" fmla="*/ 17 h 24"/>
                    <a:gd name="T60" fmla="*/ 17 w 26"/>
                    <a:gd name="T61" fmla="*/ 19 h 24"/>
                    <a:gd name="T62" fmla="*/ 15 w 26"/>
                    <a:gd name="T63" fmla="*/ 19 h 24"/>
                    <a:gd name="T64" fmla="*/ 15 w 26"/>
                    <a:gd name="T65" fmla="*/ 21 h 24"/>
                    <a:gd name="T66" fmla="*/ 12 w 26"/>
                    <a:gd name="T67" fmla="*/ 21 h 24"/>
                    <a:gd name="T68" fmla="*/ 12 w 26"/>
                    <a:gd name="T69" fmla="*/ 24 h 24"/>
                    <a:gd name="T70" fmla="*/ 10 w 26"/>
                    <a:gd name="T71" fmla="*/ 24 h 24"/>
                    <a:gd name="T72" fmla="*/ 8 w 26"/>
                    <a:gd name="T73" fmla="*/ 21 h 24"/>
                    <a:gd name="T74" fmla="*/ 8 w 26"/>
                    <a:gd name="T75" fmla="*/ 21 h 24"/>
                    <a:gd name="T76" fmla="*/ 5 w 26"/>
                    <a:gd name="T77" fmla="*/ 19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6" h="24">
                      <a:moveTo>
                        <a:pt x="5" y="19"/>
                      </a:moveTo>
                      <a:lnTo>
                        <a:pt x="5" y="17"/>
                      </a:lnTo>
                      <a:lnTo>
                        <a:pt x="3" y="17"/>
                      </a:lnTo>
                      <a:lnTo>
                        <a:pt x="3" y="14"/>
                      </a:lnTo>
                      <a:lnTo>
                        <a:pt x="3" y="14"/>
                      </a:lnTo>
                      <a:lnTo>
                        <a:pt x="0" y="12"/>
                      </a:lnTo>
                      <a:lnTo>
                        <a:pt x="3" y="10"/>
                      </a:lnTo>
                      <a:lnTo>
                        <a:pt x="5" y="10"/>
                      </a:lnTo>
                      <a:lnTo>
                        <a:pt x="8" y="5"/>
                      </a:lnTo>
                      <a:lnTo>
                        <a:pt x="10" y="5"/>
                      </a:lnTo>
                      <a:lnTo>
                        <a:pt x="12" y="2"/>
                      </a:lnTo>
                      <a:lnTo>
                        <a:pt x="15" y="2"/>
                      </a:lnTo>
                      <a:lnTo>
                        <a:pt x="17" y="2"/>
                      </a:lnTo>
                      <a:lnTo>
                        <a:pt x="17" y="0"/>
                      </a:lnTo>
                      <a:lnTo>
                        <a:pt x="17" y="0"/>
                      </a:lnTo>
                      <a:lnTo>
                        <a:pt x="19" y="2"/>
                      </a:lnTo>
                      <a:lnTo>
                        <a:pt x="19" y="0"/>
                      </a:lnTo>
                      <a:lnTo>
                        <a:pt x="22" y="2"/>
                      </a:lnTo>
                      <a:lnTo>
                        <a:pt x="24" y="2"/>
                      </a:lnTo>
                      <a:lnTo>
                        <a:pt x="26" y="2"/>
                      </a:lnTo>
                      <a:lnTo>
                        <a:pt x="26" y="7"/>
                      </a:lnTo>
                      <a:lnTo>
                        <a:pt x="26" y="10"/>
                      </a:lnTo>
                      <a:lnTo>
                        <a:pt x="26" y="12"/>
                      </a:lnTo>
                      <a:lnTo>
                        <a:pt x="24" y="12"/>
                      </a:lnTo>
                      <a:lnTo>
                        <a:pt x="24" y="14"/>
                      </a:lnTo>
                      <a:lnTo>
                        <a:pt x="24" y="14"/>
                      </a:lnTo>
                      <a:lnTo>
                        <a:pt x="24" y="17"/>
                      </a:lnTo>
                      <a:lnTo>
                        <a:pt x="22" y="17"/>
                      </a:lnTo>
                      <a:lnTo>
                        <a:pt x="19" y="17"/>
                      </a:lnTo>
                      <a:lnTo>
                        <a:pt x="19" y="17"/>
                      </a:lnTo>
                      <a:lnTo>
                        <a:pt x="17" y="19"/>
                      </a:lnTo>
                      <a:lnTo>
                        <a:pt x="15" y="19"/>
                      </a:lnTo>
                      <a:lnTo>
                        <a:pt x="15" y="21"/>
                      </a:lnTo>
                      <a:lnTo>
                        <a:pt x="12" y="21"/>
                      </a:lnTo>
                      <a:lnTo>
                        <a:pt x="12" y="24"/>
                      </a:lnTo>
                      <a:lnTo>
                        <a:pt x="10" y="24"/>
                      </a:lnTo>
                      <a:lnTo>
                        <a:pt x="8" y="21"/>
                      </a:lnTo>
                      <a:lnTo>
                        <a:pt x="8" y="21"/>
                      </a:lnTo>
                      <a:lnTo>
                        <a:pt x="5" y="19"/>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6" name="Freeform 161">
                  <a:extLst>
                    <a:ext uri="{FF2B5EF4-FFF2-40B4-BE49-F238E27FC236}">
                      <a16:creationId xmlns:a16="http://schemas.microsoft.com/office/drawing/2014/main" id="{24B8F0B2-4213-6E38-7E34-34BB2660F5E7}"/>
                    </a:ext>
                  </a:extLst>
                </p:cNvPr>
                <p:cNvSpPr>
                  <a:spLocks noEditPoints="1"/>
                </p:cNvSpPr>
                <p:nvPr/>
              </p:nvSpPr>
              <p:spPr bwMode="auto">
                <a:xfrm>
                  <a:off x="3915" y="2713"/>
                  <a:ext cx="459" cy="446"/>
                </a:xfrm>
                <a:custGeom>
                  <a:avLst/>
                  <a:gdLst>
                    <a:gd name="T0" fmla="*/ 192 w 194"/>
                    <a:gd name="T1" fmla="*/ 79 h 188"/>
                    <a:gd name="T2" fmla="*/ 165 w 194"/>
                    <a:gd name="T3" fmla="*/ 40 h 188"/>
                    <a:gd name="T4" fmla="*/ 132 w 194"/>
                    <a:gd name="T5" fmla="*/ 31 h 188"/>
                    <a:gd name="T6" fmla="*/ 119 w 194"/>
                    <a:gd name="T7" fmla="*/ 18 h 188"/>
                    <a:gd name="T8" fmla="*/ 120 w 194"/>
                    <a:gd name="T9" fmla="*/ 19 h 188"/>
                    <a:gd name="T10" fmla="*/ 117 w 194"/>
                    <a:gd name="T11" fmla="*/ 7 h 188"/>
                    <a:gd name="T12" fmla="*/ 92 w 194"/>
                    <a:gd name="T13" fmla="*/ 5 h 188"/>
                    <a:gd name="T14" fmla="*/ 92 w 194"/>
                    <a:gd name="T15" fmla="*/ 5 h 188"/>
                    <a:gd name="T16" fmla="*/ 62 w 194"/>
                    <a:gd name="T17" fmla="*/ 24 h 188"/>
                    <a:gd name="T18" fmla="*/ 1 w 194"/>
                    <a:gd name="T19" fmla="*/ 71 h 188"/>
                    <a:gd name="T20" fmla="*/ 105 w 194"/>
                    <a:gd name="T21" fmla="*/ 134 h 188"/>
                    <a:gd name="T22" fmla="*/ 142 w 194"/>
                    <a:gd name="T23" fmla="*/ 155 h 188"/>
                    <a:gd name="T24" fmla="*/ 131 w 194"/>
                    <a:gd name="T25" fmla="*/ 166 h 188"/>
                    <a:gd name="T26" fmla="*/ 146 w 194"/>
                    <a:gd name="T27" fmla="*/ 162 h 188"/>
                    <a:gd name="T28" fmla="*/ 141 w 194"/>
                    <a:gd name="T29" fmla="*/ 181 h 188"/>
                    <a:gd name="T30" fmla="*/ 129 w 194"/>
                    <a:gd name="T31" fmla="*/ 180 h 188"/>
                    <a:gd name="T32" fmla="*/ 131 w 194"/>
                    <a:gd name="T33" fmla="*/ 168 h 188"/>
                    <a:gd name="T34" fmla="*/ 145 w 194"/>
                    <a:gd name="T35" fmla="*/ 169 h 188"/>
                    <a:gd name="T36" fmla="*/ 140 w 194"/>
                    <a:gd name="T37" fmla="*/ 183 h 188"/>
                    <a:gd name="T38" fmla="*/ 134 w 194"/>
                    <a:gd name="T39" fmla="*/ 187 h 188"/>
                    <a:gd name="T40" fmla="*/ 9 w 194"/>
                    <a:gd name="T41" fmla="*/ 124 h 188"/>
                    <a:gd name="T42" fmla="*/ 22 w 194"/>
                    <a:gd name="T43" fmla="*/ 119 h 188"/>
                    <a:gd name="T44" fmla="*/ 40 w 194"/>
                    <a:gd name="T45" fmla="*/ 118 h 188"/>
                    <a:gd name="T46" fmla="*/ 62 w 194"/>
                    <a:gd name="T47" fmla="*/ 110 h 188"/>
                    <a:gd name="T48" fmla="*/ 89 w 194"/>
                    <a:gd name="T49" fmla="*/ 110 h 188"/>
                    <a:gd name="T50" fmla="*/ 97 w 194"/>
                    <a:gd name="T51" fmla="*/ 124 h 188"/>
                    <a:gd name="T52" fmla="*/ 105 w 194"/>
                    <a:gd name="T53" fmla="*/ 120 h 188"/>
                    <a:gd name="T54" fmla="*/ 107 w 194"/>
                    <a:gd name="T55" fmla="*/ 125 h 188"/>
                    <a:gd name="T56" fmla="*/ 109 w 194"/>
                    <a:gd name="T57" fmla="*/ 132 h 188"/>
                    <a:gd name="T58" fmla="*/ 113 w 194"/>
                    <a:gd name="T59" fmla="*/ 143 h 188"/>
                    <a:gd name="T60" fmla="*/ 129 w 194"/>
                    <a:gd name="T61" fmla="*/ 154 h 188"/>
                    <a:gd name="T62" fmla="*/ 139 w 194"/>
                    <a:gd name="T63" fmla="*/ 153 h 188"/>
                    <a:gd name="T64" fmla="*/ 149 w 194"/>
                    <a:gd name="T65" fmla="*/ 151 h 188"/>
                    <a:gd name="T66" fmla="*/ 164 w 194"/>
                    <a:gd name="T67" fmla="*/ 139 h 188"/>
                    <a:gd name="T68" fmla="*/ 179 w 194"/>
                    <a:gd name="T69" fmla="*/ 118 h 188"/>
                    <a:gd name="T70" fmla="*/ 189 w 194"/>
                    <a:gd name="T71" fmla="*/ 99 h 188"/>
                    <a:gd name="T72" fmla="*/ 191 w 194"/>
                    <a:gd name="T73" fmla="*/ 77 h 188"/>
                    <a:gd name="T74" fmla="*/ 182 w 194"/>
                    <a:gd name="T75" fmla="*/ 64 h 188"/>
                    <a:gd name="T76" fmla="*/ 178 w 194"/>
                    <a:gd name="T77" fmla="*/ 57 h 188"/>
                    <a:gd name="T78" fmla="*/ 170 w 194"/>
                    <a:gd name="T79" fmla="*/ 47 h 188"/>
                    <a:gd name="T80" fmla="*/ 163 w 194"/>
                    <a:gd name="T81" fmla="*/ 33 h 188"/>
                    <a:gd name="T82" fmla="*/ 157 w 194"/>
                    <a:gd name="T83" fmla="*/ 19 h 188"/>
                    <a:gd name="T84" fmla="*/ 152 w 194"/>
                    <a:gd name="T85" fmla="*/ 6 h 188"/>
                    <a:gd name="T86" fmla="*/ 145 w 194"/>
                    <a:gd name="T87" fmla="*/ 14 h 188"/>
                    <a:gd name="T88" fmla="*/ 139 w 194"/>
                    <a:gd name="T89" fmla="*/ 35 h 188"/>
                    <a:gd name="T90" fmla="*/ 121 w 194"/>
                    <a:gd name="T91" fmla="*/ 27 h 188"/>
                    <a:gd name="T92" fmla="*/ 118 w 194"/>
                    <a:gd name="T93" fmla="*/ 14 h 188"/>
                    <a:gd name="T94" fmla="*/ 119 w 194"/>
                    <a:gd name="T95" fmla="*/ 9 h 188"/>
                    <a:gd name="T96" fmla="*/ 112 w 194"/>
                    <a:gd name="T97" fmla="*/ 8 h 188"/>
                    <a:gd name="T98" fmla="*/ 100 w 194"/>
                    <a:gd name="T99" fmla="*/ 5 h 188"/>
                    <a:gd name="T100" fmla="*/ 94 w 194"/>
                    <a:gd name="T101" fmla="*/ 10 h 188"/>
                    <a:gd name="T102" fmla="*/ 87 w 194"/>
                    <a:gd name="T103" fmla="*/ 16 h 188"/>
                    <a:gd name="T104" fmla="*/ 84 w 194"/>
                    <a:gd name="T105" fmla="*/ 22 h 188"/>
                    <a:gd name="T106" fmla="*/ 78 w 194"/>
                    <a:gd name="T107" fmla="*/ 23 h 188"/>
                    <a:gd name="T108" fmla="*/ 69 w 194"/>
                    <a:gd name="T109" fmla="*/ 18 h 188"/>
                    <a:gd name="T110" fmla="*/ 63 w 194"/>
                    <a:gd name="T111" fmla="*/ 24 h 188"/>
                    <a:gd name="T112" fmla="*/ 59 w 194"/>
                    <a:gd name="T113" fmla="*/ 29 h 188"/>
                    <a:gd name="T114" fmla="*/ 54 w 194"/>
                    <a:gd name="T115" fmla="*/ 30 h 188"/>
                    <a:gd name="T116" fmla="*/ 46 w 194"/>
                    <a:gd name="T117" fmla="*/ 40 h 188"/>
                    <a:gd name="T118" fmla="*/ 22 w 194"/>
                    <a:gd name="T119" fmla="*/ 49 h 188"/>
                    <a:gd name="T120" fmla="*/ 7 w 194"/>
                    <a:gd name="T121" fmla="*/ 56 h 188"/>
                    <a:gd name="T122" fmla="*/ 3 w 194"/>
                    <a:gd name="T123" fmla="*/ 75 h 188"/>
                    <a:gd name="T124" fmla="*/ 6 w 194"/>
                    <a:gd name="T125" fmla="*/ 99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94" h="188">
                      <a:moveTo>
                        <a:pt x="191" y="89"/>
                      </a:moveTo>
                      <a:cubicBezTo>
                        <a:pt x="192" y="88"/>
                        <a:pt x="192" y="88"/>
                        <a:pt x="192" y="88"/>
                      </a:cubicBezTo>
                      <a:cubicBezTo>
                        <a:pt x="192" y="89"/>
                        <a:pt x="192" y="89"/>
                        <a:pt x="192" y="89"/>
                      </a:cubicBezTo>
                      <a:cubicBezTo>
                        <a:pt x="191" y="89"/>
                        <a:pt x="191" y="89"/>
                        <a:pt x="191" y="89"/>
                      </a:cubicBezTo>
                      <a:close/>
                      <a:moveTo>
                        <a:pt x="192" y="79"/>
                      </a:moveTo>
                      <a:cubicBezTo>
                        <a:pt x="191" y="77"/>
                        <a:pt x="191" y="77"/>
                        <a:pt x="191" y="77"/>
                      </a:cubicBezTo>
                      <a:cubicBezTo>
                        <a:pt x="192" y="76"/>
                        <a:pt x="192" y="76"/>
                        <a:pt x="192" y="76"/>
                      </a:cubicBezTo>
                      <a:cubicBezTo>
                        <a:pt x="192" y="76"/>
                        <a:pt x="192" y="76"/>
                        <a:pt x="192" y="76"/>
                      </a:cubicBezTo>
                      <a:cubicBezTo>
                        <a:pt x="193" y="75"/>
                        <a:pt x="193" y="75"/>
                        <a:pt x="193" y="75"/>
                      </a:cubicBezTo>
                      <a:cubicBezTo>
                        <a:pt x="193" y="74"/>
                        <a:pt x="193" y="74"/>
                        <a:pt x="193" y="74"/>
                      </a:cubicBezTo>
                      <a:cubicBezTo>
                        <a:pt x="193" y="73"/>
                        <a:pt x="193" y="73"/>
                        <a:pt x="193" y="73"/>
                      </a:cubicBezTo>
                      <a:cubicBezTo>
                        <a:pt x="193" y="73"/>
                        <a:pt x="193" y="73"/>
                        <a:pt x="193" y="73"/>
                      </a:cubicBezTo>
                      <a:cubicBezTo>
                        <a:pt x="193" y="73"/>
                        <a:pt x="193" y="73"/>
                        <a:pt x="193" y="73"/>
                      </a:cubicBezTo>
                      <a:cubicBezTo>
                        <a:pt x="194" y="74"/>
                        <a:pt x="194" y="74"/>
                        <a:pt x="194" y="74"/>
                      </a:cubicBezTo>
                      <a:cubicBezTo>
                        <a:pt x="193" y="75"/>
                        <a:pt x="193" y="75"/>
                        <a:pt x="193" y="75"/>
                      </a:cubicBezTo>
                      <a:cubicBezTo>
                        <a:pt x="192" y="76"/>
                        <a:pt x="192" y="76"/>
                        <a:pt x="192" y="76"/>
                      </a:cubicBezTo>
                      <a:cubicBezTo>
                        <a:pt x="192" y="78"/>
                        <a:pt x="192" y="78"/>
                        <a:pt x="192" y="78"/>
                      </a:cubicBezTo>
                      <a:cubicBezTo>
                        <a:pt x="192" y="79"/>
                        <a:pt x="192" y="79"/>
                        <a:pt x="192" y="79"/>
                      </a:cubicBezTo>
                      <a:cubicBezTo>
                        <a:pt x="192" y="79"/>
                        <a:pt x="192" y="79"/>
                        <a:pt x="192" y="79"/>
                      </a:cubicBezTo>
                      <a:close/>
                      <a:moveTo>
                        <a:pt x="184" y="66"/>
                      </a:moveTo>
                      <a:cubicBezTo>
                        <a:pt x="185" y="67"/>
                        <a:pt x="185" y="67"/>
                        <a:pt x="185" y="67"/>
                      </a:cubicBezTo>
                      <a:cubicBezTo>
                        <a:pt x="185" y="68"/>
                        <a:pt x="185" y="68"/>
                        <a:pt x="185" y="68"/>
                      </a:cubicBezTo>
                      <a:cubicBezTo>
                        <a:pt x="185" y="67"/>
                        <a:pt x="185" y="67"/>
                        <a:pt x="185" y="67"/>
                      </a:cubicBezTo>
                      <a:cubicBezTo>
                        <a:pt x="185" y="66"/>
                        <a:pt x="185" y="66"/>
                        <a:pt x="185" y="66"/>
                      </a:cubicBezTo>
                      <a:cubicBezTo>
                        <a:pt x="185" y="66"/>
                        <a:pt x="185" y="66"/>
                        <a:pt x="185" y="66"/>
                      </a:cubicBezTo>
                      <a:cubicBezTo>
                        <a:pt x="185" y="66"/>
                        <a:pt x="185" y="66"/>
                        <a:pt x="185" y="66"/>
                      </a:cubicBezTo>
                      <a:cubicBezTo>
                        <a:pt x="184" y="66"/>
                        <a:pt x="184" y="66"/>
                        <a:pt x="184" y="66"/>
                      </a:cubicBezTo>
                      <a:cubicBezTo>
                        <a:pt x="184" y="66"/>
                        <a:pt x="184" y="66"/>
                        <a:pt x="184" y="66"/>
                      </a:cubicBezTo>
                      <a:close/>
                      <a:moveTo>
                        <a:pt x="183" y="60"/>
                      </a:moveTo>
                      <a:cubicBezTo>
                        <a:pt x="183" y="59"/>
                        <a:pt x="183" y="59"/>
                        <a:pt x="183" y="59"/>
                      </a:cubicBezTo>
                      <a:cubicBezTo>
                        <a:pt x="182" y="60"/>
                        <a:pt x="182" y="60"/>
                        <a:pt x="182" y="60"/>
                      </a:cubicBezTo>
                      <a:cubicBezTo>
                        <a:pt x="183" y="60"/>
                        <a:pt x="183" y="60"/>
                        <a:pt x="183" y="60"/>
                      </a:cubicBezTo>
                      <a:close/>
                      <a:moveTo>
                        <a:pt x="164" y="41"/>
                      </a:moveTo>
                      <a:cubicBezTo>
                        <a:pt x="165" y="40"/>
                        <a:pt x="165" y="40"/>
                        <a:pt x="165" y="40"/>
                      </a:cubicBezTo>
                      <a:cubicBezTo>
                        <a:pt x="164" y="39"/>
                        <a:pt x="164" y="39"/>
                        <a:pt x="164" y="39"/>
                      </a:cubicBezTo>
                      <a:cubicBezTo>
                        <a:pt x="165" y="39"/>
                        <a:pt x="165" y="39"/>
                        <a:pt x="165" y="39"/>
                      </a:cubicBezTo>
                      <a:cubicBezTo>
                        <a:pt x="165" y="39"/>
                        <a:pt x="165" y="39"/>
                        <a:pt x="165" y="39"/>
                      </a:cubicBezTo>
                      <a:cubicBezTo>
                        <a:pt x="165" y="40"/>
                        <a:pt x="165" y="40"/>
                        <a:pt x="165" y="40"/>
                      </a:cubicBezTo>
                      <a:cubicBezTo>
                        <a:pt x="165" y="41"/>
                        <a:pt x="165" y="41"/>
                        <a:pt x="165" y="41"/>
                      </a:cubicBezTo>
                      <a:cubicBezTo>
                        <a:pt x="164" y="41"/>
                        <a:pt x="164" y="41"/>
                        <a:pt x="164" y="41"/>
                      </a:cubicBezTo>
                      <a:close/>
                      <a:moveTo>
                        <a:pt x="149" y="0"/>
                      </a:moveTo>
                      <a:cubicBezTo>
                        <a:pt x="149" y="0"/>
                        <a:pt x="149" y="0"/>
                        <a:pt x="149" y="0"/>
                      </a:cubicBezTo>
                      <a:cubicBezTo>
                        <a:pt x="149" y="0"/>
                        <a:pt x="149" y="0"/>
                        <a:pt x="149" y="0"/>
                      </a:cubicBezTo>
                      <a:cubicBezTo>
                        <a:pt x="149" y="0"/>
                        <a:pt x="149" y="0"/>
                        <a:pt x="149" y="0"/>
                      </a:cubicBezTo>
                      <a:close/>
                      <a:moveTo>
                        <a:pt x="148" y="2"/>
                      </a:moveTo>
                      <a:cubicBezTo>
                        <a:pt x="148" y="3"/>
                        <a:pt x="148" y="3"/>
                        <a:pt x="148" y="3"/>
                      </a:cubicBezTo>
                      <a:cubicBezTo>
                        <a:pt x="149" y="3"/>
                        <a:pt x="149" y="3"/>
                        <a:pt x="149" y="3"/>
                      </a:cubicBezTo>
                      <a:cubicBezTo>
                        <a:pt x="149" y="3"/>
                        <a:pt x="149" y="3"/>
                        <a:pt x="149" y="3"/>
                      </a:cubicBezTo>
                      <a:cubicBezTo>
                        <a:pt x="149" y="2"/>
                        <a:pt x="149" y="2"/>
                        <a:pt x="149" y="2"/>
                      </a:cubicBezTo>
                      <a:cubicBezTo>
                        <a:pt x="148" y="2"/>
                        <a:pt x="148" y="2"/>
                        <a:pt x="148" y="2"/>
                      </a:cubicBezTo>
                      <a:close/>
                      <a:moveTo>
                        <a:pt x="133" y="33"/>
                      </a:moveTo>
                      <a:cubicBezTo>
                        <a:pt x="133" y="33"/>
                        <a:pt x="133" y="33"/>
                        <a:pt x="133" y="33"/>
                      </a:cubicBezTo>
                      <a:cubicBezTo>
                        <a:pt x="133" y="33"/>
                        <a:pt x="133" y="33"/>
                        <a:pt x="133" y="33"/>
                      </a:cubicBezTo>
                      <a:cubicBezTo>
                        <a:pt x="133" y="33"/>
                        <a:pt x="133" y="33"/>
                        <a:pt x="133" y="33"/>
                      </a:cubicBezTo>
                      <a:cubicBezTo>
                        <a:pt x="133" y="33"/>
                        <a:pt x="133" y="33"/>
                        <a:pt x="133" y="33"/>
                      </a:cubicBezTo>
                      <a:close/>
                      <a:moveTo>
                        <a:pt x="132" y="31"/>
                      </a:moveTo>
                      <a:cubicBezTo>
                        <a:pt x="132" y="31"/>
                        <a:pt x="132" y="31"/>
                        <a:pt x="132" y="31"/>
                      </a:cubicBezTo>
                      <a:cubicBezTo>
                        <a:pt x="133" y="31"/>
                        <a:pt x="133" y="31"/>
                        <a:pt x="133" y="31"/>
                      </a:cubicBezTo>
                      <a:cubicBezTo>
                        <a:pt x="133" y="31"/>
                        <a:pt x="133" y="31"/>
                        <a:pt x="133" y="31"/>
                      </a:cubicBezTo>
                      <a:cubicBezTo>
                        <a:pt x="134" y="30"/>
                        <a:pt x="134" y="30"/>
                        <a:pt x="134" y="30"/>
                      </a:cubicBezTo>
                      <a:cubicBezTo>
                        <a:pt x="134" y="30"/>
                        <a:pt x="134" y="30"/>
                        <a:pt x="134" y="30"/>
                      </a:cubicBezTo>
                      <a:cubicBezTo>
                        <a:pt x="133" y="30"/>
                        <a:pt x="133" y="30"/>
                        <a:pt x="133" y="30"/>
                      </a:cubicBezTo>
                      <a:cubicBezTo>
                        <a:pt x="132" y="30"/>
                        <a:pt x="132" y="30"/>
                        <a:pt x="132" y="30"/>
                      </a:cubicBezTo>
                      <a:cubicBezTo>
                        <a:pt x="132" y="30"/>
                        <a:pt x="132" y="31"/>
                        <a:pt x="132" y="31"/>
                      </a:cubicBezTo>
                      <a:close/>
                      <a:moveTo>
                        <a:pt x="122" y="27"/>
                      </a:moveTo>
                      <a:cubicBezTo>
                        <a:pt x="121" y="26"/>
                        <a:pt x="121" y="26"/>
                        <a:pt x="121" y="26"/>
                      </a:cubicBezTo>
                      <a:cubicBezTo>
                        <a:pt x="122" y="26"/>
                        <a:pt x="122" y="26"/>
                        <a:pt x="122" y="26"/>
                      </a:cubicBezTo>
                      <a:cubicBezTo>
                        <a:pt x="122" y="26"/>
                        <a:pt x="122" y="26"/>
                        <a:pt x="122" y="26"/>
                      </a:cubicBezTo>
                      <a:cubicBezTo>
                        <a:pt x="122" y="27"/>
                        <a:pt x="122" y="27"/>
                        <a:pt x="122" y="27"/>
                      </a:cubicBezTo>
                      <a:close/>
                      <a:moveTo>
                        <a:pt x="119" y="18"/>
                      </a:moveTo>
                      <a:cubicBezTo>
                        <a:pt x="119" y="17"/>
                        <a:pt x="119" y="17"/>
                        <a:pt x="119" y="17"/>
                      </a:cubicBezTo>
                      <a:cubicBezTo>
                        <a:pt x="118" y="17"/>
                        <a:pt x="118" y="17"/>
                        <a:pt x="118" y="17"/>
                      </a:cubicBezTo>
                      <a:cubicBezTo>
                        <a:pt x="118" y="17"/>
                        <a:pt x="118" y="17"/>
                        <a:pt x="118" y="17"/>
                      </a:cubicBezTo>
                      <a:cubicBezTo>
                        <a:pt x="119" y="16"/>
                        <a:pt x="119" y="16"/>
                        <a:pt x="119" y="16"/>
                      </a:cubicBezTo>
                      <a:cubicBezTo>
                        <a:pt x="119" y="17"/>
                        <a:pt x="119" y="17"/>
                        <a:pt x="119" y="17"/>
                      </a:cubicBezTo>
                      <a:cubicBezTo>
                        <a:pt x="119" y="18"/>
                        <a:pt x="119" y="18"/>
                        <a:pt x="119" y="18"/>
                      </a:cubicBezTo>
                      <a:close/>
                      <a:moveTo>
                        <a:pt x="120" y="19"/>
                      </a:moveTo>
                      <a:cubicBezTo>
                        <a:pt x="119" y="19"/>
                        <a:pt x="119" y="19"/>
                        <a:pt x="119" y="19"/>
                      </a:cubicBezTo>
                      <a:cubicBezTo>
                        <a:pt x="120" y="19"/>
                        <a:pt x="120" y="19"/>
                        <a:pt x="120" y="19"/>
                      </a:cubicBezTo>
                      <a:cubicBezTo>
                        <a:pt x="121" y="19"/>
                        <a:pt x="121" y="19"/>
                        <a:pt x="121" y="19"/>
                      </a:cubicBezTo>
                      <a:cubicBezTo>
                        <a:pt x="122" y="19"/>
                        <a:pt x="122" y="19"/>
                        <a:pt x="122" y="19"/>
                      </a:cubicBezTo>
                      <a:cubicBezTo>
                        <a:pt x="122" y="18"/>
                        <a:pt x="122" y="18"/>
                        <a:pt x="122" y="18"/>
                      </a:cubicBezTo>
                      <a:cubicBezTo>
                        <a:pt x="122" y="18"/>
                        <a:pt x="122" y="18"/>
                        <a:pt x="122" y="18"/>
                      </a:cubicBezTo>
                      <a:cubicBezTo>
                        <a:pt x="121" y="18"/>
                        <a:pt x="121" y="18"/>
                        <a:pt x="121" y="18"/>
                      </a:cubicBezTo>
                      <a:cubicBezTo>
                        <a:pt x="121" y="18"/>
                        <a:pt x="121" y="18"/>
                        <a:pt x="121" y="18"/>
                      </a:cubicBezTo>
                      <a:cubicBezTo>
                        <a:pt x="122" y="17"/>
                        <a:pt x="122" y="17"/>
                        <a:pt x="122" y="17"/>
                      </a:cubicBezTo>
                      <a:cubicBezTo>
                        <a:pt x="122" y="17"/>
                        <a:pt x="122" y="17"/>
                        <a:pt x="122" y="17"/>
                      </a:cubicBezTo>
                      <a:cubicBezTo>
                        <a:pt x="121" y="17"/>
                        <a:pt x="121" y="17"/>
                        <a:pt x="121" y="17"/>
                      </a:cubicBezTo>
                      <a:cubicBezTo>
                        <a:pt x="121" y="17"/>
                        <a:pt x="121" y="17"/>
                        <a:pt x="121" y="17"/>
                      </a:cubicBezTo>
                      <a:cubicBezTo>
                        <a:pt x="120" y="17"/>
                        <a:pt x="120" y="17"/>
                        <a:pt x="120" y="17"/>
                      </a:cubicBezTo>
                      <a:cubicBezTo>
                        <a:pt x="120" y="17"/>
                        <a:pt x="120" y="17"/>
                        <a:pt x="120" y="17"/>
                      </a:cubicBezTo>
                      <a:cubicBezTo>
                        <a:pt x="120" y="17"/>
                        <a:pt x="120" y="17"/>
                        <a:pt x="120" y="17"/>
                      </a:cubicBezTo>
                      <a:cubicBezTo>
                        <a:pt x="120" y="17"/>
                        <a:pt x="120" y="17"/>
                        <a:pt x="120" y="17"/>
                      </a:cubicBezTo>
                      <a:cubicBezTo>
                        <a:pt x="120" y="18"/>
                        <a:pt x="120" y="18"/>
                        <a:pt x="120" y="18"/>
                      </a:cubicBezTo>
                      <a:cubicBezTo>
                        <a:pt x="120" y="19"/>
                        <a:pt x="120" y="19"/>
                        <a:pt x="120" y="19"/>
                      </a:cubicBezTo>
                      <a:close/>
                      <a:moveTo>
                        <a:pt x="121" y="5"/>
                      </a:moveTo>
                      <a:cubicBezTo>
                        <a:pt x="121" y="6"/>
                        <a:pt x="121" y="6"/>
                        <a:pt x="121" y="6"/>
                      </a:cubicBezTo>
                      <a:cubicBezTo>
                        <a:pt x="121" y="5"/>
                        <a:pt x="121" y="5"/>
                        <a:pt x="121" y="5"/>
                      </a:cubicBezTo>
                      <a:cubicBezTo>
                        <a:pt x="122" y="4"/>
                        <a:pt x="122" y="4"/>
                        <a:pt x="122" y="4"/>
                      </a:cubicBezTo>
                      <a:cubicBezTo>
                        <a:pt x="122" y="4"/>
                        <a:pt x="122" y="4"/>
                        <a:pt x="122" y="4"/>
                      </a:cubicBezTo>
                      <a:cubicBezTo>
                        <a:pt x="121" y="5"/>
                        <a:pt x="121" y="5"/>
                        <a:pt x="121" y="5"/>
                      </a:cubicBezTo>
                      <a:cubicBezTo>
                        <a:pt x="121" y="5"/>
                        <a:pt x="121" y="5"/>
                        <a:pt x="121" y="5"/>
                      </a:cubicBezTo>
                      <a:close/>
                      <a:moveTo>
                        <a:pt x="120" y="6"/>
                      </a:moveTo>
                      <a:cubicBezTo>
                        <a:pt x="120" y="6"/>
                        <a:pt x="120" y="6"/>
                        <a:pt x="120" y="6"/>
                      </a:cubicBezTo>
                      <a:cubicBezTo>
                        <a:pt x="120" y="6"/>
                        <a:pt x="120" y="6"/>
                        <a:pt x="120" y="6"/>
                      </a:cubicBezTo>
                      <a:cubicBezTo>
                        <a:pt x="120" y="6"/>
                        <a:pt x="120" y="6"/>
                        <a:pt x="120" y="6"/>
                      </a:cubicBezTo>
                      <a:close/>
                      <a:moveTo>
                        <a:pt x="119" y="6"/>
                      </a:moveTo>
                      <a:cubicBezTo>
                        <a:pt x="119" y="7"/>
                        <a:pt x="119" y="7"/>
                        <a:pt x="119" y="7"/>
                      </a:cubicBezTo>
                      <a:cubicBezTo>
                        <a:pt x="119" y="6"/>
                        <a:pt x="119" y="6"/>
                        <a:pt x="119" y="6"/>
                      </a:cubicBezTo>
                      <a:cubicBezTo>
                        <a:pt x="119" y="6"/>
                        <a:pt x="119" y="6"/>
                        <a:pt x="119" y="6"/>
                      </a:cubicBezTo>
                      <a:close/>
                      <a:moveTo>
                        <a:pt x="117" y="7"/>
                      </a:moveTo>
                      <a:cubicBezTo>
                        <a:pt x="118" y="7"/>
                        <a:pt x="118" y="7"/>
                        <a:pt x="118" y="7"/>
                      </a:cubicBezTo>
                      <a:cubicBezTo>
                        <a:pt x="118" y="7"/>
                        <a:pt x="118" y="7"/>
                        <a:pt x="118" y="7"/>
                      </a:cubicBezTo>
                      <a:cubicBezTo>
                        <a:pt x="117" y="7"/>
                        <a:pt x="117" y="7"/>
                        <a:pt x="117" y="7"/>
                      </a:cubicBezTo>
                      <a:close/>
                      <a:moveTo>
                        <a:pt x="116" y="8"/>
                      </a:moveTo>
                      <a:cubicBezTo>
                        <a:pt x="116" y="8"/>
                        <a:pt x="116" y="8"/>
                        <a:pt x="116" y="8"/>
                      </a:cubicBezTo>
                      <a:cubicBezTo>
                        <a:pt x="117" y="8"/>
                        <a:pt x="117" y="8"/>
                        <a:pt x="117" y="8"/>
                      </a:cubicBezTo>
                      <a:cubicBezTo>
                        <a:pt x="118" y="7"/>
                        <a:pt x="118" y="7"/>
                        <a:pt x="118" y="7"/>
                      </a:cubicBezTo>
                      <a:cubicBezTo>
                        <a:pt x="117" y="8"/>
                        <a:pt x="117" y="8"/>
                        <a:pt x="117" y="8"/>
                      </a:cubicBezTo>
                      <a:cubicBezTo>
                        <a:pt x="116" y="8"/>
                        <a:pt x="116" y="8"/>
                        <a:pt x="116" y="8"/>
                      </a:cubicBezTo>
                      <a:cubicBezTo>
                        <a:pt x="116" y="8"/>
                        <a:pt x="116" y="8"/>
                        <a:pt x="116" y="8"/>
                      </a:cubicBezTo>
                      <a:close/>
                      <a:moveTo>
                        <a:pt x="114" y="9"/>
                      </a:moveTo>
                      <a:cubicBezTo>
                        <a:pt x="115" y="9"/>
                        <a:pt x="115" y="9"/>
                        <a:pt x="115" y="9"/>
                      </a:cubicBezTo>
                      <a:cubicBezTo>
                        <a:pt x="116" y="9"/>
                        <a:pt x="116" y="9"/>
                        <a:pt x="116" y="9"/>
                      </a:cubicBezTo>
                      <a:cubicBezTo>
                        <a:pt x="116" y="8"/>
                        <a:pt x="116" y="8"/>
                        <a:pt x="116" y="8"/>
                      </a:cubicBezTo>
                      <a:cubicBezTo>
                        <a:pt x="114" y="9"/>
                        <a:pt x="114" y="9"/>
                        <a:pt x="114" y="9"/>
                      </a:cubicBezTo>
                      <a:close/>
                      <a:moveTo>
                        <a:pt x="102" y="5"/>
                      </a:moveTo>
                      <a:cubicBezTo>
                        <a:pt x="102" y="4"/>
                        <a:pt x="102" y="4"/>
                        <a:pt x="102" y="4"/>
                      </a:cubicBezTo>
                      <a:cubicBezTo>
                        <a:pt x="102" y="4"/>
                        <a:pt x="102" y="4"/>
                        <a:pt x="102" y="4"/>
                      </a:cubicBezTo>
                      <a:cubicBezTo>
                        <a:pt x="103" y="4"/>
                        <a:pt x="103" y="4"/>
                        <a:pt x="103" y="4"/>
                      </a:cubicBezTo>
                      <a:cubicBezTo>
                        <a:pt x="102" y="5"/>
                        <a:pt x="102" y="5"/>
                        <a:pt x="102" y="5"/>
                      </a:cubicBezTo>
                      <a:cubicBezTo>
                        <a:pt x="102" y="5"/>
                        <a:pt x="102" y="5"/>
                        <a:pt x="102" y="5"/>
                      </a:cubicBezTo>
                      <a:close/>
                      <a:moveTo>
                        <a:pt x="92" y="5"/>
                      </a:moveTo>
                      <a:cubicBezTo>
                        <a:pt x="92" y="6"/>
                        <a:pt x="92" y="6"/>
                        <a:pt x="92" y="6"/>
                      </a:cubicBezTo>
                      <a:cubicBezTo>
                        <a:pt x="93" y="7"/>
                        <a:pt x="93" y="7"/>
                        <a:pt x="93" y="7"/>
                      </a:cubicBezTo>
                      <a:cubicBezTo>
                        <a:pt x="93" y="7"/>
                        <a:pt x="93" y="7"/>
                        <a:pt x="93" y="7"/>
                      </a:cubicBezTo>
                      <a:cubicBezTo>
                        <a:pt x="95" y="8"/>
                        <a:pt x="95" y="8"/>
                        <a:pt x="95" y="8"/>
                      </a:cubicBezTo>
                      <a:cubicBezTo>
                        <a:pt x="96" y="6"/>
                        <a:pt x="96" y="6"/>
                        <a:pt x="96" y="6"/>
                      </a:cubicBezTo>
                      <a:cubicBezTo>
                        <a:pt x="97" y="7"/>
                        <a:pt x="97" y="7"/>
                        <a:pt x="97" y="7"/>
                      </a:cubicBezTo>
                      <a:cubicBezTo>
                        <a:pt x="97" y="6"/>
                        <a:pt x="97" y="6"/>
                        <a:pt x="97" y="6"/>
                      </a:cubicBezTo>
                      <a:cubicBezTo>
                        <a:pt x="97" y="6"/>
                        <a:pt x="97" y="6"/>
                        <a:pt x="97" y="6"/>
                      </a:cubicBezTo>
                      <a:cubicBezTo>
                        <a:pt x="97" y="5"/>
                        <a:pt x="97" y="5"/>
                        <a:pt x="97" y="5"/>
                      </a:cubicBezTo>
                      <a:cubicBezTo>
                        <a:pt x="96" y="5"/>
                        <a:pt x="96" y="5"/>
                        <a:pt x="96" y="5"/>
                      </a:cubicBezTo>
                      <a:cubicBezTo>
                        <a:pt x="96" y="5"/>
                        <a:pt x="96" y="5"/>
                        <a:pt x="96" y="5"/>
                      </a:cubicBezTo>
                      <a:cubicBezTo>
                        <a:pt x="95" y="5"/>
                        <a:pt x="95" y="5"/>
                        <a:pt x="95" y="5"/>
                      </a:cubicBezTo>
                      <a:cubicBezTo>
                        <a:pt x="94" y="5"/>
                        <a:pt x="94" y="5"/>
                        <a:pt x="94" y="5"/>
                      </a:cubicBezTo>
                      <a:cubicBezTo>
                        <a:pt x="94" y="6"/>
                        <a:pt x="94" y="6"/>
                        <a:pt x="94" y="6"/>
                      </a:cubicBezTo>
                      <a:cubicBezTo>
                        <a:pt x="93" y="5"/>
                        <a:pt x="93" y="5"/>
                        <a:pt x="93" y="5"/>
                      </a:cubicBezTo>
                      <a:cubicBezTo>
                        <a:pt x="93" y="5"/>
                        <a:pt x="93" y="5"/>
                        <a:pt x="93" y="5"/>
                      </a:cubicBezTo>
                      <a:cubicBezTo>
                        <a:pt x="92" y="5"/>
                        <a:pt x="92" y="5"/>
                        <a:pt x="92" y="5"/>
                      </a:cubicBezTo>
                      <a:cubicBezTo>
                        <a:pt x="92" y="5"/>
                        <a:pt x="92" y="5"/>
                        <a:pt x="92" y="5"/>
                      </a:cubicBezTo>
                      <a:cubicBezTo>
                        <a:pt x="92" y="5"/>
                        <a:pt x="92" y="5"/>
                        <a:pt x="92" y="5"/>
                      </a:cubicBezTo>
                      <a:cubicBezTo>
                        <a:pt x="92" y="5"/>
                        <a:pt x="92" y="5"/>
                        <a:pt x="92" y="5"/>
                      </a:cubicBezTo>
                      <a:close/>
                      <a:moveTo>
                        <a:pt x="91" y="5"/>
                      </a:moveTo>
                      <a:cubicBezTo>
                        <a:pt x="92" y="7"/>
                        <a:pt x="92" y="7"/>
                        <a:pt x="92" y="7"/>
                      </a:cubicBezTo>
                      <a:cubicBezTo>
                        <a:pt x="93" y="7"/>
                        <a:pt x="93" y="7"/>
                        <a:pt x="93" y="7"/>
                      </a:cubicBezTo>
                      <a:cubicBezTo>
                        <a:pt x="93" y="7"/>
                        <a:pt x="93" y="7"/>
                        <a:pt x="93" y="7"/>
                      </a:cubicBezTo>
                      <a:cubicBezTo>
                        <a:pt x="92" y="7"/>
                        <a:pt x="92" y="7"/>
                        <a:pt x="92" y="7"/>
                      </a:cubicBezTo>
                      <a:cubicBezTo>
                        <a:pt x="91" y="7"/>
                        <a:pt x="91" y="7"/>
                        <a:pt x="91" y="7"/>
                      </a:cubicBezTo>
                      <a:cubicBezTo>
                        <a:pt x="90" y="7"/>
                        <a:pt x="90" y="7"/>
                        <a:pt x="90" y="7"/>
                      </a:cubicBezTo>
                      <a:cubicBezTo>
                        <a:pt x="90" y="6"/>
                        <a:pt x="90" y="6"/>
                        <a:pt x="90" y="6"/>
                      </a:cubicBezTo>
                      <a:cubicBezTo>
                        <a:pt x="91" y="6"/>
                        <a:pt x="91" y="6"/>
                        <a:pt x="91" y="6"/>
                      </a:cubicBezTo>
                      <a:cubicBezTo>
                        <a:pt x="91" y="6"/>
                        <a:pt x="91" y="6"/>
                        <a:pt x="91" y="6"/>
                      </a:cubicBezTo>
                      <a:cubicBezTo>
                        <a:pt x="91" y="6"/>
                        <a:pt x="91" y="6"/>
                        <a:pt x="91" y="6"/>
                      </a:cubicBezTo>
                      <a:cubicBezTo>
                        <a:pt x="91" y="6"/>
                        <a:pt x="91" y="6"/>
                        <a:pt x="91" y="6"/>
                      </a:cubicBezTo>
                      <a:cubicBezTo>
                        <a:pt x="91" y="6"/>
                        <a:pt x="91" y="6"/>
                        <a:pt x="91" y="6"/>
                      </a:cubicBezTo>
                      <a:cubicBezTo>
                        <a:pt x="91" y="5"/>
                        <a:pt x="91" y="5"/>
                        <a:pt x="91" y="5"/>
                      </a:cubicBezTo>
                      <a:cubicBezTo>
                        <a:pt x="91" y="5"/>
                        <a:pt x="91" y="5"/>
                        <a:pt x="91" y="5"/>
                      </a:cubicBezTo>
                      <a:close/>
                      <a:moveTo>
                        <a:pt x="61" y="24"/>
                      </a:moveTo>
                      <a:cubicBezTo>
                        <a:pt x="61" y="24"/>
                        <a:pt x="61" y="24"/>
                        <a:pt x="61" y="24"/>
                      </a:cubicBezTo>
                      <a:cubicBezTo>
                        <a:pt x="62" y="24"/>
                        <a:pt x="62" y="24"/>
                        <a:pt x="62" y="24"/>
                      </a:cubicBezTo>
                      <a:cubicBezTo>
                        <a:pt x="61" y="23"/>
                        <a:pt x="61" y="23"/>
                        <a:pt x="61" y="23"/>
                      </a:cubicBezTo>
                      <a:cubicBezTo>
                        <a:pt x="61" y="23"/>
                        <a:pt x="61" y="24"/>
                        <a:pt x="61" y="24"/>
                      </a:cubicBezTo>
                      <a:close/>
                      <a:moveTo>
                        <a:pt x="61" y="27"/>
                      </a:moveTo>
                      <a:cubicBezTo>
                        <a:pt x="61" y="26"/>
                        <a:pt x="61" y="26"/>
                        <a:pt x="61" y="26"/>
                      </a:cubicBezTo>
                      <a:cubicBezTo>
                        <a:pt x="60" y="25"/>
                        <a:pt x="60" y="25"/>
                        <a:pt x="60" y="25"/>
                      </a:cubicBezTo>
                      <a:cubicBezTo>
                        <a:pt x="61" y="26"/>
                        <a:pt x="61" y="26"/>
                        <a:pt x="61" y="26"/>
                      </a:cubicBezTo>
                      <a:cubicBezTo>
                        <a:pt x="61" y="27"/>
                        <a:pt x="61" y="27"/>
                        <a:pt x="61" y="27"/>
                      </a:cubicBezTo>
                      <a:close/>
                      <a:moveTo>
                        <a:pt x="65" y="20"/>
                      </a:moveTo>
                      <a:cubicBezTo>
                        <a:pt x="64" y="20"/>
                        <a:pt x="64" y="20"/>
                        <a:pt x="64" y="20"/>
                      </a:cubicBezTo>
                      <a:cubicBezTo>
                        <a:pt x="65" y="20"/>
                        <a:pt x="65" y="20"/>
                        <a:pt x="65" y="20"/>
                      </a:cubicBezTo>
                      <a:cubicBezTo>
                        <a:pt x="65" y="20"/>
                        <a:pt x="65" y="20"/>
                        <a:pt x="65" y="20"/>
                      </a:cubicBezTo>
                      <a:cubicBezTo>
                        <a:pt x="65" y="20"/>
                        <a:pt x="65" y="20"/>
                        <a:pt x="65" y="20"/>
                      </a:cubicBezTo>
                      <a:close/>
                      <a:moveTo>
                        <a:pt x="14" y="50"/>
                      </a:moveTo>
                      <a:cubicBezTo>
                        <a:pt x="14" y="50"/>
                        <a:pt x="14" y="50"/>
                        <a:pt x="14" y="50"/>
                      </a:cubicBezTo>
                      <a:cubicBezTo>
                        <a:pt x="15" y="48"/>
                        <a:pt x="15" y="48"/>
                        <a:pt x="15" y="48"/>
                      </a:cubicBezTo>
                      <a:cubicBezTo>
                        <a:pt x="15" y="49"/>
                        <a:pt x="15" y="49"/>
                        <a:pt x="15" y="49"/>
                      </a:cubicBezTo>
                      <a:cubicBezTo>
                        <a:pt x="14" y="50"/>
                        <a:pt x="14" y="50"/>
                        <a:pt x="14" y="50"/>
                      </a:cubicBezTo>
                      <a:close/>
                      <a:moveTo>
                        <a:pt x="0" y="72"/>
                      </a:moveTo>
                      <a:cubicBezTo>
                        <a:pt x="1" y="71"/>
                        <a:pt x="1" y="71"/>
                        <a:pt x="1" y="71"/>
                      </a:cubicBezTo>
                      <a:cubicBezTo>
                        <a:pt x="1" y="72"/>
                        <a:pt x="1" y="72"/>
                        <a:pt x="1" y="72"/>
                      </a:cubicBezTo>
                      <a:cubicBezTo>
                        <a:pt x="1" y="72"/>
                        <a:pt x="0" y="72"/>
                        <a:pt x="0" y="72"/>
                      </a:cubicBezTo>
                      <a:close/>
                      <a:moveTo>
                        <a:pt x="0" y="76"/>
                      </a:moveTo>
                      <a:cubicBezTo>
                        <a:pt x="0" y="74"/>
                        <a:pt x="0" y="74"/>
                        <a:pt x="0" y="74"/>
                      </a:cubicBezTo>
                      <a:cubicBezTo>
                        <a:pt x="0" y="73"/>
                        <a:pt x="0" y="73"/>
                        <a:pt x="0" y="73"/>
                      </a:cubicBezTo>
                      <a:cubicBezTo>
                        <a:pt x="0" y="74"/>
                        <a:pt x="0" y="74"/>
                        <a:pt x="0" y="74"/>
                      </a:cubicBezTo>
                      <a:cubicBezTo>
                        <a:pt x="0" y="76"/>
                        <a:pt x="0" y="76"/>
                        <a:pt x="0" y="76"/>
                      </a:cubicBezTo>
                      <a:close/>
                      <a:moveTo>
                        <a:pt x="106" y="132"/>
                      </a:moveTo>
                      <a:cubicBezTo>
                        <a:pt x="106" y="132"/>
                        <a:pt x="106" y="132"/>
                        <a:pt x="106" y="132"/>
                      </a:cubicBezTo>
                      <a:cubicBezTo>
                        <a:pt x="106" y="133"/>
                        <a:pt x="106" y="133"/>
                        <a:pt x="106" y="133"/>
                      </a:cubicBezTo>
                      <a:cubicBezTo>
                        <a:pt x="107" y="133"/>
                        <a:pt x="107" y="133"/>
                        <a:pt x="107" y="133"/>
                      </a:cubicBezTo>
                      <a:cubicBezTo>
                        <a:pt x="106" y="133"/>
                        <a:pt x="106" y="133"/>
                        <a:pt x="106" y="133"/>
                      </a:cubicBezTo>
                      <a:cubicBezTo>
                        <a:pt x="107" y="133"/>
                        <a:pt x="107" y="133"/>
                        <a:pt x="107" y="133"/>
                      </a:cubicBezTo>
                      <a:cubicBezTo>
                        <a:pt x="108" y="133"/>
                        <a:pt x="108" y="133"/>
                        <a:pt x="108" y="133"/>
                      </a:cubicBezTo>
                      <a:cubicBezTo>
                        <a:pt x="108" y="133"/>
                        <a:pt x="108" y="133"/>
                        <a:pt x="108" y="133"/>
                      </a:cubicBezTo>
                      <a:cubicBezTo>
                        <a:pt x="108" y="134"/>
                        <a:pt x="108" y="134"/>
                        <a:pt x="108" y="134"/>
                      </a:cubicBezTo>
                      <a:cubicBezTo>
                        <a:pt x="106" y="134"/>
                        <a:pt x="106" y="134"/>
                        <a:pt x="106" y="134"/>
                      </a:cubicBezTo>
                      <a:cubicBezTo>
                        <a:pt x="106" y="134"/>
                        <a:pt x="106" y="134"/>
                        <a:pt x="106" y="134"/>
                      </a:cubicBezTo>
                      <a:cubicBezTo>
                        <a:pt x="105" y="134"/>
                        <a:pt x="105" y="134"/>
                        <a:pt x="105" y="134"/>
                      </a:cubicBezTo>
                      <a:cubicBezTo>
                        <a:pt x="105" y="134"/>
                        <a:pt x="105" y="134"/>
                        <a:pt x="105" y="134"/>
                      </a:cubicBezTo>
                      <a:cubicBezTo>
                        <a:pt x="105" y="134"/>
                        <a:pt x="105" y="134"/>
                        <a:pt x="105" y="134"/>
                      </a:cubicBezTo>
                      <a:cubicBezTo>
                        <a:pt x="104" y="134"/>
                        <a:pt x="104" y="134"/>
                        <a:pt x="104" y="134"/>
                      </a:cubicBezTo>
                      <a:cubicBezTo>
                        <a:pt x="104" y="134"/>
                        <a:pt x="104" y="134"/>
                        <a:pt x="104" y="134"/>
                      </a:cubicBezTo>
                      <a:cubicBezTo>
                        <a:pt x="103" y="134"/>
                        <a:pt x="103" y="134"/>
                        <a:pt x="103" y="134"/>
                      </a:cubicBezTo>
                      <a:cubicBezTo>
                        <a:pt x="102" y="134"/>
                        <a:pt x="102" y="134"/>
                        <a:pt x="102" y="134"/>
                      </a:cubicBezTo>
                      <a:cubicBezTo>
                        <a:pt x="101" y="134"/>
                        <a:pt x="101" y="134"/>
                        <a:pt x="101" y="134"/>
                      </a:cubicBezTo>
                      <a:cubicBezTo>
                        <a:pt x="101" y="134"/>
                        <a:pt x="101" y="134"/>
                        <a:pt x="101" y="134"/>
                      </a:cubicBezTo>
                      <a:cubicBezTo>
                        <a:pt x="101" y="133"/>
                        <a:pt x="101" y="133"/>
                        <a:pt x="101" y="133"/>
                      </a:cubicBezTo>
                      <a:cubicBezTo>
                        <a:pt x="102" y="133"/>
                        <a:pt x="102" y="133"/>
                        <a:pt x="102" y="133"/>
                      </a:cubicBezTo>
                      <a:cubicBezTo>
                        <a:pt x="104" y="132"/>
                        <a:pt x="104" y="132"/>
                        <a:pt x="104" y="132"/>
                      </a:cubicBezTo>
                      <a:cubicBezTo>
                        <a:pt x="105" y="132"/>
                        <a:pt x="105" y="132"/>
                        <a:pt x="105" y="132"/>
                      </a:cubicBezTo>
                      <a:cubicBezTo>
                        <a:pt x="106" y="132"/>
                        <a:pt x="106" y="132"/>
                        <a:pt x="106" y="132"/>
                      </a:cubicBezTo>
                      <a:close/>
                      <a:moveTo>
                        <a:pt x="137" y="152"/>
                      </a:moveTo>
                      <a:cubicBezTo>
                        <a:pt x="138" y="152"/>
                        <a:pt x="138" y="152"/>
                        <a:pt x="138" y="152"/>
                      </a:cubicBezTo>
                      <a:cubicBezTo>
                        <a:pt x="138" y="152"/>
                        <a:pt x="138" y="152"/>
                        <a:pt x="138" y="152"/>
                      </a:cubicBezTo>
                      <a:cubicBezTo>
                        <a:pt x="138" y="153"/>
                        <a:pt x="138" y="153"/>
                        <a:pt x="138" y="153"/>
                      </a:cubicBezTo>
                      <a:cubicBezTo>
                        <a:pt x="137" y="152"/>
                        <a:pt x="137" y="152"/>
                        <a:pt x="137" y="152"/>
                      </a:cubicBezTo>
                      <a:close/>
                      <a:moveTo>
                        <a:pt x="142" y="155"/>
                      </a:moveTo>
                      <a:cubicBezTo>
                        <a:pt x="142" y="156"/>
                        <a:pt x="142" y="156"/>
                        <a:pt x="142" y="156"/>
                      </a:cubicBezTo>
                      <a:cubicBezTo>
                        <a:pt x="143" y="155"/>
                        <a:pt x="143" y="155"/>
                        <a:pt x="143" y="155"/>
                      </a:cubicBezTo>
                      <a:cubicBezTo>
                        <a:pt x="142" y="155"/>
                        <a:pt x="142" y="155"/>
                        <a:pt x="142" y="155"/>
                      </a:cubicBezTo>
                      <a:close/>
                      <a:moveTo>
                        <a:pt x="131" y="167"/>
                      </a:moveTo>
                      <a:cubicBezTo>
                        <a:pt x="131" y="167"/>
                        <a:pt x="131" y="167"/>
                        <a:pt x="131" y="167"/>
                      </a:cubicBezTo>
                      <a:cubicBezTo>
                        <a:pt x="131" y="167"/>
                        <a:pt x="131" y="167"/>
                        <a:pt x="131" y="167"/>
                      </a:cubicBezTo>
                      <a:cubicBezTo>
                        <a:pt x="132" y="167"/>
                        <a:pt x="132" y="167"/>
                        <a:pt x="132" y="167"/>
                      </a:cubicBezTo>
                      <a:cubicBezTo>
                        <a:pt x="131" y="167"/>
                        <a:pt x="131" y="167"/>
                        <a:pt x="131" y="167"/>
                      </a:cubicBezTo>
                      <a:cubicBezTo>
                        <a:pt x="131" y="167"/>
                        <a:pt x="131" y="167"/>
                        <a:pt x="131" y="167"/>
                      </a:cubicBezTo>
                      <a:close/>
                      <a:moveTo>
                        <a:pt x="131" y="165"/>
                      </a:moveTo>
                      <a:cubicBezTo>
                        <a:pt x="131" y="166"/>
                        <a:pt x="131" y="166"/>
                        <a:pt x="131" y="166"/>
                      </a:cubicBezTo>
                      <a:cubicBezTo>
                        <a:pt x="132" y="166"/>
                        <a:pt x="132" y="166"/>
                        <a:pt x="132" y="166"/>
                      </a:cubicBezTo>
                      <a:cubicBezTo>
                        <a:pt x="131" y="165"/>
                        <a:pt x="131" y="165"/>
                        <a:pt x="131" y="165"/>
                      </a:cubicBezTo>
                      <a:cubicBezTo>
                        <a:pt x="131" y="165"/>
                        <a:pt x="131" y="165"/>
                        <a:pt x="131" y="165"/>
                      </a:cubicBezTo>
                      <a:close/>
                      <a:moveTo>
                        <a:pt x="130" y="166"/>
                      </a:moveTo>
                      <a:cubicBezTo>
                        <a:pt x="130" y="166"/>
                        <a:pt x="130" y="166"/>
                        <a:pt x="130" y="166"/>
                      </a:cubicBezTo>
                      <a:cubicBezTo>
                        <a:pt x="130" y="165"/>
                        <a:pt x="130" y="165"/>
                        <a:pt x="130" y="165"/>
                      </a:cubicBezTo>
                      <a:cubicBezTo>
                        <a:pt x="131" y="165"/>
                        <a:pt x="131" y="165"/>
                        <a:pt x="131" y="165"/>
                      </a:cubicBezTo>
                      <a:cubicBezTo>
                        <a:pt x="131" y="166"/>
                        <a:pt x="131" y="166"/>
                        <a:pt x="131" y="166"/>
                      </a:cubicBezTo>
                      <a:cubicBezTo>
                        <a:pt x="130" y="166"/>
                        <a:pt x="130" y="166"/>
                        <a:pt x="130" y="166"/>
                      </a:cubicBezTo>
                      <a:close/>
                      <a:moveTo>
                        <a:pt x="127" y="163"/>
                      </a:moveTo>
                      <a:cubicBezTo>
                        <a:pt x="127" y="162"/>
                        <a:pt x="127" y="162"/>
                        <a:pt x="127" y="162"/>
                      </a:cubicBezTo>
                      <a:cubicBezTo>
                        <a:pt x="127" y="162"/>
                        <a:pt x="127" y="162"/>
                        <a:pt x="127" y="162"/>
                      </a:cubicBezTo>
                      <a:cubicBezTo>
                        <a:pt x="128" y="161"/>
                        <a:pt x="128" y="161"/>
                        <a:pt x="128" y="161"/>
                      </a:cubicBezTo>
                      <a:cubicBezTo>
                        <a:pt x="128" y="160"/>
                        <a:pt x="128" y="160"/>
                        <a:pt x="128" y="160"/>
                      </a:cubicBezTo>
                      <a:cubicBezTo>
                        <a:pt x="128" y="159"/>
                        <a:pt x="128" y="159"/>
                        <a:pt x="128" y="159"/>
                      </a:cubicBezTo>
                      <a:cubicBezTo>
                        <a:pt x="129" y="159"/>
                        <a:pt x="129" y="159"/>
                        <a:pt x="129" y="159"/>
                      </a:cubicBezTo>
                      <a:cubicBezTo>
                        <a:pt x="129" y="159"/>
                        <a:pt x="129" y="159"/>
                        <a:pt x="129" y="159"/>
                      </a:cubicBezTo>
                      <a:cubicBezTo>
                        <a:pt x="129" y="161"/>
                        <a:pt x="129" y="161"/>
                        <a:pt x="129" y="161"/>
                      </a:cubicBezTo>
                      <a:cubicBezTo>
                        <a:pt x="129" y="161"/>
                        <a:pt x="129" y="161"/>
                        <a:pt x="129" y="161"/>
                      </a:cubicBezTo>
                      <a:cubicBezTo>
                        <a:pt x="129" y="162"/>
                        <a:pt x="129" y="162"/>
                        <a:pt x="129" y="162"/>
                      </a:cubicBezTo>
                      <a:cubicBezTo>
                        <a:pt x="129" y="163"/>
                        <a:pt x="129" y="163"/>
                        <a:pt x="129" y="163"/>
                      </a:cubicBezTo>
                      <a:cubicBezTo>
                        <a:pt x="128" y="163"/>
                        <a:pt x="128" y="163"/>
                        <a:pt x="128" y="163"/>
                      </a:cubicBezTo>
                      <a:cubicBezTo>
                        <a:pt x="127" y="163"/>
                        <a:pt x="127" y="163"/>
                        <a:pt x="127" y="163"/>
                      </a:cubicBezTo>
                      <a:close/>
                      <a:moveTo>
                        <a:pt x="146" y="165"/>
                      </a:moveTo>
                      <a:cubicBezTo>
                        <a:pt x="148" y="164"/>
                        <a:pt x="148" y="164"/>
                        <a:pt x="148" y="164"/>
                      </a:cubicBezTo>
                      <a:cubicBezTo>
                        <a:pt x="148" y="164"/>
                        <a:pt x="148" y="164"/>
                        <a:pt x="148" y="164"/>
                      </a:cubicBezTo>
                      <a:cubicBezTo>
                        <a:pt x="146" y="162"/>
                        <a:pt x="146" y="162"/>
                        <a:pt x="146" y="162"/>
                      </a:cubicBezTo>
                      <a:cubicBezTo>
                        <a:pt x="146" y="162"/>
                        <a:pt x="146" y="162"/>
                        <a:pt x="146" y="162"/>
                      </a:cubicBezTo>
                      <a:cubicBezTo>
                        <a:pt x="146" y="163"/>
                        <a:pt x="146" y="163"/>
                        <a:pt x="146" y="163"/>
                      </a:cubicBezTo>
                      <a:cubicBezTo>
                        <a:pt x="146" y="164"/>
                        <a:pt x="146" y="164"/>
                        <a:pt x="146" y="164"/>
                      </a:cubicBezTo>
                      <a:cubicBezTo>
                        <a:pt x="146" y="164"/>
                        <a:pt x="146" y="164"/>
                        <a:pt x="146" y="164"/>
                      </a:cubicBezTo>
                      <a:cubicBezTo>
                        <a:pt x="146" y="165"/>
                        <a:pt x="146" y="165"/>
                        <a:pt x="146" y="165"/>
                      </a:cubicBezTo>
                      <a:close/>
                      <a:moveTo>
                        <a:pt x="145" y="166"/>
                      </a:moveTo>
                      <a:cubicBezTo>
                        <a:pt x="146" y="167"/>
                        <a:pt x="146" y="167"/>
                        <a:pt x="146" y="167"/>
                      </a:cubicBezTo>
                      <a:cubicBezTo>
                        <a:pt x="147" y="167"/>
                        <a:pt x="147" y="167"/>
                        <a:pt x="147" y="167"/>
                      </a:cubicBezTo>
                      <a:cubicBezTo>
                        <a:pt x="148" y="167"/>
                        <a:pt x="148" y="167"/>
                        <a:pt x="148" y="167"/>
                      </a:cubicBezTo>
                      <a:cubicBezTo>
                        <a:pt x="148" y="166"/>
                        <a:pt x="148" y="166"/>
                        <a:pt x="148" y="166"/>
                      </a:cubicBezTo>
                      <a:cubicBezTo>
                        <a:pt x="147" y="166"/>
                        <a:pt x="147" y="166"/>
                        <a:pt x="147" y="166"/>
                      </a:cubicBezTo>
                      <a:cubicBezTo>
                        <a:pt x="146" y="166"/>
                        <a:pt x="146" y="166"/>
                        <a:pt x="146" y="166"/>
                      </a:cubicBezTo>
                      <a:cubicBezTo>
                        <a:pt x="145" y="166"/>
                        <a:pt x="145" y="166"/>
                        <a:pt x="145" y="166"/>
                      </a:cubicBezTo>
                      <a:close/>
                      <a:moveTo>
                        <a:pt x="146" y="168"/>
                      </a:moveTo>
                      <a:cubicBezTo>
                        <a:pt x="146" y="168"/>
                        <a:pt x="146" y="168"/>
                        <a:pt x="146" y="168"/>
                      </a:cubicBezTo>
                      <a:cubicBezTo>
                        <a:pt x="146" y="167"/>
                        <a:pt x="146" y="167"/>
                        <a:pt x="146" y="167"/>
                      </a:cubicBezTo>
                      <a:cubicBezTo>
                        <a:pt x="146" y="168"/>
                        <a:pt x="146" y="168"/>
                        <a:pt x="146" y="168"/>
                      </a:cubicBezTo>
                      <a:close/>
                      <a:moveTo>
                        <a:pt x="141" y="182"/>
                      </a:moveTo>
                      <a:cubicBezTo>
                        <a:pt x="141" y="181"/>
                        <a:pt x="141" y="181"/>
                        <a:pt x="141" y="181"/>
                      </a:cubicBezTo>
                      <a:cubicBezTo>
                        <a:pt x="142" y="182"/>
                        <a:pt x="142" y="182"/>
                        <a:pt x="142" y="182"/>
                      </a:cubicBezTo>
                      <a:cubicBezTo>
                        <a:pt x="141" y="182"/>
                        <a:pt x="141" y="182"/>
                        <a:pt x="141" y="182"/>
                      </a:cubicBezTo>
                      <a:close/>
                      <a:moveTo>
                        <a:pt x="136" y="187"/>
                      </a:moveTo>
                      <a:cubicBezTo>
                        <a:pt x="135" y="187"/>
                        <a:pt x="135" y="187"/>
                        <a:pt x="135" y="187"/>
                      </a:cubicBezTo>
                      <a:cubicBezTo>
                        <a:pt x="136" y="186"/>
                        <a:pt x="136" y="186"/>
                        <a:pt x="136" y="186"/>
                      </a:cubicBezTo>
                      <a:cubicBezTo>
                        <a:pt x="136" y="185"/>
                        <a:pt x="136" y="185"/>
                        <a:pt x="136" y="185"/>
                      </a:cubicBezTo>
                      <a:cubicBezTo>
                        <a:pt x="136" y="185"/>
                        <a:pt x="136" y="185"/>
                        <a:pt x="136" y="185"/>
                      </a:cubicBezTo>
                      <a:cubicBezTo>
                        <a:pt x="136" y="185"/>
                        <a:pt x="136" y="185"/>
                        <a:pt x="136" y="185"/>
                      </a:cubicBezTo>
                      <a:cubicBezTo>
                        <a:pt x="136" y="186"/>
                        <a:pt x="136" y="186"/>
                        <a:pt x="136" y="186"/>
                      </a:cubicBezTo>
                      <a:cubicBezTo>
                        <a:pt x="136" y="187"/>
                        <a:pt x="136" y="187"/>
                        <a:pt x="136" y="187"/>
                      </a:cubicBezTo>
                      <a:close/>
                      <a:moveTo>
                        <a:pt x="129" y="187"/>
                      </a:moveTo>
                      <a:cubicBezTo>
                        <a:pt x="129" y="186"/>
                        <a:pt x="129" y="186"/>
                        <a:pt x="129" y="186"/>
                      </a:cubicBezTo>
                      <a:cubicBezTo>
                        <a:pt x="130" y="185"/>
                        <a:pt x="130" y="185"/>
                        <a:pt x="130" y="185"/>
                      </a:cubicBezTo>
                      <a:cubicBezTo>
                        <a:pt x="129" y="185"/>
                        <a:pt x="129" y="185"/>
                        <a:pt x="129" y="185"/>
                      </a:cubicBezTo>
                      <a:cubicBezTo>
                        <a:pt x="129" y="184"/>
                        <a:pt x="129" y="184"/>
                        <a:pt x="129" y="184"/>
                      </a:cubicBezTo>
                      <a:cubicBezTo>
                        <a:pt x="129" y="183"/>
                        <a:pt x="129" y="183"/>
                        <a:pt x="129" y="183"/>
                      </a:cubicBezTo>
                      <a:cubicBezTo>
                        <a:pt x="128" y="183"/>
                        <a:pt x="128" y="183"/>
                        <a:pt x="128" y="183"/>
                      </a:cubicBezTo>
                      <a:cubicBezTo>
                        <a:pt x="128" y="181"/>
                        <a:pt x="128" y="181"/>
                        <a:pt x="128" y="181"/>
                      </a:cubicBezTo>
                      <a:cubicBezTo>
                        <a:pt x="129" y="180"/>
                        <a:pt x="129" y="180"/>
                        <a:pt x="129" y="180"/>
                      </a:cubicBezTo>
                      <a:cubicBezTo>
                        <a:pt x="128" y="180"/>
                        <a:pt x="128" y="180"/>
                        <a:pt x="128" y="180"/>
                      </a:cubicBezTo>
                      <a:cubicBezTo>
                        <a:pt x="128" y="178"/>
                        <a:pt x="128" y="178"/>
                        <a:pt x="128" y="178"/>
                      </a:cubicBezTo>
                      <a:cubicBezTo>
                        <a:pt x="128" y="177"/>
                        <a:pt x="128" y="177"/>
                        <a:pt x="128" y="177"/>
                      </a:cubicBezTo>
                      <a:cubicBezTo>
                        <a:pt x="129" y="178"/>
                        <a:pt x="129" y="178"/>
                        <a:pt x="129" y="178"/>
                      </a:cubicBezTo>
                      <a:cubicBezTo>
                        <a:pt x="130" y="178"/>
                        <a:pt x="130" y="178"/>
                        <a:pt x="130" y="178"/>
                      </a:cubicBezTo>
                      <a:cubicBezTo>
                        <a:pt x="129" y="178"/>
                        <a:pt x="129" y="178"/>
                        <a:pt x="129" y="178"/>
                      </a:cubicBezTo>
                      <a:cubicBezTo>
                        <a:pt x="129" y="177"/>
                        <a:pt x="129" y="177"/>
                        <a:pt x="129" y="177"/>
                      </a:cubicBezTo>
                      <a:cubicBezTo>
                        <a:pt x="129" y="177"/>
                        <a:pt x="129" y="177"/>
                        <a:pt x="129" y="177"/>
                      </a:cubicBezTo>
                      <a:cubicBezTo>
                        <a:pt x="129" y="175"/>
                        <a:pt x="129" y="175"/>
                        <a:pt x="129" y="175"/>
                      </a:cubicBezTo>
                      <a:cubicBezTo>
                        <a:pt x="129" y="174"/>
                        <a:pt x="129" y="174"/>
                        <a:pt x="129" y="174"/>
                      </a:cubicBezTo>
                      <a:cubicBezTo>
                        <a:pt x="129" y="172"/>
                        <a:pt x="129" y="172"/>
                        <a:pt x="129" y="172"/>
                      </a:cubicBezTo>
                      <a:cubicBezTo>
                        <a:pt x="129" y="171"/>
                        <a:pt x="129" y="171"/>
                        <a:pt x="129" y="171"/>
                      </a:cubicBezTo>
                      <a:cubicBezTo>
                        <a:pt x="129" y="169"/>
                        <a:pt x="129" y="169"/>
                        <a:pt x="129" y="169"/>
                      </a:cubicBezTo>
                      <a:cubicBezTo>
                        <a:pt x="129" y="168"/>
                        <a:pt x="129" y="168"/>
                        <a:pt x="129" y="168"/>
                      </a:cubicBezTo>
                      <a:cubicBezTo>
                        <a:pt x="129" y="168"/>
                        <a:pt x="129" y="168"/>
                        <a:pt x="129" y="168"/>
                      </a:cubicBezTo>
                      <a:cubicBezTo>
                        <a:pt x="129" y="167"/>
                        <a:pt x="129" y="167"/>
                        <a:pt x="129" y="167"/>
                      </a:cubicBezTo>
                      <a:cubicBezTo>
                        <a:pt x="129" y="167"/>
                        <a:pt x="129" y="167"/>
                        <a:pt x="129" y="167"/>
                      </a:cubicBezTo>
                      <a:cubicBezTo>
                        <a:pt x="130" y="167"/>
                        <a:pt x="130" y="167"/>
                        <a:pt x="130" y="167"/>
                      </a:cubicBezTo>
                      <a:cubicBezTo>
                        <a:pt x="131" y="168"/>
                        <a:pt x="131" y="168"/>
                        <a:pt x="131" y="168"/>
                      </a:cubicBezTo>
                      <a:cubicBezTo>
                        <a:pt x="132" y="168"/>
                        <a:pt x="132" y="168"/>
                        <a:pt x="132" y="168"/>
                      </a:cubicBezTo>
                      <a:cubicBezTo>
                        <a:pt x="132" y="168"/>
                        <a:pt x="132" y="168"/>
                        <a:pt x="132" y="168"/>
                      </a:cubicBezTo>
                      <a:cubicBezTo>
                        <a:pt x="132" y="167"/>
                        <a:pt x="132" y="167"/>
                        <a:pt x="132" y="167"/>
                      </a:cubicBezTo>
                      <a:cubicBezTo>
                        <a:pt x="132" y="169"/>
                        <a:pt x="132" y="169"/>
                        <a:pt x="132" y="169"/>
                      </a:cubicBezTo>
                      <a:cubicBezTo>
                        <a:pt x="134" y="169"/>
                        <a:pt x="134" y="169"/>
                        <a:pt x="134" y="169"/>
                      </a:cubicBezTo>
                      <a:cubicBezTo>
                        <a:pt x="135" y="171"/>
                        <a:pt x="135" y="171"/>
                        <a:pt x="135" y="171"/>
                      </a:cubicBezTo>
                      <a:cubicBezTo>
                        <a:pt x="136" y="171"/>
                        <a:pt x="136" y="171"/>
                        <a:pt x="136" y="171"/>
                      </a:cubicBezTo>
                      <a:cubicBezTo>
                        <a:pt x="137" y="171"/>
                        <a:pt x="137" y="171"/>
                        <a:pt x="137" y="171"/>
                      </a:cubicBezTo>
                      <a:cubicBezTo>
                        <a:pt x="138" y="171"/>
                        <a:pt x="138" y="171"/>
                        <a:pt x="138" y="171"/>
                      </a:cubicBezTo>
                      <a:cubicBezTo>
                        <a:pt x="139" y="171"/>
                        <a:pt x="139" y="171"/>
                        <a:pt x="139" y="171"/>
                      </a:cubicBezTo>
                      <a:cubicBezTo>
                        <a:pt x="138" y="171"/>
                        <a:pt x="138" y="171"/>
                        <a:pt x="138" y="171"/>
                      </a:cubicBezTo>
                      <a:cubicBezTo>
                        <a:pt x="139" y="170"/>
                        <a:pt x="139" y="170"/>
                        <a:pt x="139" y="170"/>
                      </a:cubicBezTo>
                      <a:cubicBezTo>
                        <a:pt x="142" y="170"/>
                        <a:pt x="142" y="170"/>
                        <a:pt x="142" y="170"/>
                      </a:cubicBezTo>
                      <a:cubicBezTo>
                        <a:pt x="142" y="170"/>
                        <a:pt x="142" y="170"/>
                        <a:pt x="142" y="170"/>
                      </a:cubicBezTo>
                      <a:cubicBezTo>
                        <a:pt x="143" y="170"/>
                        <a:pt x="143" y="170"/>
                        <a:pt x="143" y="170"/>
                      </a:cubicBezTo>
                      <a:cubicBezTo>
                        <a:pt x="144" y="170"/>
                        <a:pt x="144" y="170"/>
                        <a:pt x="144" y="170"/>
                      </a:cubicBezTo>
                      <a:cubicBezTo>
                        <a:pt x="144" y="170"/>
                        <a:pt x="144" y="170"/>
                        <a:pt x="144" y="170"/>
                      </a:cubicBezTo>
                      <a:cubicBezTo>
                        <a:pt x="144" y="169"/>
                        <a:pt x="144" y="169"/>
                        <a:pt x="144" y="169"/>
                      </a:cubicBezTo>
                      <a:cubicBezTo>
                        <a:pt x="145" y="169"/>
                        <a:pt x="145" y="169"/>
                        <a:pt x="145" y="169"/>
                      </a:cubicBezTo>
                      <a:cubicBezTo>
                        <a:pt x="146" y="170"/>
                        <a:pt x="146" y="170"/>
                        <a:pt x="146" y="170"/>
                      </a:cubicBezTo>
                      <a:cubicBezTo>
                        <a:pt x="146" y="170"/>
                        <a:pt x="146" y="170"/>
                        <a:pt x="146" y="170"/>
                      </a:cubicBezTo>
                      <a:cubicBezTo>
                        <a:pt x="145" y="173"/>
                        <a:pt x="145" y="173"/>
                        <a:pt x="145" y="173"/>
                      </a:cubicBezTo>
                      <a:cubicBezTo>
                        <a:pt x="144" y="174"/>
                        <a:pt x="144" y="174"/>
                        <a:pt x="144" y="174"/>
                      </a:cubicBezTo>
                      <a:cubicBezTo>
                        <a:pt x="144" y="175"/>
                        <a:pt x="144" y="175"/>
                        <a:pt x="144" y="175"/>
                      </a:cubicBezTo>
                      <a:cubicBezTo>
                        <a:pt x="144" y="176"/>
                        <a:pt x="144" y="176"/>
                        <a:pt x="144" y="176"/>
                      </a:cubicBezTo>
                      <a:cubicBezTo>
                        <a:pt x="144" y="177"/>
                        <a:pt x="144" y="177"/>
                        <a:pt x="144" y="177"/>
                      </a:cubicBezTo>
                      <a:cubicBezTo>
                        <a:pt x="144" y="178"/>
                        <a:pt x="144" y="178"/>
                        <a:pt x="144" y="178"/>
                      </a:cubicBezTo>
                      <a:cubicBezTo>
                        <a:pt x="144" y="178"/>
                        <a:pt x="144" y="178"/>
                        <a:pt x="144" y="178"/>
                      </a:cubicBezTo>
                      <a:cubicBezTo>
                        <a:pt x="143" y="179"/>
                        <a:pt x="143" y="179"/>
                        <a:pt x="143" y="179"/>
                      </a:cubicBezTo>
                      <a:cubicBezTo>
                        <a:pt x="143" y="179"/>
                        <a:pt x="143" y="179"/>
                        <a:pt x="143" y="179"/>
                      </a:cubicBezTo>
                      <a:cubicBezTo>
                        <a:pt x="143" y="177"/>
                        <a:pt x="143" y="177"/>
                        <a:pt x="143" y="177"/>
                      </a:cubicBezTo>
                      <a:cubicBezTo>
                        <a:pt x="142" y="178"/>
                        <a:pt x="142" y="178"/>
                        <a:pt x="142" y="178"/>
                      </a:cubicBezTo>
                      <a:cubicBezTo>
                        <a:pt x="142" y="179"/>
                        <a:pt x="142" y="179"/>
                        <a:pt x="142" y="179"/>
                      </a:cubicBezTo>
                      <a:cubicBezTo>
                        <a:pt x="141" y="181"/>
                        <a:pt x="141" y="181"/>
                        <a:pt x="141" y="181"/>
                      </a:cubicBezTo>
                      <a:cubicBezTo>
                        <a:pt x="141" y="181"/>
                        <a:pt x="141" y="181"/>
                        <a:pt x="141" y="181"/>
                      </a:cubicBezTo>
                      <a:cubicBezTo>
                        <a:pt x="140" y="181"/>
                        <a:pt x="140" y="181"/>
                        <a:pt x="140" y="181"/>
                      </a:cubicBezTo>
                      <a:cubicBezTo>
                        <a:pt x="140" y="182"/>
                        <a:pt x="140" y="182"/>
                        <a:pt x="140" y="182"/>
                      </a:cubicBezTo>
                      <a:cubicBezTo>
                        <a:pt x="140" y="183"/>
                        <a:pt x="140" y="183"/>
                        <a:pt x="140" y="183"/>
                      </a:cubicBezTo>
                      <a:cubicBezTo>
                        <a:pt x="140" y="183"/>
                        <a:pt x="140" y="183"/>
                        <a:pt x="140" y="183"/>
                      </a:cubicBezTo>
                      <a:cubicBezTo>
                        <a:pt x="140" y="184"/>
                        <a:pt x="140" y="184"/>
                        <a:pt x="140" y="184"/>
                      </a:cubicBezTo>
                      <a:cubicBezTo>
                        <a:pt x="139" y="185"/>
                        <a:pt x="139" y="185"/>
                        <a:pt x="139" y="185"/>
                      </a:cubicBezTo>
                      <a:cubicBezTo>
                        <a:pt x="139" y="185"/>
                        <a:pt x="139" y="185"/>
                        <a:pt x="139" y="185"/>
                      </a:cubicBezTo>
                      <a:cubicBezTo>
                        <a:pt x="138" y="185"/>
                        <a:pt x="138" y="185"/>
                        <a:pt x="138" y="185"/>
                      </a:cubicBezTo>
                      <a:cubicBezTo>
                        <a:pt x="138" y="184"/>
                        <a:pt x="138" y="184"/>
                        <a:pt x="138" y="184"/>
                      </a:cubicBezTo>
                      <a:cubicBezTo>
                        <a:pt x="139" y="184"/>
                        <a:pt x="139" y="184"/>
                        <a:pt x="139" y="184"/>
                      </a:cubicBezTo>
                      <a:cubicBezTo>
                        <a:pt x="139" y="184"/>
                        <a:pt x="139" y="184"/>
                        <a:pt x="139" y="184"/>
                      </a:cubicBezTo>
                      <a:cubicBezTo>
                        <a:pt x="139" y="183"/>
                        <a:pt x="139" y="183"/>
                        <a:pt x="139" y="183"/>
                      </a:cubicBezTo>
                      <a:cubicBezTo>
                        <a:pt x="138" y="183"/>
                        <a:pt x="138" y="183"/>
                        <a:pt x="138" y="183"/>
                      </a:cubicBezTo>
                      <a:cubicBezTo>
                        <a:pt x="137" y="184"/>
                        <a:pt x="137" y="184"/>
                        <a:pt x="137" y="184"/>
                      </a:cubicBezTo>
                      <a:cubicBezTo>
                        <a:pt x="137" y="184"/>
                        <a:pt x="137" y="184"/>
                        <a:pt x="137" y="184"/>
                      </a:cubicBezTo>
                      <a:cubicBezTo>
                        <a:pt x="137" y="183"/>
                        <a:pt x="137" y="183"/>
                        <a:pt x="137" y="183"/>
                      </a:cubicBezTo>
                      <a:cubicBezTo>
                        <a:pt x="136" y="184"/>
                        <a:pt x="136" y="184"/>
                        <a:pt x="136" y="184"/>
                      </a:cubicBezTo>
                      <a:cubicBezTo>
                        <a:pt x="136" y="185"/>
                        <a:pt x="136" y="185"/>
                        <a:pt x="136" y="185"/>
                      </a:cubicBezTo>
                      <a:cubicBezTo>
                        <a:pt x="135" y="185"/>
                        <a:pt x="135" y="185"/>
                        <a:pt x="135" y="185"/>
                      </a:cubicBezTo>
                      <a:cubicBezTo>
                        <a:pt x="135" y="184"/>
                        <a:pt x="135" y="184"/>
                        <a:pt x="135" y="184"/>
                      </a:cubicBezTo>
                      <a:cubicBezTo>
                        <a:pt x="134" y="186"/>
                        <a:pt x="134" y="186"/>
                        <a:pt x="134" y="186"/>
                      </a:cubicBezTo>
                      <a:cubicBezTo>
                        <a:pt x="134" y="187"/>
                        <a:pt x="134" y="187"/>
                        <a:pt x="134" y="187"/>
                      </a:cubicBezTo>
                      <a:cubicBezTo>
                        <a:pt x="133" y="188"/>
                        <a:pt x="133" y="188"/>
                        <a:pt x="133" y="188"/>
                      </a:cubicBezTo>
                      <a:cubicBezTo>
                        <a:pt x="132" y="188"/>
                        <a:pt x="132" y="188"/>
                        <a:pt x="132" y="188"/>
                      </a:cubicBezTo>
                      <a:cubicBezTo>
                        <a:pt x="132" y="187"/>
                        <a:pt x="132" y="187"/>
                        <a:pt x="132" y="187"/>
                      </a:cubicBezTo>
                      <a:cubicBezTo>
                        <a:pt x="132" y="186"/>
                        <a:pt x="132" y="186"/>
                        <a:pt x="132" y="186"/>
                      </a:cubicBezTo>
                      <a:cubicBezTo>
                        <a:pt x="131" y="187"/>
                        <a:pt x="131" y="187"/>
                        <a:pt x="131" y="187"/>
                      </a:cubicBezTo>
                      <a:cubicBezTo>
                        <a:pt x="131" y="187"/>
                        <a:pt x="131" y="187"/>
                        <a:pt x="131" y="187"/>
                      </a:cubicBezTo>
                      <a:cubicBezTo>
                        <a:pt x="130" y="187"/>
                        <a:pt x="130" y="187"/>
                        <a:pt x="130" y="187"/>
                      </a:cubicBezTo>
                      <a:cubicBezTo>
                        <a:pt x="130" y="187"/>
                        <a:pt x="129" y="187"/>
                        <a:pt x="129" y="187"/>
                      </a:cubicBezTo>
                      <a:close/>
                      <a:moveTo>
                        <a:pt x="2" y="119"/>
                      </a:moveTo>
                      <a:cubicBezTo>
                        <a:pt x="2" y="120"/>
                        <a:pt x="2" y="120"/>
                        <a:pt x="2" y="120"/>
                      </a:cubicBezTo>
                      <a:cubicBezTo>
                        <a:pt x="3" y="120"/>
                        <a:pt x="3" y="120"/>
                        <a:pt x="3" y="120"/>
                      </a:cubicBezTo>
                      <a:cubicBezTo>
                        <a:pt x="5" y="121"/>
                        <a:pt x="5" y="121"/>
                        <a:pt x="5" y="121"/>
                      </a:cubicBezTo>
                      <a:cubicBezTo>
                        <a:pt x="5" y="122"/>
                        <a:pt x="5" y="122"/>
                        <a:pt x="5" y="122"/>
                      </a:cubicBezTo>
                      <a:cubicBezTo>
                        <a:pt x="5" y="122"/>
                        <a:pt x="5" y="122"/>
                        <a:pt x="5" y="122"/>
                      </a:cubicBezTo>
                      <a:cubicBezTo>
                        <a:pt x="6" y="123"/>
                        <a:pt x="6" y="123"/>
                        <a:pt x="6" y="123"/>
                      </a:cubicBezTo>
                      <a:cubicBezTo>
                        <a:pt x="7" y="123"/>
                        <a:pt x="7" y="123"/>
                        <a:pt x="7" y="123"/>
                      </a:cubicBezTo>
                      <a:cubicBezTo>
                        <a:pt x="8" y="123"/>
                        <a:pt x="8" y="123"/>
                        <a:pt x="8" y="123"/>
                      </a:cubicBezTo>
                      <a:cubicBezTo>
                        <a:pt x="9" y="123"/>
                        <a:pt x="9" y="123"/>
                        <a:pt x="9" y="123"/>
                      </a:cubicBezTo>
                      <a:cubicBezTo>
                        <a:pt x="9" y="124"/>
                        <a:pt x="9" y="124"/>
                        <a:pt x="9" y="124"/>
                      </a:cubicBezTo>
                      <a:cubicBezTo>
                        <a:pt x="10" y="124"/>
                        <a:pt x="10" y="124"/>
                        <a:pt x="10" y="124"/>
                      </a:cubicBezTo>
                      <a:cubicBezTo>
                        <a:pt x="11" y="124"/>
                        <a:pt x="11" y="124"/>
                        <a:pt x="11" y="124"/>
                      </a:cubicBezTo>
                      <a:cubicBezTo>
                        <a:pt x="12" y="124"/>
                        <a:pt x="12" y="124"/>
                        <a:pt x="12" y="124"/>
                      </a:cubicBezTo>
                      <a:cubicBezTo>
                        <a:pt x="12" y="124"/>
                        <a:pt x="12" y="124"/>
                        <a:pt x="12" y="124"/>
                      </a:cubicBezTo>
                      <a:cubicBezTo>
                        <a:pt x="13" y="124"/>
                        <a:pt x="13" y="124"/>
                        <a:pt x="13" y="124"/>
                      </a:cubicBezTo>
                      <a:cubicBezTo>
                        <a:pt x="14" y="124"/>
                        <a:pt x="14" y="124"/>
                        <a:pt x="14" y="124"/>
                      </a:cubicBezTo>
                      <a:cubicBezTo>
                        <a:pt x="15" y="124"/>
                        <a:pt x="15" y="124"/>
                        <a:pt x="15" y="124"/>
                      </a:cubicBezTo>
                      <a:cubicBezTo>
                        <a:pt x="15" y="123"/>
                        <a:pt x="15" y="123"/>
                        <a:pt x="15" y="123"/>
                      </a:cubicBezTo>
                      <a:cubicBezTo>
                        <a:pt x="16" y="123"/>
                        <a:pt x="16" y="123"/>
                        <a:pt x="16" y="123"/>
                      </a:cubicBezTo>
                      <a:cubicBezTo>
                        <a:pt x="17" y="122"/>
                        <a:pt x="17" y="122"/>
                        <a:pt x="17" y="122"/>
                      </a:cubicBezTo>
                      <a:cubicBezTo>
                        <a:pt x="18" y="122"/>
                        <a:pt x="18" y="122"/>
                        <a:pt x="18" y="122"/>
                      </a:cubicBezTo>
                      <a:cubicBezTo>
                        <a:pt x="18" y="121"/>
                        <a:pt x="18" y="121"/>
                        <a:pt x="18" y="121"/>
                      </a:cubicBezTo>
                      <a:cubicBezTo>
                        <a:pt x="19" y="121"/>
                        <a:pt x="19" y="121"/>
                        <a:pt x="19" y="121"/>
                      </a:cubicBezTo>
                      <a:cubicBezTo>
                        <a:pt x="20" y="121"/>
                        <a:pt x="20" y="121"/>
                        <a:pt x="20" y="121"/>
                      </a:cubicBezTo>
                      <a:cubicBezTo>
                        <a:pt x="21" y="122"/>
                        <a:pt x="21" y="122"/>
                        <a:pt x="21" y="122"/>
                      </a:cubicBezTo>
                      <a:cubicBezTo>
                        <a:pt x="21" y="121"/>
                        <a:pt x="21" y="121"/>
                        <a:pt x="21" y="121"/>
                      </a:cubicBezTo>
                      <a:cubicBezTo>
                        <a:pt x="22" y="121"/>
                        <a:pt x="22" y="121"/>
                        <a:pt x="22" y="121"/>
                      </a:cubicBezTo>
                      <a:cubicBezTo>
                        <a:pt x="22" y="121"/>
                        <a:pt x="22" y="121"/>
                        <a:pt x="22" y="121"/>
                      </a:cubicBezTo>
                      <a:cubicBezTo>
                        <a:pt x="22" y="119"/>
                        <a:pt x="22" y="119"/>
                        <a:pt x="22" y="119"/>
                      </a:cubicBezTo>
                      <a:cubicBezTo>
                        <a:pt x="25" y="118"/>
                        <a:pt x="25" y="118"/>
                        <a:pt x="25" y="118"/>
                      </a:cubicBezTo>
                      <a:cubicBezTo>
                        <a:pt x="26" y="118"/>
                        <a:pt x="26" y="118"/>
                        <a:pt x="26" y="118"/>
                      </a:cubicBezTo>
                      <a:cubicBezTo>
                        <a:pt x="27" y="119"/>
                        <a:pt x="27" y="119"/>
                        <a:pt x="27" y="119"/>
                      </a:cubicBezTo>
                      <a:cubicBezTo>
                        <a:pt x="28" y="118"/>
                        <a:pt x="28" y="118"/>
                        <a:pt x="28" y="118"/>
                      </a:cubicBezTo>
                      <a:cubicBezTo>
                        <a:pt x="30" y="117"/>
                        <a:pt x="30" y="117"/>
                        <a:pt x="30" y="117"/>
                      </a:cubicBezTo>
                      <a:cubicBezTo>
                        <a:pt x="30" y="118"/>
                        <a:pt x="30" y="118"/>
                        <a:pt x="30" y="118"/>
                      </a:cubicBezTo>
                      <a:cubicBezTo>
                        <a:pt x="32" y="118"/>
                        <a:pt x="32" y="118"/>
                        <a:pt x="32" y="118"/>
                      </a:cubicBezTo>
                      <a:cubicBezTo>
                        <a:pt x="33" y="118"/>
                        <a:pt x="33" y="118"/>
                        <a:pt x="33" y="118"/>
                      </a:cubicBezTo>
                      <a:cubicBezTo>
                        <a:pt x="33" y="118"/>
                        <a:pt x="33" y="118"/>
                        <a:pt x="33" y="118"/>
                      </a:cubicBezTo>
                      <a:cubicBezTo>
                        <a:pt x="34" y="118"/>
                        <a:pt x="34" y="118"/>
                        <a:pt x="34" y="118"/>
                      </a:cubicBezTo>
                      <a:cubicBezTo>
                        <a:pt x="35" y="119"/>
                        <a:pt x="35" y="119"/>
                        <a:pt x="35" y="119"/>
                      </a:cubicBezTo>
                      <a:cubicBezTo>
                        <a:pt x="35" y="119"/>
                        <a:pt x="35" y="119"/>
                        <a:pt x="35" y="119"/>
                      </a:cubicBezTo>
                      <a:cubicBezTo>
                        <a:pt x="36" y="118"/>
                        <a:pt x="36" y="118"/>
                        <a:pt x="36" y="118"/>
                      </a:cubicBezTo>
                      <a:cubicBezTo>
                        <a:pt x="36" y="119"/>
                        <a:pt x="36" y="119"/>
                        <a:pt x="36" y="119"/>
                      </a:cubicBezTo>
                      <a:cubicBezTo>
                        <a:pt x="37" y="118"/>
                        <a:pt x="37" y="118"/>
                        <a:pt x="37" y="118"/>
                      </a:cubicBezTo>
                      <a:cubicBezTo>
                        <a:pt x="39" y="118"/>
                        <a:pt x="39" y="118"/>
                        <a:pt x="39" y="118"/>
                      </a:cubicBezTo>
                      <a:cubicBezTo>
                        <a:pt x="39" y="119"/>
                        <a:pt x="39" y="119"/>
                        <a:pt x="39" y="119"/>
                      </a:cubicBezTo>
                      <a:cubicBezTo>
                        <a:pt x="39" y="119"/>
                        <a:pt x="39" y="119"/>
                        <a:pt x="39" y="119"/>
                      </a:cubicBezTo>
                      <a:cubicBezTo>
                        <a:pt x="40" y="118"/>
                        <a:pt x="40" y="118"/>
                        <a:pt x="40" y="118"/>
                      </a:cubicBezTo>
                      <a:cubicBezTo>
                        <a:pt x="41" y="118"/>
                        <a:pt x="41" y="118"/>
                        <a:pt x="41" y="118"/>
                      </a:cubicBezTo>
                      <a:cubicBezTo>
                        <a:pt x="43" y="118"/>
                        <a:pt x="43" y="118"/>
                        <a:pt x="43" y="118"/>
                      </a:cubicBezTo>
                      <a:cubicBezTo>
                        <a:pt x="43" y="117"/>
                        <a:pt x="43" y="117"/>
                        <a:pt x="43" y="117"/>
                      </a:cubicBezTo>
                      <a:cubicBezTo>
                        <a:pt x="44" y="116"/>
                        <a:pt x="44" y="116"/>
                        <a:pt x="44" y="116"/>
                      </a:cubicBezTo>
                      <a:cubicBezTo>
                        <a:pt x="45" y="116"/>
                        <a:pt x="45" y="116"/>
                        <a:pt x="45" y="116"/>
                      </a:cubicBezTo>
                      <a:cubicBezTo>
                        <a:pt x="45" y="114"/>
                        <a:pt x="45" y="114"/>
                        <a:pt x="45" y="114"/>
                      </a:cubicBezTo>
                      <a:cubicBezTo>
                        <a:pt x="46" y="113"/>
                        <a:pt x="46" y="113"/>
                        <a:pt x="46" y="113"/>
                      </a:cubicBezTo>
                      <a:cubicBezTo>
                        <a:pt x="48" y="113"/>
                        <a:pt x="48" y="113"/>
                        <a:pt x="48" y="113"/>
                      </a:cubicBezTo>
                      <a:cubicBezTo>
                        <a:pt x="48" y="113"/>
                        <a:pt x="48" y="113"/>
                        <a:pt x="48" y="113"/>
                      </a:cubicBezTo>
                      <a:cubicBezTo>
                        <a:pt x="50" y="112"/>
                        <a:pt x="50" y="112"/>
                        <a:pt x="50" y="112"/>
                      </a:cubicBezTo>
                      <a:cubicBezTo>
                        <a:pt x="53" y="111"/>
                        <a:pt x="53" y="111"/>
                        <a:pt x="53" y="111"/>
                      </a:cubicBezTo>
                      <a:cubicBezTo>
                        <a:pt x="54" y="110"/>
                        <a:pt x="54" y="110"/>
                        <a:pt x="54" y="110"/>
                      </a:cubicBezTo>
                      <a:cubicBezTo>
                        <a:pt x="55" y="110"/>
                        <a:pt x="55" y="110"/>
                        <a:pt x="55" y="110"/>
                      </a:cubicBezTo>
                      <a:cubicBezTo>
                        <a:pt x="56" y="110"/>
                        <a:pt x="56" y="110"/>
                        <a:pt x="56" y="110"/>
                      </a:cubicBezTo>
                      <a:cubicBezTo>
                        <a:pt x="57" y="110"/>
                        <a:pt x="57" y="110"/>
                        <a:pt x="57" y="110"/>
                      </a:cubicBezTo>
                      <a:cubicBezTo>
                        <a:pt x="58" y="110"/>
                        <a:pt x="58" y="110"/>
                        <a:pt x="58" y="110"/>
                      </a:cubicBezTo>
                      <a:cubicBezTo>
                        <a:pt x="59" y="110"/>
                        <a:pt x="59" y="110"/>
                        <a:pt x="59" y="110"/>
                      </a:cubicBezTo>
                      <a:cubicBezTo>
                        <a:pt x="60" y="110"/>
                        <a:pt x="60" y="110"/>
                        <a:pt x="60" y="110"/>
                      </a:cubicBezTo>
                      <a:cubicBezTo>
                        <a:pt x="62" y="110"/>
                        <a:pt x="62" y="110"/>
                        <a:pt x="62" y="110"/>
                      </a:cubicBezTo>
                      <a:cubicBezTo>
                        <a:pt x="65" y="109"/>
                        <a:pt x="65" y="109"/>
                        <a:pt x="65" y="109"/>
                      </a:cubicBezTo>
                      <a:cubicBezTo>
                        <a:pt x="66" y="109"/>
                        <a:pt x="66" y="109"/>
                        <a:pt x="66" y="109"/>
                      </a:cubicBezTo>
                      <a:cubicBezTo>
                        <a:pt x="67" y="108"/>
                        <a:pt x="67" y="108"/>
                        <a:pt x="67" y="108"/>
                      </a:cubicBezTo>
                      <a:cubicBezTo>
                        <a:pt x="68" y="108"/>
                        <a:pt x="68" y="108"/>
                        <a:pt x="68" y="108"/>
                      </a:cubicBezTo>
                      <a:cubicBezTo>
                        <a:pt x="69" y="107"/>
                        <a:pt x="69" y="107"/>
                        <a:pt x="69" y="107"/>
                      </a:cubicBezTo>
                      <a:cubicBezTo>
                        <a:pt x="71" y="107"/>
                        <a:pt x="71" y="107"/>
                        <a:pt x="71" y="107"/>
                      </a:cubicBezTo>
                      <a:cubicBezTo>
                        <a:pt x="77" y="107"/>
                        <a:pt x="77" y="107"/>
                        <a:pt x="77" y="107"/>
                      </a:cubicBezTo>
                      <a:cubicBezTo>
                        <a:pt x="78" y="107"/>
                        <a:pt x="78" y="107"/>
                        <a:pt x="78" y="107"/>
                      </a:cubicBezTo>
                      <a:cubicBezTo>
                        <a:pt x="80" y="107"/>
                        <a:pt x="80" y="107"/>
                        <a:pt x="80" y="107"/>
                      </a:cubicBezTo>
                      <a:cubicBezTo>
                        <a:pt x="81" y="107"/>
                        <a:pt x="81" y="107"/>
                        <a:pt x="81" y="107"/>
                      </a:cubicBezTo>
                      <a:cubicBezTo>
                        <a:pt x="82" y="107"/>
                        <a:pt x="82" y="107"/>
                        <a:pt x="82" y="107"/>
                      </a:cubicBezTo>
                      <a:cubicBezTo>
                        <a:pt x="84" y="108"/>
                        <a:pt x="84" y="108"/>
                        <a:pt x="84" y="108"/>
                      </a:cubicBezTo>
                      <a:cubicBezTo>
                        <a:pt x="85" y="110"/>
                        <a:pt x="85" y="110"/>
                        <a:pt x="85" y="110"/>
                      </a:cubicBezTo>
                      <a:cubicBezTo>
                        <a:pt x="86" y="110"/>
                        <a:pt x="86" y="110"/>
                        <a:pt x="86" y="110"/>
                      </a:cubicBezTo>
                      <a:cubicBezTo>
                        <a:pt x="86" y="110"/>
                        <a:pt x="86" y="110"/>
                        <a:pt x="86" y="110"/>
                      </a:cubicBezTo>
                      <a:cubicBezTo>
                        <a:pt x="87" y="109"/>
                        <a:pt x="87" y="109"/>
                        <a:pt x="87" y="109"/>
                      </a:cubicBezTo>
                      <a:cubicBezTo>
                        <a:pt x="87" y="110"/>
                        <a:pt x="87" y="110"/>
                        <a:pt x="87" y="110"/>
                      </a:cubicBezTo>
                      <a:cubicBezTo>
                        <a:pt x="88" y="110"/>
                        <a:pt x="88" y="110"/>
                        <a:pt x="88" y="110"/>
                      </a:cubicBezTo>
                      <a:cubicBezTo>
                        <a:pt x="89" y="110"/>
                        <a:pt x="89" y="110"/>
                        <a:pt x="89" y="110"/>
                      </a:cubicBezTo>
                      <a:cubicBezTo>
                        <a:pt x="90" y="111"/>
                        <a:pt x="90" y="111"/>
                        <a:pt x="90" y="111"/>
                      </a:cubicBezTo>
                      <a:cubicBezTo>
                        <a:pt x="91" y="111"/>
                        <a:pt x="91" y="111"/>
                        <a:pt x="91" y="111"/>
                      </a:cubicBezTo>
                      <a:cubicBezTo>
                        <a:pt x="91" y="111"/>
                        <a:pt x="91" y="111"/>
                        <a:pt x="91" y="111"/>
                      </a:cubicBezTo>
                      <a:cubicBezTo>
                        <a:pt x="93" y="112"/>
                        <a:pt x="93" y="112"/>
                        <a:pt x="93" y="112"/>
                      </a:cubicBezTo>
                      <a:cubicBezTo>
                        <a:pt x="93" y="113"/>
                        <a:pt x="93" y="113"/>
                        <a:pt x="93" y="113"/>
                      </a:cubicBezTo>
                      <a:cubicBezTo>
                        <a:pt x="94" y="113"/>
                        <a:pt x="94" y="113"/>
                        <a:pt x="94" y="113"/>
                      </a:cubicBezTo>
                      <a:cubicBezTo>
                        <a:pt x="95" y="114"/>
                        <a:pt x="95" y="114"/>
                        <a:pt x="95" y="114"/>
                      </a:cubicBezTo>
                      <a:cubicBezTo>
                        <a:pt x="94" y="114"/>
                        <a:pt x="94" y="114"/>
                        <a:pt x="94" y="114"/>
                      </a:cubicBezTo>
                      <a:cubicBezTo>
                        <a:pt x="94" y="114"/>
                        <a:pt x="94" y="114"/>
                        <a:pt x="94" y="114"/>
                      </a:cubicBezTo>
                      <a:cubicBezTo>
                        <a:pt x="93" y="115"/>
                        <a:pt x="93" y="115"/>
                        <a:pt x="93" y="115"/>
                      </a:cubicBezTo>
                      <a:cubicBezTo>
                        <a:pt x="94" y="117"/>
                        <a:pt x="94" y="117"/>
                        <a:pt x="94" y="117"/>
                      </a:cubicBezTo>
                      <a:cubicBezTo>
                        <a:pt x="95" y="117"/>
                        <a:pt x="95" y="117"/>
                        <a:pt x="95" y="117"/>
                      </a:cubicBezTo>
                      <a:cubicBezTo>
                        <a:pt x="96" y="118"/>
                        <a:pt x="96" y="118"/>
                        <a:pt x="96" y="118"/>
                      </a:cubicBezTo>
                      <a:cubicBezTo>
                        <a:pt x="96" y="119"/>
                        <a:pt x="96" y="119"/>
                        <a:pt x="96" y="119"/>
                      </a:cubicBezTo>
                      <a:cubicBezTo>
                        <a:pt x="96" y="120"/>
                        <a:pt x="96" y="120"/>
                        <a:pt x="96" y="120"/>
                      </a:cubicBezTo>
                      <a:cubicBezTo>
                        <a:pt x="97" y="122"/>
                        <a:pt x="97" y="122"/>
                        <a:pt x="97" y="122"/>
                      </a:cubicBezTo>
                      <a:cubicBezTo>
                        <a:pt x="97" y="123"/>
                        <a:pt x="97" y="123"/>
                        <a:pt x="97" y="123"/>
                      </a:cubicBezTo>
                      <a:cubicBezTo>
                        <a:pt x="97" y="123"/>
                        <a:pt x="97" y="123"/>
                        <a:pt x="97" y="123"/>
                      </a:cubicBezTo>
                      <a:cubicBezTo>
                        <a:pt x="97" y="124"/>
                        <a:pt x="97" y="124"/>
                        <a:pt x="97" y="124"/>
                      </a:cubicBezTo>
                      <a:cubicBezTo>
                        <a:pt x="97" y="125"/>
                        <a:pt x="97" y="125"/>
                        <a:pt x="97" y="125"/>
                      </a:cubicBezTo>
                      <a:cubicBezTo>
                        <a:pt x="96" y="125"/>
                        <a:pt x="96" y="125"/>
                        <a:pt x="96" y="125"/>
                      </a:cubicBezTo>
                      <a:cubicBezTo>
                        <a:pt x="96" y="125"/>
                        <a:pt x="96" y="125"/>
                        <a:pt x="96" y="125"/>
                      </a:cubicBezTo>
                      <a:cubicBezTo>
                        <a:pt x="97" y="126"/>
                        <a:pt x="97" y="126"/>
                        <a:pt x="97" y="126"/>
                      </a:cubicBezTo>
                      <a:cubicBezTo>
                        <a:pt x="97" y="126"/>
                        <a:pt x="97" y="126"/>
                        <a:pt x="97" y="126"/>
                      </a:cubicBezTo>
                      <a:cubicBezTo>
                        <a:pt x="98" y="127"/>
                        <a:pt x="98" y="127"/>
                        <a:pt x="98" y="127"/>
                      </a:cubicBezTo>
                      <a:cubicBezTo>
                        <a:pt x="99" y="127"/>
                        <a:pt x="99" y="127"/>
                        <a:pt x="99" y="127"/>
                      </a:cubicBezTo>
                      <a:cubicBezTo>
                        <a:pt x="99" y="127"/>
                        <a:pt x="99" y="127"/>
                        <a:pt x="99" y="127"/>
                      </a:cubicBezTo>
                      <a:cubicBezTo>
                        <a:pt x="99" y="127"/>
                        <a:pt x="99" y="127"/>
                        <a:pt x="99" y="127"/>
                      </a:cubicBezTo>
                      <a:cubicBezTo>
                        <a:pt x="99" y="126"/>
                        <a:pt x="99" y="126"/>
                        <a:pt x="99" y="126"/>
                      </a:cubicBezTo>
                      <a:cubicBezTo>
                        <a:pt x="99" y="125"/>
                        <a:pt x="99" y="125"/>
                        <a:pt x="99" y="125"/>
                      </a:cubicBezTo>
                      <a:cubicBezTo>
                        <a:pt x="100" y="125"/>
                        <a:pt x="100" y="125"/>
                        <a:pt x="100" y="125"/>
                      </a:cubicBezTo>
                      <a:cubicBezTo>
                        <a:pt x="101" y="124"/>
                        <a:pt x="101" y="124"/>
                        <a:pt x="101" y="124"/>
                      </a:cubicBezTo>
                      <a:cubicBezTo>
                        <a:pt x="101" y="124"/>
                        <a:pt x="101" y="124"/>
                        <a:pt x="101" y="124"/>
                      </a:cubicBezTo>
                      <a:cubicBezTo>
                        <a:pt x="102" y="123"/>
                        <a:pt x="102" y="123"/>
                        <a:pt x="102" y="123"/>
                      </a:cubicBezTo>
                      <a:cubicBezTo>
                        <a:pt x="102" y="123"/>
                        <a:pt x="102" y="123"/>
                        <a:pt x="102" y="123"/>
                      </a:cubicBezTo>
                      <a:cubicBezTo>
                        <a:pt x="103" y="122"/>
                        <a:pt x="103" y="122"/>
                        <a:pt x="103" y="122"/>
                      </a:cubicBezTo>
                      <a:cubicBezTo>
                        <a:pt x="105" y="121"/>
                        <a:pt x="105" y="121"/>
                        <a:pt x="105" y="121"/>
                      </a:cubicBezTo>
                      <a:cubicBezTo>
                        <a:pt x="105" y="120"/>
                        <a:pt x="105" y="120"/>
                        <a:pt x="105" y="120"/>
                      </a:cubicBezTo>
                      <a:cubicBezTo>
                        <a:pt x="106" y="120"/>
                        <a:pt x="106" y="120"/>
                        <a:pt x="106" y="120"/>
                      </a:cubicBezTo>
                      <a:cubicBezTo>
                        <a:pt x="107" y="119"/>
                        <a:pt x="107" y="119"/>
                        <a:pt x="107" y="119"/>
                      </a:cubicBezTo>
                      <a:cubicBezTo>
                        <a:pt x="108" y="118"/>
                        <a:pt x="108" y="118"/>
                        <a:pt x="108" y="118"/>
                      </a:cubicBezTo>
                      <a:cubicBezTo>
                        <a:pt x="109" y="116"/>
                        <a:pt x="109" y="116"/>
                        <a:pt x="109" y="116"/>
                      </a:cubicBezTo>
                      <a:cubicBezTo>
                        <a:pt x="110" y="116"/>
                        <a:pt x="110" y="116"/>
                        <a:pt x="110" y="116"/>
                      </a:cubicBezTo>
                      <a:cubicBezTo>
                        <a:pt x="111" y="115"/>
                        <a:pt x="111" y="115"/>
                        <a:pt x="111" y="115"/>
                      </a:cubicBezTo>
                      <a:cubicBezTo>
                        <a:pt x="111" y="115"/>
                        <a:pt x="111" y="115"/>
                        <a:pt x="111" y="115"/>
                      </a:cubicBezTo>
                      <a:cubicBezTo>
                        <a:pt x="111" y="114"/>
                        <a:pt x="111" y="114"/>
                        <a:pt x="111" y="114"/>
                      </a:cubicBezTo>
                      <a:cubicBezTo>
                        <a:pt x="111" y="115"/>
                        <a:pt x="111" y="115"/>
                        <a:pt x="111" y="115"/>
                      </a:cubicBezTo>
                      <a:cubicBezTo>
                        <a:pt x="111" y="116"/>
                        <a:pt x="111" y="116"/>
                        <a:pt x="111" y="116"/>
                      </a:cubicBezTo>
                      <a:cubicBezTo>
                        <a:pt x="111" y="117"/>
                        <a:pt x="111" y="117"/>
                        <a:pt x="111" y="117"/>
                      </a:cubicBezTo>
                      <a:cubicBezTo>
                        <a:pt x="111" y="118"/>
                        <a:pt x="111" y="118"/>
                        <a:pt x="111" y="118"/>
                      </a:cubicBezTo>
                      <a:cubicBezTo>
                        <a:pt x="110" y="120"/>
                        <a:pt x="110" y="120"/>
                        <a:pt x="110" y="120"/>
                      </a:cubicBezTo>
                      <a:cubicBezTo>
                        <a:pt x="109" y="121"/>
                        <a:pt x="109" y="121"/>
                        <a:pt x="109" y="121"/>
                      </a:cubicBezTo>
                      <a:cubicBezTo>
                        <a:pt x="108" y="122"/>
                        <a:pt x="108" y="122"/>
                        <a:pt x="108" y="122"/>
                      </a:cubicBezTo>
                      <a:cubicBezTo>
                        <a:pt x="108" y="123"/>
                        <a:pt x="108" y="123"/>
                        <a:pt x="108" y="123"/>
                      </a:cubicBezTo>
                      <a:cubicBezTo>
                        <a:pt x="108" y="124"/>
                        <a:pt x="108" y="124"/>
                        <a:pt x="108" y="124"/>
                      </a:cubicBezTo>
                      <a:cubicBezTo>
                        <a:pt x="107" y="125"/>
                        <a:pt x="107" y="125"/>
                        <a:pt x="107" y="125"/>
                      </a:cubicBezTo>
                      <a:cubicBezTo>
                        <a:pt x="107" y="125"/>
                        <a:pt x="107" y="125"/>
                        <a:pt x="107" y="125"/>
                      </a:cubicBezTo>
                      <a:cubicBezTo>
                        <a:pt x="106" y="128"/>
                        <a:pt x="106" y="128"/>
                        <a:pt x="106" y="128"/>
                      </a:cubicBezTo>
                      <a:cubicBezTo>
                        <a:pt x="104" y="127"/>
                        <a:pt x="104" y="127"/>
                        <a:pt x="104" y="127"/>
                      </a:cubicBezTo>
                      <a:cubicBezTo>
                        <a:pt x="103" y="128"/>
                        <a:pt x="103" y="128"/>
                        <a:pt x="103" y="128"/>
                      </a:cubicBezTo>
                      <a:cubicBezTo>
                        <a:pt x="103" y="129"/>
                        <a:pt x="103" y="129"/>
                        <a:pt x="103" y="129"/>
                      </a:cubicBezTo>
                      <a:cubicBezTo>
                        <a:pt x="103" y="130"/>
                        <a:pt x="103" y="130"/>
                        <a:pt x="103" y="130"/>
                      </a:cubicBezTo>
                      <a:cubicBezTo>
                        <a:pt x="104" y="129"/>
                        <a:pt x="104" y="129"/>
                        <a:pt x="104" y="129"/>
                      </a:cubicBezTo>
                      <a:cubicBezTo>
                        <a:pt x="106" y="129"/>
                        <a:pt x="106" y="129"/>
                        <a:pt x="106" y="129"/>
                      </a:cubicBezTo>
                      <a:cubicBezTo>
                        <a:pt x="107" y="129"/>
                        <a:pt x="107" y="129"/>
                        <a:pt x="107" y="129"/>
                      </a:cubicBezTo>
                      <a:cubicBezTo>
                        <a:pt x="109" y="127"/>
                        <a:pt x="109" y="127"/>
                        <a:pt x="109" y="127"/>
                      </a:cubicBezTo>
                      <a:cubicBezTo>
                        <a:pt x="109" y="125"/>
                        <a:pt x="109" y="125"/>
                        <a:pt x="109" y="125"/>
                      </a:cubicBezTo>
                      <a:cubicBezTo>
                        <a:pt x="111" y="123"/>
                        <a:pt x="111" y="123"/>
                        <a:pt x="111" y="123"/>
                      </a:cubicBezTo>
                      <a:cubicBezTo>
                        <a:pt x="111" y="124"/>
                        <a:pt x="111" y="124"/>
                        <a:pt x="111" y="124"/>
                      </a:cubicBezTo>
                      <a:cubicBezTo>
                        <a:pt x="111" y="126"/>
                        <a:pt x="111" y="126"/>
                        <a:pt x="111" y="126"/>
                      </a:cubicBezTo>
                      <a:cubicBezTo>
                        <a:pt x="111" y="127"/>
                        <a:pt x="111" y="127"/>
                        <a:pt x="111" y="127"/>
                      </a:cubicBezTo>
                      <a:cubicBezTo>
                        <a:pt x="111" y="127"/>
                        <a:pt x="111" y="127"/>
                        <a:pt x="111" y="127"/>
                      </a:cubicBezTo>
                      <a:cubicBezTo>
                        <a:pt x="111" y="129"/>
                        <a:pt x="111" y="129"/>
                        <a:pt x="111" y="129"/>
                      </a:cubicBezTo>
                      <a:cubicBezTo>
                        <a:pt x="110" y="131"/>
                        <a:pt x="110" y="131"/>
                        <a:pt x="110" y="131"/>
                      </a:cubicBezTo>
                      <a:cubicBezTo>
                        <a:pt x="108" y="132"/>
                        <a:pt x="108" y="132"/>
                        <a:pt x="108" y="132"/>
                      </a:cubicBezTo>
                      <a:cubicBezTo>
                        <a:pt x="109" y="132"/>
                        <a:pt x="109" y="132"/>
                        <a:pt x="109" y="132"/>
                      </a:cubicBezTo>
                      <a:cubicBezTo>
                        <a:pt x="110" y="132"/>
                        <a:pt x="110" y="132"/>
                        <a:pt x="110" y="132"/>
                      </a:cubicBezTo>
                      <a:cubicBezTo>
                        <a:pt x="111" y="132"/>
                        <a:pt x="111" y="132"/>
                        <a:pt x="111" y="132"/>
                      </a:cubicBezTo>
                      <a:cubicBezTo>
                        <a:pt x="112" y="132"/>
                        <a:pt x="112" y="132"/>
                        <a:pt x="112" y="132"/>
                      </a:cubicBezTo>
                      <a:cubicBezTo>
                        <a:pt x="112" y="132"/>
                        <a:pt x="112" y="132"/>
                        <a:pt x="112" y="132"/>
                      </a:cubicBezTo>
                      <a:cubicBezTo>
                        <a:pt x="113" y="131"/>
                        <a:pt x="113" y="131"/>
                        <a:pt x="113" y="131"/>
                      </a:cubicBezTo>
                      <a:cubicBezTo>
                        <a:pt x="114" y="131"/>
                        <a:pt x="114" y="131"/>
                        <a:pt x="114" y="131"/>
                      </a:cubicBezTo>
                      <a:cubicBezTo>
                        <a:pt x="115" y="131"/>
                        <a:pt x="115" y="131"/>
                        <a:pt x="115" y="131"/>
                      </a:cubicBezTo>
                      <a:cubicBezTo>
                        <a:pt x="114" y="132"/>
                        <a:pt x="114" y="132"/>
                        <a:pt x="114" y="132"/>
                      </a:cubicBezTo>
                      <a:cubicBezTo>
                        <a:pt x="114" y="132"/>
                        <a:pt x="114" y="132"/>
                        <a:pt x="114" y="132"/>
                      </a:cubicBezTo>
                      <a:cubicBezTo>
                        <a:pt x="113" y="132"/>
                        <a:pt x="113" y="132"/>
                        <a:pt x="113" y="132"/>
                      </a:cubicBezTo>
                      <a:cubicBezTo>
                        <a:pt x="113" y="133"/>
                        <a:pt x="113" y="133"/>
                        <a:pt x="113" y="133"/>
                      </a:cubicBezTo>
                      <a:cubicBezTo>
                        <a:pt x="114" y="134"/>
                        <a:pt x="114" y="134"/>
                        <a:pt x="114" y="134"/>
                      </a:cubicBezTo>
                      <a:cubicBezTo>
                        <a:pt x="114" y="135"/>
                        <a:pt x="114" y="135"/>
                        <a:pt x="114" y="135"/>
                      </a:cubicBezTo>
                      <a:cubicBezTo>
                        <a:pt x="115" y="136"/>
                        <a:pt x="115" y="136"/>
                        <a:pt x="115" y="136"/>
                      </a:cubicBezTo>
                      <a:cubicBezTo>
                        <a:pt x="115" y="138"/>
                        <a:pt x="115" y="138"/>
                        <a:pt x="115" y="138"/>
                      </a:cubicBezTo>
                      <a:cubicBezTo>
                        <a:pt x="114" y="140"/>
                        <a:pt x="114" y="140"/>
                        <a:pt x="114" y="140"/>
                      </a:cubicBezTo>
                      <a:cubicBezTo>
                        <a:pt x="113" y="141"/>
                        <a:pt x="113" y="141"/>
                        <a:pt x="113" y="141"/>
                      </a:cubicBezTo>
                      <a:cubicBezTo>
                        <a:pt x="113" y="142"/>
                        <a:pt x="113" y="142"/>
                        <a:pt x="113" y="142"/>
                      </a:cubicBezTo>
                      <a:cubicBezTo>
                        <a:pt x="113" y="143"/>
                        <a:pt x="113" y="143"/>
                        <a:pt x="113" y="143"/>
                      </a:cubicBezTo>
                      <a:cubicBezTo>
                        <a:pt x="114" y="144"/>
                        <a:pt x="114" y="144"/>
                        <a:pt x="114" y="144"/>
                      </a:cubicBezTo>
                      <a:cubicBezTo>
                        <a:pt x="115" y="145"/>
                        <a:pt x="115" y="145"/>
                        <a:pt x="115" y="145"/>
                      </a:cubicBezTo>
                      <a:cubicBezTo>
                        <a:pt x="115" y="146"/>
                        <a:pt x="115" y="146"/>
                        <a:pt x="115" y="146"/>
                      </a:cubicBezTo>
                      <a:cubicBezTo>
                        <a:pt x="117" y="148"/>
                        <a:pt x="117" y="148"/>
                        <a:pt x="117" y="148"/>
                      </a:cubicBezTo>
                      <a:cubicBezTo>
                        <a:pt x="118" y="149"/>
                        <a:pt x="118" y="149"/>
                        <a:pt x="118" y="149"/>
                      </a:cubicBezTo>
                      <a:cubicBezTo>
                        <a:pt x="119" y="149"/>
                        <a:pt x="119" y="149"/>
                        <a:pt x="119" y="149"/>
                      </a:cubicBezTo>
                      <a:cubicBezTo>
                        <a:pt x="119" y="150"/>
                        <a:pt x="119" y="150"/>
                        <a:pt x="119" y="150"/>
                      </a:cubicBezTo>
                      <a:cubicBezTo>
                        <a:pt x="120" y="150"/>
                        <a:pt x="120" y="150"/>
                        <a:pt x="120" y="150"/>
                      </a:cubicBezTo>
                      <a:cubicBezTo>
                        <a:pt x="121" y="150"/>
                        <a:pt x="121" y="150"/>
                        <a:pt x="121" y="150"/>
                      </a:cubicBezTo>
                      <a:cubicBezTo>
                        <a:pt x="121" y="150"/>
                        <a:pt x="121" y="150"/>
                        <a:pt x="121" y="150"/>
                      </a:cubicBezTo>
                      <a:cubicBezTo>
                        <a:pt x="122" y="150"/>
                        <a:pt x="122" y="150"/>
                        <a:pt x="122" y="150"/>
                      </a:cubicBezTo>
                      <a:cubicBezTo>
                        <a:pt x="123" y="151"/>
                        <a:pt x="123" y="151"/>
                        <a:pt x="123" y="151"/>
                      </a:cubicBezTo>
                      <a:cubicBezTo>
                        <a:pt x="125" y="151"/>
                        <a:pt x="125" y="151"/>
                        <a:pt x="125" y="151"/>
                      </a:cubicBezTo>
                      <a:cubicBezTo>
                        <a:pt x="126" y="152"/>
                        <a:pt x="126" y="152"/>
                        <a:pt x="126" y="152"/>
                      </a:cubicBezTo>
                      <a:cubicBezTo>
                        <a:pt x="126" y="153"/>
                        <a:pt x="126" y="153"/>
                        <a:pt x="126" y="153"/>
                      </a:cubicBezTo>
                      <a:cubicBezTo>
                        <a:pt x="127" y="153"/>
                        <a:pt x="127" y="153"/>
                        <a:pt x="127" y="153"/>
                      </a:cubicBezTo>
                      <a:cubicBezTo>
                        <a:pt x="128" y="155"/>
                        <a:pt x="128" y="155"/>
                        <a:pt x="128" y="155"/>
                      </a:cubicBezTo>
                      <a:cubicBezTo>
                        <a:pt x="128" y="155"/>
                        <a:pt x="128" y="155"/>
                        <a:pt x="128" y="155"/>
                      </a:cubicBezTo>
                      <a:cubicBezTo>
                        <a:pt x="129" y="154"/>
                        <a:pt x="129" y="154"/>
                        <a:pt x="129" y="154"/>
                      </a:cubicBezTo>
                      <a:cubicBezTo>
                        <a:pt x="131" y="153"/>
                        <a:pt x="131" y="153"/>
                        <a:pt x="131" y="153"/>
                      </a:cubicBezTo>
                      <a:cubicBezTo>
                        <a:pt x="131" y="152"/>
                        <a:pt x="131" y="152"/>
                        <a:pt x="131" y="152"/>
                      </a:cubicBezTo>
                      <a:cubicBezTo>
                        <a:pt x="132" y="152"/>
                        <a:pt x="132" y="152"/>
                        <a:pt x="132" y="152"/>
                      </a:cubicBezTo>
                      <a:cubicBezTo>
                        <a:pt x="134" y="151"/>
                        <a:pt x="134" y="151"/>
                        <a:pt x="134" y="151"/>
                      </a:cubicBezTo>
                      <a:cubicBezTo>
                        <a:pt x="134" y="151"/>
                        <a:pt x="134" y="151"/>
                        <a:pt x="134" y="151"/>
                      </a:cubicBezTo>
                      <a:cubicBezTo>
                        <a:pt x="135" y="151"/>
                        <a:pt x="135" y="151"/>
                        <a:pt x="135" y="151"/>
                      </a:cubicBezTo>
                      <a:cubicBezTo>
                        <a:pt x="135" y="151"/>
                        <a:pt x="135" y="151"/>
                        <a:pt x="135" y="151"/>
                      </a:cubicBezTo>
                      <a:cubicBezTo>
                        <a:pt x="134" y="150"/>
                        <a:pt x="134" y="150"/>
                        <a:pt x="134" y="150"/>
                      </a:cubicBezTo>
                      <a:cubicBezTo>
                        <a:pt x="134" y="150"/>
                        <a:pt x="134" y="150"/>
                        <a:pt x="134" y="150"/>
                      </a:cubicBezTo>
                      <a:cubicBezTo>
                        <a:pt x="136" y="149"/>
                        <a:pt x="136" y="149"/>
                        <a:pt x="136" y="149"/>
                      </a:cubicBezTo>
                      <a:cubicBezTo>
                        <a:pt x="137" y="150"/>
                        <a:pt x="137" y="150"/>
                        <a:pt x="137" y="150"/>
                      </a:cubicBezTo>
                      <a:cubicBezTo>
                        <a:pt x="137" y="151"/>
                        <a:pt x="137" y="151"/>
                        <a:pt x="137" y="151"/>
                      </a:cubicBezTo>
                      <a:cubicBezTo>
                        <a:pt x="135" y="151"/>
                        <a:pt x="135" y="151"/>
                        <a:pt x="135" y="151"/>
                      </a:cubicBezTo>
                      <a:cubicBezTo>
                        <a:pt x="136" y="152"/>
                        <a:pt x="136" y="152"/>
                        <a:pt x="136" y="152"/>
                      </a:cubicBezTo>
                      <a:cubicBezTo>
                        <a:pt x="136" y="152"/>
                        <a:pt x="136" y="152"/>
                        <a:pt x="136" y="152"/>
                      </a:cubicBezTo>
                      <a:cubicBezTo>
                        <a:pt x="137" y="152"/>
                        <a:pt x="137" y="152"/>
                        <a:pt x="137" y="152"/>
                      </a:cubicBezTo>
                      <a:cubicBezTo>
                        <a:pt x="138" y="151"/>
                        <a:pt x="138" y="151"/>
                        <a:pt x="138" y="151"/>
                      </a:cubicBezTo>
                      <a:cubicBezTo>
                        <a:pt x="139" y="152"/>
                        <a:pt x="139" y="152"/>
                        <a:pt x="139" y="152"/>
                      </a:cubicBezTo>
                      <a:cubicBezTo>
                        <a:pt x="139" y="153"/>
                        <a:pt x="139" y="153"/>
                        <a:pt x="139" y="153"/>
                      </a:cubicBezTo>
                      <a:cubicBezTo>
                        <a:pt x="138" y="153"/>
                        <a:pt x="138" y="153"/>
                        <a:pt x="138" y="153"/>
                      </a:cubicBezTo>
                      <a:cubicBezTo>
                        <a:pt x="137" y="153"/>
                        <a:pt x="137" y="153"/>
                        <a:pt x="137" y="153"/>
                      </a:cubicBezTo>
                      <a:cubicBezTo>
                        <a:pt x="139" y="155"/>
                        <a:pt x="139" y="155"/>
                        <a:pt x="139" y="155"/>
                      </a:cubicBezTo>
                      <a:cubicBezTo>
                        <a:pt x="139" y="156"/>
                        <a:pt x="139" y="156"/>
                        <a:pt x="139" y="156"/>
                      </a:cubicBezTo>
                      <a:cubicBezTo>
                        <a:pt x="139" y="156"/>
                        <a:pt x="139" y="156"/>
                        <a:pt x="139" y="156"/>
                      </a:cubicBezTo>
                      <a:cubicBezTo>
                        <a:pt x="140" y="156"/>
                        <a:pt x="140" y="156"/>
                        <a:pt x="140" y="156"/>
                      </a:cubicBezTo>
                      <a:cubicBezTo>
                        <a:pt x="140" y="157"/>
                        <a:pt x="140" y="157"/>
                        <a:pt x="140" y="157"/>
                      </a:cubicBezTo>
                      <a:cubicBezTo>
                        <a:pt x="141" y="158"/>
                        <a:pt x="141" y="158"/>
                        <a:pt x="141" y="158"/>
                      </a:cubicBezTo>
                      <a:cubicBezTo>
                        <a:pt x="142" y="157"/>
                        <a:pt x="142" y="157"/>
                        <a:pt x="142" y="157"/>
                      </a:cubicBezTo>
                      <a:cubicBezTo>
                        <a:pt x="141" y="155"/>
                        <a:pt x="141" y="155"/>
                        <a:pt x="141" y="155"/>
                      </a:cubicBezTo>
                      <a:cubicBezTo>
                        <a:pt x="141" y="156"/>
                        <a:pt x="141" y="156"/>
                        <a:pt x="141" y="156"/>
                      </a:cubicBezTo>
                      <a:cubicBezTo>
                        <a:pt x="141" y="155"/>
                        <a:pt x="141" y="155"/>
                        <a:pt x="141" y="155"/>
                      </a:cubicBezTo>
                      <a:cubicBezTo>
                        <a:pt x="141" y="155"/>
                        <a:pt x="141" y="155"/>
                        <a:pt x="141" y="155"/>
                      </a:cubicBezTo>
                      <a:cubicBezTo>
                        <a:pt x="143" y="155"/>
                        <a:pt x="143" y="155"/>
                        <a:pt x="143" y="155"/>
                      </a:cubicBezTo>
                      <a:cubicBezTo>
                        <a:pt x="144" y="155"/>
                        <a:pt x="144" y="155"/>
                        <a:pt x="144" y="155"/>
                      </a:cubicBezTo>
                      <a:cubicBezTo>
                        <a:pt x="144" y="155"/>
                        <a:pt x="144" y="155"/>
                        <a:pt x="144" y="155"/>
                      </a:cubicBezTo>
                      <a:cubicBezTo>
                        <a:pt x="145" y="153"/>
                        <a:pt x="145" y="153"/>
                        <a:pt x="145" y="153"/>
                      </a:cubicBezTo>
                      <a:cubicBezTo>
                        <a:pt x="148" y="152"/>
                        <a:pt x="148" y="152"/>
                        <a:pt x="148" y="152"/>
                      </a:cubicBezTo>
                      <a:cubicBezTo>
                        <a:pt x="149" y="151"/>
                        <a:pt x="149" y="151"/>
                        <a:pt x="149" y="151"/>
                      </a:cubicBezTo>
                      <a:cubicBezTo>
                        <a:pt x="148" y="151"/>
                        <a:pt x="148" y="151"/>
                        <a:pt x="148" y="151"/>
                      </a:cubicBezTo>
                      <a:cubicBezTo>
                        <a:pt x="148" y="151"/>
                        <a:pt x="148" y="151"/>
                        <a:pt x="148" y="151"/>
                      </a:cubicBezTo>
                      <a:cubicBezTo>
                        <a:pt x="148" y="151"/>
                        <a:pt x="148" y="151"/>
                        <a:pt x="148" y="151"/>
                      </a:cubicBezTo>
                      <a:cubicBezTo>
                        <a:pt x="147" y="151"/>
                        <a:pt x="147" y="151"/>
                        <a:pt x="147" y="151"/>
                      </a:cubicBezTo>
                      <a:cubicBezTo>
                        <a:pt x="148" y="151"/>
                        <a:pt x="148" y="151"/>
                        <a:pt x="148" y="151"/>
                      </a:cubicBezTo>
                      <a:cubicBezTo>
                        <a:pt x="149" y="151"/>
                        <a:pt x="149" y="151"/>
                        <a:pt x="149" y="151"/>
                      </a:cubicBezTo>
                      <a:cubicBezTo>
                        <a:pt x="151" y="150"/>
                        <a:pt x="151" y="150"/>
                        <a:pt x="151" y="150"/>
                      </a:cubicBezTo>
                      <a:cubicBezTo>
                        <a:pt x="155" y="149"/>
                        <a:pt x="155" y="149"/>
                        <a:pt x="155" y="149"/>
                      </a:cubicBezTo>
                      <a:cubicBezTo>
                        <a:pt x="158" y="150"/>
                        <a:pt x="158" y="150"/>
                        <a:pt x="158" y="150"/>
                      </a:cubicBezTo>
                      <a:cubicBezTo>
                        <a:pt x="159" y="149"/>
                        <a:pt x="159" y="149"/>
                        <a:pt x="159" y="149"/>
                      </a:cubicBezTo>
                      <a:cubicBezTo>
                        <a:pt x="159" y="149"/>
                        <a:pt x="159" y="149"/>
                        <a:pt x="159" y="149"/>
                      </a:cubicBezTo>
                      <a:cubicBezTo>
                        <a:pt x="160" y="149"/>
                        <a:pt x="160" y="149"/>
                        <a:pt x="160" y="149"/>
                      </a:cubicBezTo>
                      <a:cubicBezTo>
                        <a:pt x="161" y="148"/>
                        <a:pt x="161" y="148"/>
                        <a:pt x="161" y="148"/>
                      </a:cubicBezTo>
                      <a:cubicBezTo>
                        <a:pt x="162" y="146"/>
                        <a:pt x="162" y="146"/>
                        <a:pt x="162" y="146"/>
                      </a:cubicBezTo>
                      <a:cubicBezTo>
                        <a:pt x="161" y="145"/>
                        <a:pt x="161" y="145"/>
                        <a:pt x="161" y="145"/>
                      </a:cubicBezTo>
                      <a:cubicBezTo>
                        <a:pt x="161" y="144"/>
                        <a:pt x="161" y="144"/>
                        <a:pt x="161" y="144"/>
                      </a:cubicBezTo>
                      <a:cubicBezTo>
                        <a:pt x="163" y="142"/>
                        <a:pt x="163" y="142"/>
                        <a:pt x="163" y="142"/>
                      </a:cubicBezTo>
                      <a:cubicBezTo>
                        <a:pt x="163" y="140"/>
                        <a:pt x="163" y="140"/>
                        <a:pt x="163" y="140"/>
                      </a:cubicBezTo>
                      <a:cubicBezTo>
                        <a:pt x="164" y="139"/>
                        <a:pt x="164" y="139"/>
                        <a:pt x="164" y="139"/>
                      </a:cubicBezTo>
                      <a:cubicBezTo>
                        <a:pt x="164" y="137"/>
                        <a:pt x="164" y="137"/>
                        <a:pt x="164" y="137"/>
                      </a:cubicBezTo>
                      <a:cubicBezTo>
                        <a:pt x="165" y="137"/>
                        <a:pt x="165" y="137"/>
                        <a:pt x="165" y="137"/>
                      </a:cubicBezTo>
                      <a:cubicBezTo>
                        <a:pt x="165" y="136"/>
                        <a:pt x="165" y="136"/>
                        <a:pt x="165" y="136"/>
                      </a:cubicBezTo>
                      <a:cubicBezTo>
                        <a:pt x="168" y="133"/>
                        <a:pt x="168" y="133"/>
                        <a:pt x="168" y="133"/>
                      </a:cubicBezTo>
                      <a:cubicBezTo>
                        <a:pt x="169" y="133"/>
                        <a:pt x="169" y="133"/>
                        <a:pt x="169" y="133"/>
                      </a:cubicBezTo>
                      <a:cubicBezTo>
                        <a:pt x="169" y="131"/>
                        <a:pt x="169" y="131"/>
                        <a:pt x="169" y="131"/>
                      </a:cubicBezTo>
                      <a:cubicBezTo>
                        <a:pt x="170" y="129"/>
                        <a:pt x="170" y="129"/>
                        <a:pt x="170" y="129"/>
                      </a:cubicBezTo>
                      <a:cubicBezTo>
                        <a:pt x="171" y="128"/>
                        <a:pt x="171" y="128"/>
                        <a:pt x="171" y="128"/>
                      </a:cubicBezTo>
                      <a:cubicBezTo>
                        <a:pt x="172" y="126"/>
                        <a:pt x="172" y="126"/>
                        <a:pt x="172" y="126"/>
                      </a:cubicBezTo>
                      <a:cubicBezTo>
                        <a:pt x="172" y="126"/>
                        <a:pt x="172" y="126"/>
                        <a:pt x="172" y="126"/>
                      </a:cubicBezTo>
                      <a:cubicBezTo>
                        <a:pt x="173" y="125"/>
                        <a:pt x="173" y="125"/>
                        <a:pt x="173" y="125"/>
                      </a:cubicBezTo>
                      <a:cubicBezTo>
                        <a:pt x="174" y="123"/>
                        <a:pt x="174" y="123"/>
                        <a:pt x="174" y="123"/>
                      </a:cubicBezTo>
                      <a:cubicBezTo>
                        <a:pt x="173" y="123"/>
                        <a:pt x="173" y="123"/>
                        <a:pt x="173" y="123"/>
                      </a:cubicBezTo>
                      <a:cubicBezTo>
                        <a:pt x="174" y="122"/>
                        <a:pt x="174" y="122"/>
                        <a:pt x="174" y="122"/>
                      </a:cubicBezTo>
                      <a:cubicBezTo>
                        <a:pt x="175" y="121"/>
                        <a:pt x="175" y="121"/>
                        <a:pt x="175" y="121"/>
                      </a:cubicBezTo>
                      <a:cubicBezTo>
                        <a:pt x="176" y="120"/>
                        <a:pt x="176" y="120"/>
                        <a:pt x="176" y="120"/>
                      </a:cubicBezTo>
                      <a:cubicBezTo>
                        <a:pt x="177" y="119"/>
                        <a:pt x="177" y="119"/>
                        <a:pt x="177" y="119"/>
                      </a:cubicBezTo>
                      <a:cubicBezTo>
                        <a:pt x="178" y="119"/>
                        <a:pt x="178" y="119"/>
                        <a:pt x="178" y="119"/>
                      </a:cubicBezTo>
                      <a:cubicBezTo>
                        <a:pt x="179" y="118"/>
                        <a:pt x="179" y="118"/>
                        <a:pt x="179" y="118"/>
                      </a:cubicBezTo>
                      <a:cubicBezTo>
                        <a:pt x="178" y="118"/>
                        <a:pt x="178" y="118"/>
                        <a:pt x="178" y="118"/>
                      </a:cubicBezTo>
                      <a:cubicBezTo>
                        <a:pt x="178" y="118"/>
                        <a:pt x="178" y="118"/>
                        <a:pt x="178" y="118"/>
                      </a:cubicBezTo>
                      <a:cubicBezTo>
                        <a:pt x="180" y="118"/>
                        <a:pt x="180" y="118"/>
                        <a:pt x="180" y="118"/>
                      </a:cubicBezTo>
                      <a:cubicBezTo>
                        <a:pt x="181" y="117"/>
                        <a:pt x="181" y="117"/>
                        <a:pt x="181" y="117"/>
                      </a:cubicBezTo>
                      <a:cubicBezTo>
                        <a:pt x="181" y="116"/>
                        <a:pt x="181" y="116"/>
                        <a:pt x="181" y="116"/>
                      </a:cubicBezTo>
                      <a:cubicBezTo>
                        <a:pt x="181" y="115"/>
                        <a:pt x="181" y="115"/>
                        <a:pt x="181" y="115"/>
                      </a:cubicBezTo>
                      <a:cubicBezTo>
                        <a:pt x="181" y="114"/>
                        <a:pt x="181" y="114"/>
                        <a:pt x="181" y="114"/>
                      </a:cubicBezTo>
                      <a:cubicBezTo>
                        <a:pt x="183" y="113"/>
                        <a:pt x="183" y="113"/>
                        <a:pt x="183" y="113"/>
                      </a:cubicBezTo>
                      <a:cubicBezTo>
                        <a:pt x="183" y="112"/>
                        <a:pt x="183" y="112"/>
                        <a:pt x="183" y="112"/>
                      </a:cubicBezTo>
                      <a:cubicBezTo>
                        <a:pt x="184" y="112"/>
                        <a:pt x="184" y="112"/>
                        <a:pt x="184" y="112"/>
                      </a:cubicBezTo>
                      <a:cubicBezTo>
                        <a:pt x="185" y="110"/>
                        <a:pt x="185" y="110"/>
                        <a:pt x="185" y="110"/>
                      </a:cubicBezTo>
                      <a:cubicBezTo>
                        <a:pt x="185" y="110"/>
                        <a:pt x="185" y="110"/>
                        <a:pt x="185" y="110"/>
                      </a:cubicBezTo>
                      <a:cubicBezTo>
                        <a:pt x="186" y="108"/>
                        <a:pt x="186" y="108"/>
                        <a:pt x="186" y="108"/>
                      </a:cubicBezTo>
                      <a:cubicBezTo>
                        <a:pt x="185" y="108"/>
                        <a:pt x="185" y="108"/>
                        <a:pt x="185" y="108"/>
                      </a:cubicBezTo>
                      <a:cubicBezTo>
                        <a:pt x="185" y="107"/>
                        <a:pt x="185" y="107"/>
                        <a:pt x="185" y="107"/>
                      </a:cubicBezTo>
                      <a:cubicBezTo>
                        <a:pt x="187" y="104"/>
                        <a:pt x="187" y="104"/>
                        <a:pt x="187" y="104"/>
                      </a:cubicBezTo>
                      <a:cubicBezTo>
                        <a:pt x="187" y="103"/>
                        <a:pt x="187" y="103"/>
                        <a:pt x="187" y="103"/>
                      </a:cubicBezTo>
                      <a:cubicBezTo>
                        <a:pt x="189" y="100"/>
                        <a:pt x="189" y="100"/>
                        <a:pt x="189" y="100"/>
                      </a:cubicBezTo>
                      <a:cubicBezTo>
                        <a:pt x="189" y="99"/>
                        <a:pt x="189" y="99"/>
                        <a:pt x="189" y="99"/>
                      </a:cubicBezTo>
                      <a:cubicBezTo>
                        <a:pt x="190" y="97"/>
                        <a:pt x="190" y="97"/>
                        <a:pt x="190" y="97"/>
                      </a:cubicBezTo>
                      <a:cubicBezTo>
                        <a:pt x="191" y="96"/>
                        <a:pt x="191" y="96"/>
                        <a:pt x="191" y="96"/>
                      </a:cubicBezTo>
                      <a:cubicBezTo>
                        <a:pt x="191" y="95"/>
                        <a:pt x="191" y="95"/>
                        <a:pt x="191" y="95"/>
                      </a:cubicBezTo>
                      <a:cubicBezTo>
                        <a:pt x="191" y="93"/>
                        <a:pt x="191" y="93"/>
                        <a:pt x="191" y="93"/>
                      </a:cubicBezTo>
                      <a:cubicBezTo>
                        <a:pt x="192" y="93"/>
                        <a:pt x="192" y="93"/>
                        <a:pt x="192" y="93"/>
                      </a:cubicBezTo>
                      <a:cubicBezTo>
                        <a:pt x="191" y="91"/>
                        <a:pt x="191" y="91"/>
                        <a:pt x="191" y="91"/>
                      </a:cubicBezTo>
                      <a:cubicBezTo>
                        <a:pt x="191" y="90"/>
                        <a:pt x="191" y="90"/>
                        <a:pt x="191" y="90"/>
                      </a:cubicBezTo>
                      <a:cubicBezTo>
                        <a:pt x="190" y="88"/>
                        <a:pt x="190" y="88"/>
                        <a:pt x="190" y="88"/>
                      </a:cubicBezTo>
                      <a:cubicBezTo>
                        <a:pt x="190" y="87"/>
                        <a:pt x="190" y="87"/>
                        <a:pt x="190" y="87"/>
                      </a:cubicBezTo>
                      <a:cubicBezTo>
                        <a:pt x="190" y="87"/>
                        <a:pt x="190" y="87"/>
                        <a:pt x="190" y="87"/>
                      </a:cubicBezTo>
                      <a:cubicBezTo>
                        <a:pt x="190" y="86"/>
                        <a:pt x="190" y="86"/>
                        <a:pt x="190" y="86"/>
                      </a:cubicBezTo>
                      <a:cubicBezTo>
                        <a:pt x="191" y="85"/>
                        <a:pt x="191" y="85"/>
                        <a:pt x="191" y="85"/>
                      </a:cubicBezTo>
                      <a:cubicBezTo>
                        <a:pt x="191" y="84"/>
                        <a:pt x="191" y="84"/>
                        <a:pt x="191" y="84"/>
                      </a:cubicBezTo>
                      <a:cubicBezTo>
                        <a:pt x="191" y="83"/>
                        <a:pt x="191" y="83"/>
                        <a:pt x="191" y="83"/>
                      </a:cubicBezTo>
                      <a:cubicBezTo>
                        <a:pt x="191" y="81"/>
                        <a:pt x="191" y="81"/>
                        <a:pt x="191" y="81"/>
                      </a:cubicBezTo>
                      <a:cubicBezTo>
                        <a:pt x="192" y="80"/>
                        <a:pt x="192" y="80"/>
                        <a:pt x="192" y="80"/>
                      </a:cubicBezTo>
                      <a:cubicBezTo>
                        <a:pt x="191" y="80"/>
                        <a:pt x="191" y="80"/>
                        <a:pt x="191" y="80"/>
                      </a:cubicBezTo>
                      <a:cubicBezTo>
                        <a:pt x="191" y="79"/>
                        <a:pt x="191" y="79"/>
                        <a:pt x="191" y="79"/>
                      </a:cubicBezTo>
                      <a:cubicBezTo>
                        <a:pt x="191" y="77"/>
                        <a:pt x="191" y="77"/>
                        <a:pt x="191" y="77"/>
                      </a:cubicBezTo>
                      <a:cubicBezTo>
                        <a:pt x="191" y="77"/>
                        <a:pt x="191" y="77"/>
                        <a:pt x="191" y="77"/>
                      </a:cubicBezTo>
                      <a:cubicBezTo>
                        <a:pt x="191" y="76"/>
                        <a:pt x="191" y="76"/>
                        <a:pt x="191" y="76"/>
                      </a:cubicBezTo>
                      <a:cubicBezTo>
                        <a:pt x="190" y="76"/>
                        <a:pt x="190" y="76"/>
                        <a:pt x="190" y="76"/>
                      </a:cubicBezTo>
                      <a:cubicBezTo>
                        <a:pt x="190" y="75"/>
                        <a:pt x="190" y="75"/>
                        <a:pt x="190" y="75"/>
                      </a:cubicBezTo>
                      <a:cubicBezTo>
                        <a:pt x="190" y="74"/>
                        <a:pt x="190" y="74"/>
                        <a:pt x="190" y="74"/>
                      </a:cubicBezTo>
                      <a:cubicBezTo>
                        <a:pt x="189" y="73"/>
                        <a:pt x="189" y="73"/>
                        <a:pt x="189" y="73"/>
                      </a:cubicBezTo>
                      <a:cubicBezTo>
                        <a:pt x="188" y="72"/>
                        <a:pt x="188" y="72"/>
                        <a:pt x="188" y="72"/>
                      </a:cubicBezTo>
                      <a:cubicBezTo>
                        <a:pt x="188" y="70"/>
                        <a:pt x="188" y="70"/>
                        <a:pt x="188" y="70"/>
                      </a:cubicBezTo>
                      <a:cubicBezTo>
                        <a:pt x="187" y="69"/>
                        <a:pt x="187" y="69"/>
                        <a:pt x="187" y="69"/>
                      </a:cubicBezTo>
                      <a:cubicBezTo>
                        <a:pt x="187" y="69"/>
                        <a:pt x="187" y="69"/>
                        <a:pt x="187" y="69"/>
                      </a:cubicBezTo>
                      <a:cubicBezTo>
                        <a:pt x="186" y="70"/>
                        <a:pt x="186" y="70"/>
                        <a:pt x="186" y="70"/>
                      </a:cubicBezTo>
                      <a:cubicBezTo>
                        <a:pt x="185" y="69"/>
                        <a:pt x="185" y="69"/>
                        <a:pt x="185" y="69"/>
                      </a:cubicBezTo>
                      <a:cubicBezTo>
                        <a:pt x="185" y="68"/>
                        <a:pt x="185" y="68"/>
                        <a:pt x="185" y="68"/>
                      </a:cubicBezTo>
                      <a:cubicBezTo>
                        <a:pt x="185" y="68"/>
                        <a:pt x="185" y="68"/>
                        <a:pt x="185" y="68"/>
                      </a:cubicBezTo>
                      <a:cubicBezTo>
                        <a:pt x="184" y="67"/>
                        <a:pt x="184" y="67"/>
                        <a:pt x="184" y="67"/>
                      </a:cubicBezTo>
                      <a:cubicBezTo>
                        <a:pt x="183" y="66"/>
                        <a:pt x="183" y="66"/>
                        <a:pt x="183" y="66"/>
                      </a:cubicBezTo>
                      <a:cubicBezTo>
                        <a:pt x="183" y="66"/>
                        <a:pt x="183" y="66"/>
                        <a:pt x="183" y="66"/>
                      </a:cubicBezTo>
                      <a:cubicBezTo>
                        <a:pt x="183" y="65"/>
                        <a:pt x="183" y="65"/>
                        <a:pt x="183" y="65"/>
                      </a:cubicBezTo>
                      <a:cubicBezTo>
                        <a:pt x="182" y="64"/>
                        <a:pt x="182" y="64"/>
                        <a:pt x="182" y="64"/>
                      </a:cubicBezTo>
                      <a:cubicBezTo>
                        <a:pt x="183" y="63"/>
                        <a:pt x="183" y="63"/>
                        <a:pt x="183" y="63"/>
                      </a:cubicBezTo>
                      <a:cubicBezTo>
                        <a:pt x="184" y="62"/>
                        <a:pt x="184" y="62"/>
                        <a:pt x="184" y="62"/>
                      </a:cubicBezTo>
                      <a:cubicBezTo>
                        <a:pt x="183" y="61"/>
                        <a:pt x="183" y="61"/>
                        <a:pt x="183" y="61"/>
                      </a:cubicBezTo>
                      <a:cubicBezTo>
                        <a:pt x="183" y="60"/>
                        <a:pt x="183" y="60"/>
                        <a:pt x="183" y="60"/>
                      </a:cubicBezTo>
                      <a:cubicBezTo>
                        <a:pt x="183" y="60"/>
                        <a:pt x="183" y="60"/>
                        <a:pt x="183" y="60"/>
                      </a:cubicBezTo>
                      <a:cubicBezTo>
                        <a:pt x="183" y="60"/>
                        <a:pt x="183" y="60"/>
                        <a:pt x="183" y="60"/>
                      </a:cubicBezTo>
                      <a:cubicBezTo>
                        <a:pt x="183" y="61"/>
                        <a:pt x="183" y="61"/>
                        <a:pt x="183" y="61"/>
                      </a:cubicBezTo>
                      <a:cubicBezTo>
                        <a:pt x="182" y="61"/>
                        <a:pt x="182" y="61"/>
                        <a:pt x="182" y="61"/>
                      </a:cubicBezTo>
                      <a:cubicBezTo>
                        <a:pt x="180" y="60"/>
                        <a:pt x="180" y="60"/>
                        <a:pt x="180" y="60"/>
                      </a:cubicBezTo>
                      <a:cubicBezTo>
                        <a:pt x="180" y="58"/>
                        <a:pt x="180" y="58"/>
                        <a:pt x="180" y="58"/>
                      </a:cubicBezTo>
                      <a:cubicBezTo>
                        <a:pt x="179" y="59"/>
                        <a:pt x="179" y="59"/>
                        <a:pt x="179" y="59"/>
                      </a:cubicBezTo>
                      <a:cubicBezTo>
                        <a:pt x="179" y="59"/>
                        <a:pt x="179" y="59"/>
                        <a:pt x="179" y="59"/>
                      </a:cubicBezTo>
                      <a:cubicBezTo>
                        <a:pt x="179" y="60"/>
                        <a:pt x="179" y="60"/>
                        <a:pt x="179" y="60"/>
                      </a:cubicBezTo>
                      <a:cubicBezTo>
                        <a:pt x="180" y="61"/>
                        <a:pt x="180" y="61"/>
                        <a:pt x="180" y="61"/>
                      </a:cubicBezTo>
                      <a:cubicBezTo>
                        <a:pt x="179" y="60"/>
                        <a:pt x="179" y="60"/>
                        <a:pt x="179" y="60"/>
                      </a:cubicBezTo>
                      <a:cubicBezTo>
                        <a:pt x="178" y="61"/>
                        <a:pt x="178" y="61"/>
                        <a:pt x="178" y="61"/>
                      </a:cubicBezTo>
                      <a:cubicBezTo>
                        <a:pt x="178" y="60"/>
                        <a:pt x="178" y="60"/>
                        <a:pt x="178" y="60"/>
                      </a:cubicBezTo>
                      <a:cubicBezTo>
                        <a:pt x="178" y="59"/>
                        <a:pt x="178" y="59"/>
                        <a:pt x="178" y="59"/>
                      </a:cubicBezTo>
                      <a:cubicBezTo>
                        <a:pt x="178" y="57"/>
                        <a:pt x="178" y="57"/>
                        <a:pt x="178" y="57"/>
                      </a:cubicBezTo>
                      <a:cubicBezTo>
                        <a:pt x="178" y="56"/>
                        <a:pt x="178" y="56"/>
                        <a:pt x="178" y="56"/>
                      </a:cubicBezTo>
                      <a:cubicBezTo>
                        <a:pt x="178" y="56"/>
                        <a:pt x="178" y="56"/>
                        <a:pt x="178" y="56"/>
                      </a:cubicBezTo>
                      <a:cubicBezTo>
                        <a:pt x="177" y="55"/>
                        <a:pt x="177" y="55"/>
                        <a:pt x="177" y="55"/>
                      </a:cubicBezTo>
                      <a:cubicBezTo>
                        <a:pt x="177" y="55"/>
                        <a:pt x="177" y="55"/>
                        <a:pt x="177" y="55"/>
                      </a:cubicBezTo>
                      <a:cubicBezTo>
                        <a:pt x="177" y="54"/>
                        <a:pt x="177" y="54"/>
                        <a:pt x="177" y="54"/>
                      </a:cubicBezTo>
                      <a:cubicBezTo>
                        <a:pt x="177" y="53"/>
                        <a:pt x="177" y="53"/>
                        <a:pt x="177" y="53"/>
                      </a:cubicBezTo>
                      <a:cubicBezTo>
                        <a:pt x="175" y="52"/>
                        <a:pt x="175" y="52"/>
                        <a:pt x="175" y="52"/>
                      </a:cubicBezTo>
                      <a:cubicBezTo>
                        <a:pt x="175" y="51"/>
                        <a:pt x="175" y="51"/>
                        <a:pt x="175" y="51"/>
                      </a:cubicBezTo>
                      <a:cubicBezTo>
                        <a:pt x="175" y="50"/>
                        <a:pt x="175" y="50"/>
                        <a:pt x="175" y="50"/>
                      </a:cubicBezTo>
                      <a:cubicBezTo>
                        <a:pt x="176" y="51"/>
                        <a:pt x="176" y="51"/>
                        <a:pt x="176" y="51"/>
                      </a:cubicBezTo>
                      <a:cubicBezTo>
                        <a:pt x="176" y="50"/>
                        <a:pt x="176" y="50"/>
                        <a:pt x="176" y="50"/>
                      </a:cubicBezTo>
                      <a:cubicBezTo>
                        <a:pt x="175" y="48"/>
                        <a:pt x="175" y="48"/>
                        <a:pt x="175" y="48"/>
                      </a:cubicBezTo>
                      <a:cubicBezTo>
                        <a:pt x="175" y="49"/>
                        <a:pt x="175" y="49"/>
                        <a:pt x="175" y="49"/>
                      </a:cubicBezTo>
                      <a:cubicBezTo>
                        <a:pt x="174" y="49"/>
                        <a:pt x="174" y="49"/>
                        <a:pt x="174" y="49"/>
                      </a:cubicBezTo>
                      <a:cubicBezTo>
                        <a:pt x="173" y="47"/>
                        <a:pt x="173" y="47"/>
                        <a:pt x="173" y="47"/>
                      </a:cubicBezTo>
                      <a:cubicBezTo>
                        <a:pt x="172" y="47"/>
                        <a:pt x="172" y="47"/>
                        <a:pt x="172" y="47"/>
                      </a:cubicBezTo>
                      <a:cubicBezTo>
                        <a:pt x="171" y="47"/>
                        <a:pt x="171" y="47"/>
                        <a:pt x="171" y="47"/>
                      </a:cubicBezTo>
                      <a:cubicBezTo>
                        <a:pt x="171" y="47"/>
                        <a:pt x="171" y="47"/>
                        <a:pt x="171" y="47"/>
                      </a:cubicBezTo>
                      <a:cubicBezTo>
                        <a:pt x="170" y="47"/>
                        <a:pt x="170" y="47"/>
                        <a:pt x="170" y="47"/>
                      </a:cubicBezTo>
                      <a:cubicBezTo>
                        <a:pt x="169" y="46"/>
                        <a:pt x="169" y="46"/>
                        <a:pt x="169" y="46"/>
                      </a:cubicBezTo>
                      <a:cubicBezTo>
                        <a:pt x="169" y="47"/>
                        <a:pt x="169" y="47"/>
                        <a:pt x="169" y="47"/>
                      </a:cubicBezTo>
                      <a:cubicBezTo>
                        <a:pt x="169" y="46"/>
                        <a:pt x="169" y="46"/>
                        <a:pt x="169" y="46"/>
                      </a:cubicBezTo>
                      <a:cubicBezTo>
                        <a:pt x="170" y="46"/>
                        <a:pt x="170" y="46"/>
                        <a:pt x="170" y="46"/>
                      </a:cubicBezTo>
                      <a:cubicBezTo>
                        <a:pt x="170" y="45"/>
                        <a:pt x="170" y="45"/>
                        <a:pt x="170" y="45"/>
                      </a:cubicBezTo>
                      <a:cubicBezTo>
                        <a:pt x="170" y="45"/>
                        <a:pt x="170" y="45"/>
                        <a:pt x="170" y="45"/>
                      </a:cubicBezTo>
                      <a:cubicBezTo>
                        <a:pt x="169" y="45"/>
                        <a:pt x="169" y="45"/>
                        <a:pt x="169" y="45"/>
                      </a:cubicBezTo>
                      <a:cubicBezTo>
                        <a:pt x="168" y="45"/>
                        <a:pt x="168" y="45"/>
                        <a:pt x="168" y="45"/>
                      </a:cubicBezTo>
                      <a:cubicBezTo>
                        <a:pt x="168" y="44"/>
                        <a:pt x="168" y="44"/>
                        <a:pt x="168" y="44"/>
                      </a:cubicBezTo>
                      <a:cubicBezTo>
                        <a:pt x="167" y="44"/>
                        <a:pt x="167" y="44"/>
                        <a:pt x="167" y="44"/>
                      </a:cubicBezTo>
                      <a:cubicBezTo>
                        <a:pt x="165" y="43"/>
                        <a:pt x="165" y="43"/>
                        <a:pt x="165" y="43"/>
                      </a:cubicBezTo>
                      <a:cubicBezTo>
                        <a:pt x="164" y="42"/>
                        <a:pt x="164" y="42"/>
                        <a:pt x="164" y="42"/>
                      </a:cubicBezTo>
                      <a:cubicBezTo>
                        <a:pt x="164" y="40"/>
                        <a:pt x="164" y="40"/>
                        <a:pt x="164" y="40"/>
                      </a:cubicBezTo>
                      <a:cubicBezTo>
                        <a:pt x="164" y="39"/>
                        <a:pt x="164" y="39"/>
                        <a:pt x="164" y="39"/>
                      </a:cubicBezTo>
                      <a:cubicBezTo>
                        <a:pt x="164" y="38"/>
                        <a:pt x="164" y="38"/>
                        <a:pt x="164" y="38"/>
                      </a:cubicBezTo>
                      <a:cubicBezTo>
                        <a:pt x="164" y="38"/>
                        <a:pt x="164" y="38"/>
                        <a:pt x="164" y="38"/>
                      </a:cubicBezTo>
                      <a:cubicBezTo>
                        <a:pt x="164" y="36"/>
                        <a:pt x="164" y="36"/>
                        <a:pt x="164" y="36"/>
                      </a:cubicBezTo>
                      <a:cubicBezTo>
                        <a:pt x="164" y="34"/>
                        <a:pt x="164" y="34"/>
                        <a:pt x="164" y="34"/>
                      </a:cubicBezTo>
                      <a:cubicBezTo>
                        <a:pt x="163" y="33"/>
                        <a:pt x="163" y="33"/>
                        <a:pt x="163" y="33"/>
                      </a:cubicBezTo>
                      <a:cubicBezTo>
                        <a:pt x="164" y="33"/>
                        <a:pt x="164" y="33"/>
                        <a:pt x="164" y="33"/>
                      </a:cubicBezTo>
                      <a:cubicBezTo>
                        <a:pt x="163" y="32"/>
                        <a:pt x="163" y="32"/>
                        <a:pt x="163" y="32"/>
                      </a:cubicBezTo>
                      <a:cubicBezTo>
                        <a:pt x="163" y="32"/>
                        <a:pt x="163" y="32"/>
                        <a:pt x="163" y="32"/>
                      </a:cubicBezTo>
                      <a:cubicBezTo>
                        <a:pt x="162" y="31"/>
                        <a:pt x="162" y="31"/>
                        <a:pt x="162" y="31"/>
                      </a:cubicBezTo>
                      <a:cubicBezTo>
                        <a:pt x="162" y="28"/>
                        <a:pt x="162" y="28"/>
                        <a:pt x="162" y="28"/>
                      </a:cubicBezTo>
                      <a:cubicBezTo>
                        <a:pt x="162" y="28"/>
                        <a:pt x="162" y="28"/>
                        <a:pt x="162" y="28"/>
                      </a:cubicBezTo>
                      <a:cubicBezTo>
                        <a:pt x="162" y="28"/>
                        <a:pt x="162" y="28"/>
                        <a:pt x="162" y="28"/>
                      </a:cubicBezTo>
                      <a:cubicBezTo>
                        <a:pt x="162" y="27"/>
                        <a:pt x="162" y="27"/>
                        <a:pt x="162" y="27"/>
                      </a:cubicBezTo>
                      <a:cubicBezTo>
                        <a:pt x="161" y="25"/>
                        <a:pt x="161" y="25"/>
                        <a:pt x="161" y="25"/>
                      </a:cubicBezTo>
                      <a:cubicBezTo>
                        <a:pt x="162" y="24"/>
                        <a:pt x="162" y="24"/>
                        <a:pt x="162" y="24"/>
                      </a:cubicBezTo>
                      <a:cubicBezTo>
                        <a:pt x="161" y="23"/>
                        <a:pt x="161" y="23"/>
                        <a:pt x="161" y="23"/>
                      </a:cubicBezTo>
                      <a:cubicBezTo>
                        <a:pt x="162" y="23"/>
                        <a:pt x="162" y="23"/>
                        <a:pt x="162" y="23"/>
                      </a:cubicBezTo>
                      <a:cubicBezTo>
                        <a:pt x="162" y="22"/>
                        <a:pt x="162" y="22"/>
                        <a:pt x="162" y="22"/>
                      </a:cubicBezTo>
                      <a:cubicBezTo>
                        <a:pt x="160" y="21"/>
                        <a:pt x="160" y="21"/>
                        <a:pt x="160" y="21"/>
                      </a:cubicBezTo>
                      <a:cubicBezTo>
                        <a:pt x="159" y="20"/>
                        <a:pt x="159" y="20"/>
                        <a:pt x="159" y="20"/>
                      </a:cubicBezTo>
                      <a:cubicBezTo>
                        <a:pt x="159" y="20"/>
                        <a:pt x="159" y="20"/>
                        <a:pt x="159" y="20"/>
                      </a:cubicBezTo>
                      <a:cubicBezTo>
                        <a:pt x="158" y="19"/>
                        <a:pt x="158" y="19"/>
                        <a:pt x="158" y="19"/>
                      </a:cubicBezTo>
                      <a:cubicBezTo>
                        <a:pt x="157" y="19"/>
                        <a:pt x="157" y="19"/>
                        <a:pt x="157" y="19"/>
                      </a:cubicBezTo>
                      <a:cubicBezTo>
                        <a:pt x="157" y="19"/>
                        <a:pt x="157" y="19"/>
                        <a:pt x="157" y="19"/>
                      </a:cubicBezTo>
                      <a:cubicBezTo>
                        <a:pt x="156" y="20"/>
                        <a:pt x="156" y="20"/>
                        <a:pt x="156" y="20"/>
                      </a:cubicBezTo>
                      <a:cubicBezTo>
                        <a:pt x="156" y="20"/>
                        <a:pt x="156" y="20"/>
                        <a:pt x="156" y="20"/>
                      </a:cubicBezTo>
                      <a:cubicBezTo>
                        <a:pt x="155" y="19"/>
                        <a:pt x="155" y="19"/>
                        <a:pt x="155" y="19"/>
                      </a:cubicBezTo>
                      <a:cubicBezTo>
                        <a:pt x="155" y="18"/>
                        <a:pt x="155" y="18"/>
                        <a:pt x="155" y="18"/>
                      </a:cubicBezTo>
                      <a:cubicBezTo>
                        <a:pt x="154" y="17"/>
                        <a:pt x="154" y="17"/>
                        <a:pt x="154" y="17"/>
                      </a:cubicBezTo>
                      <a:cubicBezTo>
                        <a:pt x="154" y="15"/>
                        <a:pt x="154" y="15"/>
                        <a:pt x="154" y="15"/>
                      </a:cubicBezTo>
                      <a:cubicBezTo>
                        <a:pt x="154" y="13"/>
                        <a:pt x="154" y="13"/>
                        <a:pt x="154" y="13"/>
                      </a:cubicBezTo>
                      <a:cubicBezTo>
                        <a:pt x="154" y="13"/>
                        <a:pt x="154" y="13"/>
                        <a:pt x="154" y="13"/>
                      </a:cubicBezTo>
                      <a:cubicBezTo>
                        <a:pt x="153" y="13"/>
                        <a:pt x="153" y="13"/>
                        <a:pt x="153" y="13"/>
                      </a:cubicBezTo>
                      <a:cubicBezTo>
                        <a:pt x="154" y="12"/>
                        <a:pt x="154" y="12"/>
                        <a:pt x="154" y="12"/>
                      </a:cubicBezTo>
                      <a:cubicBezTo>
                        <a:pt x="153" y="11"/>
                        <a:pt x="153" y="11"/>
                        <a:pt x="153" y="11"/>
                      </a:cubicBezTo>
                      <a:cubicBezTo>
                        <a:pt x="153" y="10"/>
                        <a:pt x="153" y="10"/>
                        <a:pt x="153" y="10"/>
                      </a:cubicBezTo>
                      <a:cubicBezTo>
                        <a:pt x="153" y="10"/>
                        <a:pt x="153" y="10"/>
                        <a:pt x="153" y="10"/>
                      </a:cubicBezTo>
                      <a:cubicBezTo>
                        <a:pt x="153" y="9"/>
                        <a:pt x="153" y="9"/>
                        <a:pt x="153" y="9"/>
                      </a:cubicBezTo>
                      <a:cubicBezTo>
                        <a:pt x="153" y="8"/>
                        <a:pt x="153" y="8"/>
                        <a:pt x="153" y="8"/>
                      </a:cubicBezTo>
                      <a:cubicBezTo>
                        <a:pt x="153" y="8"/>
                        <a:pt x="153" y="8"/>
                        <a:pt x="153" y="8"/>
                      </a:cubicBezTo>
                      <a:cubicBezTo>
                        <a:pt x="152" y="8"/>
                        <a:pt x="152" y="8"/>
                        <a:pt x="152" y="8"/>
                      </a:cubicBezTo>
                      <a:cubicBezTo>
                        <a:pt x="151" y="8"/>
                        <a:pt x="151" y="8"/>
                        <a:pt x="151" y="8"/>
                      </a:cubicBezTo>
                      <a:cubicBezTo>
                        <a:pt x="152" y="6"/>
                        <a:pt x="152" y="6"/>
                        <a:pt x="152" y="6"/>
                      </a:cubicBezTo>
                      <a:cubicBezTo>
                        <a:pt x="151" y="5"/>
                        <a:pt x="151" y="5"/>
                        <a:pt x="151" y="5"/>
                      </a:cubicBezTo>
                      <a:cubicBezTo>
                        <a:pt x="151" y="4"/>
                        <a:pt x="151" y="4"/>
                        <a:pt x="151" y="4"/>
                      </a:cubicBezTo>
                      <a:cubicBezTo>
                        <a:pt x="150" y="4"/>
                        <a:pt x="150" y="4"/>
                        <a:pt x="150" y="4"/>
                      </a:cubicBezTo>
                      <a:cubicBezTo>
                        <a:pt x="150" y="3"/>
                        <a:pt x="150" y="3"/>
                        <a:pt x="150" y="3"/>
                      </a:cubicBezTo>
                      <a:cubicBezTo>
                        <a:pt x="149" y="4"/>
                        <a:pt x="149" y="4"/>
                        <a:pt x="149" y="4"/>
                      </a:cubicBezTo>
                      <a:cubicBezTo>
                        <a:pt x="148" y="4"/>
                        <a:pt x="148" y="4"/>
                        <a:pt x="148" y="4"/>
                      </a:cubicBezTo>
                      <a:cubicBezTo>
                        <a:pt x="148" y="6"/>
                        <a:pt x="148" y="6"/>
                        <a:pt x="148" y="6"/>
                      </a:cubicBezTo>
                      <a:cubicBezTo>
                        <a:pt x="148" y="7"/>
                        <a:pt x="148" y="7"/>
                        <a:pt x="148" y="7"/>
                      </a:cubicBezTo>
                      <a:cubicBezTo>
                        <a:pt x="148" y="7"/>
                        <a:pt x="148" y="7"/>
                        <a:pt x="148" y="7"/>
                      </a:cubicBezTo>
                      <a:cubicBezTo>
                        <a:pt x="148" y="8"/>
                        <a:pt x="148" y="8"/>
                        <a:pt x="148" y="8"/>
                      </a:cubicBezTo>
                      <a:cubicBezTo>
                        <a:pt x="147" y="8"/>
                        <a:pt x="147" y="8"/>
                        <a:pt x="147" y="8"/>
                      </a:cubicBezTo>
                      <a:cubicBezTo>
                        <a:pt x="146" y="10"/>
                        <a:pt x="146" y="10"/>
                        <a:pt x="146" y="10"/>
                      </a:cubicBezTo>
                      <a:cubicBezTo>
                        <a:pt x="146" y="11"/>
                        <a:pt x="146" y="11"/>
                        <a:pt x="146" y="11"/>
                      </a:cubicBezTo>
                      <a:cubicBezTo>
                        <a:pt x="146" y="11"/>
                        <a:pt x="146" y="11"/>
                        <a:pt x="146" y="11"/>
                      </a:cubicBezTo>
                      <a:cubicBezTo>
                        <a:pt x="147" y="12"/>
                        <a:pt x="147" y="12"/>
                        <a:pt x="147" y="12"/>
                      </a:cubicBezTo>
                      <a:cubicBezTo>
                        <a:pt x="147" y="12"/>
                        <a:pt x="147" y="12"/>
                        <a:pt x="147" y="12"/>
                      </a:cubicBezTo>
                      <a:cubicBezTo>
                        <a:pt x="146" y="12"/>
                        <a:pt x="146" y="12"/>
                        <a:pt x="146" y="12"/>
                      </a:cubicBezTo>
                      <a:cubicBezTo>
                        <a:pt x="146" y="13"/>
                        <a:pt x="146" y="13"/>
                        <a:pt x="146" y="13"/>
                      </a:cubicBezTo>
                      <a:cubicBezTo>
                        <a:pt x="145" y="14"/>
                        <a:pt x="145" y="14"/>
                        <a:pt x="145" y="14"/>
                      </a:cubicBezTo>
                      <a:cubicBezTo>
                        <a:pt x="146" y="15"/>
                        <a:pt x="146" y="15"/>
                        <a:pt x="146" y="15"/>
                      </a:cubicBezTo>
                      <a:cubicBezTo>
                        <a:pt x="146" y="16"/>
                        <a:pt x="146" y="16"/>
                        <a:pt x="146" y="16"/>
                      </a:cubicBezTo>
                      <a:cubicBezTo>
                        <a:pt x="145" y="15"/>
                        <a:pt x="145" y="15"/>
                        <a:pt x="145" y="15"/>
                      </a:cubicBezTo>
                      <a:cubicBezTo>
                        <a:pt x="145" y="16"/>
                        <a:pt x="145" y="16"/>
                        <a:pt x="145" y="16"/>
                      </a:cubicBezTo>
                      <a:cubicBezTo>
                        <a:pt x="144" y="18"/>
                        <a:pt x="144" y="18"/>
                        <a:pt x="144" y="18"/>
                      </a:cubicBezTo>
                      <a:cubicBezTo>
                        <a:pt x="145" y="19"/>
                        <a:pt x="145" y="19"/>
                        <a:pt x="145" y="19"/>
                      </a:cubicBezTo>
                      <a:cubicBezTo>
                        <a:pt x="144" y="21"/>
                        <a:pt x="144" y="21"/>
                        <a:pt x="144" y="21"/>
                      </a:cubicBezTo>
                      <a:cubicBezTo>
                        <a:pt x="145" y="22"/>
                        <a:pt x="145" y="22"/>
                        <a:pt x="145" y="22"/>
                      </a:cubicBezTo>
                      <a:cubicBezTo>
                        <a:pt x="145" y="23"/>
                        <a:pt x="145" y="23"/>
                        <a:pt x="145" y="23"/>
                      </a:cubicBezTo>
                      <a:cubicBezTo>
                        <a:pt x="144" y="24"/>
                        <a:pt x="144" y="24"/>
                        <a:pt x="144" y="24"/>
                      </a:cubicBezTo>
                      <a:cubicBezTo>
                        <a:pt x="144" y="25"/>
                        <a:pt x="144" y="25"/>
                        <a:pt x="144" y="25"/>
                      </a:cubicBezTo>
                      <a:cubicBezTo>
                        <a:pt x="143" y="26"/>
                        <a:pt x="143" y="26"/>
                        <a:pt x="143" y="26"/>
                      </a:cubicBezTo>
                      <a:cubicBezTo>
                        <a:pt x="143" y="29"/>
                        <a:pt x="143" y="29"/>
                        <a:pt x="143" y="29"/>
                      </a:cubicBezTo>
                      <a:cubicBezTo>
                        <a:pt x="142" y="30"/>
                        <a:pt x="142" y="30"/>
                        <a:pt x="142" y="30"/>
                      </a:cubicBezTo>
                      <a:cubicBezTo>
                        <a:pt x="142" y="31"/>
                        <a:pt x="142" y="31"/>
                        <a:pt x="142" y="31"/>
                      </a:cubicBezTo>
                      <a:cubicBezTo>
                        <a:pt x="142" y="32"/>
                        <a:pt x="142" y="32"/>
                        <a:pt x="142" y="32"/>
                      </a:cubicBezTo>
                      <a:cubicBezTo>
                        <a:pt x="141" y="33"/>
                        <a:pt x="141" y="33"/>
                        <a:pt x="141" y="33"/>
                      </a:cubicBezTo>
                      <a:cubicBezTo>
                        <a:pt x="141" y="34"/>
                        <a:pt x="141" y="34"/>
                        <a:pt x="141" y="34"/>
                      </a:cubicBezTo>
                      <a:cubicBezTo>
                        <a:pt x="139" y="35"/>
                        <a:pt x="139" y="35"/>
                        <a:pt x="139" y="35"/>
                      </a:cubicBezTo>
                      <a:cubicBezTo>
                        <a:pt x="136" y="36"/>
                        <a:pt x="136" y="36"/>
                        <a:pt x="136" y="36"/>
                      </a:cubicBezTo>
                      <a:cubicBezTo>
                        <a:pt x="135" y="36"/>
                        <a:pt x="135" y="36"/>
                        <a:pt x="135" y="36"/>
                      </a:cubicBezTo>
                      <a:cubicBezTo>
                        <a:pt x="134" y="36"/>
                        <a:pt x="134" y="36"/>
                        <a:pt x="134" y="36"/>
                      </a:cubicBezTo>
                      <a:cubicBezTo>
                        <a:pt x="133" y="35"/>
                        <a:pt x="133" y="35"/>
                        <a:pt x="133" y="35"/>
                      </a:cubicBezTo>
                      <a:cubicBezTo>
                        <a:pt x="132" y="34"/>
                        <a:pt x="132" y="34"/>
                        <a:pt x="132" y="34"/>
                      </a:cubicBezTo>
                      <a:cubicBezTo>
                        <a:pt x="132" y="33"/>
                        <a:pt x="132" y="33"/>
                        <a:pt x="132" y="33"/>
                      </a:cubicBezTo>
                      <a:cubicBezTo>
                        <a:pt x="131" y="33"/>
                        <a:pt x="131" y="33"/>
                        <a:pt x="131" y="33"/>
                      </a:cubicBezTo>
                      <a:cubicBezTo>
                        <a:pt x="131" y="32"/>
                        <a:pt x="131" y="32"/>
                        <a:pt x="131" y="32"/>
                      </a:cubicBezTo>
                      <a:cubicBezTo>
                        <a:pt x="130" y="32"/>
                        <a:pt x="130" y="32"/>
                        <a:pt x="130" y="32"/>
                      </a:cubicBezTo>
                      <a:cubicBezTo>
                        <a:pt x="129" y="32"/>
                        <a:pt x="129" y="32"/>
                        <a:pt x="129" y="32"/>
                      </a:cubicBezTo>
                      <a:cubicBezTo>
                        <a:pt x="128" y="31"/>
                        <a:pt x="128" y="31"/>
                        <a:pt x="128" y="31"/>
                      </a:cubicBezTo>
                      <a:cubicBezTo>
                        <a:pt x="126" y="31"/>
                        <a:pt x="126" y="31"/>
                        <a:pt x="126" y="31"/>
                      </a:cubicBezTo>
                      <a:cubicBezTo>
                        <a:pt x="126" y="30"/>
                        <a:pt x="126" y="30"/>
                        <a:pt x="126" y="30"/>
                      </a:cubicBezTo>
                      <a:cubicBezTo>
                        <a:pt x="125" y="29"/>
                        <a:pt x="125" y="29"/>
                        <a:pt x="125" y="29"/>
                      </a:cubicBezTo>
                      <a:cubicBezTo>
                        <a:pt x="124" y="29"/>
                        <a:pt x="124" y="29"/>
                        <a:pt x="124" y="29"/>
                      </a:cubicBezTo>
                      <a:cubicBezTo>
                        <a:pt x="122" y="28"/>
                        <a:pt x="122" y="28"/>
                        <a:pt x="122" y="28"/>
                      </a:cubicBezTo>
                      <a:cubicBezTo>
                        <a:pt x="122" y="27"/>
                        <a:pt x="122" y="27"/>
                        <a:pt x="122" y="27"/>
                      </a:cubicBezTo>
                      <a:cubicBezTo>
                        <a:pt x="122" y="27"/>
                        <a:pt x="122" y="27"/>
                        <a:pt x="122" y="27"/>
                      </a:cubicBezTo>
                      <a:cubicBezTo>
                        <a:pt x="121" y="27"/>
                        <a:pt x="121" y="27"/>
                        <a:pt x="121" y="27"/>
                      </a:cubicBezTo>
                      <a:cubicBezTo>
                        <a:pt x="120" y="27"/>
                        <a:pt x="120" y="27"/>
                        <a:pt x="120" y="27"/>
                      </a:cubicBezTo>
                      <a:cubicBezTo>
                        <a:pt x="119" y="27"/>
                        <a:pt x="119" y="27"/>
                        <a:pt x="119" y="27"/>
                      </a:cubicBezTo>
                      <a:cubicBezTo>
                        <a:pt x="120" y="26"/>
                        <a:pt x="120" y="26"/>
                        <a:pt x="120" y="26"/>
                      </a:cubicBezTo>
                      <a:cubicBezTo>
                        <a:pt x="118" y="26"/>
                        <a:pt x="118" y="26"/>
                        <a:pt x="118" y="26"/>
                      </a:cubicBezTo>
                      <a:cubicBezTo>
                        <a:pt x="118" y="25"/>
                        <a:pt x="118" y="25"/>
                        <a:pt x="118" y="25"/>
                      </a:cubicBezTo>
                      <a:cubicBezTo>
                        <a:pt x="117" y="24"/>
                        <a:pt x="117" y="24"/>
                        <a:pt x="117" y="24"/>
                      </a:cubicBezTo>
                      <a:cubicBezTo>
                        <a:pt x="116" y="24"/>
                        <a:pt x="116" y="24"/>
                        <a:pt x="116" y="24"/>
                      </a:cubicBezTo>
                      <a:cubicBezTo>
                        <a:pt x="115" y="22"/>
                        <a:pt x="115" y="22"/>
                        <a:pt x="115" y="22"/>
                      </a:cubicBezTo>
                      <a:cubicBezTo>
                        <a:pt x="115" y="21"/>
                        <a:pt x="115" y="21"/>
                        <a:pt x="115" y="21"/>
                      </a:cubicBezTo>
                      <a:cubicBezTo>
                        <a:pt x="116" y="20"/>
                        <a:pt x="116" y="20"/>
                        <a:pt x="116" y="20"/>
                      </a:cubicBezTo>
                      <a:cubicBezTo>
                        <a:pt x="116" y="19"/>
                        <a:pt x="116" y="19"/>
                        <a:pt x="116" y="19"/>
                      </a:cubicBezTo>
                      <a:cubicBezTo>
                        <a:pt x="117" y="18"/>
                        <a:pt x="117" y="18"/>
                        <a:pt x="117" y="18"/>
                      </a:cubicBezTo>
                      <a:cubicBezTo>
                        <a:pt x="117" y="17"/>
                        <a:pt x="117" y="17"/>
                        <a:pt x="117" y="17"/>
                      </a:cubicBezTo>
                      <a:cubicBezTo>
                        <a:pt x="118" y="16"/>
                        <a:pt x="118" y="16"/>
                        <a:pt x="118" y="16"/>
                      </a:cubicBezTo>
                      <a:cubicBezTo>
                        <a:pt x="117" y="17"/>
                        <a:pt x="117" y="17"/>
                        <a:pt x="117" y="17"/>
                      </a:cubicBezTo>
                      <a:cubicBezTo>
                        <a:pt x="116" y="16"/>
                        <a:pt x="116" y="16"/>
                        <a:pt x="116" y="16"/>
                      </a:cubicBezTo>
                      <a:cubicBezTo>
                        <a:pt x="117" y="15"/>
                        <a:pt x="117" y="15"/>
                        <a:pt x="117" y="15"/>
                      </a:cubicBezTo>
                      <a:cubicBezTo>
                        <a:pt x="117" y="14"/>
                        <a:pt x="117" y="14"/>
                        <a:pt x="117" y="14"/>
                      </a:cubicBezTo>
                      <a:cubicBezTo>
                        <a:pt x="118" y="14"/>
                        <a:pt x="118" y="14"/>
                        <a:pt x="118" y="14"/>
                      </a:cubicBezTo>
                      <a:cubicBezTo>
                        <a:pt x="118" y="14"/>
                        <a:pt x="118" y="14"/>
                        <a:pt x="118" y="14"/>
                      </a:cubicBezTo>
                      <a:cubicBezTo>
                        <a:pt x="118" y="14"/>
                        <a:pt x="118" y="14"/>
                        <a:pt x="118" y="14"/>
                      </a:cubicBezTo>
                      <a:cubicBezTo>
                        <a:pt x="119" y="15"/>
                        <a:pt x="119" y="15"/>
                        <a:pt x="119" y="15"/>
                      </a:cubicBezTo>
                      <a:cubicBezTo>
                        <a:pt x="121" y="14"/>
                        <a:pt x="121" y="14"/>
                        <a:pt x="121" y="14"/>
                      </a:cubicBezTo>
                      <a:cubicBezTo>
                        <a:pt x="121" y="13"/>
                        <a:pt x="121" y="13"/>
                        <a:pt x="121" y="13"/>
                      </a:cubicBezTo>
                      <a:cubicBezTo>
                        <a:pt x="120" y="12"/>
                        <a:pt x="120" y="12"/>
                        <a:pt x="120" y="12"/>
                      </a:cubicBezTo>
                      <a:cubicBezTo>
                        <a:pt x="121" y="12"/>
                        <a:pt x="121" y="12"/>
                        <a:pt x="121" y="12"/>
                      </a:cubicBezTo>
                      <a:cubicBezTo>
                        <a:pt x="121" y="12"/>
                        <a:pt x="121" y="12"/>
                        <a:pt x="121" y="12"/>
                      </a:cubicBezTo>
                      <a:cubicBezTo>
                        <a:pt x="122" y="11"/>
                        <a:pt x="122" y="11"/>
                        <a:pt x="122" y="11"/>
                      </a:cubicBezTo>
                      <a:cubicBezTo>
                        <a:pt x="122" y="10"/>
                        <a:pt x="122" y="10"/>
                        <a:pt x="122" y="10"/>
                      </a:cubicBezTo>
                      <a:cubicBezTo>
                        <a:pt x="123" y="10"/>
                        <a:pt x="123" y="10"/>
                        <a:pt x="123" y="10"/>
                      </a:cubicBezTo>
                      <a:cubicBezTo>
                        <a:pt x="123" y="9"/>
                        <a:pt x="123" y="9"/>
                        <a:pt x="123" y="9"/>
                      </a:cubicBezTo>
                      <a:cubicBezTo>
                        <a:pt x="122" y="9"/>
                        <a:pt x="122" y="9"/>
                        <a:pt x="122" y="9"/>
                      </a:cubicBezTo>
                      <a:cubicBezTo>
                        <a:pt x="122" y="9"/>
                        <a:pt x="122" y="9"/>
                        <a:pt x="122" y="9"/>
                      </a:cubicBezTo>
                      <a:cubicBezTo>
                        <a:pt x="121" y="9"/>
                        <a:pt x="121" y="9"/>
                        <a:pt x="121" y="9"/>
                      </a:cubicBezTo>
                      <a:cubicBezTo>
                        <a:pt x="121" y="8"/>
                        <a:pt x="121" y="8"/>
                        <a:pt x="121" y="8"/>
                      </a:cubicBezTo>
                      <a:cubicBezTo>
                        <a:pt x="120" y="8"/>
                        <a:pt x="120" y="8"/>
                        <a:pt x="120" y="8"/>
                      </a:cubicBezTo>
                      <a:cubicBezTo>
                        <a:pt x="119" y="9"/>
                        <a:pt x="119" y="9"/>
                        <a:pt x="119" y="9"/>
                      </a:cubicBezTo>
                      <a:cubicBezTo>
                        <a:pt x="119" y="9"/>
                        <a:pt x="119" y="9"/>
                        <a:pt x="119" y="9"/>
                      </a:cubicBezTo>
                      <a:cubicBezTo>
                        <a:pt x="119" y="10"/>
                        <a:pt x="119" y="10"/>
                        <a:pt x="119" y="10"/>
                      </a:cubicBezTo>
                      <a:cubicBezTo>
                        <a:pt x="119" y="10"/>
                        <a:pt x="119" y="10"/>
                        <a:pt x="119" y="10"/>
                      </a:cubicBezTo>
                      <a:cubicBezTo>
                        <a:pt x="118" y="10"/>
                        <a:pt x="118" y="10"/>
                        <a:pt x="118" y="10"/>
                      </a:cubicBezTo>
                      <a:cubicBezTo>
                        <a:pt x="118" y="9"/>
                        <a:pt x="118" y="9"/>
                        <a:pt x="118" y="9"/>
                      </a:cubicBezTo>
                      <a:cubicBezTo>
                        <a:pt x="117" y="9"/>
                        <a:pt x="117" y="9"/>
                        <a:pt x="117" y="9"/>
                      </a:cubicBezTo>
                      <a:cubicBezTo>
                        <a:pt x="117" y="10"/>
                        <a:pt x="117" y="10"/>
                        <a:pt x="117" y="10"/>
                      </a:cubicBezTo>
                      <a:cubicBezTo>
                        <a:pt x="116" y="10"/>
                        <a:pt x="116" y="10"/>
                        <a:pt x="116" y="10"/>
                      </a:cubicBezTo>
                      <a:cubicBezTo>
                        <a:pt x="116" y="9"/>
                        <a:pt x="116" y="9"/>
                        <a:pt x="116" y="9"/>
                      </a:cubicBezTo>
                      <a:cubicBezTo>
                        <a:pt x="117" y="9"/>
                        <a:pt x="117" y="9"/>
                        <a:pt x="117" y="9"/>
                      </a:cubicBezTo>
                      <a:cubicBezTo>
                        <a:pt x="117" y="8"/>
                        <a:pt x="117" y="8"/>
                        <a:pt x="117" y="8"/>
                      </a:cubicBezTo>
                      <a:cubicBezTo>
                        <a:pt x="116" y="8"/>
                        <a:pt x="116" y="8"/>
                        <a:pt x="116" y="8"/>
                      </a:cubicBezTo>
                      <a:cubicBezTo>
                        <a:pt x="116" y="9"/>
                        <a:pt x="116" y="9"/>
                        <a:pt x="116" y="9"/>
                      </a:cubicBezTo>
                      <a:cubicBezTo>
                        <a:pt x="115" y="9"/>
                        <a:pt x="115" y="9"/>
                        <a:pt x="115" y="9"/>
                      </a:cubicBezTo>
                      <a:cubicBezTo>
                        <a:pt x="115" y="10"/>
                        <a:pt x="115" y="10"/>
                        <a:pt x="115" y="10"/>
                      </a:cubicBezTo>
                      <a:cubicBezTo>
                        <a:pt x="114" y="10"/>
                        <a:pt x="114" y="10"/>
                        <a:pt x="114" y="10"/>
                      </a:cubicBezTo>
                      <a:cubicBezTo>
                        <a:pt x="114" y="9"/>
                        <a:pt x="114" y="9"/>
                        <a:pt x="114" y="9"/>
                      </a:cubicBezTo>
                      <a:cubicBezTo>
                        <a:pt x="113" y="9"/>
                        <a:pt x="113" y="9"/>
                        <a:pt x="113" y="9"/>
                      </a:cubicBezTo>
                      <a:cubicBezTo>
                        <a:pt x="113" y="9"/>
                        <a:pt x="113" y="9"/>
                        <a:pt x="113" y="9"/>
                      </a:cubicBezTo>
                      <a:cubicBezTo>
                        <a:pt x="112" y="8"/>
                        <a:pt x="112" y="8"/>
                        <a:pt x="112" y="8"/>
                      </a:cubicBezTo>
                      <a:cubicBezTo>
                        <a:pt x="112" y="8"/>
                        <a:pt x="112" y="8"/>
                        <a:pt x="112" y="8"/>
                      </a:cubicBezTo>
                      <a:cubicBezTo>
                        <a:pt x="111" y="9"/>
                        <a:pt x="111" y="9"/>
                        <a:pt x="111" y="9"/>
                      </a:cubicBezTo>
                      <a:cubicBezTo>
                        <a:pt x="110" y="8"/>
                        <a:pt x="110" y="8"/>
                        <a:pt x="110" y="8"/>
                      </a:cubicBezTo>
                      <a:cubicBezTo>
                        <a:pt x="109" y="8"/>
                        <a:pt x="109" y="8"/>
                        <a:pt x="109" y="8"/>
                      </a:cubicBezTo>
                      <a:cubicBezTo>
                        <a:pt x="109" y="8"/>
                        <a:pt x="109" y="8"/>
                        <a:pt x="109" y="8"/>
                      </a:cubicBezTo>
                      <a:cubicBezTo>
                        <a:pt x="109" y="8"/>
                        <a:pt x="109" y="8"/>
                        <a:pt x="109" y="8"/>
                      </a:cubicBezTo>
                      <a:cubicBezTo>
                        <a:pt x="108" y="7"/>
                        <a:pt x="108" y="7"/>
                        <a:pt x="108" y="7"/>
                      </a:cubicBezTo>
                      <a:cubicBezTo>
                        <a:pt x="107" y="7"/>
                        <a:pt x="107" y="7"/>
                        <a:pt x="107" y="7"/>
                      </a:cubicBezTo>
                      <a:cubicBezTo>
                        <a:pt x="106" y="7"/>
                        <a:pt x="106" y="7"/>
                        <a:pt x="106" y="7"/>
                      </a:cubicBezTo>
                      <a:cubicBezTo>
                        <a:pt x="105" y="7"/>
                        <a:pt x="105" y="7"/>
                        <a:pt x="105" y="7"/>
                      </a:cubicBezTo>
                      <a:cubicBezTo>
                        <a:pt x="105" y="6"/>
                        <a:pt x="105" y="6"/>
                        <a:pt x="105" y="6"/>
                      </a:cubicBezTo>
                      <a:cubicBezTo>
                        <a:pt x="104" y="5"/>
                        <a:pt x="104" y="5"/>
                        <a:pt x="104" y="5"/>
                      </a:cubicBezTo>
                      <a:cubicBezTo>
                        <a:pt x="104" y="5"/>
                        <a:pt x="104" y="5"/>
                        <a:pt x="104" y="5"/>
                      </a:cubicBezTo>
                      <a:cubicBezTo>
                        <a:pt x="104" y="6"/>
                        <a:pt x="104" y="6"/>
                        <a:pt x="104" y="6"/>
                      </a:cubicBezTo>
                      <a:cubicBezTo>
                        <a:pt x="102" y="6"/>
                        <a:pt x="102" y="6"/>
                        <a:pt x="102" y="6"/>
                      </a:cubicBezTo>
                      <a:cubicBezTo>
                        <a:pt x="102" y="5"/>
                        <a:pt x="102" y="5"/>
                        <a:pt x="102" y="5"/>
                      </a:cubicBezTo>
                      <a:cubicBezTo>
                        <a:pt x="101" y="5"/>
                        <a:pt x="101" y="5"/>
                        <a:pt x="101" y="5"/>
                      </a:cubicBezTo>
                      <a:cubicBezTo>
                        <a:pt x="100" y="4"/>
                        <a:pt x="100" y="4"/>
                        <a:pt x="100" y="4"/>
                      </a:cubicBezTo>
                      <a:cubicBezTo>
                        <a:pt x="100" y="5"/>
                        <a:pt x="100" y="5"/>
                        <a:pt x="100" y="5"/>
                      </a:cubicBezTo>
                      <a:cubicBezTo>
                        <a:pt x="99" y="4"/>
                        <a:pt x="99" y="4"/>
                        <a:pt x="99" y="4"/>
                      </a:cubicBezTo>
                      <a:cubicBezTo>
                        <a:pt x="98" y="5"/>
                        <a:pt x="98" y="5"/>
                        <a:pt x="98" y="5"/>
                      </a:cubicBezTo>
                      <a:cubicBezTo>
                        <a:pt x="99" y="6"/>
                        <a:pt x="99" y="6"/>
                        <a:pt x="99" y="6"/>
                      </a:cubicBezTo>
                      <a:cubicBezTo>
                        <a:pt x="99" y="6"/>
                        <a:pt x="99" y="6"/>
                        <a:pt x="99" y="6"/>
                      </a:cubicBezTo>
                      <a:cubicBezTo>
                        <a:pt x="100" y="6"/>
                        <a:pt x="100" y="6"/>
                        <a:pt x="100" y="6"/>
                      </a:cubicBezTo>
                      <a:cubicBezTo>
                        <a:pt x="101" y="6"/>
                        <a:pt x="101" y="6"/>
                        <a:pt x="101" y="6"/>
                      </a:cubicBezTo>
                      <a:cubicBezTo>
                        <a:pt x="102" y="7"/>
                        <a:pt x="102" y="7"/>
                        <a:pt x="102" y="7"/>
                      </a:cubicBezTo>
                      <a:cubicBezTo>
                        <a:pt x="102" y="7"/>
                        <a:pt x="102" y="7"/>
                        <a:pt x="102" y="7"/>
                      </a:cubicBezTo>
                      <a:cubicBezTo>
                        <a:pt x="102" y="9"/>
                        <a:pt x="102" y="9"/>
                        <a:pt x="102" y="9"/>
                      </a:cubicBezTo>
                      <a:cubicBezTo>
                        <a:pt x="101" y="9"/>
                        <a:pt x="101" y="9"/>
                        <a:pt x="101" y="9"/>
                      </a:cubicBezTo>
                      <a:cubicBezTo>
                        <a:pt x="101" y="10"/>
                        <a:pt x="101" y="10"/>
                        <a:pt x="101" y="10"/>
                      </a:cubicBezTo>
                      <a:cubicBezTo>
                        <a:pt x="101" y="9"/>
                        <a:pt x="101" y="9"/>
                        <a:pt x="101" y="9"/>
                      </a:cubicBezTo>
                      <a:cubicBezTo>
                        <a:pt x="100" y="9"/>
                        <a:pt x="100" y="9"/>
                        <a:pt x="100" y="9"/>
                      </a:cubicBezTo>
                      <a:cubicBezTo>
                        <a:pt x="99" y="9"/>
                        <a:pt x="99" y="9"/>
                        <a:pt x="99" y="9"/>
                      </a:cubicBezTo>
                      <a:cubicBezTo>
                        <a:pt x="96" y="9"/>
                        <a:pt x="96" y="9"/>
                        <a:pt x="96" y="9"/>
                      </a:cubicBezTo>
                      <a:cubicBezTo>
                        <a:pt x="95" y="9"/>
                        <a:pt x="95" y="9"/>
                        <a:pt x="95" y="9"/>
                      </a:cubicBezTo>
                      <a:cubicBezTo>
                        <a:pt x="95" y="9"/>
                        <a:pt x="95" y="9"/>
                        <a:pt x="95" y="9"/>
                      </a:cubicBezTo>
                      <a:cubicBezTo>
                        <a:pt x="94" y="9"/>
                        <a:pt x="94" y="9"/>
                        <a:pt x="94" y="9"/>
                      </a:cubicBezTo>
                      <a:cubicBezTo>
                        <a:pt x="94" y="10"/>
                        <a:pt x="94" y="10"/>
                        <a:pt x="94" y="10"/>
                      </a:cubicBezTo>
                      <a:cubicBezTo>
                        <a:pt x="93" y="10"/>
                        <a:pt x="93" y="10"/>
                        <a:pt x="93" y="10"/>
                      </a:cubicBezTo>
                      <a:cubicBezTo>
                        <a:pt x="94" y="11"/>
                        <a:pt x="94" y="11"/>
                        <a:pt x="94" y="11"/>
                      </a:cubicBezTo>
                      <a:cubicBezTo>
                        <a:pt x="93" y="11"/>
                        <a:pt x="93" y="11"/>
                        <a:pt x="93" y="11"/>
                      </a:cubicBezTo>
                      <a:cubicBezTo>
                        <a:pt x="92" y="10"/>
                        <a:pt x="92" y="10"/>
                        <a:pt x="92" y="10"/>
                      </a:cubicBezTo>
                      <a:cubicBezTo>
                        <a:pt x="92" y="11"/>
                        <a:pt x="92" y="11"/>
                        <a:pt x="92" y="11"/>
                      </a:cubicBezTo>
                      <a:cubicBezTo>
                        <a:pt x="92" y="12"/>
                        <a:pt x="92" y="12"/>
                        <a:pt x="92" y="12"/>
                      </a:cubicBezTo>
                      <a:cubicBezTo>
                        <a:pt x="92" y="12"/>
                        <a:pt x="92" y="12"/>
                        <a:pt x="92" y="12"/>
                      </a:cubicBezTo>
                      <a:cubicBezTo>
                        <a:pt x="91" y="12"/>
                        <a:pt x="91" y="12"/>
                        <a:pt x="91" y="12"/>
                      </a:cubicBezTo>
                      <a:cubicBezTo>
                        <a:pt x="90" y="12"/>
                        <a:pt x="90" y="12"/>
                        <a:pt x="90" y="12"/>
                      </a:cubicBezTo>
                      <a:cubicBezTo>
                        <a:pt x="91" y="13"/>
                        <a:pt x="91" y="13"/>
                        <a:pt x="91" y="13"/>
                      </a:cubicBezTo>
                      <a:cubicBezTo>
                        <a:pt x="90" y="13"/>
                        <a:pt x="90" y="13"/>
                        <a:pt x="90" y="13"/>
                      </a:cubicBezTo>
                      <a:cubicBezTo>
                        <a:pt x="89" y="13"/>
                        <a:pt x="89" y="13"/>
                        <a:pt x="89" y="13"/>
                      </a:cubicBezTo>
                      <a:cubicBezTo>
                        <a:pt x="90" y="14"/>
                        <a:pt x="90" y="14"/>
                        <a:pt x="90" y="14"/>
                      </a:cubicBezTo>
                      <a:cubicBezTo>
                        <a:pt x="90" y="14"/>
                        <a:pt x="90" y="14"/>
                        <a:pt x="90" y="14"/>
                      </a:cubicBezTo>
                      <a:cubicBezTo>
                        <a:pt x="90" y="15"/>
                        <a:pt x="90" y="15"/>
                        <a:pt x="90" y="15"/>
                      </a:cubicBezTo>
                      <a:cubicBezTo>
                        <a:pt x="90" y="15"/>
                        <a:pt x="90" y="15"/>
                        <a:pt x="90" y="15"/>
                      </a:cubicBezTo>
                      <a:cubicBezTo>
                        <a:pt x="89" y="15"/>
                        <a:pt x="89" y="15"/>
                        <a:pt x="89" y="15"/>
                      </a:cubicBezTo>
                      <a:cubicBezTo>
                        <a:pt x="88" y="15"/>
                        <a:pt x="88" y="15"/>
                        <a:pt x="88" y="15"/>
                      </a:cubicBezTo>
                      <a:cubicBezTo>
                        <a:pt x="87" y="16"/>
                        <a:pt x="87" y="16"/>
                        <a:pt x="87" y="16"/>
                      </a:cubicBezTo>
                      <a:cubicBezTo>
                        <a:pt x="86" y="18"/>
                        <a:pt x="86" y="18"/>
                        <a:pt x="86" y="18"/>
                      </a:cubicBezTo>
                      <a:cubicBezTo>
                        <a:pt x="86" y="18"/>
                        <a:pt x="86" y="18"/>
                        <a:pt x="86" y="18"/>
                      </a:cubicBezTo>
                      <a:cubicBezTo>
                        <a:pt x="86" y="19"/>
                        <a:pt x="86" y="19"/>
                        <a:pt x="86" y="19"/>
                      </a:cubicBezTo>
                      <a:cubicBezTo>
                        <a:pt x="85" y="19"/>
                        <a:pt x="85" y="19"/>
                        <a:pt x="85" y="19"/>
                      </a:cubicBezTo>
                      <a:cubicBezTo>
                        <a:pt x="85" y="20"/>
                        <a:pt x="85" y="20"/>
                        <a:pt x="85" y="20"/>
                      </a:cubicBezTo>
                      <a:cubicBezTo>
                        <a:pt x="87" y="20"/>
                        <a:pt x="87" y="20"/>
                        <a:pt x="87" y="20"/>
                      </a:cubicBezTo>
                      <a:cubicBezTo>
                        <a:pt x="86" y="20"/>
                        <a:pt x="86" y="20"/>
                        <a:pt x="86" y="20"/>
                      </a:cubicBezTo>
                      <a:cubicBezTo>
                        <a:pt x="86" y="21"/>
                        <a:pt x="86" y="21"/>
                        <a:pt x="86" y="21"/>
                      </a:cubicBezTo>
                      <a:cubicBezTo>
                        <a:pt x="88" y="22"/>
                        <a:pt x="88" y="22"/>
                        <a:pt x="88" y="22"/>
                      </a:cubicBezTo>
                      <a:cubicBezTo>
                        <a:pt x="87" y="22"/>
                        <a:pt x="87" y="22"/>
                        <a:pt x="87" y="22"/>
                      </a:cubicBezTo>
                      <a:cubicBezTo>
                        <a:pt x="86" y="22"/>
                        <a:pt x="86" y="22"/>
                        <a:pt x="86" y="22"/>
                      </a:cubicBezTo>
                      <a:cubicBezTo>
                        <a:pt x="86" y="21"/>
                        <a:pt x="86" y="21"/>
                        <a:pt x="86" y="21"/>
                      </a:cubicBezTo>
                      <a:cubicBezTo>
                        <a:pt x="86" y="22"/>
                        <a:pt x="86" y="22"/>
                        <a:pt x="86" y="22"/>
                      </a:cubicBezTo>
                      <a:cubicBezTo>
                        <a:pt x="87" y="22"/>
                        <a:pt x="87" y="22"/>
                        <a:pt x="87" y="22"/>
                      </a:cubicBezTo>
                      <a:cubicBezTo>
                        <a:pt x="86" y="23"/>
                        <a:pt x="86" y="23"/>
                        <a:pt x="86" y="23"/>
                      </a:cubicBezTo>
                      <a:cubicBezTo>
                        <a:pt x="87" y="24"/>
                        <a:pt x="87" y="24"/>
                        <a:pt x="87" y="24"/>
                      </a:cubicBezTo>
                      <a:cubicBezTo>
                        <a:pt x="86" y="23"/>
                        <a:pt x="86" y="23"/>
                        <a:pt x="86" y="23"/>
                      </a:cubicBezTo>
                      <a:cubicBezTo>
                        <a:pt x="85" y="22"/>
                        <a:pt x="85" y="22"/>
                        <a:pt x="85" y="22"/>
                      </a:cubicBezTo>
                      <a:cubicBezTo>
                        <a:pt x="84" y="22"/>
                        <a:pt x="84" y="22"/>
                        <a:pt x="84" y="22"/>
                      </a:cubicBezTo>
                      <a:cubicBezTo>
                        <a:pt x="84" y="23"/>
                        <a:pt x="84" y="23"/>
                        <a:pt x="84" y="23"/>
                      </a:cubicBezTo>
                      <a:cubicBezTo>
                        <a:pt x="84" y="23"/>
                        <a:pt x="84" y="23"/>
                        <a:pt x="84" y="23"/>
                      </a:cubicBezTo>
                      <a:cubicBezTo>
                        <a:pt x="84" y="22"/>
                        <a:pt x="84" y="22"/>
                        <a:pt x="84" y="22"/>
                      </a:cubicBezTo>
                      <a:cubicBezTo>
                        <a:pt x="82" y="21"/>
                        <a:pt x="82" y="21"/>
                        <a:pt x="82" y="21"/>
                      </a:cubicBezTo>
                      <a:cubicBezTo>
                        <a:pt x="80" y="22"/>
                        <a:pt x="80" y="22"/>
                        <a:pt x="80" y="22"/>
                      </a:cubicBezTo>
                      <a:cubicBezTo>
                        <a:pt x="81" y="22"/>
                        <a:pt x="81" y="22"/>
                        <a:pt x="81" y="22"/>
                      </a:cubicBezTo>
                      <a:cubicBezTo>
                        <a:pt x="80" y="22"/>
                        <a:pt x="80" y="22"/>
                        <a:pt x="80" y="22"/>
                      </a:cubicBezTo>
                      <a:cubicBezTo>
                        <a:pt x="80" y="22"/>
                        <a:pt x="80" y="22"/>
                        <a:pt x="80" y="22"/>
                      </a:cubicBezTo>
                      <a:cubicBezTo>
                        <a:pt x="79" y="22"/>
                        <a:pt x="79" y="22"/>
                        <a:pt x="79" y="22"/>
                      </a:cubicBezTo>
                      <a:cubicBezTo>
                        <a:pt x="79" y="23"/>
                        <a:pt x="79" y="23"/>
                        <a:pt x="79" y="23"/>
                      </a:cubicBezTo>
                      <a:cubicBezTo>
                        <a:pt x="80" y="23"/>
                        <a:pt x="80" y="23"/>
                        <a:pt x="80" y="23"/>
                      </a:cubicBezTo>
                      <a:cubicBezTo>
                        <a:pt x="80" y="24"/>
                        <a:pt x="80" y="24"/>
                        <a:pt x="80" y="24"/>
                      </a:cubicBezTo>
                      <a:cubicBezTo>
                        <a:pt x="79" y="24"/>
                        <a:pt x="79" y="24"/>
                        <a:pt x="79" y="24"/>
                      </a:cubicBezTo>
                      <a:cubicBezTo>
                        <a:pt x="79" y="24"/>
                        <a:pt x="79" y="24"/>
                        <a:pt x="79" y="24"/>
                      </a:cubicBezTo>
                      <a:cubicBezTo>
                        <a:pt x="79" y="24"/>
                        <a:pt x="79" y="24"/>
                        <a:pt x="79" y="24"/>
                      </a:cubicBezTo>
                      <a:cubicBezTo>
                        <a:pt x="78" y="25"/>
                        <a:pt x="78" y="25"/>
                        <a:pt x="78" y="25"/>
                      </a:cubicBezTo>
                      <a:cubicBezTo>
                        <a:pt x="77" y="25"/>
                        <a:pt x="77" y="25"/>
                        <a:pt x="77" y="25"/>
                      </a:cubicBezTo>
                      <a:cubicBezTo>
                        <a:pt x="78" y="24"/>
                        <a:pt x="78" y="24"/>
                        <a:pt x="78" y="24"/>
                      </a:cubicBezTo>
                      <a:cubicBezTo>
                        <a:pt x="78" y="23"/>
                        <a:pt x="78" y="23"/>
                        <a:pt x="78" y="23"/>
                      </a:cubicBezTo>
                      <a:cubicBezTo>
                        <a:pt x="78" y="22"/>
                        <a:pt x="78" y="22"/>
                        <a:pt x="78" y="22"/>
                      </a:cubicBezTo>
                      <a:cubicBezTo>
                        <a:pt x="79" y="21"/>
                        <a:pt x="79" y="21"/>
                        <a:pt x="79" y="21"/>
                      </a:cubicBezTo>
                      <a:cubicBezTo>
                        <a:pt x="79" y="21"/>
                        <a:pt x="79" y="21"/>
                        <a:pt x="79" y="21"/>
                      </a:cubicBezTo>
                      <a:cubicBezTo>
                        <a:pt x="78" y="21"/>
                        <a:pt x="78" y="21"/>
                        <a:pt x="78" y="21"/>
                      </a:cubicBezTo>
                      <a:cubicBezTo>
                        <a:pt x="76" y="18"/>
                        <a:pt x="76" y="18"/>
                        <a:pt x="76" y="18"/>
                      </a:cubicBezTo>
                      <a:cubicBezTo>
                        <a:pt x="76" y="17"/>
                        <a:pt x="76" y="17"/>
                        <a:pt x="76" y="17"/>
                      </a:cubicBezTo>
                      <a:cubicBezTo>
                        <a:pt x="74" y="17"/>
                        <a:pt x="74" y="17"/>
                        <a:pt x="74" y="17"/>
                      </a:cubicBezTo>
                      <a:cubicBezTo>
                        <a:pt x="73" y="17"/>
                        <a:pt x="73" y="17"/>
                        <a:pt x="73" y="17"/>
                      </a:cubicBezTo>
                      <a:cubicBezTo>
                        <a:pt x="73" y="17"/>
                        <a:pt x="73" y="17"/>
                        <a:pt x="73" y="17"/>
                      </a:cubicBezTo>
                      <a:cubicBezTo>
                        <a:pt x="73" y="17"/>
                        <a:pt x="73" y="17"/>
                        <a:pt x="73" y="17"/>
                      </a:cubicBezTo>
                      <a:cubicBezTo>
                        <a:pt x="73" y="17"/>
                        <a:pt x="73" y="17"/>
                        <a:pt x="73" y="17"/>
                      </a:cubicBezTo>
                      <a:cubicBezTo>
                        <a:pt x="72" y="18"/>
                        <a:pt x="72" y="18"/>
                        <a:pt x="72" y="18"/>
                      </a:cubicBezTo>
                      <a:cubicBezTo>
                        <a:pt x="72" y="18"/>
                        <a:pt x="72" y="18"/>
                        <a:pt x="72" y="18"/>
                      </a:cubicBezTo>
                      <a:cubicBezTo>
                        <a:pt x="72" y="18"/>
                        <a:pt x="72" y="18"/>
                        <a:pt x="72" y="18"/>
                      </a:cubicBezTo>
                      <a:cubicBezTo>
                        <a:pt x="71" y="18"/>
                        <a:pt x="71" y="18"/>
                        <a:pt x="71" y="18"/>
                      </a:cubicBezTo>
                      <a:cubicBezTo>
                        <a:pt x="71" y="19"/>
                        <a:pt x="71" y="19"/>
                        <a:pt x="71" y="19"/>
                      </a:cubicBezTo>
                      <a:cubicBezTo>
                        <a:pt x="70" y="17"/>
                        <a:pt x="70" y="17"/>
                        <a:pt x="70" y="17"/>
                      </a:cubicBezTo>
                      <a:cubicBezTo>
                        <a:pt x="69" y="17"/>
                        <a:pt x="69" y="17"/>
                        <a:pt x="69" y="17"/>
                      </a:cubicBezTo>
                      <a:cubicBezTo>
                        <a:pt x="69" y="18"/>
                        <a:pt x="69" y="18"/>
                        <a:pt x="69" y="18"/>
                      </a:cubicBezTo>
                      <a:cubicBezTo>
                        <a:pt x="70" y="18"/>
                        <a:pt x="70" y="18"/>
                        <a:pt x="70" y="18"/>
                      </a:cubicBezTo>
                      <a:cubicBezTo>
                        <a:pt x="69" y="19"/>
                        <a:pt x="69" y="19"/>
                        <a:pt x="69" y="19"/>
                      </a:cubicBezTo>
                      <a:cubicBezTo>
                        <a:pt x="69" y="20"/>
                        <a:pt x="69" y="20"/>
                        <a:pt x="69" y="20"/>
                      </a:cubicBezTo>
                      <a:cubicBezTo>
                        <a:pt x="69" y="20"/>
                        <a:pt x="69" y="20"/>
                        <a:pt x="69" y="20"/>
                      </a:cubicBezTo>
                      <a:cubicBezTo>
                        <a:pt x="68" y="21"/>
                        <a:pt x="68" y="21"/>
                        <a:pt x="68" y="21"/>
                      </a:cubicBezTo>
                      <a:cubicBezTo>
                        <a:pt x="68" y="20"/>
                        <a:pt x="68" y="20"/>
                        <a:pt x="68" y="20"/>
                      </a:cubicBezTo>
                      <a:cubicBezTo>
                        <a:pt x="67" y="20"/>
                        <a:pt x="67" y="20"/>
                        <a:pt x="67" y="20"/>
                      </a:cubicBezTo>
                      <a:cubicBezTo>
                        <a:pt x="67" y="20"/>
                        <a:pt x="67" y="20"/>
                        <a:pt x="67" y="20"/>
                      </a:cubicBezTo>
                      <a:cubicBezTo>
                        <a:pt x="68" y="19"/>
                        <a:pt x="68" y="19"/>
                        <a:pt x="68" y="19"/>
                      </a:cubicBezTo>
                      <a:cubicBezTo>
                        <a:pt x="67" y="19"/>
                        <a:pt x="67" y="19"/>
                        <a:pt x="67" y="19"/>
                      </a:cubicBezTo>
                      <a:cubicBezTo>
                        <a:pt x="67" y="20"/>
                        <a:pt x="67" y="20"/>
                        <a:pt x="67" y="20"/>
                      </a:cubicBezTo>
                      <a:cubicBezTo>
                        <a:pt x="66" y="20"/>
                        <a:pt x="66" y="20"/>
                        <a:pt x="66" y="20"/>
                      </a:cubicBezTo>
                      <a:cubicBezTo>
                        <a:pt x="65" y="21"/>
                        <a:pt x="65" y="21"/>
                        <a:pt x="65" y="21"/>
                      </a:cubicBezTo>
                      <a:cubicBezTo>
                        <a:pt x="65" y="22"/>
                        <a:pt x="65" y="22"/>
                        <a:pt x="65" y="22"/>
                      </a:cubicBezTo>
                      <a:cubicBezTo>
                        <a:pt x="66" y="22"/>
                        <a:pt x="66" y="22"/>
                        <a:pt x="66" y="22"/>
                      </a:cubicBezTo>
                      <a:cubicBezTo>
                        <a:pt x="65" y="23"/>
                        <a:pt x="65" y="23"/>
                        <a:pt x="65" y="23"/>
                      </a:cubicBezTo>
                      <a:cubicBezTo>
                        <a:pt x="64" y="22"/>
                        <a:pt x="64" y="22"/>
                        <a:pt x="64" y="22"/>
                      </a:cubicBezTo>
                      <a:cubicBezTo>
                        <a:pt x="63" y="23"/>
                        <a:pt x="63" y="23"/>
                        <a:pt x="63" y="23"/>
                      </a:cubicBezTo>
                      <a:cubicBezTo>
                        <a:pt x="63" y="24"/>
                        <a:pt x="63" y="24"/>
                        <a:pt x="63" y="24"/>
                      </a:cubicBezTo>
                      <a:cubicBezTo>
                        <a:pt x="65" y="24"/>
                        <a:pt x="65" y="24"/>
                        <a:pt x="65" y="24"/>
                      </a:cubicBezTo>
                      <a:cubicBezTo>
                        <a:pt x="64" y="25"/>
                        <a:pt x="64" y="25"/>
                        <a:pt x="64" y="25"/>
                      </a:cubicBezTo>
                      <a:cubicBezTo>
                        <a:pt x="64" y="25"/>
                        <a:pt x="64" y="25"/>
                        <a:pt x="64" y="25"/>
                      </a:cubicBezTo>
                      <a:cubicBezTo>
                        <a:pt x="63" y="24"/>
                        <a:pt x="63" y="24"/>
                        <a:pt x="63" y="24"/>
                      </a:cubicBezTo>
                      <a:cubicBezTo>
                        <a:pt x="62" y="25"/>
                        <a:pt x="62" y="25"/>
                        <a:pt x="62" y="25"/>
                      </a:cubicBezTo>
                      <a:cubicBezTo>
                        <a:pt x="61" y="25"/>
                        <a:pt x="61" y="25"/>
                        <a:pt x="61" y="25"/>
                      </a:cubicBezTo>
                      <a:cubicBezTo>
                        <a:pt x="61" y="25"/>
                        <a:pt x="61" y="25"/>
                        <a:pt x="61" y="25"/>
                      </a:cubicBezTo>
                      <a:cubicBezTo>
                        <a:pt x="61" y="26"/>
                        <a:pt x="61" y="26"/>
                        <a:pt x="61" y="26"/>
                      </a:cubicBezTo>
                      <a:cubicBezTo>
                        <a:pt x="61" y="26"/>
                        <a:pt x="61" y="26"/>
                        <a:pt x="61" y="26"/>
                      </a:cubicBezTo>
                      <a:cubicBezTo>
                        <a:pt x="62" y="26"/>
                        <a:pt x="62" y="26"/>
                        <a:pt x="62" y="26"/>
                      </a:cubicBezTo>
                      <a:cubicBezTo>
                        <a:pt x="61" y="27"/>
                        <a:pt x="61" y="27"/>
                        <a:pt x="61" y="27"/>
                      </a:cubicBezTo>
                      <a:cubicBezTo>
                        <a:pt x="62" y="28"/>
                        <a:pt x="62" y="28"/>
                        <a:pt x="62" y="28"/>
                      </a:cubicBezTo>
                      <a:cubicBezTo>
                        <a:pt x="61" y="28"/>
                        <a:pt x="61" y="28"/>
                        <a:pt x="61" y="28"/>
                      </a:cubicBezTo>
                      <a:cubicBezTo>
                        <a:pt x="60" y="29"/>
                        <a:pt x="60" y="29"/>
                        <a:pt x="60" y="29"/>
                      </a:cubicBezTo>
                      <a:cubicBezTo>
                        <a:pt x="62" y="29"/>
                        <a:pt x="62" y="29"/>
                        <a:pt x="62" y="29"/>
                      </a:cubicBezTo>
                      <a:cubicBezTo>
                        <a:pt x="61" y="29"/>
                        <a:pt x="61" y="29"/>
                        <a:pt x="61" y="29"/>
                      </a:cubicBezTo>
                      <a:cubicBezTo>
                        <a:pt x="61" y="30"/>
                        <a:pt x="61" y="30"/>
                        <a:pt x="61" y="30"/>
                      </a:cubicBezTo>
                      <a:cubicBezTo>
                        <a:pt x="60" y="30"/>
                        <a:pt x="60" y="30"/>
                        <a:pt x="60" y="30"/>
                      </a:cubicBezTo>
                      <a:cubicBezTo>
                        <a:pt x="59" y="29"/>
                        <a:pt x="59" y="29"/>
                        <a:pt x="59" y="29"/>
                      </a:cubicBezTo>
                      <a:cubicBezTo>
                        <a:pt x="59" y="29"/>
                        <a:pt x="59" y="29"/>
                        <a:pt x="59" y="29"/>
                      </a:cubicBezTo>
                      <a:cubicBezTo>
                        <a:pt x="58" y="29"/>
                        <a:pt x="58" y="29"/>
                        <a:pt x="58" y="29"/>
                      </a:cubicBezTo>
                      <a:cubicBezTo>
                        <a:pt x="58" y="28"/>
                        <a:pt x="58" y="28"/>
                        <a:pt x="58" y="28"/>
                      </a:cubicBezTo>
                      <a:cubicBezTo>
                        <a:pt x="57" y="28"/>
                        <a:pt x="57" y="28"/>
                        <a:pt x="57" y="28"/>
                      </a:cubicBezTo>
                      <a:cubicBezTo>
                        <a:pt x="56" y="28"/>
                        <a:pt x="56" y="28"/>
                        <a:pt x="56" y="28"/>
                      </a:cubicBezTo>
                      <a:cubicBezTo>
                        <a:pt x="57" y="29"/>
                        <a:pt x="57" y="29"/>
                        <a:pt x="57" y="29"/>
                      </a:cubicBezTo>
                      <a:cubicBezTo>
                        <a:pt x="57" y="29"/>
                        <a:pt x="57" y="29"/>
                        <a:pt x="57" y="29"/>
                      </a:cubicBezTo>
                      <a:cubicBezTo>
                        <a:pt x="56" y="30"/>
                        <a:pt x="56" y="30"/>
                        <a:pt x="56" y="30"/>
                      </a:cubicBezTo>
                      <a:cubicBezTo>
                        <a:pt x="57" y="31"/>
                        <a:pt x="57" y="31"/>
                        <a:pt x="57" y="31"/>
                      </a:cubicBezTo>
                      <a:cubicBezTo>
                        <a:pt x="58" y="31"/>
                        <a:pt x="58" y="31"/>
                        <a:pt x="58" y="31"/>
                      </a:cubicBezTo>
                      <a:cubicBezTo>
                        <a:pt x="58" y="32"/>
                        <a:pt x="58" y="32"/>
                        <a:pt x="58" y="32"/>
                      </a:cubicBezTo>
                      <a:cubicBezTo>
                        <a:pt x="58" y="33"/>
                        <a:pt x="58" y="33"/>
                        <a:pt x="58" y="33"/>
                      </a:cubicBezTo>
                      <a:cubicBezTo>
                        <a:pt x="57" y="32"/>
                        <a:pt x="57" y="32"/>
                        <a:pt x="57" y="32"/>
                      </a:cubicBezTo>
                      <a:cubicBezTo>
                        <a:pt x="57" y="32"/>
                        <a:pt x="57" y="32"/>
                        <a:pt x="57" y="32"/>
                      </a:cubicBezTo>
                      <a:cubicBezTo>
                        <a:pt x="57" y="33"/>
                        <a:pt x="57" y="33"/>
                        <a:pt x="57" y="33"/>
                      </a:cubicBezTo>
                      <a:cubicBezTo>
                        <a:pt x="57" y="34"/>
                        <a:pt x="57" y="34"/>
                        <a:pt x="57" y="34"/>
                      </a:cubicBezTo>
                      <a:cubicBezTo>
                        <a:pt x="56" y="35"/>
                        <a:pt x="56" y="35"/>
                        <a:pt x="56" y="35"/>
                      </a:cubicBezTo>
                      <a:cubicBezTo>
                        <a:pt x="55" y="32"/>
                        <a:pt x="55" y="32"/>
                        <a:pt x="55" y="32"/>
                      </a:cubicBezTo>
                      <a:cubicBezTo>
                        <a:pt x="54" y="30"/>
                        <a:pt x="54" y="30"/>
                        <a:pt x="54" y="30"/>
                      </a:cubicBezTo>
                      <a:cubicBezTo>
                        <a:pt x="53" y="30"/>
                        <a:pt x="53" y="30"/>
                        <a:pt x="53" y="30"/>
                      </a:cubicBezTo>
                      <a:cubicBezTo>
                        <a:pt x="54" y="29"/>
                        <a:pt x="54" y="29"/>
                        <a:pt x="54" y="29"/>
                      </a:cubicBezTo>
                      <a:cubicBezTo>
                        <a:pt x="53" y="29"/>
                        <a:pt x="53" y="29"/>
                        <a:pt x="53" y="29"/>
                      </a:cubicBezTo>
                      <a:cubicBezTo>
                        <a:pt x="52" y="30"/>
                        <a:pt x="52" y="30"/>
                        <a:pt x="52" y="30"/>
                      </a:cubicBezTo>
                      <a:cubicBezTo>
                        <a:pt x="52" y="31"/>
                        <a:pt x="52" y="31"/>
                        <a:pt x="52" y="31"/>
                      </a:cubicBezTo>
                      <a:cubicBezTo>
                        <a:pt x="51" y="31"/>
                        <a:pt x="51" y="31"/>
                        <a:pt x="51" y="31"/>
                      </a:cubicBezTo>
                      <a:cubicBezTo>
                        <a:pt x="51" y="32"/>
                        <a:pt x="51" y="32"/>
                        <a:pt x="51" y="32"/>
                      </a:cubicBezTo>
                      <a:cubicBezTo>
                        <a:pt x="50" y="32"/>
                        <a:pt x="50" y="32"/>
                        <a:pt x="50" y="32"/>
                      </a:cubicBezTo>
                      <a:cubicBezTo>
                        <a:pt x="50" y="32"/>
                        <a:pt x="50" y="32"/>
                        <a:pt x="50" y="32"/>
                      </a:cubicBezTo>
                      <a:cubicBezTo>
                        <a:pt x="49" y="33"/>
                        <a:pt x="49" y="33"/>
                        <a:pt x="49" y="33"/>
                      </a:cubicBezTo>
                      <a:cubicBezTo>
                        <a:pt x="49" y="34"/>
                        <a:pt x="49" y="34"/>
                        <a:pt x="49" y="34"/>
                      </a:cubicBezTo>
                      <a:cubicBezTo>
                        <a:pt x="49" y="36"/>
                        <a:pt x="49" y="36"/>
                        <a:pt x="49" y="36"/>
                      </a:cubicBezTo>
                      <a:cubicBezTo>
                        <a:pt x="50" y="36"/>
                        <a:pt x="50" y="36"/>
                        <a:pt x="50" y="36"/>
                      </a:cubicBezTo>
                      <a:cubicBezTo>
                        <a:pt x="50" y="37"/>
                        <a:pt x="50" y="37"/>
                        <a:pt x="50" y="37"/>
                      </a:cubicBezTo>
                      <a:cubicBezTo>
                        <a:pt x="49" y="38"/>
                        <a:pt x="49" y="38"/>
                        <a:pt x="49" y="38"/>
                      </a:cubicBezTo>
                      <a:cubicBezTo>
                        <a:pt x="48" y="39"/>
                        <a:pt x="48" y="39"/>
                        <a:pt x="48" y="39"/>
                      </a:cubicBezTo>
                      <a:cubicBezTo>
                        <a:pt x="47" y="39"/>
                        <a:pt x="47" y="39"/>
                        <a:pt x="47" y="39"/>
                      </a:cubicBezTo>
                      <a:cubicBezTo>
                        <a:pt x="47" y="39"/>
                        <a:pt x="47" y="39"/>
                        <a:pt x="47" y="39"/>
                      </a:cubicBezTo>
                      <a:cubicBezTo>
                        <a:pt x="46" y="40"/>
                        <a:pt x="46" y="40"/>
                        <a:pt x="46" y="40"/>
                      </a:cubicBezTo>
                      <a:cubicBezTo>
                        <a:pt x="46" y="41"/>
                        <a:pt x="46" y="41"/>
                        <a:pt x="46" y="41"/>
                      </a:cubicBezTo>
                      <a:cubicBezTo>
                        <a:pt x="45" y="42"/>
                        <a:pt x="45" y="42"/>
                        <a:pt x="45" y="42"/>
                      </a:cubicBezTo>
                      <a:cubicBezTo>
                        <a:pt x="44" y="43"/>
                        <a:pt x="44" y="43"/>
                        <a:pt x="44" y="43"/>
                      </a:cubicBezTo>
                      <a:cubicBezTo>
                        <a:pt x="41" y="45"/>
                        <a:pt x="41" y="45"/>
                        <a:pt x="41" y="45"/>
                      </a:cubicBezTo>
                      <a:cubicBezTo>
                        <a:pt x="38" y="45"/>
                        <a:pt x="38" y="45"/>
                        <a:pt x="38" y="45"/>
                      </a:cubicBezTo>
                      <a:cubicBezTo>
                        <a:pt x="37" y="46"/>
                        <a:pt x="37" y="46"/>
                        <a:pt x="37" y="46"/>
                      </a:cubicBezTo>
                      <a:cubicBezTo>
                        <a:pt x="36" y="46"/>
                        <a:pt x="36" y="46"/>
                        <a:pt x="36" y="46"/>
                      </a:cubicBezTo>
                      <a:cubicBezTo>
                        <a:pt x="35" y="46"/>
                        <a:pt x="35" y="46"/>
                        <a:pt x="35" y="46"/>
                      </a:cubicBezTo>
                      <a:cubicBezTo>
                        <a:pt x="34" y="46"/>
                        <a:pt x="34" y="46"/>
                        <a:pt x="34" y="46"/>
                      </a:cubicBezTo>
                      <a:cubicBezTo>
                        <a:pt x="32" y="46"/>
                        <a:pt x="32" y="46"/>
                        <a:pt x="32" y="46"/>
                      </a:cubicBezTo>
                      <a:cubicBezTo>
                        <a:pt x="32" y="47"/>
                        <a:pt x="32" y="47"/>
                        <a:pt x="32" y="47"/>
                      </a:cubicBezTo>
                      <a:cubicBezTo>
                        <a:pt x="31" y="47"/>
                        <a:pt x="31" y="47"/>
                        <a:pt x="31" y="47"/>
                      </a:cubicBezTo>
                      <a:cubicBezTo>
                        <a:pt x="28" y="47"/>
                        <a:pt x="28" y="47"/>
                        <a:pt x="28" y="47"/>
                      </a:cubicBezTo>
                      <a:cubicBezTo>
                        <a:pt x="27" y="48"/>
                        <a:pt x="27" y="48"/>
                        <a:pt x="27" y="48"/>
                      </a:cubicBezTo>
                      <a:cubicBezTo>
                        <a:pt x="27" y="48"/>
                        <a:pt x="27" y="48"/>
                        <a:pt x="27" y="48"/>
                      </a:cubicBezTo>
                      <a:cubicBezTo>
                        <a:pt x="25" y="49"/>
                        <a:pt x="25" y="49"/>
                        <a:pt x="25" y="49"/>
                      </a:cubicBezTo>
                      <a:cubicBezTo>
                        <a:pt x="23" y="49"/>
                        <a:pt x="23" y="49"/>
                        <a:pt x="23" y="49"/>
                      </a:cubicBezTo>
                      <a:cubicBezTo>
                        <a:pt x="23" y="49"/>
                        <a:pt x="23" y="49"/>
                        <a:pt x="23" y="49"/>
                      </a:cubicBezTo>
                      <a:cubicBezTo>
                        <a:pt x="22" y="49"/>
                        <a:pt x="22" y="49"/>
                        <a:pt x="22" y="49"/>
                      </a:cubicBezTo>
                      <a:cubicBezTo>
                        <a:pt x="22" y="48"/>
                        <a:pt x="22" y="48"/>
                        <a:pt x="22" y="48"/>
                      </a:cubicBezTo>
                      <a:cubicBezTo>
                        <a:pt x="21" y="49"/>
                        <a:pt x="21" y="49"/>
                        <a:pt x="21" y="49"/>
                      </a:cubicBezTo>
                      <a:cubicBezTo>
                        <a:pt x="20" y="50"/>
                        <a:pt x="20" y="50"/>
                        <a:pt x="20" y="50"/>
                      </a:cubicBezTo>
                      <a:cubicBezTo>
                        <a:pt x="18" y="50"/>
                        <a:pt x="18" y="50"/>
                        <a:pt x="18" y="50"/>
                      </a:cubicBezTo>
                      <a:cubicBezTo>
                        <a:pt x="18" y="51"/>
                        <a:pt x="18" y="51"/>
                        <a:pt x="18" y="51"/>
                      </a:cubicBezTo>
                      <a:cubicBezTo>
                        <a:pt x="17" y="51"/>
                        <a:pt x="17" y="51"/>
                        <a:pt x="17" y="51"/>
                      </a:cubicBezTo>
                      <a:cubicBezTo>
                        <a:pt x="16" y="52"/>
                        <a:pt x="16" y="52"/>
                        <a:pt x="16" y="52"/>
                      </a:cubicBezTo>
                      <a:cubicBezTo>
                        <a:pt x="14" y="53"/>
                        <a:pt x="14" y="53"/>
                        <a:pt x="14" y="53"/>
                      </a:cubicBezTo>
                      <a:cubicBezTo>
                        <a:pt x="11" y="53"/>
                        <a:pt x="11" y="53"/>
                        <a:pt x="11" y="53"/>
                      </a:cubicBezTo>
                      <a:cubicBezTo>
                        <a:pt x="10" y="55"/>
                        <a:pt x="10" y="55"/>
                        <a:pt x="10" y="55"/>
                      </a:cubicBezTo>
                      <a:cubicBezTo>
                        <a:pt x="10" y="56"/>
                        <a:pt x="10" y="56"/>
                        <a:pt x="10" y="56"/>
                      </a:cubicBezTo>
                      <a:cubicBezTo>
                        <a:pt x="9" y="57"/>
                        <a:pt x="9" y="57"/>
                        <a:pt x="9" y="57"/>
                      </a:cubicBezTo>
                      <a:cubicBezTo>
                        <a:pt x="8" y="57"/>
                        <a:pt x="8" y="57"/>
                        <a:pt x="8" y="57"/>
                      </a:cubicBezTo>
                      <a:cubicBezTo>
                        <a:pt x="8" y="56"/>
                        <a:pt x="8" y="56"/>
                        <a:pt x="8" y="56"/>
                      </a:cubicBezTo>
                      <a:cubicBezTo>
                        <a:pt x="8" y="56"/>
                        <a:pt x="8" y="56"/>
                        <a:pt x="8" y="56"/>
                      </a:cubicBezTo>
                      <a:cubicBezTo>
                        <a:pt x="9" y="55"/>
                        <a:pt x="9" y="55"/>
                        <a:pt x="9" y="55"/>
                      </a:cubicBezTo>
                      <a:cubicBezTo>
                        <a:pt x="9" y="54"/>
                        <a:pt x="9" y="54"/>
                        <a:pt x="9" y="54"/>
                      </a:cubicBezTo>
                      <a:cubicBezTo>
                        <a:pt x="7" y="55"/>
                        <a:pt x="7" y="55"/>
                        <a:pt x="7" y="55"/>
                      </a:cubicBezTo>
                      <a:cubicBezTo>
                        <a:pt x="7" y="56"/>
                        <a:pt x="7" y="56"/>
                        <a:pt x="7" y="56"/>
                      </a:cubicBezTo>
                      <a:cubicBezTo>
                        <a:pt x="6" y="58"/>
                        <a:pt x="6" y="58"/>
                        <a:pt x="6" y="58"/>
                      </a:cubicBezTo>
                      <a:cubicBezTo>
                        <a:pt x="6" y="59"/>
                        <a:pt x="6" y="59"/>
                        <a:pt x="6" y="59"/>
                      </a:cubicBezTo>
                      <a:cubicBezTo>
                        <a:pt x="6" y="60"/>
                        <a:pt x="6" y="60"/>
                        <a:pt x="6" y="60"/>
                      </a:cubicBezTo>
                      <a:cubicBezTo>
                        <a:pt x="6" y="62"/>
                        <a:pt x="6" y="62"/>
                        <a:pt x="6" y="62"/>
                      </a:cubicBezTo>
                      <a:cubicBezTo>
                        <a:pt x="4" y="64"/>
                        <a:pt x="4" y="64"/>
                        <a:pt x="4" y="64"/>
                      </a:cubicBezTo>
                      <a:cubicBezTo>
                        <a:pt x="3" y="67"/>
                        <a:pt x="3" y="67"/>
                        <a:pt x="3" y="67"/>
                      </a:cubicBezTo>
                      <a:cubicBezTo>
                        <a:pt x="4" y="69"/>
                        <a:pt x="4" y="69"/>
                        <a:pt x="4" y="69"/>
                      </a:cubicBezTo>
                      <a:cubicBezTo>
                        <a:pt x="4" y="71"/>
                        <a:pt x="4" y="71"/>
                        <a:pt x="4" y="71"/>
                      </a:cubicBezTo>
                      <a:cubicBezTo>
                        <a:pt x="5" y="73"/>
                        <a:pt x="5" y="73"/>
                        <a:pt x="5" y="73"/>
                      </a:cubicBezTo>
                      <a:cubicBezTo>
                        <a:pt x="5" y="74"/>
                        <a:pt x="5" y="74"/>
                        <a:pt x="5" y="74"/>
                      </a:cubicBezTo>
                      <a:cubicBezTo>
                        <a:pt x="6" y="75"/>
                        <a:pt x="6" y="75"/>
                        <a:pt x="6" y="75"/>
                      </a:cubicBezTo>
                      <a:cubicBezTo>
                        <a:pt x="5" y="76"/>
                        <a:pt x="5" y="76"/>
                        <a:pt x="5" y="76"/>
                      </a:cubicBezTo>
                      <a:cubicBezTo>
                        <a:pt x="6" y="77"/>
                        <a:pt x="6" y="77"/>
                        <a:pt x="6" y="77"/>
                      </a:cubicBezTo>
                      <a:cubicBezTo>
                        <a:pt x="5" y="78"/>
                        <a:pt x="5" y="78"/>
                        <a:pt x="5" y="78"/>
                      </a:cubicBezTo>
                      <a:cubicBezTo>
                        <a:pt x="4" y="77"/>
                        <a:pt x="4" y="77"/>
                        <a:pt x="4" y="77"/>
                      </a:cubicBezTo>
                      <a:cubicBezTo>
                        <a:pt x="4" y="76"/>
                        <a:pt x="4" y="76"/>
                        <a:pt x="4" y="76"/>
                      </a:cubicBezTo>
                      <a:cubicBezTo>
                        <a:pt x="4" y="76"/>
                        <a:pt x="4" y="76"/>
                        <a:pt x="4" y="76"/>
                      </a:cubicBezTo>
                      <a:cubicBezTo>
                        <a:pt x="3" y="76"/>
                        <a:pt x="3" y="76"/>
                        <a:pt x="3" y="76"/>
                      </a:cubicBezTo>
                      <a:cubicBezTo>
                        <a:pt x="3" y="75"/>
                        <a:pt x="3" y="75"/>
                        <a:pt x="3" y="75"/>
                      </a:cubicBezTo>
                      <a:cubicBezTo>
                        <a:pt x="2" y="73"/>
                        <a:pt x="2" y="73"/>
                        <a:pt x="2" y="73"/>
                      </a:cubicBezTo>
                      <a:cubicBezTo>
                        <a:pt x="2" y="74"/>
                        <a:pt x="2" y="74"/>
                        <a:pt x="2" y="74"/>
                      </a:cubicBezTo>
                      <a:cubicBezTo>
                        <a:pt x="2" y="76"/>
                        <a:pt x="2" y="76"/>
                        <a:pt x="2" y="76"/>
                      </a:cubicBezTo>
                      <a:cubicBezTo>
                        <a:pt x="3" y="77"/>
                        <a:pt x="3" y="77"/>
                        <a:pt x="3" y="77"/>
                      </a:cubicBezTo>
                      <a:cubicBezTo>
                        <a:pt x="4" y="78"/>
                        <a:pt x="4" y="78"/>
                        <a:pt x="4" y="78"/>
                      </a:cubicBezTo>
                      <a:cubicBezTo>
                        <a:pt x="3" y="79"/>
                        <a:pt x="3" y="79"/>
                        <a:pt x="3" y="79"/>
                      </a:cubicBezTo>
                      <a:cubicBezTo>
                        <a:pt x="2" y="77"/>
                        <a:pt x="2" y="77"/>
                        <a:pt x="2" y="77"/>
                      </a:cubicBezTo>
                      <a:cubicBezTo>
                        <a:pt x="2" y="76"/>
                        <a:pt x="2" y="76"/>
                        <a:pt x="2" y="76"/>
                      </a:cubicBezTo>
                      <a:cubicBezTo>
                        <a:pt x="1" y="76"/>
                        <a:pt x="1" y="76"/>
                        <a:pt x="1" y="76"/>
                      </a:cubicBezTo>
                      <a:cubicBezTo>
                        <a:pt x="1" y="77"/>
                        <a:pt x="1" y="77"/>
                        <a:pt x="1" y="77"/>
                      </a:cubicBezTo>
                      <a:cubicBezTo>
                        <a:pt x="1" y="78"/>
                        <a:pt x="1" y="78"/>
                        <a:pt x="1" y="78"/>
                      </a:cubicBezTo>
                      <a:cubicBezTo>
                        <a:pt x="3" y="80"/>
                        <a:pt x="3" y="80"/>
                        <a:pt x="3" y="80"/>
                      </a:cubicBezTo>
                      <a:cubicBezTo>
                        <a:pt x="4" y="83"/>
                        <a:pt x="4" y="83"/>
                        <a:pt x="4" y="83"/>
                      </a:cubicBezTo>
                      <a:cubicBezTo>
                        <a:pt x="4" y="87"/>
                        <a:pt x="4" y="87"/>
                        <a:pt x="4" y="87"/>
                      </a:cubicBezTo>
                      <a:cubicBezTo>
                        <a:pt x="5" y="88"/>
                        <a:pt x="5" y="88"/>
                        <a:pt x="5" y="88"/>
                      </a:cubicBezTo>
                      <a:cubicBezTo>
                        <a:pt x="5" y="90"/>
                        <a:pt x="5" y="90"/>
                        <a:pt x="5" y="90"/>
                      </a:cubicBezTo>
                      <a:cubicBezTo>
                        <a:pt x="7" y="93"/>
                        <a:pt x="7" y="93"/>
                        <a:pt x="7" y="93"/>
                      </a:cubicBezTo>
                      <a:cubicBezTo>
                        <a:pt x="6" y="95"/>
                        <a:pt x="6" y="95"/>
                        <a:pt x="6" y="95"/>
                      </a:cubicBezTo>
                      <a:cubicBezTo>
                        <a:pt x="6" y="99"/>
                        <a:pt x="6" y="99"/>
                        <a:pt x="6" y="99"/>
                      </a:cubicBezTo>
                      <a:cubicBezTo>
                        <a:pt x="6" y="100"/>
                        <a:pt x="6" y="100"/>
                        <a:pt x="6" y="100"/>
                      </a:cubicBezTo>
                      <a:cubicBezTo>
                        <a:pt x="6" y="101"/>
                        <a:pt x="6" y="101"/>
                        <a:pt x="6" y="101"/>
                      </a:cubicBezTo>
                      <a:cubicBezTo>
                        <a:pt x="6" y="103"/>
                        <a:pt x="6" y="103"/>
                        <a:pt x="6" y="103"/>
                      </a:cubicBezTo>
                      <a:cubicBezTo>
                        <a:pt x="7" y="105"/>
                        <a:pt x="7" y="105"/>
                        <a:pt x="7" y="105"/>
                      </a:cubicBezTo>
                      <a:cubicBezTo>
                        <a:pt x="7" y="106"/>
                        <a:pt x="7" y="106"/>
                        <a:pt x="7" y="106"/>
                      </a:cubicBezTo>
                      <a:cubicBezTo>
                        <a:pt x="7" y="107"/>
                        <a:pt x="7" y="107"/>
                        <a:pt x="7" y="107"/>
                      </a:cubicBezTo>
                      <a:cubicBezTo>
                        <a:pt x="7" y="107"/>
                        <a:pt x="7" y="107"/>
                        <a:pt x="7" y="107"/>
                      </a:cubicBezTo>
                      <a:cubicBezTo>
                        <a:pt x="7" y="108"/>
                        <a:pt x="7" y="108"/>
                        <a:pt x="7" y="108"/>
                      </a:cubicBezTo>
                      <a:cubicBezTo>
                        <a:pt x="7" y="110"/>
                        <a:pt x="7" y="110"/>
                        <a:pt x="7" y="110"/>
                      </a:cubicBezTo>
                      <a:cubicBezTo>
                        <a:pt x="6" y="111"/>
                        <a:pt x="6" y="111"/>
                        <a:pt x="6" y="111"/>
                      </a:cubicBezTo>
                      <a:cubicBezTo>
                        <a:pt x="6" y="111"/>
                        <a:pt x="6" y="111"/>
                        <a:pt x="6" y="111"/>
                      </a:cubicBezTo>
                      <a:cubicBezTo>
                        <a:pt x="6" y="112"/>
                        <a:pt x="6" y="112"/>
                        <a:pt x="6" y="112"/>
                      </a:cubicBezTo>
                      <a:cubicBezTo>
                        <a:pt x="5" y="113"/>
                        <a:pt x="5" y="113"/>
                        <a:pt x="5" y="113"/>
                      </a:cubicBezTo>
                      <a:cubicBezTo>
                        <a:pt x="5" y="114"/>
                        <a:pt x="5" y="114"/>
                        <a:pt x="5" y="114"/>
                      </a:cubicBezTo>
                      <a:cubicBezTo>
                        <a:pt x="4" y="115"/>
                        <a:pt x="4" y="115"/>
                        <a:pt x="4" y="115"/>
                      </a:cubicBezTo>
                      <a:cubicBezTo>
                        <a:pt x="3" y="115"/>
                        <a:pt x="3" y="115"/>
                        <a:pt x="3" y="115"/>
                      </a:cubicBezTo>
                      <a:cubicBezTo>
                        <a:pt x="2" y="116"/>
                        <a:pt x="2" y="116"/>
                        <a:pt x="2" y="116"/>
                      </a:cubicBezTo>
                      <a:lnTo>
                        <a:pt x="2" y="119"/>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7" name="Freeform 162">
                  <a:extLst>
                    <a:ext uri="{FF2B5EF4-FFF2-40B4-BE49-F238E27FC236}">
                      <a16:creationId xmlns:a16="http://schemas.microsoft.com/office/drawing/2014/main" id="{6364833D-9E2A-0305-F3A6-029270AC13FA}"/>
                    </a:ext>
                  </a:extLst>
                </p:cNvPr>
                <p:cNvSpPr>
                  <a:spLocks noEditPoints="1"/>
                </p:cNvSpPr>
                <p:nvPr/>
              </p:nvSpPr>
              <p:spPr bwMode="auto">
                <a:xfrm>
                  <a:off x="4381" y="3033"/>
                  <a:ext cx="230" cy="316"/>
                </a:xfrm>
                <a:custGeom>
                  <a:avLst/>
                  <a:gdLst>
                    <a:gd name="T0" fmla="*/ 17 w 230"/>
                    <a:gd name="T1" fmla="*/ 316 h 316"/>
                    <a:gd name="T2" fmla="*/ 0 w 230"/>
                    <a:gd name="T3" fmla="*/ 275 h 316"/>
                    <a:gd name="T4" fmla="*/ 0 w 230"/>
                    <a:gd name="T5" fmla="*/ 275 h 316"/>
                    <a:gd name="T6" fmla="*/ 197 w 230"/>
                    <a:gd name="T7" fmla="*/ 36 h 316"/>
                    <a:gd name="T8" fmla="*/ 201 w 230"/>
                    <a:gd name="T9" fmla="*/ 36 h 316"/>
                    <a:gd name="T10" fmla="*/ 168 w 230"/>
                    <a:gd name="T11" fmla="*/ 119 h 316"/>
                    <a:gd name="T12" fmla="*/ 185 w 230"/>
                    <a:gd name="T13" fmla="*/ 114 h 316"/>
                    <a:gd name="T14" fmla="*/ 201 w 230"/>
                    <a:gd name="T15" fmla="*/ 95 h 316"/>
                    <a:gd name="T16" fmla="*/ 206 w 230"/>
                    <a:gd name="T17" fmla="*/ 83 h 316"/>
                    <a:gd name="T18" fmla="*/ 216 w 230"/>
                    <a:gd name="T19" fmla="*/ 81 h 316"/>
                    <a:gd name="T20" fmla="*/ 225 w 230"/>
                    <a:gd name="T21" fmla="*/ 67 h 316"/>
                    <a:gd name="T22" fmla="*/ 225 w 230"/>
                    <a:gd name="T23" fmla="*/ 57 h 316"/>
                    <a:gd name="T24" fmla="*/ 204 w 230"/>
                    <a:gd name="T25" fmla="*/ 55 h 316"/>
                    <a:gd name="T26" fmla="*/ 201 w 230"/>
                    <a:gd name="T27" fmla="*/ 41 h 316"/>
                    <a:gd name="T28" fmla="*/ 199 w 230"/>
                    <a:gd name="T29" fmla="*/ 48 h 316"/>
                    <a:gd name="T30" fmla="*/ 192 w 230"/>
                    <a:gd name="T31" fmla="*/ 45 h 316"/>
                    <a:gd name="T32" fmla="*/ 194 w 230"/>
                    <a:gd name="T33" fmla="*/ 34 h 316"/>
                    <a:gd name="T34" fmla="*/ 197 w 230"/>
                    <a:gd name="T35" fmla="*/ 22 h 316"/>
                    <a:gd name="T36" fmla="*/ 189 w 230"/>
                    <a:gd name="T37" fmla="*/ 12 h 316"/>
                    <a:gd name="T38" fmla="*/ 187 w 230"/>
                    <a:gd name="T39" fmla="*/ 8 h 316"/>
                    <a:gd name="T40" fmla="*/ 182 w 230"/>
                    <a:gd name="T41" fmla="*/ 3 h 316"/>
                    <a:gd name="T42" fmla="*/ 182 w 230"/>
                    <a:gd name="T43" fmla="*/ 15 h 316"/>
                    <a:gd name="T44" fmla="*/ 182 w 230"/>
                    <a:gd name="T45" fmla="*/ 22 h 316"/>
                    <a:gd name="T46" fmla="*/ 187 w 230"/>
                    <a:gd name="T47" fmla="*/ 34 h 316"/>
                    <a:gd name="T48" fmla="*/ 187 w 230"/>
                    <a:gd name="T49" fmla="*/ 38 h 316"/>
                    <a:gd name="T50" fmla="*/ 189 w 230"/>
                    <a:gd name="T51" fmla="*/ 48 h 316"/>
                    <a:gd name="T52" fmla="*/ 187 w 230"/>
                    <a:gd name="T53" fmla="*/ 60 h 316"/>
                    <a:gd name="T54" fmla="*/ 182 w 230"/>
                    <a:gd name="T55" fmla="*/ 67 h 316"/>
                    <a:gd name="T56" fmla="*/ 166 w 230"/>
                    <a:gd name="T57" fmla="*/ 83 h 316"/>
                    <a:gd name="T58" fmla="*/ 178 w 230"/>
                    <a:gd name="T59" fmla="*/ 100 h 316"/>
                    <a:gd name="T60" fmla="*/ 159 w 230"/>
                    <a:gd name="T61" fmla="*/ 109 h 316"/>
                    <a:gd name="T62" fmla="*/ 159 w 230"/>
                    <a:gd name="T63" fmla="*/ 109 h 316"/>
                    <a:gd name="T64" fmla="*/ 159 w 230"/>
                    <a:gd name="T65" fmla="*/ 112 h 316"/>
                    <a:gd name="T66" fmla="*/ 52 w 230"/>
                    <a:gd name="T67" fmla="*/ 211 h 316"/>
                    <a:gd name="T68" fmla="*/ 55 w 230"/>
                    <a:gd name="T69" fmla="*/ 204 h 316"/>
                    <a:gd name="T70" fmla="*/ 57 w 230"/>
                    <a:gd name="T71" fmla="*/ 207 h 316"/>
                    <a:gd name="T72" fmla="*/ 52 w 230"/>
                    <a:gd name="T73" fmla="*/ 211 h 316"/>
                    <a:gd name="T74" fmla="*/ 48 w 230"/>
                    <a:gd name="T75" fmla="*/ 190 h 316"/>
                    <a:gd name="T76" fmla="*/ 55 w 230"/>
                    <a:gd name="T77" fmla="*/ 178 h 316"/>
                    <a:gd name="T78" fmla="*/ 66 w 230"/>
                    <a:gd name="T79" fmla="*/ 171 h 316"/>
                    <a:gd name="T80" fmla="*/ 74 w 230"/>
                    <a:gd name="T81" fmla="*/ 162 h 316"/>
                    <a:gd name="T82" fmla="*/ 92 w 230"/>
                    <a:gd name="T83" fmla="*/ 157 h 316"/>
                    <a:gd name="T84" fmla="*/ 107 w 230"/>
                    <a:gd name="T85" fmla="*/ 143 h 316"/>
                    <a:gd name="T86" fmla="*/ 126 w 230"/>
                    <a:gd name="T87" fmla="*/ 126 h 316"/>
                    <a:gd name="T88" fmla="*/ 137 w 230"/>
                    <a:gd name="T89" fmla="*/ 114 h 316"/>
                    <a:gd name="T90" fmla="*/ 149 w 230"/>
                    <a:gd name="T91" fmla="*/ 107 h 316"/>
                    <a:gd name="T92" fmla="*/ 149 w 230"/>
                    <a:gd name="T93" fmla="*/ 114 h 316"/>
                    <a:gd name="T94" fmla="*/ 159 w 230"/>
                    <a:gd name="T95" fmla="*/ 114 h 316"/>
                    <a:gd name="T96" fmla="*/ 161 w 230"/>
                    <a:gd name="T97" fmla="*/ 114 h 316"/>
                    <a:gd name="T98" fmla="*/ 152 w 230"/>
                    <a:gd name="T99" fmla="*/ 131 h 316"/>
                    <a:gd name="T100" fmla="*/ 137 w 230"/>
                    <a:gd name="T101" fmla="*/ 147 h 316"/>
                    <a:gd name="T102" fmla="*/ 133 w 230"/>
                    <a:gd name="T103" fmla="*/ 159 h 316"/>
                    <a:gd name="T104" fmla="*/ 128 w 230"/>
                    <a:gd name="T105" fmla="*/ 159 h 316"/>
                    <a:gd name="T106" fmla="*/ 123 w 230"/>
                    <a:gd name="T107" fmla="*/ 157 h 316"/>
                    <a:gd name="T108" fmla="*/ 111 w 230"/>
                    <a:gd name="T109" fmla="*/ 164 h 316"/>
                    <a:gd name="T110" fmla="*/ 97 w 230"/>
                    <a:gd name="T111" fmla="*/ 185 h 316"/>
                    <a:gd name="T112" fmla="*/ 90 w 230"/>
                    <a:gd name="T113" fmla="*/ 192 h 316"/>
                    <a:gd name="T114" fmla="*/ 81 w 230"/>
                    <a:gd name="T115" fmla="*/ 200 h 316"/>
                    <a:gd name="T116" fmla="*/ 64 w 230"/>
                    <a:gd name="T117" fmla="*/ 202 h 316"/>
                    <a:gd name="T118" fmla="*/ 55 w 230"/>
                    <a:gd name="T119" fmla="*/ 192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30" h="316">
                      <a:moveTo>
                        <a:pt x="50" y="183"/>
                      </a:moveTo>
                      <a:lnTo>
                        <a:pt x="50" y="185"/>
                      </a:lnTo>
                      <a:lnTo>
                        <a:pt x="52" y="183"/>
                      </a:lnTo>
                      <a:lnTo>
                        <a:pt x="52" y="183"/>
                      </a:lnTo>
                      <a:lnTo>
                        <a:pt x="50" y="183"/>
                      </a:lnTo>
                      <a:lnTo>
                        <a:pt x="50" y="183"/>
                      </a:lnTo>
                      <a:lnTo>
                        <a:pt x="50" y="183"/>
                      </a:lnTo>
                      <a:lnTo>
                        <a:pt x="50" y="183"/>
                      </a:lnTo>
                      <a:close/>
                      <a:moveTo>
                        <a:pt x="17" y="316"/>
                      </a:moveTo>
                      <a:lnTo>
                        <a:pt x="19" y="316"/>
                      </a:lnTo>
                      <a:lnTo>
                        <a:pt x="21" y="316"/>
                      </a:lnTo>
                      <a:lnTo>
                        <a:pt x="21" y="313"/>
                      </a:lnTo>
                      <a:lnTo>
                        <a:pt x="21" y="313"/>
                      </a:lnTo>
                      <a:lnTo>
                        <a:pt x="19" y="313"/>
                      </a:lnTo>
                      <a:lnTo>
                        <a:pt x="17" y="313"/>
                      </a:lnTo>
                      <a:lnTo>
                        <a:pt x="17" y="316"/>
                      </a:lnTo>
                      <a:lnTo>
                        <a:pt x="17" y="316"/>
                      </a:lnTo>
                      <a:close/>
                      <a:moveTo>
                        <a:pt x="0" y="275"/>
                      </a:moveTo>
                      <a:lnTo>
                        <a:pt x="7" y="271"/>
                      </a:lnTo>
                      <a:lnTo>
                        <a:pt x="7" y="271"/>
                      </a:lnTo>
                      <a:lnTo>
                        <a:pt x="7" y="273"/>
                      </a:lnTo>
                      <a:lnTo>
                        <a:pt x="5" y="275"/>
                      </a:lnTo>
                      <a:lnTo>
                        <a:pt x="7" y="275"/>
                      </a:lnTo>
                      <a:lnTo>
                        <a:pt x="7" y="278"/>
                      </a:lnTo>
                      <a:lnTo>
                        <a:pt x="5" y="275"/>
                      </a:lnTo>
                      <a:lnTo>
                        <a:pt x="3" y="278"/>
                      </a:lnTo>
                      <a:lnTo>
                        <a:pt x="0" y="275"/>
                      </a:lnTo>
                      <a:lnTo>
                        <a:pt x="0" y="275"/>
                      </a:lnTo>
                      <a:close/>
                      <a:moveTo>
                        <a:pt x="194" y="45"/>
                      </a:moveTo>
                      <a:lnTo>
                        <a:pt x="197" y="45"/>
                      </a:lnTo>
                      <a:lnTo>
                        <a:pt x="197" y="45"/>
                      </a:lnTo>
                      <a:lnTo>
                        <a:pt x="197" y="45"/>
                      </a:lnTo>
                      <a:lnTo>
                        <a:pt x="194" y="45"/>
                      </a:lnTo>
                      <a:lnTo>
                        <a:pt x="194" y="45"/>
                      </a:lnTo>
                      <a:close/>
                      <a:moveTo>
                        <a:pt x="199" y="36"/>
                      </a:moveTo>
                      <a:lnTo>
                        <a:pt x="197" y="36"/>
                      </a:lnTo>
                      <a:lnTo>
                        <a:pt x="199" y="36"/>
                      </a:lnTo>
                      <a:lnTo>
                        <a:pt x="199" y="36"/>
                      </a:lnTo>
                      <a:lnTo>
                        <a:pt x="199" y="36"/>
                      </a:lnTo>
                      <a:close/>
                      <a:moveTo>
                        <a:pt x="201" y="36"/>
                      </a:moveTo>
                      <a:lnTo>
                        <a:pt x="201" y="36"/>
                      </a:lnTo>
                      <a:lnTo>
                        <a:pt x="201" y="34"/>
                      </a:lnTo>
                      <a:lnTo>
                        <a:pt x="201" y="34"/>
                      </a:lnTo>
                      <a:lnTo>
                        <a:pt x="204" y="36"/>
                      </a:lnTo>
                      <a:lnTo>
                        <a:pt x="201" y="36"/>
                      </a:lnTo>
                      <a:lnTo>
                        <a:pt x="201" y="36"/>
                      </a:lnTo>
                      <a:lnTo>
                        <a:pt x="201" y="36"/>
                      </a:lnTo>
                      <a:lnTo>
                        <a:pt x="201" y="36"/>
                      </a:lnTo>
                      <a:close/>
                      <a:moveTo>
                        <a:pt x="166" y="117"/>
                      </a:moveTo>
                      <a:lnTo>
                        <a:pt x="168" y="119"/>
                      </a:lnTo>
                      <a:lnTo>
                        <a:pt x="168" y="117"/>
                      </a:lnTo>
                      <a:lnTo>
                        <a:pt x="168" y="117"/>
                      </a:lnTo>
                      <a:lnTo>
                        <a:pt x="168" y="119"/>
                      </a:lnTo>
                      <a:lnTo>
                        <a:pt x="168" y="119"/>
                      </a:lnTo>
                      <a:lnTo>
                        <a:pt x="171" y="119"/>
                      </a:lnTo>
                      <a:lnTo>
                        <a:pt x="171" y="119"/>
                      </a:lnTo>
                      <a:lnTo>
                        <a:pt x="171" y="119"/>
                      </a:lnTo>
                      <a:lnTo>
                        <a:pt x="171" y="121"/>
                      </a:lnTo>
                      <a:lnTo>
                        <a:pt x="171" y="121"/>
                      </a:lnTo>
                      <a:lnTo>
                        <a:pt x="173" y="121"/>
                      </a:lnTo>
                      <a:lnTo>
                        <a:pt x="178" y="119"/>
                      </a:lnTo>
                      <a:lnTo>
                        <a:pt x="180" y="117"/>
                      </a:lnTo>
                      <a:lnTo>
                        <a:pt x="185" y="114"/>
                      </a:lnTo>
                      <a:lnTo>
                        <a:pt x="187" y="109"/>
                      </a:lnTo>
                      <a:lnTo>
                        <a:pt x="192" y="105"/>
                      </a:lnTo>
                      <a:lnTo>
                        <a:pt x="194" y="105"/>
                      </a:lnTo>
                      <a:lnTo>
                        <a:pt x="194" y="105"/>
                      </a:lnTo>
                      <a:lnTo>
                        <a:pt x="197" y="102"/>
                      </a:lnTo>
                      <a:lnTo>
                        <a:pt x="197" y="102"/>
                      </a:lnTo>
                      <a:lnTo>
                        <a:pt x="197" y="100"/>
                      </a:lnTo>
                      <a:lnTo>
                        <a:pt x="199" y="100"/>
                      </a:lnTo>
                      <a:lnTo>
                        <a:pt x="201" y="95"/>
                      </a:lnTo>
                      <a:lnTo>
                        <a:pt x="204" y="93"/>
                      </a:lnTo>
                      <a:lnTo>
                        <a:pt x="204" y="93"/>
                      </a:lnTo>
                      <a:lnTo>
                        <a:pt x="204" y="91"/>
                      </a:lnTo>
                      <a:lnTo>
                        <a:pt x="201" y="91"/>
                      </a:lnTo>
                      <a:lnTo>
                        <a:pt x="199" y="88"/>
                      </a:lnTo>
                      <a:lnTo>
                        <a:pt x="199" y="91"/>
                      </a:lnTo>
                      <a:lnTo>
                        <a:pt x="201" y="88"/>
                      </a:lnTo>
                      <a:lnTo>
                        <a:pt x="201" y="88"/>
                      </a:lnTo>
                      <a:lnTo>
                        <a:pt x="206" y="83"/>
                      </a:lnTo>
                      <a:lnTo>
                        <a:pt x="208" y="83"/>
                      </a:lnTo>
                      <a:lnTo>
                        <a:pt x="213" y="83"/>
                      </a:lnTo>
                      <a:lnTo>
                        <a:pt x="216" y="83"/>
                      </a:lnTo>
                      <a:lnTo>
                        <a:pt x="213" y="83"/>
                      </a:lnTo>
                      <a:lnTo>
                        <a:pt x="213" y="86"/>
                      </a:lnTo>
                      <a:lnTo>
                        <a:pt x="216" y="83"/>
                      </a:lnTo>
                      <a:lnTo>
                        <a:pt x="218" y="83"/>
                      </a:lnTo>
                      <a:lnTo>
                        <a:pt x="216" y="83"/>
                      </a:lnTo>
                      <a:lnTo>
                        <a:pt x="216" y="81"/>
                      </a:lnTo>
                      <a:lnTo>
                        <a:pt x="216" y="76"/>
                      </a:lnTo>
                      <a:lnTo>
                        <a:pt x="218" y="76"/>
                      </a:lnTo>
                      <a:lnTo>
                        <a:pt x="220" y="76"/>
                      </a:lnTo>
                      <a:lnTo>
                        <a:pt x="220" y="76"/>
                      </a:lnTo>
                      <a:lnTo>
                        <a:pt x="220" y="76"/>
                      </a:lnTo>
                      <a:lnTo>
                        <a:pt x="223" y="74"/>
                      </a:lnTo>
                      <a:lnTo>
                        <a:pt x="225" y="69"/>
                      </a:lnTo>
                      <a:lnTo>
                        <a:pt x="225" y="69"/>
                      </a:lnTo>
                      <a:lnTo>
                        <a:pt x="225" y="67"/>
                      </a:lnTo>
                      <a:lnTo>
                        <a:pt x="225" y="64"/>
                      </a:lnTo>
                      <a:lnTo>
                        <a:pt x="227" y="62"/>
                      </a:lnTo>
                      <a:lnTo>
                        <a:pt x="230" y="62"/>
                      </a:lnTo>
                      <a:lnTo>
                        <a:pt x="230" y="62"/>
                      </a:lnTo>
                      <a:lnTo>
                        <a:pt x="227" y="60"/>
                      </a:lnTo>
                      <a:lnTo>
                        <a:pt x="225" y="60"/>
                      </a:lnTo>
                      <a:lnTo>
                        <a:pt x="227" y="60"/>
                      </a:lnTo>
                      <a:lnTo>
                        <a:pt x="227" y="57"/>
                      </a:lnTo>
                      <a:lnTo>
                        <a:pt x="225" y="57"/>
                      </a:lnTo>
                      <a:lnTo>
                        <a:pt x="223" y="60"/>
                      </a:lnTo>
                      <a:lnTo>
                        <a:pt x="218" y="64"/>
                      </a:lnTo>
                      <a:lnTo>
                        <a:pt x="216" y="64"/>
                      </a:lnTo>
                      <a:lnTo>
                        <a:pt x="213" y="64"/>
                      </a:lnTo>
                      <a:lnTo>
                        <a:pt x="211" y="64"/>
                      </a:lnTo>
                      <a:lnTo>
                        <a:pt x="206" y="60"/>
                      </a:lnTo>
                      <a:lnTo>
                        <a:pt x="206" y="60"/>
                      </a:lnTo>
                      <a:lnTo>
                        <a:pt x="204" y="57"/>
                      </a:lnTo>
                      <a:lnTo>
                        <a:pt x="204" y="55"/>
                      </a:lnTo>
                      <a:lnTo>
                        <a:pt x="204" y="55"/>
                      </a:lnTo>
                      <a:lnTo>
                        <a:pt x="204" y="53"/>
                      </a:lnTo>
                      <a:lnTo>
                        <a:pt x="204" y="50"/>
                      </a:lnTo>
                      <a:lnTo>
                        <a:pt x="204" y="48"/>
                      </a:lnTo>
                      <a:lnTo>
                        <a:pt x="201" y="45"/>
                      </a:lnTo>
                      <a:lnTo>
                        <a:pt x="204" y="45"/>
                      </a:lnTo>
                      <a:lnTo>
                        <a:pt x="204" y="43"/>
                      </a:lnTo>
                      <a:lnTo>
                        <a:pt x="201" y="43"/>
                      </a:lnTo>
                      <a:lnTo>
                        <a:pt x="201" y="41"/>
                      </a:lnTo>
                      <a:lnTo>
                        <a:pt x="201" y="38"/>
                      </a:lnTo>
                      <a:lnTo>
                        <a:pt x="201" y="41"/>
                      </a:lnTo>
                      <a:lnTo>
                        <a:pt x="199" y="38"/>
                      </a:lnTo>
                      <a:lnTo>
                        <a:pt x="199" y="41"/>
                      </a:lnTo>
                      <a:lnTo>
                        <a:pt x="199" y="41"/>
                      </a:lnTo>
                      <a:lnTo>
                        <a:pt x="199" y="43"/>
                      </a:lnTo>
                      <a:lnTo>
                        <a:pt x="199" y="43"/>
                      </a:lnTo>
                      <a:lnTo>
                        <a:pt x="199" y="45"/>
                      </a:lnTo>
                      <a:lnTo>
                        <a:pt x="199" y="48"/>
                      </a:lnTo>
                      <a:lnTo>
                        <a:pt x="199" y="48"/>
                      </a:lnTo>
                      <a:lnTo>
                        <a:pt x="199" y="50"/>
                      </a:lnTo>
                      <a:lnTo>
                        <a:pt x="199" y="50"/>
                      </a:lnTo>
                      <a:lnTo>
                        <a:pt x="197" y="48"/>
                      </a:lnTo>
                      <a:lnTo>
                        <a:pt x="197" y="48"/>
                      </a:lnTo>
                      <a:lnTo>
                        <a:pt x="194" y="48"/>
                      </a:lnTo>
                      <a:lnTo>
                        <a:pt x="194" y="45"/>
                      </a:lnTo>
                      <a:lnTo>
                        <a:pt x="192" y="45"/>
                      </a:lnTo>
                      <a:lnTo>
                        <a:pt x="192" y="45"/>
                      </a:lnTo>
                      <a:lnTo>
                        <a:pt x="192" y="43"/>
                      </a:lnTo>
                      <a:lnTo>
                        <a:pt x="192" y="43"/>
                      </a:lnTo>
                      <a:lnTo>
                        <a:pt x="192" y="43"/>
                      </a:lnTo>
                      <a:lnTo>
                        <a:pt x="192" y="41"/>
                      </a:lnTo>
                      <a:lnTo>
                        <a:pt x="192" y="38"/>
                      </a:lnTo>
                      <a:lnTo>
                        <a:pt x="194" y="38"/>
                      </a:lnTo>
                      <a:lnTo>
                        <a:pt x="194" y="36"/>
                      </a:lnTo>
                      <a:lnTo>
                        <a:pt x="194" y="34"/>
                      </a:lnTo>
                      <a:lnTo>
                        <a:pt x="194" y="34"/>
                      </a:lnTo>
                      <a:lnTo>
                        <a:pt x="194" y="31"/>
                      </a:lnTo>
                      <a:lnTo>
                        <a:pt x="194" y="29"/>
                      </a:lnTo>
                      <a:lnTo>
                        <a:pt x="192" y="29"/>
                      </a:lnTo>
                      <a:lnTo>
                        <a:pt x="192" y="27"/>
                      </a:lnTo>
                      <a:lnTo>
                        <a:pt x="194" y="27"/>
                      </a:lnTo>
                      <a:lnTo>
                        <a:pt x="194" y="27"/>
                      </a:lnTo>
                      <a:lnTo>
                        <a:pt x="197" y="24"/>
                      </a:lnTo>
                      <a:lnTo>
                        <a:pt x="197" y="24"/>
                      </a:lnTo>
                      <a:lnTo>
                        <a:pt x="197" y="22"/>
                      </a:lnTo>
                      <a:lnTo>
                        <a:pt x="197" y="19"/>
                      </a:lnTo>
                      <a:lnTo>
                        <a:pt x="197" y="17"/>
                      </a:lnTo>
                      <a:lnTo>
                        <a:pt x="194" y="17"/>
                      </a:lnTo>
                      <a:lnTo>
                        <a:pt x="192" y="19"/>
                      </a:lnTo>
                      <a:lnTo>
                        <a:pt x="189" y="17"/>
                      </a:lnTo>
                      <a:lnTo>
                        <a:pt x="192" y="15"/>
                      </a:lnTo>
                      <a:lnTo>
                        <a:pt x="189" y="15"/>
                      </a:lnTo>
                      <a:lnTo>
                        <a:pt x="189" y="15"/>
                      </a:lnTo>
                      <a:lnTo>
                        <a:pt x="189" y="12"/>
                      </a:lnTo>
                      <a:lnTo>
                        <a:pt x="192" y="12"/>
                      </a:lnTo>
                      <a:lnTo>
                        <a:pt x="192" y="12"/>
                      </a:lnTo>
                      <a:lnTo>
                        <a:pt x="189" y="10"/>
                      </a:lnTo>
                      <a:lnTo>
                        <a:pt x="187" y="10"/>
                      </a:lnTo>
                      <a:lnTo>
                        <a:pt x="187" y="10"/>
                      </a:lnTo>
                      <a:lnTo>
                        <a:pt x="187" y="8"/>
                      </a:lnTo>
                      <a:lnTo>
                        <a:pt x="187" y="8"/>
                      </a:lnTo>
                      <a:lnTo>
                        <a:pt x="187" y="8"/>
                      </a:lnTo>
                      <a:lnTo>
                        <a:pt x="187" y="8"/>
                      </a:lnTo>
                      <a:lnTo>
                        <a:pt x="185" y="8"/>
                      </a:lnTo>
                      <a:lnTo>
                        <a:pt x="185" y="10"/>
                      </a:lnTo>
                      <a:lnTo>
                        <a:pt x="185" y="10"/>
                      </a:lnTo>
                      <a:lnTo>
                        <a:pt x="182" y="10"/>
                      </a:lnTo>
                      <a:lnTo>
                        <a:pt x="185" y="8"/>
                      </a:lnTo>
                      <a:lnTo>
                        <a:pt x="182" y="8"/>
                      </a:lnTo>
                      <a:lnTo>
                        <a:pt x="182" y="5"/>
                      </a:lnTo>
                      <a:lnTo>
                        <a:pt x="182" y="3"/>
                      </a:lnTo>
                      <a:lnTo>
                        <a:pt x="182" y="3"/>
                      </a:lnTo>
                      <a:lnTo>
                        <a:pt x="182" y="0"/>
                      </a:lnTo>
                      <a:lnTo>
                        <a:pt x="182" y="0"/>
                      </a:lnTo>
                      <a:lnTo>
                        <a:pt x="180" y="0"/>
                      </a:lnTo>
                      <a:lnTo>
                        <a:pt x="178" y="0"/>
                      </a:lnTo>
                      <a:lnTo>
                        <a:pt x="178" y="0"/>
                      </a:lnTo>
                      <a:lnTo>
                        <a:pt x="180" y="3"/>
                      </a:lnTo>
                      <a:lnTo>
                        <a:pt x="182" y="8"/>
                      </a:lnTo>
                      <a:lnTo>
                        <a:pt x="182" y="10"/>
                      </a:lnTo>
                      <a:lnTo>
                        <a:pt x="182" y="15"/>
                      </a:lnTo>
                      <a:lnTo>
                        <a:pt x="180" y="15"/>
                      </a:lnTo>
                      <a:lnTo>
                        <a:pt x="180" y="15"/>
                      </a:lnTo>
                      <a:lnTo>
                        <a:pt x="180" y="15"/>
                      </a:lnTo>
                      <a:lnTo>
                        <a:pt x="180" y="19"/>
                      </a:lnTo>
                      <a:lnTo>
                        <a:pt x="182" y="19"/>
                      </a:lnTo>
                      <a:lnTo>
                        <a:pt x="182" y="19"/>
                      </a:lnTo>
                      <a:lnTo>
                        <a:pt x="185" y="19"/>
                      </a:lnTo>
                      <a:lnTo>
                        <a:pt x="185" y="19"/>
                      </a:lnTo>
                      <a:lnTo>
                        <a:pt x="182" y="22"/>
                      </a:lnTo>
                      <a:lnTo>
                        <a:pt x="182" y="24"/>
                      </a:lnTo>
                      <a:lnTo>
                        <a:pt x="185" y="27"/>
                      </a:lnTo>
                      <a:lnTo>
                        <a:pt x="185" y="31"/>
                      </a:lnTo>
                      <a:lnTo>
                        <a:pt x="185" y="34"/>
                      </a:lnTo>
                      <a:lnTo>
                        <a:pt x="185" y="36"/>
                      </a:lnTo>
                      <a:lnTo>
                        <a:pt x="187" y="36"/>
                      </a:lnTo>
                      <a:lnTo>
                        <a:pt x="187" y="34"/>
                      </a:lnTo>
                      <a:lnTo>
                        <a:pt x="185" y="34"/>
                      </a:lnTo>
                      <a:lnTo>
                        <a:pt x="187" y="34"/>
                      </a:lnTo>
                      <a:lnTo>
                        <a:pt x="187" y="34"/>
                      </a:lnTo>
                      <a:lnTo>
                        <a:pt x="187" y="36"/>
                      </a:lnTo>
                      <a:lnTo>
                        <a:pt x="189" y="36"/>
                      </a:lnTo>
                      <a:lnTo>
                        <a:pt x="189" y="34"/>
                      </a:lnTo>
                      <a:lnTo>
                        <a:pt x="189" y="34"/>
                      </a:lnTo>
                      <a:lnTo>
                        <a:pt x="189" y="34"/>
                      </a:lnTo>
                      <a:lnTo>
                        <a:pt x="189" y="36"/>
                      </a:lnTo>
                      <a:lnTo>
                        <a:pt x="187" y="36"/>
                      </a:lnTo>
                      <a:lnTo>
                        <a:pt x="187" y="38"/>
                      </a:lnTo>
                      <a:lnTo>
                        <a:pt x="187" y="41"/>
                      </a:lnTo>
                      <a:lnTo>
                        <a:pt x="187" y="41"/>
                      </a:lnTo>
                      <a:lnTo>
                        <a:pt x="185" y="38"/>
                      </a:lnTo>
                      <a:lnTo>
                        <a:pt x="185" y="38"/>
                      </a:lnTo>
                      <a:lnTo>
                        <a:pt x="185" y="41"/>
                      </a:lnTo>
                      <a:lnTo>
                        <a:pt x="187" y="45"/>
                      </a:lnTo>
                      <a:lnTo>
                        <a:pt x="187" y="45"/>
                      </a:lnTo>
                      <a:lnTo>
                        <a:pt x="189" y="45"/>
                      </a:lnTo>
                      <a:lnTo>
                        <a:pt x="189" y="48"/>
                      </a:lnTo>
                      <a:lnTo>
                        <a:pt x="189" y="48"/>
                      </a:lnTo>
                      <a:lnTo>
                        <a:pt x="192" y="48"/>
                      </a:lnTo>
                      <a:lnTo>
                        <a:pt x="189" y="50"/>
                      </a:lnTo>
                      <a:lnTo>
                        <a:pt x="189" y="50"/>
                      </a:lnTo>
                      <a:lnTo>
                        <a:pt x="189" y="53"/>
                      </a:lnTo>
                      <a:lnTo>
                        <a:pt x="189" y="53"/>
                      </a:lnTo>
                      <a:lnTo>
                        <a:pt x="187" y="57"/>
                      </a:lnTo>
                      <a:lnTo>
                        <a:pt x="187" y="57"/>
                      </a:lnTo>
                      <a:lnTo>
                        <a:pt x="187" y="60"/>
                      </a:lnTo>
                      <a:lnTo>
                        <a:pt x="187" y="60"/>
                      </a:lnTo>
                      <a:lnTo>
                        <a:pt x="187" y="60"/>
                      </a:lnTo>
                      <a:lnTo>
                        <a:pt x="185" y="60"/>
                      </a:lnTo>
                      <a:lnTo>
                        <a:pt x="185" y="62"/>
                      </a:lnTo>
                      <a:lnTo>
                        <a:pt x="185" y="64"/>
                      </a:lnTo>
                      <a:lnTo>
                        <a:pt x="187" y="64"/>
                      </a:lnTo>
                      <a:lnTo>
                        <a:pt x="185" y="64"/>
                      </a:lnTo>
                      <a:lnTo>
                        <a:pt x="182" y="64"/>
                      </a:lnTo>
                      <a:lnTo>
                        <a:pt x="182" y="67"/>
                      </a:lnTo>
                      <a:lnTo>
                        <a:pt x="180" y="74"/>
                      </a:lnTo>
                      <a:lnTo>
                        <a:pt x="180" y="76"/>
                      </a:lnTo>
                      <a:lnTo>
                        <a:pt x="180" y="79"/>
                      </a:lnTo>
                      <a:lnTo>
                        <a:pt x="178" y="79"/>
                      </a:lnTo>
                      <a:lnTo>
                        <a:pt x="175" y="76"/>
                      </a:lnTo>
                      <a:lnTo>
                        <a:pt x="173" y="76"/>
                      </a:lnTo>
                      <a:lnTo>
                        <a:pt x="168" y="79"/>
                      </a:lnTo>
                      <a:lnTo>
                        <a:pt x="168" y="81"/>
                      </a:lnTo>
                      <a:lnTo>
                        <a:pt x="166" y="83"/>
                      </a:lnTo>
                      <a:lnTo>
                        <a:pt x="166" y="86"/>
                      </a:lnTo>
                      <a:lnTo>
                        <a:pt x="168" y="88"/>
                      </a:lnTo>
                      <a:lnTo>
                        <a:pt x="173" y="91"/>
                      </a:lnTo>
                      <a:lnTo>
                        <a:pt x="173" y="93"/>
                      </a:lnTo>
                      <a:lnTo>
                        <a:pt x="178" y="93"/>
                      </a:lnTo>
                      <a:lnTo>
                        <a:pt x="178" y="95"/>
                      </a:lnTo>
                      <a:lnTo>
                        <a:pt x="178" y="100"/>
                      </a:lnTo>
                      <a:lnTo>
                        <a:pt x="178" y="100"/>
                      </a:lnTo>
                      <a:lnTo>
                        <a:pt x="178" y="100"/>
                      </a:lnTo>
                      <a:lnTo>
                        <a:pt x="178" y="102"/>
                      </a:lnTo>
                      <a:lnTo>
                        <a:pt x="178" y="105"/>
                      </a:lnTo>
                      <a:lnTo>
                        <a:pt x="173" y="109"/>
                      </a:lnTo>
                      <a:lnTo>
                        <a:pt x="171" y="112"/>
                      </a:lnTo>
                      <a:lnTo>
                        <a:pt x="166" y="114"/>
                      </a:lnTo>
                      <a:lnTo>
                        <a:pt x="166" y="117"/>
                      </a:lnTo>
                      <a:lnTo>
                        <a:pt x="166" y="117"/>
                      </a:lnTo>
                      <a:lnTo>
                        <a:pt x="166" y="117"/>
                      </a:lnTo>
                      <a:close/>
                      <a:moveTo>
                        <a:pt x="159" y="109"/>
                      </a:moveTo>
                      <a:lnTo>
                        <a:pt x="159" y="107"/>
                      </a:lnTo>
                      <a:lnTo>
                        <a:pt x="159" y="107"/>
                      </a:lnTo>
                      <a:lnTo>
                        <a:pt x="161" y="107"/>
                      </a:lnTo>
                      <a:lnTo>
                        <a:pt x="161" y="107"/>
                      </a:lnTo>
                      <a:lnTo>
                        <a:pt x="159" y="109"/>
                      </a:lnTo>
                      <a:lnTo>
                        <a:pt x="159" y="109"/>
                      </a:lnTo>
                      <a:lnTo>
                        <a:pt x="159" y="109"/>
                      </a:lnTo>
                      <a:lnTo>
                        <a:pt x="159" y="109"/>
                      </a:lnTo>
                      <a:lnTo>
                        <a:pt x="159" y="109"/>
                      </a:lnTo>
                      <a:close/>
                      <a:moveTo>
                        <a:pt x="156" y="112"/>
                      </a:moveTo>
                      <a:lnTo>
                        <a:pt x="159" y="112"/>
                      </a:lnTo>
                      <a:lnTo>
                        <a:pt x="159" y="112"/>
                      </a:lnTo>
                      <a:lnTo>
                        <a:pt x="159" y="112"/>
                      </a:lnTo>
                      <a:lnTo>
                        <a:pt x="156" y="112"/>
                      </a:lnTo>
                      <a:lnTo>
                        <a:pt x="156" y="112"/>
                      </a:lnTo>
                      <a:close/>
                      <a:moveTo>
                        <a:pt x="156" y="112"/>
                      </a:moveTo>
                      <a:lnTo>
                        <a:pt x="156" y="112"/>
                      </a:lnTo>
                      <a:lnTo>
                        <a:pt x="159" y="112"/>
                      </a:lnTo>
                      <a:lnTo>
                        <a:pt x="159" y="109"/>
                      </a:lnTo>
                      <a:lnTo>
                        <a:pt x="156" y="112"/>
                      </a:lnTo>
                      <a:lnTo>
                        <a:pt x="156" y="112"/>
                      </a:lnTo>
                      <a:close/>
                      <a:moveTo>
                        <a:pt x="62" y="207"/>
                      </a:moveTo>
                      <a:lnTo>
                        <a:pt x="64" y="207"/>
                      </a:lnTo>
                      <a:lnTo>
                        <a:pt x="64" y="207"/>
                      </a:lnTo>
                      <a:lnTo>
                        <a:pt x="62" y="207"/>
                      </a:lnTo>
                      <a:lnTo>
                        <a:pt x="62" y="207"/>
                      </a:lnTo>
                      <a:close/>
                      <a:moveTo>
                        <a:pt x="52" y="211"/>
                      </a:moveTo>
                      <a:lnTo>
                        <a:pt x="50" y="211"/>
                      </a:lnTo>
                      <a:lnTo>
                        <a:pt x="50" y="211"/>
                      </a:lnTo>
                      <a:lnTo>
                        <a:pt x="50" y="211"/>
                      </a:lnTo>
                      <a:lnTo>
                        <a:pt x="52" y="209"/>
                      </a:lnTo>
                      <a:lnTo>
                        <a:pt x="52" y="209"/>
                      </a:lnTo>
                      <a:lnTo>
                        <a:pt x="52" y="207"/>
                      </a:lnTo>
                      <a:lnTo>
                        <a:pt x="55" y="207"/>
                      </a:lnTo>
                      <a:lnTo>
                        <a:pt x="55" y="207"/>
                      </a:lnTo>
                      <a:lnTo>
                        <a:pt x="55" y="204"/>
                      </a:lnTo>
                      <a:lnTo>
                        <a:pt x="55" y="202"/>
                      </a:lnTo>
                      <a:lnTo>
                        <a:pt x="57" y="202"/>
                      </a:lnTo>
                      <a:lnTo>
                        <a:pt x="59" y="204"/>
                      </a:lnTo>
                      <a:lnTo>
                        <a:pt x="59" y="207"/>
                      </a:lnTo>
                      <a:lnTo>
                        <a:pt x="59" y="207"/>
                      </a:lnTo>
                      <a:lnTo>
                        <a:pt x="59" y="207"/>
                      </a:lnTo>
                      <a:lnTo>
                        <a:pt x="59" y="207"/>
                      </a:lnTo>
                      <a:lnTo>
                        <a:pt x="57" y="207"/>
                      </a:lnTo>
                      <a:lnTo>
                        <a:pt x="57" y="207"/>
                      </a:lnTo>
                      <a:lnTo>
                        <a:pt x="57" y="207"/>
                      </a:lnTo>
                      <a:lnTo>
                        <a:pt x="59" y="207"/>
                      </a:lnTo>
                      <a:lnTo>
                        <a:pt x="59" y="209"/>
                      </a:lnTo>
                      <a:lnTo>
                        <a:pt x="59" y="209"/>
                      </a:lnTo>
                      <a:lnTo>
                        <a:pt x="59" y="209"/>
                      </a:lnTo>
                      <a:lnTo>
                        <a:pt x="57" y="209"/>
                      </a:lnTo>
                      <a:lnTo>
                        <a:pt x="55" y="211"/>
                      </a:lnTo>
                      <a:lnTo>
                        <a:pt x="55" y="211"/>
                      </a:lnTo>
                      <a:lnTo>
                        <a:pt x="52" y="211"/>
                      </a:lnTo>
                      <a:lnTo>
                        <a:pt x="52" y="211"/>
                      </a:lnTo>
                      <a:lnTo>
                        <a:pt x="52" y="211"/>
                      </a:lnTo>
                      <a:lnTo>
                        <a:pt x="52" y="211"/>
                      </a:lnTo>
                      <a:close/>
                      <a:moveTo>
                        <a:pt x="50" y="192"/>
                      </a:moveTo>
                      <a:lnTo>
                        <a:pt x="50" y="192"/>
                      </a:lnTo>
                      <a:lnTo>
                        <a:pt x="50" y="190"/>
                      </a:lnTo>
                      <a:lnTo>
                        <a:pt x="50" y="190"/>
                      </a:lnTo>
                      <a:lnTo>
                        <a:pt x="50" y="190"/>
                      </a:lnTo>
                      <a:lnTo>
                        <a:pt x="48" y="190"/>
                      </a:lnTo>
                      <a:lnTo>
                        <a:pt x="50" y="185"/>
                      </a:lnTo>
                      <a:lnTo>
                        <a:pt x="52" y="185"/>
                      </a:lnTo>
                      <a:lnTo>
                        <a:pt x="55" y="185"/>
                      </a:lnTo>
                      <a:lnTo>
                        <a:pt x="55" y="185"/>
                      </a:lnTo>
                      <a:lnTo>
                        <a:pt x="55" y="185"/>
                      </a:lnTo>
                      <a:lnTo>
                        <a:pt x="52" y="183"/>
                      </a:lnTo>
                      <a:lnTo>
                        <a:pt x="52" y="181"/>
                      </a:lnTo>
                      <a:lnTo>
                        <a:pt x="55" y="178"/>
                      </a:lnTo>
                      <a:lnTo>
                        <a:pt x="55" y="178"/>
                      </a:lnTo>
                      <a:lnTo>
                        <a:pt x="57" y="176"/>
                      </a:lnTo>
                      <a:lnTo>
                        <a:pt x="57" y="178"/>
                      </a:lnTo>
                      <a:lnTo>
                        <a:pt x="57" y="178"/>
                      </a:lnTo>
                      <a:lnTo>
                        <a:pt x="59" y="178"/>
                      </a:lnTo>
                      <a:lnTo>
                        <a:pt x="59" y="173"/>
                      </a:lnTo>
                      <a:lnTo>
                        <a:pt x="59" y="173"/>
                      </a:lnTo>
                      <a:lnTo>
                        <a:pt x="62" y="173"/>
                      </a:lnTo>
                      <a:lnTo>
                        <a:pt x="64" y="171"/>
                      </a:lnTo>
                      <a:lnTo>
                        <a:pt x="66" y="171"/>
                      </a:lnTo>
                      <a:lnTo>
                        <a:pt x="66" y="169"/>
                      </a:lnTo>
                      <a:lnTo>
                        <a:pt x="66" y="166"/>
                      </a:lnTo>
                      <a:lnTo>
                        <a:pt x="69" y="166"/>
                      </a:lnTo>
                      <a:lnTo>
                        <a:pt x="69" y="166"/>
                      </a:lnTo>
                      <a:lnTo>
                        <a:pt x="71" y="166"/>
                      </a:lnTo>
                      <a:lnTo>
                        <a:pt x="71" y="166"/>
                      </a:lnTo>
                      <a:lnTo>
                        <a:pt x="71" y="164"/>
                      </a:lnTo>
                      <a:lnTo>
                        <a:pt x="74" y="162"/>
                      </a:lnTo>
                      <a:lnTo>
                        <a:pt x="74" y="162"/>
                      </a:lnTo>
                      <a:lnTo>
                        <a:pt x="78" y="159"/>
                      </a:lnTo>
                      <a:lnTo>
                        <a:pt x="78" y="159"/>
                      </a:lnTo>
                      <a:lnTo>
                        <a:pt x="83" y="157"/>
                      </a:lnTo>
                      <a:lnTo>
                        <a:pt x="83" y="155"/>
                      </a:lnTo>
                      <a:lnTo>
                        <a:pt x="85" y="157"/>
                      </a:lnTo>
                      <a:lnTo>
                        <a:pt x="88" y="157"/>
                      </a:lnTo>
                      <a:lnTo>
                        <a:pt x="88" y="155"/>
                      </a:lnTo>
                      <a:lnTo>
                        <a:pt x="90" y="157"/>
                      </a:lnTo>
                      <a:lnTo>
                        <a:pt x="92" y="157"/>
                      </a:lnTo>
                      <a:lnTo>
                        <a:pt x="92" y="155"/>
                      </a:lnTo>
                      <a:lnTo>
                        <a:pt x="90" y="155"/>
                      </a:lnTo>
                      <a:lnTo>
                        <a:pt x="90" y="152"/>
                      </a:lnTo>
                      <a:lnTo>
                        <a:pt x="95" y="150"/>
                      </a:lnTo>
                      <a:lnTo>
                        <a:pt x="97" y="150"/>
                      </a:lnTo>
                      <a:lnTo>
                        <a:pt x="100" y="147"/>
                      </a:lnTo>
                      <a:lnTo>
                        <a:pt x="104" y="145"/>
                      </a:lnTo>
                      <a:lnTo>
                        <a:pt x="107" y="145"/>
                      </a:lnTo>
                      <a:lnTo>
                        <a:pt x="107" y="143"/>
                      </a:lnTo>
                      <a:lnTo>
                        <a:pt x="109" y="143"/>
                      </a:lnTo>
                      <a:lnTo>
                        <a:pt x="111" y="143"/>
                      </a:lnTo>
                      <a:lnTo>
                        <a:pt x="116" y="138"/>
                      </a:lnTo>
                      <a:lnTo>
                        <a:pt x="121" y="136"/>
                      </a:lnTo>
                      <a:lnTo>
                        <a:pt x="121" y="133"/>
                      </a:lnTo>
                      <a:lnTo>
                        <a:pt x="123" y="131"/>
                      </a:lnTo>
                      <a:lnTo>
                        <a:pt x="123" y="128"/>
                      </a:lnTo>
                      <a:lnTo>
                        <a:pt x="123" y="128"/>
                      </a:lnTo>
                      <a:lnTo>
                        <a:pt x="126" y="126"/>
                      </a:lnTo>
                      <a:lnTo>
                        <a:pt x="126" y="126"/>
                      </a:lnTo>
                      <a:lnTo>
                        <a:pt x="126" y="124"/>
                      </a:lnTo>
                      <a:lnTo>
                        <a:pt x="128" y="121"/>
                      </a:lnTo>
                      <a:lnTo>
                        <a:pt x="130" y="121"/>
                      </a:lnTo>
                      <a:lnTo>
                        <a:pt x="133" y="121"/>
                      </a:lnTo>
                      <a:lnTo>
                        <a:pt x="133" y="119"/>
                      </a:lnTo>
                      <a:lnTo>
                        <a:pt x="135" y="117"/>
                      </a:lnTo>
                      <a:lnTo>
                        <a:pt x="137" y="117"/>
                      </a:lnTo>
                      <a:lnTo>
                        <a:pt x="137" y="114"/>
                      </a:lnTo>
                      <a:lnTo>
                        <a:pt x="140" y="109"/>
                      </a:lnTo>
                      <a:lnTo>
                        <a:pt x="140" y="107"/>
                      </a:lnTo>
                      <a:lnTo>
                        <a:pt x="142" y="105"/>
                      </a:lnTo>
                      <a:lnTo>
                        <a:pt x="145" y="105"/>
                      </a:lnTo>
                      <a:lnTo>
                        <a:pt x="147" y="102"/>
                      </a:lnTo>
                      <a:lnTo>
                        <a:pt x="149" y="102"/>
                      </a:lnTo>
                      <a:lnTo>
                        <a:pt x="147" y="105"/>
                      </a:lnTo>
                      <a:lnTo>
                        <a:pt x="147" y="107"/>
                      </a:lnTo>
                      <a:lnTo>
                        <a:pt x="149" y="107"/>
                      </a:lnTo>
                      <a:lnTo>
                        <a:pt x="149" y="107"/>
                      </a:lnTo>
                      <a:lnTo>
                        <a:pt x="152" y="107"/>
                      </a:lnTo>
                      <a:lnTo>
                        <a:pt x="152" y="107"/>
                      </a:lnTo>
                      <a:lnTo>
                        <a:pt x="152" y="109"/>
                      </a:lnTo>
                      <a:lnTo>
                        <a:pt x="152" y="109"/>
                      </a:lnTo>
                      <a:lnTo>
                        <a:pt x="152" y="109"/>
                      </a:lnTo>
                      <a:lnTo>
                        <a:pt x="149" y="112"/>
                      </a:lnTo>
                      <a:lnTo>
                        <a:pt x="149" y="112"/>
                      </a:lnTo>
                      <a:lnTo>
                        <a:pt x="149" y="114"/>
                      </a:lnTo>
                      <a:lnTo>
                        <a:pt x="152" y="114"/>
                      </a:lnTo>
                      <a:lnTo>
                        <a:pt x="154" y="114"/>
                      </a:lnTo>
                      <a:lnTo>
                        <a:pt x="154" y="112"/>
                      </a:lnTo>
                      <a:lnTo>
                        <a:pt x="156" y="112"/>
                      </a:lnTo>
                      <a:lnTo>
                        <a:pt x="156" y="112"/>
                      </a:lnTo>
                      <a:lnTo>
                        <a:pt x="156" y="114"/>
                      </a:lnTo>
                      <a:lnTo>
                        <a:pt x="159" y="114"/>
                      </a:lnTo>
                      <a:lnTo>
                        <a:pt x="161" y="114"/>
                      </a:lnTo>
                      <a:lnTo>
                        <a:pt x="159" y="114"/>
                      </a:lnTo>
                      <a:lnTo>
                        <a:pt x="159" y="112"/>
                      </a:lnTo>
                      <a:lnTo>
                        <a:pt x="161" y="109"/>
                      </a:lnTo>
                      <a:lnTo>
                        <a:pt x="161" y="112"/>
                      </a:lnTo>
                      <a:lnTo>
                        <a:pt x="161" y="112"/>
                      </a:lnTo>
                      <a:lnTo>
                        <a:pt x="163" y="112"/>
                      </a:lnTo>
                      <a:lnTo>
                        <a:pt x="161" y="114"/>
                      </a:lnTo>
                      <a:lnTo>
                        <a:pt x="159" y="117"/>
                      </a:lnTo>
                      <a:lnTo>
                        <a:pt x="161" y="114"/>
                      </a:lnTo>
                      <a:lnTo>
                        <a:pt x="161" y="114"/>
                      </a:lnTo>
                      <a:lnTo>
                        <a:pt x="159" y="117"/>
                      </a:lnTo>
                      <a:lnTo>
                        <a:pt x="159" y="117"/>
                      </a:lnTo>
                      <a:lnTo>
                        <a:pt x="159" y="119"/>
                      </a:lnTo>
                      <a:lnTo>
                        <a:pt x="159" y="121"/>
                      </a:lnTo>
                      <a:lnTo>
                        <a:pt x="159" y="124"/>
                      </a:lnTo>
                      <a:lnTo>
                        <a:pt x="159" y="124"/>
                      </a:lnTo>
                      <a:lnTo>
                        <a:pt x="161" y="126"/>
                      </a:lnTo>
                      <a:lnTo>
                        <a:pt x="159" y="126"/>
                      </a:lnTo>
                      <a:lnTo>
                        <a:pt x="152" y="131"/>
                      </a:lnTo>
                      <a:lnTo>
                        <a:pt x="152" y="133"/>
                      </a:lnTo>
                      <a:lnTo>
                        <a:pt x="149" y="136"/>
                      </a:lnTo>
                      <a:lnTo>
                        <a:pt x="149" y="136"/>
                      </a:lnTo>
                      <a:lnTo>
                        <a:pt x="147" y="136"/>
                      </a:lnTo>
                      <a:lnTo>
                        <a:pt x="145" y="138"/>
                      </a:lnTo>
                      <a:lnTo>
                        <a:pt x="145" y="140"/>
                      </a:lnTo>
                      <a:lnTo>
                        <a:pt x="142" y="143"/>
                      </a:lnTo>
                      <a:lnTo>
                        <a:pt x="142" y="145"/>
                      </a:lnTo>
                      <a:lnTo>
                        <a:pt x="137" y="147"/>
                      </a:lnTo>
                      <a:lnTo>
                        <a:pt x="135" y="147"/>
                      </a:lnTo>
                      <a:lnTo>
                        <a:pt x="133" y="147"/>
                      </a:lnTo>
                      <a:lnTo>
                        <a:pt x="133" y="152"/>
                      </a:lnTo>
                      <a:lnTo>
                        <a:pt x="133" y="155"/>
                      </a:lnTo>
                      <a:lnTo>
                        <a:pt x="133" y="155"/>
                      </a:lnTo>
                      <a:lnTo>
                        <a:pt x="133" y="155"/>
                      </a:lnTo>
                      <a:lnTo>
                        <a:pt x="135" y="157"/>
                      </a:lnTo>
                      <a:lnTo>
                        <a:pt x="135" y="159"/>
                      </a:lnTo>
                      <a:lnTo>
                        <a:pt x="133" y="159"/>
                      </a:lnTo>
                      <a:lnTo>
                        <a:pt x="133" y="159"/>
                      </a:lnTo>
                      <a:lnTo>
                        <a:pt x="133" y="157"/>
                      </a:lnTo>
                      <a:lnTo>
                        <a:pt x="133" y="157"/>
                      </a:lnTo>
                      <a:lnTo>
                        <a:pt x="130" y="157"/>
                      </a:lnTo>
                      <a:lnTo>
                        <a:pt x="130" y="159"/>
                      </a:lnTo>
                      <a:lnTo>
                        <a:pt x="130" y="159"/>
                      </a:lnTo>
                      <a:lnTo>
                        <a:pt x="128" y="159"/>
                      </a:lnTo>
                      <a:lnTo>
                        <a:pt x="126" y="159"/>
                      </a:lnTo>
                      <a:lnTo>
                        <a:pt x="128" y="159"/>
                      </a:lnTo>
                      <a:lnTo>
                        <a:pt x="128" y="157"/>
                      </a:lnTo>
                      <a:lnTo>
                        <a:pt x="128" y="157"/>
                      </a:lnTo>
                      <a:lnTo>
                        <a:pt x="126" y="157"/>
                      </a:lnTo>
                      <a:lnTo>
                        <a:pt x="126" y="159"/>
                      </a:lnTo>
                      <a:lnTo>
                        <a:pt x="123" y="159"/>
                      </a:lnTo>
                      <a:lnTo>
                        <a:pt x="123" y="159"/>
                      </a:lnTo>
                      <a:lnTo>
                        <a:pt x="123" y="157"/>
                      </a:lnTo>
                      <a:lnTo>
                        <a:pt x="121" y="157"/>
                      </a:lnTo>
                      <a:lnTo>
                        <a:pt x="123" y="157"/>
                      </a:lnTo>
                      <a:lnTo>
                        <a:pt x="123" y="159"/>
                      </a:lnTo>
                      <a:lnTo>
                        <a:pt x="121" y="162"/>
                      </a:lnTo>
                      <a:lnTo>
                        <a:pt x="121" y="162"/>
                      </a:lnTo>
                      <a:lnTo>
                        <a:pt x="119" y="162"/>
                      </a:lnTo>
                      <a:lnTo>
                        <a:pt x="116" y="162"/>
                      </a:lnTo>
                      <a:lnTo>
                        <a:pt x="116" y="162"/>
                      </a:lnTo>
                      <a:lnTo>
                        <a:pt x="114" y="162"/>
                      </a:lnTo>
                      <a:lnTo>
                        <a:pt x="114" y="164"/>
                      </a:lnTo>
                      <a:lnTo>
                        <a:pt x="111" y="164"/>
                      </a:lnTo>
                      <a:lnTo>
                        <a:pt x="111" y="166"/>
                      </a:lnTo>
                      <a:lnTo>
                        <a:pt x="109" y="169"/>
                      </a:lnTo>
                      <a:lnTo>
                        <a:pt x="109" y="169"/>
                      </a:lnTo>
                      <a:lnTo>
                        <a:pt x="107" y="173"/>
                      </a:lnTo>
                      <a:lnTo>
                        <a:pt x="107" y="176"/>
                      </a:lnTo>
                      <a:lnTo>
                        <a:pt x="104" y="176"/>
                      </a:lnTo>
                      <a:lnTo>
                        <a:pt x="100" y="181"/>
                      </a:lnTo>
                      <a:lnTo>
                        <a:pt x="100" y="181"/>
                      </a:lnTo>
                      <a:lnTo>
                        <a:pt x="97" y="185"/>
                      </a:lnTo>
                      <a:lnTo>
                        <a:pt x="97" y="188"/>
                      </a:lnTo>
                      <a:lnTo>
                        <a:pt x="95" y="190"/>
                      </a:lnTo>
                      <a:lnTo>
                        <a:pt x="95" y="190"/>
                      </a:lnTo>
                      <a:lnTo>
                        <a:pt x="95" y="190"/>
                      </a:lnTo>
                      <a:lnTo>
                        <a:pt x="92" y="192"/>
                      </a:lnTo>
                      <a:lnTo>
                        <a:pt x="95" y="192"/>
                      </a:lnTo>
                      <a:lnTo>
                        <a:pt x="95" y="192"/>
                      </a:lnTo>
                      <a:lnTo>
                        <a:pt x="95" y="192"/>
                      </a:lnTo>
                      <a:lnTo>
                        <a:pt x="90" y="192"/>
                      </a:lnTo>
                      <a:lnTo>
                        <a:pt x="88" y="195"/>
                      </a:lnTo>
                      <a:lnTo>
                        <a:pt x="85" y="195"/>
                      </a:lnTo>
                      <a:lnTo>
                        <a:pt x="85" y="197"/>
                      </a:lnTo>
                      <a:lnTo>
                        <a:pt x="83" y="200"/>
                      </a:lnTo>
                      <a:lnTo>
                        <a:pt x="83" y="197"/>
                      </a:lnTo>
                      <a:lnTo>
                        <a:pt x="81" y="197"/>
                      </a:lnTo>
                      <a:lnTo>
                        <a:pt x="83" y="197"/>
                      </a:lnTo>
                      <a:lnTo>
                        <a:pt x="83" y="200"/>
                      </a:lnTo>
                      <a:lnTo>
                        <a:pt x="81" y="200"/>
                      </a:lnTo>
                      <a:lnTo>
                        <a:pt x="76" y="202"/>
                      </a:lnTo>
                      <a:lnTo>
                        <a:pt x="74" y="204"/>
                      </a:lnTo>
                      <a:lnTo>
                        <a:pt x="71" y="204"/>
                      </a:lnTo>
                      <a:lnTo>
                        <a:pt x="69" y="204"/>
                      </a:lnTo>
                      <a:lnTo>
                        <a:pt x="69" y="202"/>
                      </a:lnTo>
                      <a:lnTo>
                        <a:pt x="64" y="204"/>
                      </a:lnTo>
                      <a:lnTo>
                        <a:pt x="64" y="204"/>
                      </a:lnTo>
                      <a:lnTo>
                        <a:pt x="66" y="202"/>
                      </a:lnTo>
                      <a:lnTo>
                        <a:pt x="64" y="202"/>
                      </a:lnTo>
                      <a:lnTo>
                        <a:pt x="62" y="200"/>
                      </a:lnTo>
                      <a:lnTo>
                        <a:pt x="62" y="197"/>
                      </a:lnTo>
                      <a:lnTo>
                        <a:pt x="62" y="197"/>
                      </a:lnTo>
                      <a:lnTo>
                        <a:pt x="59" y="197"/>
                      </a:lnTo>
                      <a:lnTo>
                        <a:pt x="59" y="197"/>
                      </a:lnTo>
                      <a:lnTo>
                        <a:pt x="59" y="195"/>
                      </a:lnTo>
                      <a:lnTo>
                        <a:pt x="59" y="195"/>
                      </a:lnTo>
                      <a:lnTo>
                        <a:pt x="57" y="192"/>
                      </a:lnTo>
                      <a:lnTo>
                        <a:pt x="55" y="192"/>
                      </a:lnTo>
                      <a:lnTo>
                        <a:pt x="55" y="195"/>
                      </a:lnTo>
                      <a:lnTo>
                        <a:pt x="55" y="195"/>
                      </a:lnTo>
                      <a:lnTo>
                        <a:pt x="55" y="195"/>
                      </a:lnTo>
                      <a:lnTo>
                        <a:pt x="52" y="195"/>
                      </a:lnTo>
                      <a:lnTo>
                        <a:pt x="50" y="192"/>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8" name="Freeform 163">
                  <a:extLst>
                    <a:ext uri="{FF2B5EF4-FFF2-40B4-BE49-F238E27FC236}">
                      <a16:creationId xmlns:a16="http://schemas.microsoft.com/office/drawing/2014/main" id="{5F7210FE-2E6B-F636-6E33-3AB9AABB5CAB}"/>
                    </a:ext>
                  </a:extLst>
                </p:cNvPr>
                <p:cNvSpPr>
                  <a:spLocks noEditPoints="1"/>
                </p:cNvSpPr>
                <p:nvPr/>
              </p:nvSpPr>
              <p:spPr bwMode="auto">
                <a:xfrm>
                  <a:off x="2427" y="1780"/>
                  <a:ext cx="99" cy="59"/>
                </a:xfrm>
                <a:custGeom>
                  <a:avLst/>
                  <a:gdLst>
                    <a:gd name="T0" fmla="*/ 35 w 99"/>
                    <a:gd name="T1" fmla="*/ 56 h 59"/>
                    <a:gd name="T2" fmla="*/ 31 w 99"/>
                    <a:gd name="T3" fmla="*/ 49 h 59"/>
                    <a:gd name="T4" fmla="*/ 42 w 99"/>
                    <a:gd name="T5" fmla="*/ 56 h 59"/>
                    <a:gd name="T6" fmla="*/ 54 w 99"/>
                    <a:gd name="T7" fmla="*/ 52 h 59"/>
                    <a:gd name="T8" fmla="*/ 61 w 99"/>
                    <a:gd name="T9" fmla="*/ 49 h 59"/>
                    <a:gd name="T10" fmla="*/ 66 w 99"/>
                    <a:gd name="T11" fmla="*/ 47 h 59"/>
                    <a:gd name="T12" fmla="*/ 71 w 99"/>
                    <a:gd name="T13" fmla="*/ 47 h 59"/>
                    <a:gd name="T14" fmla="*/ 83 w 99"/>
                    <a:gd name="T15" fmla="*/ 37 h 59"/>
                    <a:gd name="T16" fmla="*/ 90 w 99"/>
                    <a:gd name="T17" fmla="*/ 37 h 59"/>
                    <a:gd name="T18" fmla="*/ 90 w 99"/>
                    <a:gd name="T19" fmla="*/ 33 h 59"/>
                    <a:gd name="T20" fmla="*/ 97 w 99"/>
                    <a:gd name="T21" fmla="*/ 30 h 59"/>
                    <a:gd name="T22" fmla="*/ 95 w 99"/>
                    <a:gd name="T23" fmla="*/ 23 h 59"/>
                    <a:gd name="T24" fmla="*/ 92 w 99"/>
                    <a:gd name="T25" fmla="*/ 19 h 59"/>
                    <a:gd name="T26" fmla="*/ 90 w 99"/>
                    <a:gd name="T27" fmla="*/ 16 h 59"/>
                    <a:gd name="T28" fmla="*/ 90 w 99"/>
                    <a:gd name="T29" fmla="*/ 9 h 59"/>
                    <a:gd name="T30" fmla="*/ 87 w 99"/>
                    <a:gd name="T31" fmla="*/ 4 h 59"/>
                    <a:gd name="T32" fmla="*/ 85 w 99"/>
                    <a:gd name="T33" fmla="*/ 7 h 59"/>
                    <a:gd name="T34" fmla="*/ 80 w 99"/>
                    <a:gd name="T35" fmla="*/ 4 h 59"/>
                    <a:gd name="T36" fmla="*/ 73 w 99"/>
                    <a:gd name="T37" fmla="*/ 4 h 59"/>
                    <a:gd name="T38" fmla="*/ 69 w 99"/>
                    <a:gd name="T39" fmla="*/ 7 h 59"/>
                    <a:gd name="T40" fmla="*/ 61 w 99"/>
                    <a:gd name="T41" fmla="*/ 7 h 59"/>
                    <a:gd name="T42" fmla="*/ 59 w 99"/>
                    <a:gd name="T43" fmla="*/ 14 h 59"/>
                    <a:gd name="T44" fmla="*/ 54 w 99"/>
                    <a:gd name="T45" fmla="*/ 9 h 59"/>
                    <a:gd name="T46" fmla="*/ 47 w 99"/>
                    <a:gd name="T47" fmla="*/ 11 h 59"/>
                    <a:gd name="T48" fmla="*/ 42 w 99"/>
                    <a:gd name="T49" fmla="*/ 7 h 59"/>
                    <a:gd name="T50" fmla="*/ 38 w 99"/>
                    <a:gd name="T51" fmla="*/ 19 h 59"/>
                    <a:gd name="T52" fmla="*/ 33 w 99"/>
                    <a:gd name="T53" fmla="*/ 21 h 59"/>
                    <a:gd name="T54" fmla="*/ 28 w 99"/>
                    <a:gd name="T55" fmla="*/ 19 h 59"/>
                    <a:gd name="T56" fmla="*/ 26 w 99"/>
                    <a:gd name="T57" fmla="*/ 11 h 59"/>
                    <a:gd name="T58" fmla="*/ 31 w 99"/>
                    <a:gd name="T59" fmla="*/ 9 h 59"/>
                    <a:gd name="T60" fmla="*/ 24 w 99"/>
                    <a:gd name="T61" fmla="*/ 2 h 59"/>
                    <a:gd name="T62" fmla="*/ 14 w 99"/>
                    <a:gd name="T63" fmla="*/ 2 h 59"/>
                    <a:gd name="T64" fmla="*/ 19 w 99"/>
                    <a:gd name="T65" fmla="*/ 2 h 59"/>
                    <a:gd name="T66" fmla="*/ 16 w 99"/>
                    <a:gd name="T67" fmla="*/ 4 h 59"/>
                    <a:gd name="T68" fmla="*/ 19 w 99"/>
                    <a:gd name="T69" fmla="*/ 9 h 59"/>
                    <a:gd name="T70" fmla="*/ 14 w 99"/>
                    <a:gd name="T71" fmla="*/ 4 h 59"/>
                    <a:gd name="T72" fmla="*/ 9 w 99"/>
                    <a:gd name="T73" fmla="*/ 7 h 59"/>
                    <a:gd name="T74" fmla="*/ 9 w 99"/>
                    <a:gd name="T75" fmla="*/ 9 h 59"/>
                    <a:gd name="T76" fmla="*/ 9 w 99"/>
                    <a:gd name="T77" fmla="*/ 14 h 59"/>
                    <a:gd name="T78" fmla="*/ 5 w 99"/>
                    <a:gd name="T79" fmla="*/ 11 h 59"/>
                    <a:gd name="T80" fmla="*/ 2 w 99"/>
                    <a:gd name="T81" fmla="*/ 14 h 59"/>
                    <a:gd name="T82" fmla="*/ 7 w 99"/>
                    <a:gd name="T83" fmla="*/ 19 h 59"/>
                    <a:gd name="T84" fmla="*/ 12 w 99"/>
                    <a:gd name="T85" fmla="*/ 16 h 59"/>
                    <a:gd name="T86" fmla="*/ 19 w 99"/>
                    <a:gd name="T87" fmla="*/ 16 h 59"/>
                    <a:gd name="T88" fmla="*/ 21 w 99"/>
                    <a:gd name="T89" fmla="*/ 16 h 59"/>
                    <a:gd name="T90" fmla="*/ 24 w 99"/>
                    <a:gd name="T91" fmla="*/ 21 h 59"/>
                    <a:gd name="T92" fmla="*/ 16 w 99"/>
                    <a:gd name="T93" fmla="*/ 23 h 59"/>
                    <a:gd name="T94" fmla="*/ 24 w 99"/>
                    <a:gd name="T95" fmla="*/ 23 h 59"/>
                    <a:gd name="T96" fmla="*/ 14 w 99"/>
                    <a:gd name="T97" fmla="*/ 26 h 59"/>
                    <a:gd name="T98" fmla="*/ 14 w 99"/>
                    <a:gd name="T99" fmla="*/ 26 h 59"/>
                    <a:gd name="T100" fmla="*/ 5 w 99"/>
                    <a:gd name="T101" fmla="*/ 26 h 59"/>
                    <a:gd name="T102" fmla="*/ 7 w 99"/>
                    <a:gd name="T103" fmla="*/ 30 h 59"/>
                    <a:gd name="T104" fmla="*/ 16 w 99"/>
                    <a:gd name="T105" fmla="*/ 33 h 59"/>
                    <a:gd name="T106" fmla="*/ 19 w 99"/>
                    <a:gd name="T107" fmla="*/ 35 h 59"/>
                    <a:gd name="T108" fmla="*/ 21 w 99"/>
                    <a:gd name="T109" fmla="*/ 40 h 59"/>
                    <a:gd name="T110" fmla="*/ 24 w 99"/>
                    <a:gd name="T111" fmla="*/ 40 h 59"/>
                    <a:gd name="T112" fmla="*/ 16 w 99"/>
                    <a:gd name="T113" fmla="*/ 42 h 59"/>
                    <a:gd name="T114" fmla="*/ 12 w 99"/>
                    <a:gd name="T115" fmla="*/ 42 h 59"/>
                    <a:gd name="T116" fmla="*/ 14 w 99"/>
                    <a:gd name="T117" fmla="*/ 49 h 59"/>
                    <a:gd name="T118" fmla="*/ 26 w 99"/>
                    <a:gd name="T119" fmla="*/ 4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9" h="59">
                      <a:moveTo>
                        <a:pt x="35" y="59"/>
                      </a:moveTo>
                      <a:lnTo>
                        <a:pt x="33" y="56"/>
                      </a:lnTo>
                      <a:lnTo>
                        <a:pt x="35" y="54"/>
                      </a:lnTo>
                      <a:lnTo>
                        <a:pt x="35" y="54"/>
                      </a:lnTo>
                      <a:lnTo>
                        <a:pt x="35" y="56"/>
                      </a:lnTo>
                      <a:lnTo>
                        <a:pt x="35" y="59"/>
                      </a:lnTo>
                      <a:lnTo>
                        <a:pt x="35" y="59"/>
                      </a:lnTo>
                      <a:close/>
                      <a:moveTo>
                        <a:pt x="28" y="49"/>
                      </a:moveTo>
                      <a:lnTo>
                        <a:pt x="31" y="49"/>
                      </a:lnTo>
                      <a:lnTo>
                        <a:pt x="31" y="49"/>
                      </a:lnTo>
                      <a:lnTo>
                        <a:pt x="33" y="52"/>
                      </a:lnTo>
                      <a:lnTo>
                        <a:pt x="35" y="54"/>
                      </a:lnTo>
                      <a:lnTo>
                        <a:pt x="38" y="52"/>
                      </a:lnTo>
                      <a:lnTo>
                        <a:pt x="40" y="52"/>
                      </a:lnTo>
                      <a:lnTo>
                        <a:pt x="42" y="56"/>
                      </a:lnTo>
                      <a:lnTo>
                        <a:pt x="47" y="54"/>
                      </a:lnTo>
                      <a:lnTo>
                        <a:pt x="50" y="56"/>
                      </a:lnTo>
                      <a:lnTo>
                        <a:pt x="52" y="54"/>
                      </a:lnTo>
                      <a:lnTo>
                        <a:pt x="52" y="52"/>
                      </a:lnTo>
                      <a:lnTo>
                        <a:pt x="54" y="52"/>
                      </a:lnTo>
                      <a:lnTo>
                        <a:pt x="54" y="54"/>
                      </a:lnTo>
                      <a:lnTo>
                        <a:pt x="57" y="54"/>
                      </a:lnTo>
                      <a:lnTo>
                        <a:pt x="59" y="52"/>
                      </a:lnTo>
                      <a:lnTo>
                        <a:pt x="59" y="49"/>
                      </a:lnTo>
                      <a:lnTo>
                        <a:pt x="61" y="49"/>
                      </a:lnTo>
                      <a:lnTo>
                        <a:pt x="61" y="49"/>
                      </a:lnTo>
                      <a:lnTo>
                        <a:pt x="61" y="52"/>
                      </a:lnTo>
                      <a:lnTo>
                        <a:pt x="61" y="49"/>
                      </a:lnTo>
                      <a:lnTo>
                        <a:pt x="64" y="49"/>
                      </a:lnTo>
                      <a:lnTo>
                        <a:pt x="66" y="47"/>
                      </a:lnTo>
                      <a:lnTo>
                        <a:pt x="69" y="47"/>
                      </a:lnTo>
                      <a:lnTo>
                        <a:pt x="69" y="47"/>
                      </a:lnTo>
                      <a:lnTo>
                        <a:pt x="71" y="47"/>
                      </a:lnTo>
                      <a:lnTo>
                        <a:pt x="71" y="49"/>
                      </a:lnTo>
                      <a:lnTo>
                        <a:pt x="71" y="47"/>
                      </a:lnTo>
                      <a:lnTo>
                        <a:pt x="76" y="45"/>
                      </a:lnTo>
                      <a:lnTo>
                        <a:pt x="78" y="42"/>
                      </a:lnTo>
                      <a:lnTo>
                        <a:pt x="83" y="40"/>
                      </a:lnTo>
                      <a:lnTo>
                        <a:pt x="85" y="40"/>
                      </a:lnTo>
                      <a:lnTo>
                        <a:pt x="83" y="37"/>
                      </a:lnTo>
                      <a:lnTo>
                        <a:pt x="85" y="37"/>
                      </a:lnTo>
                      <a:lnTo>
                        <a:pt x="85" y="37"/>
                      </a:lnTo>
                      <a:lnTo>
                        <a:pt x="85" y="40"/>
                      </a:lnTo>
                      <a:lnTo>
                        <a:pt x="87" y="40"/>
                      </a:lnTo>
                      <a:lnTo>
                        <a:pt x="90" y="37"/>
                      </a:lnTo>
                      <a:lnTo>
                        <a:pt x="90" y="37"/>
                      </a:lnTo>
                      <a:lnTo>
                        <a:pt x="90" y="35"/>
                      </a:lnTo>
                      <a:lnTo>
                        <a:pt x="90" y="35"/>
                      </a:lnTo>
                      <a:lnTo>
                        <a:pt x="92" y="35"/>
                      </a:lnTo>
                      <a:lnTo>
                        <a:pt x="90" y="33"/>
                      </a:lnTo>
                      <a:lnTo>
                        <a:pt x="92" y="30"/>
                      </a:lnTo>
                      <a:lnTo>
                        <a:pt x="92" y="33"/>
                      </a:lnTo>
                      <a:lnTo>
                        <a:pt x="95" y="33"/>
                      </a:lnTo>
                      <a:lnTo>
                        <a:pt x="95" y="33"/>
                      </a:lnTo>
                      <a:lnTo>
                        <a:pt x="97" y="30"/>
                      </a:lnTo>
                      <a:lnTo>
                        <a:pt x="97" y="30"/>
                      </a:lnTo>
                      <a:lnTo>
                        <a:pt x="95" y="28"/>
                      </a:lnTo>
                      <a:lnTo>
                        <a:pt x="95" y="26"/>
                      </a:lnTo>
                      <a:lnTo>
                        <a:pt x="95" y="26"/>
                      </a:lnTo>
                      <a:lnTo>
                        <a:pt x="95" y="23"/>
                      </a:lnTo>
                      <a:lnTo>
                        <a:pt x="97" y="21"/>
                      </a:lnTo>
                      <a:lnTo>
                        <a:pt x="99" y="21"/>
                      </a:lnTo>
                      <a:lnTo>
                        <a:pt x="99" y="21"/>
                      </a:lnTo>
                      <a:lnTo>
                        <a:pt x="97" y="19"/>
                      </a:lnTo>
                      <a:lnTo>
                        <a:pt x="92" y="19"/>
                      </a:lnTo>
                      <a:lnTo>
                        <a:pt x="92" y="19"/>
                      </a:lnTo>
                      <a:lnTo>
                        <a:pt x="92" y="19"/>
                      </a:lnTo>
                      <a:lnTo>
                        <a:pt x="92" y="16"/>
                      </a:lnTo>
                      <a:lnTo>
                        <a:pt x="90" y="16"/>
                      </a:lnTo>
                      <a:lnTo>
                        <a:pt x="90" y="16"/>
                      </a:lnTo>
                      <a:lnTo>
                        <a:pt x="90" y="14"/>
                      </a:lnTo>
                      <a:lnTo>
                        <a:pt x="90" y="14"/>
                      </a:lnTo>
                      <a:lnTo>
                        <a:pt x="92" y="11"/>
                      </a:lnTo>
                      <a:lnTo>
                        <a:pt x="92" y="9"/>
                      </a:lnTo>
                      <a:lnTo>
                        <a:pt x="90" y="9"/>
                      </a:lnTo>
                      <a:lnTo>
                        <a:pt x="90" y="9"/>
                      </a:lnTo>
                      <a:lnTo>
                        <a:pt x="87" y="9"/>
                      </a:lnTo>
                      <a:lnTo>
                        <a:pt x="85" y="7"/>
                      </a:lnTo>
                      <a:lnTo>
                        <a:pt x="87" y="7"/>
                      </a:lnTo>
                      <a:lnTo>
                        <a:pt x="87" y="4"/>
                      </a:lnTo>
                      <a:lnTo>
                        <a:pt x="90" y="4"/>
                      </a:lnTo>
                      <a:lnTo>
                        <a:pt x="92" y="4"/>
                      </a:lnTo>
                      <a:lnTo>
                        <a:pt x="90" y="2"/>
                      </a:lnTo>
                      <a:lnTo>
                        <a:pt x="87" y="4"/>
                      </a:lnTo>
                      <a:lnTo>
                        <a:pt x="85" y="7"/>
                      </a:lnTo>
                      <a:lnTo>
                        <a:pt x="83" y="9"/>
                      </a:lnTo>
                      <a:lnTo>
                        <a:pt x="83" y="9"/>
                      </a:lnTo>
                      <a:lnTo>
                        <a:pt x="80" y="7"/>
                      </a:lnTo>
                      <a:lnTo>
                        <a:pt x="80" y="4"/>
                      </a:lnTo>
                      <a:lnTo>
                        <a:pt x="80" y="4"/>
                      </a:lnTo>
                      <a:lnTo>
                        <a:pt x="80" y="2"/>
                      </a:lnTo>
                      <a:lnTo>
                        <a:pt x="78" y="2"/>
                      </a:lnTo>
                      <a:lnTo>
                        <a:pt x="76" y="2"/>
                      </a:lnTo>
                      <a:lnTo>
                        <a:pt x="76" y="2"/>
                      </a:lnTo>
                      <a:lnTo>
                        <a:pt x="73" y="4"/>
                      </a:lnTo>
                      <a:lnTo>
                        <a:pt x="76" y="7"/>
                      </a:lnTo>
                      <a:lnTo>
                        <a:pt x="73" y="7"/>
                      </a:lnTo>
                      <a:lnTo>
                        <a:pt x="71" y="7"/>
                      </a:lnTo>
                      <a:lnTo>
                        <a:pt x="69" y="9"/>
                      </a:lnTo>
                      <a:lnTo>
                        <a:pt x="69" y="7"/>
                      </a:lnTo>
                      <a:lnTo>
                        <a:pt x="69" y="7"/>
                      </a:lnTo>
                      <a:lnTo>
                        <a:pt x="66" y="7"/>
                      </a:lnTo>
                      <a:lnTo>
                        <a:pt x="66" y="11"/>
                      </a:lnTo>
                      <a:lnTo>
                        <a:pt x="64" y="9"/>
                      </a:lnTo>
                      <a:lnTo>
                        <a:pt x="61" y="7"/>
                      </a:lnTo>
                      <a:lnTo>
                        <a:pt x="59" y="7"/>
                      </a:lnTo>
                      <a:lnTo>
                        <a:pt x="59" y="7"/>
                      </a:lnTo>
                      <a:lnTo>
                        <a:pt x="57" y="7"/>
                      </a:lnTo>
                      <a:lnTo>
                        <a:pt x="57" y="11"/>
                      </a:lnTo>
                      <a:lnTo>
                        <a:pt x="59" y="14"/>
                      </a:lnTo>
                      <a:lnTo>
                        <a:pt x="57" y="19"/>
                      </a:lnTo>
                      <a:lnTo>
                        <a:pt x="57" y="14"/>
                      </a:lnTo>
                      <a:lnTo>
                        <a:pt x="54" y="11"/>
                      </a:lnTo>
                      <a:lnTo>
                        <a:pt x="54" y="9"/>
                      </a:lnTo>
                      <a:lnTo>
                        <a:pt x="54" y="9"/>
                      </a:lnTo>
                      <a:lnTo>
                        <a:pt x="54" y="7"/>
                      </a:lnTo>
                      <a:lnTo>
                        <a:pt x="52" y="7"/>
                      </a:lnTo>
                      <a:lnTo>
                        <a:pt x="47" y="9"/>
                      </a:lnTo>
                      <a:lnTo>
                        <a:pt x="47" y="11"/>
                      </a:lnTo>
                      <a:lnTo>
                        <a:pt x="47" y="11"/>
                      </a:lnTo>
                      <a:lnTo>
                        <a:pt x="45" y="16"/>
                      </a:lnTo>
                      <a:lnTo>
                        <a:pt x="45" y="16"/>
                      </a:lnTo>
                      <a:lnTo>
                        <a:pt x="45" y="11"/>
                      </a:lnTo>
                      <a:lnTo>
                        <a:pt x="42" y="11"/>
                      </a:lnTo>
                      <a:lnTo>
                        <a:pt x="42" y="7"/>
                      </a:lnTo>
                      <a:lnTo>
                        <a:pt x="40" y="7"/>
                      </a:lnTo>
                      <a:lnTo>
                        <a:pt x="38" y="9"/>
                      </a:lnTo>
                      <a:lnTo>
                        <a:pt x="38" y="14"/>
                      </a:lnTo>
                      <a:lnTo>
                        <a:pt x="40" y="14"/>
                      </a:lnTo>
                      <a:lnTo>
                        <a:pt x="38" y="19"/>
                      </a:lnTo>
                      <a:lnTo>
                        <a:pt x="38" y="19"/>
                      </a:lnTo>
                      <a:lnTo>
                        <a:pt x="35" y="19"/>
                      </a:lnTo>
                      <a:lnTo>
                        <a:pt x="35" y="16"/>
                      </a:lnTo>
                      <a:lnTo>
                        <a:pt x="33" y="19"/>
                      </a:lnTo>
                      <a:lnTo>
                        <a:pt x="33" y="21"/>
                      </a:lnTo>
                      <a:lnTo>
                        <a:pt x="31" y="21"/>
                      </a:lnTo>
                      <a:lnTo>
                        <a:pt x="31" y="23"/>
                      </a:lnTo>
                      <a:lnTo>
                        <a:pt x="28" y="21"/>
                      </a:lnTo>
                      <a:lnTo>
                        <a:pt x="28" y="21"/>
                      </a:lnTo>
                      <a:lnTo>
                        <a:pt x="28" y="19"/>
                      </a:lnTo>
                      <a:lnTo>
                        <a:pt x="31" y="19"/>
                      </a:lnTo>
                      <a:lnTo>
                        <a:pt x="31" y="16"/>
                      </a:lnTo>
                      <a:lnTo>
                        <a:pt x="26" y="16"/>
                      </a:lnTo>
                      <a:lnTo>
                        <a:pt x="28" y="14"/>
                      </a:lnTo>
                      <a:lnTo>
                        <a:pt x="26" y="11"/>
                      </a:lnTo>
                      <a:lnTo>
                        <a:pt x="28" y="14"/>
                      </a:lnTo>
                      <a:lnTo>
                        <a:pt x="31" y="11"/>
                      </a:lnTo>
                      <a:lnTo>
                        <a:pt x="31" y="11"/>
                      </a:lnTo>
                      <a:lnTo>
                        <a:pt x="28" y="9"/>
                      </a:lnTo>
                      <a:lnTo>
                        <a:pt x="31" y="9"/>
                      </a:lnTo>
                      <a:lnTo>
                        <a:pt x="28" y="7"/>
                      </a:lnTo>
                      <a:lnTo>
                        <a:pt x="26" y="7"/>
                      </a:lnTo>
                      <a:lnTo>
                        <a:pt x="26" y="7"/>
                      </a:lnTo>
                      <a:lnTo>
                        <a:pt x="24" y="4"/>
                      </a:lnTo>
                      <a:lnTo>
                        <a:pt x="24" y="2"/>
                      </a:lnTo>
                      <a:lnTo>
                        <a:pt x="21" y="2"/>
                      </a:lnTo>
                      <a:lnTo>
                        <a:pt x="19" y="2"/>
                      </a:lnTo>
                      <a:lnTo>
                        <a:pt x="16" y="0"/>
                      </a:lnTo>
                      <a:lnTo>
                        <a:pt x="14" y="2"/>
                      </a:lnTo>
                      <a:lnTo>
                        <a:pt x="14" y="2"/>
                      </a:lnTo>
                      <a:lnTo>
                        <a:pt x="14" y="2"/>
                      </a:lnTo>
                      <a:lnTo>
                        <a:pt x="16" y="2"/>
                      </a:lnTo>
                      <a:lnTo>
                        <a:pt x="16" y="2"/>
                      </a:lnTo>
                      <a:lnTo>
                        <a:pt x="19" y="2"/>
                      </a:lnTo>
                      <a:lnTo>
                        <a:pt x="19" y="2"/>
                      </a:lnTo>
                      <a:lnTo>
                        <a:pt x="21" y="4"/>
                      </a:lnTo>
                      <a:lnTo>
                        <a:pt x="19" y="4"/>
                      </a:lnTo>
                      <a:lnTo>
                        <a:pt x="19" y="4"/>
                      </a:lnTo>
                      <a:lnTo>
                        <a:pt x="16" y="4"/>
                      </a:lnTo>
                      <a:lnTo>
                        <a:pt x="16" y="4"/>
                      </a:lnTo>
                      <a:lnTo>
                        <a:pt x="19" y="7"/>
                      </a:lnTo>
                      <a:lnTo>
                        <a:pt x="21" y="9"/>
                      </a:lnTo>
                      <a:lnTo>
                        <a:pt x="21" y="9"/>
                      </a:lnTo>
                      <a:lnTo>
                        <a:pt x="19" y="9"/>
                      </a:lnTo>
                      <a:lnTo>
                        <a:pt x="19" y="9"/>
                      </a:lnTo>
                      <a:lnTo>
                        <a:pt x="16" y="7"/>
                      </a:lnTo>
                      <a:lnTo>
                        <a:pt x="16" y="9"/>
                      </a:lnTo>
                      <a:lnTo>
                        <a:pt x="14" y="9"/>
                      </a:lnTo>
                      <a:lnTo>
                        <a:pt x="14" y="7"/>
                      </a:lnTo>
                      <a:lnTo>
                        <a:pt x="14" y="4"/>
                      </a:lnTo>
                      <a:lnTo>
                        <a:pt x="12" y="4"/>
                      </a:lnTo>
                      <a:lnTo>
                        <a:pt x="9" y="4"/>
                      </a:lnTo>
                      <a:lnTo>
                        <a:pt x="12" y="7"/>
                      </a:lnTo>
                      <a:lnTo>
                        <a:pt x="12" y="9"/>
                      </a:lnTo>
                      <a:lnTo>
                        <a:pt x="9" y="7"/>
                      </a:lnTo>
                      <a:lnTo>
                        <a:pt x="7" y="7"/>
                      </a:lnTo>
                      <a:lnTo>
                        <a:pt x="7" y="7"/>
                      </a:lnTo>
                      <a:lnTo>
                        <a:pt x="9" y="9"/>
                      </a:lnTo>
                      <a:lnTo>
                        <a:pt x="9" y="9"/>
                      </a:lnTo>
                      <a:lnTo>
                        <a:pt x="9" y="9"/>
                      </a:lnTo>
                      <a:lnTo>
                        <a:pt x="9" y="9"/>
                      </a:lnTo>
                      <a:lnTo>
                        <a:pt x="7" y="9"/>
                      </a:lnTo>
                      <a:lnTo>
                        <a:pt x="7" y="11"/>
                      </a:lnTo>
                      <a:lnTo>
                        <a:pt x="9" y="14"/>
                      </a:lnTo>
                      <a:lnTo>
                        <a:pt x="9" y="14"/>
                      </a:lnTo>
                      <a:lnTo>
                        <a:pt x="9" y="14"/>
                      </a:lnTo>
                      <a:lnTo>
                        <a:pt x="9" y="14"/>
                      </a:lnTo>
                      <a:lnTo>
                        <a:pt x="9" y="14"/>
                      </a:lnTo>
                      <a:lnTo>
                        <a:pt x="5" y="11"/>
                      </a:lnTo>
                      <a:lnTo>
                        <a:pt x="5" y="11"/>
                      </a:lnTo>
                      <a:lnTo>
                        <a:pt x="2" y="14"/>
                      </a:lnTo>
                      <a:lnTo>
                        <a:pt x="5" y="16"/>
                      </a:lnTo>
                      <a:lnTo>
                        <a:pt x="5" y="16"/>
                      </a:lnTo>
                      <a:lnTo>
                        <a:pt x="5" y="16"/>
                      </a:lnTo>
                      <a:lnTo>
                        <a:pt x="2" y="14"/>
                      </a:lnTo>
                      <a:lnTo>
                        <a:pt x="0" y="14"/>
                      </a:lnTo>
                      <a:lnTo>
                        <a:pt x="0" y="16"/>
                      </a:lnTo>
                      <a:lnTo>
                        <a:pt x="2" y="16"/>
                      </a:lnTo>
                      <a:lnTo>
                        <a:pt x="5" y="19"/>
                      </a:lnTo>
                      <a:lnTo>
                        <a:pt x="7" y="19"/>
                      </a:lnTo>
                      <a:lnTo>
                        <a:pt x="7" y="16"/>
                      </a:lnTo>
                      <a:lnTo>
                        <a:pt x="9" y="16"/>
                      </a:lnTo>
                      <a:lnTo>
                        <a:pt x="12" y="14"/>
                      </a:lnTo>
                      <a:lnTo>
                        <a:pt x="12" y="16"/>
                      </a:lnTo>
                      <a:lnTo>
                        <a:pt x="12" y="16"/>
                      </a:lnTo>
                      <a:lnTo>
                        <a:pt x="14" y="16"/>
                      </a:lnTo>
                      <a:lnTo>
                        <a:pt x="14" y="16"/>
                      </a:lnTo>
                      <a:lnTo>
                        <a:pt x="14" y="19"/>
                      </a:lnTo>
                      <a:lnTo>
                        <a:pt x="16" y="19"/>
                      </a:lnTo>
                      <a:lnTo>
                        <a:pt x="19" y="16"/>
                      </a:lnTo>
                      <a:lnTo>
                        <a:pt x="19" y="16"/>
                      </a:lnTo>
                      <a:lnTo>
                        <a:pt x="19" y="19"/>
                      </a:lnTo>
                      <a:lnTo>
                        <a:pt x="19" y="19"/>
                      </a:lnTo>
                      <a:lnTo>
                        <a:pt x="21" y="16"/>
                      </a:lnTo>
                      <a:lnTo>
                        <a:pt x="21" y="16"/>
                      </a:lnTo>
                      <a:lnTo>
                        <a:pt x="21" y="19"/>
                      </a:lnTo>
                      <a:lnTo>
                        <a:pt x="21" y="19"/>
                      </a:lnTo>
                      <a:lnTo>
                        <a:pt x="24" y="19"/>
                      </a:lnTo>
                      <a:lnTo>
                        <a:pt x="26" y="19"/>
                      </a:lnTo>
                      <a:lnTo>
                        <a:pt x="24" y="21"/>
                      </a:lnTo>
                      <a:lnTo>
                        <a:pt x="24" y="21"/>
                      </a:lnTo>
                      <a:lnTo>
                        <a:pt x="21" y="21"/>
                      </a:lnTo>
                      <a:lnTo>
                        <a:pt x="19" y="21"/>
                      </a:lnTo>
                      <a:lnTo>
                        <a:pt x="16" y="23"/>
                      </a:lnTo>
                      <a:lnTo>
                        <a:pt x="16" y="23"/>
                      </a:lnTo>
                      <a:lnTo>
                        <a:pt x="21" y="23"/>
                      </a:lnTo>
                      <a:lnTo>
                        <a:pt x="21" y="23"/>
                      </a:lnTo>
                      <a:lnTo>
                        <a:pt x="24" y="23"/>
                      </a:lnTo>
                      <a:lnTo>
                        <a:pt x="24" y="21"/>
                      </a:lnTo>
                      <a:lnTo>
                        <a:pt x="24" y="23"/>
                      </a:lnTo>
                      <a:lnTo>
                        <a:pt x="24" y="26"/>
                      </a:lnTo>
                      <a:lnTo>
                        <a:pt x="19" y="26"/>
                      </a:lnTo>
                      <a:lnTo>
                        <a:pt x="19" y="26"/>
                      </a:lnTo>
                      <a:lnTo>
                        <a:pt x="16" y="26"/>
                      </a:lnTo>
                      <a:lnTo>
                        <a:pt x="14" y="26"/>
                      </a:lnTo>
                      <a:lnTo>
                        <a:pt x="14" y="26"/>
                      </a:lnTo>
                      <a:lnTo>
                        <a:pt x="14" y="23"/>
                      </a:lnTo>
                      <a:lnTo>
                        <a:pt x="14" y="23"/>
                      </a:lnTo>
                      <a:lnTo>
                        <a:pt x="14" y="26"/>
                      </a:lnTo>
                      <a:lnTo>
                        <a:pt x="14" y="26"/>
                      </a:lnTo>
                      <a:lnTo>
                        <a:pt x="12" y="26"/>
                      </a:lnTo>
                      <a:lnTo>
                        <a:pt x="9" y="26"/>
                      </a:lnTo>
                      <a:lnTo>
                        <a:pt x="9" y="26"/>
                      </a:lnTo>
                      <a:lnTo>
                        <a:pt x="7" y="28"/>
                      </a:lnTo>
                      <a:lnTo>
                        <a:pt x="5" y="26"/>
                      </a:lnTo>
                      <a:lnTo>
                        <a:pt x="2" y="26"/>
                      </a:lnTo>
                      <a:lnTo>
                        <a:pt x="2" y="26"/>
                      </a:lnTo>
                      <a:lnTo>
                        <a:pt x="2" y="28"/>
                      </a:lnTo>
                      <a:lnTo>
                        <a:pt x="5" y="30"/>
                      </a:lnTo>
                      <a:lnTo>
                        <a:pt x="7" y="30"/>
                      </a:lnTo>
                      <a:lnTo>
                        <a:pt x="7" y="30"/>
                      </a:lnTo>
                      <a:lnTo>
                        <a:pt x="12" y="30"/>
                      </a:lnTo>
                      <a:lnTo>
                        <a:pt x="14" y="30"/>
                      </a:lnTo>
                      <a:lnTo>
                        <a:pt x="16" y="30"/>
                      </a:lnTo>
                      <a:lnTo>
                        <a:pt x="16" y="33"/>
                      </a:lnTo>
                      <a:lnTo>
                        <a:pt x="16" y="33"/>
                      </a:lnTo>
                      <a:lnTo>
                        <a:pt x="16" y="33"/>
                      </a:lnTo>
                      <a:lnTo>
                        <a:pt x="16" y="35"/>
                      </a:lnTo>
                      <a:lnTo>
                        <a:pt x="19" y="37"/>
                      </a:lnTo>
                      <a:lnTo>
                        <a:pt x="19" y="35"/>
                      </a:lnTo>
                      <a:lnTo>
                        <a:pt x="21" y="35"/>
                      </a:lnTo>
                      <a:lnTo>
                        <a:pt x="21" y="35"/>
                      </a:lnTo>
                      <a:lnTo>
                        <a:pt x="19" y="37"/>
                      </a:lnTo>
                      <a:lnTo>
                        <a:pt x="19" y="37"/>
                      </a:lnTo>
                      <a:lnTo>
                        <a:pt x="21" y="40"/>
                      </a:lnTo>
                      <a:lnTo>
                        <a:pt x="24" y="37"/>
                      </a:lnTo>
                      <a:lnTo>
                        <a:pt x="26" y="37"/>
                      </a:lnTo>
                      <a:lnTo>
                        <a:pt x="26" y="40"/>
                      </a:lnTo>
                      <a:lnTo>
                        <a:pt x="26" y="37"/>
                      </a:lnTo>
                      <a:lnTo>
                        <a:pt x="24" y="40"/>
                      </a:lnTo>
                      <a:lnTo>
                        <a:pt x="21" y="40"/>
                      </a:lnTo>
                      <a:lnTo>
                        <a:pt x="19" y="40"/>
                      </a:lnTo>
                      <a:lnTo>
                        <a:pt x="19" y="42"/>
                      </a:lnTo>
                      <a:lnTo>
                        <a:pt x="19" y="42"/>
                      </a:lnTo>
                      <a:lnTo>
                        <a:pt x="16" y="42"/>
                      </a:lnTo>
                      <a:lnTo>
                        <a:pt x="14" y="45"/>
                      </a:lnTo>
                      <a:lnTo>
                        <a:pt x="14" y="42"/>
                      </a:lnTo>
                      <a:lnTo>
                        <a:pt x="12" y="40"/>
                      </a:lnTo>
                      <a:lnTo>
                        <a:pt x="12" y="42"/>
                      </a:lnTo>
                      <a:lnTo>
                        <a:pt x="12" y="42"/>
                      </a:lnTo>
                      <a:lnTo>
                        <a:pt x="12" y="45"/>
                      </a:lnTo>
                      <a:lnTo>
                        <a:pt x="14" y="45"/>
                      </a:lnTo>
                      <a:lnTo>
                        <a:pt x="12" y="45"/>
                      </a:lnTo>
                      <a:lnTo>
                        <a:pt x="12" y="49"/>
                      </a:lnTo>
                      <a:lnTo>
                        <a:pt x="14" y="49"/>
                      </a:lnTo>
                      <a:lnTo>
                        <a:pt x="16" y="47"/>
                      </a:lnTo>
                      <a:lnTo>
                        <a:pt x="16" y="49"/>
                      </a:lnTo>
                      <a:lnTo>
                        <a:pt x="21" y="49"/>
                      </a:lnTo>
                      <a:lnTo>
                        <a:pt x="24" y="47"/>
                      </a:lnTo>
                      <a:lnTo>
                        <a:pt x="26" y="49"/>
                      </a:lnTo>
                      <a:lnTo>
                        <a:pt x="28" y="47"/>
                      </a:lnTo>
                      <a:lnTo>
                        <a:pt x="28" y="49"/>
                      </a:lnTo>
                      <a:lnTo>
                        <a:pt x="28" y="49"/>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9" name="Freeform 164">
                  <a:extLst>
                    <a:ext uri="{FF2B5EF4-FFF2-40B4-BE49-F238E27FC236}">
                      <a16:creationId xmlns:a16="http://schemas.microsoft.com/office/drawing/2014/main" id="{11AE88EE-E84F-353B-389C-A6B1DEC21326}"/>
                    </a:ext>
                  </a:extLst>
                </p:cNvPr>
                <p:cNvSpPr>
                  <a:spLocks noEditPoints="1"/>
                </p:cNvSpPr>
                <p:nvPr/>
              </p:nvSpPr>
              <p:spPr bwMode="auto">
                <a:xfrm>
                  <a:off x="1627" y="2602"/>
                  <a:ext cx="24" cy="14"/>
                </a:xfrm>
                <a:custGeom>
                  <a:avLst/>
                  <a:gdLst>
                    <a:gd name="T0" fmla="*/ 21 w 24"/>
                    <a:gd name="T1" fmla="*/ 12 h 14"/>
                    <a:gd name="T2" fmla="*/ 19 w 24"/>
                    <a:gd name="T3" fmla="*/ 12 h 14"/>
                    <a:gd name="T4" fmla="*/ 19 w 24"/>
                    <a:gd name="T5" fmla="*/ 14 h 14"/>
                    <a:gd name="T6" fmla="*/ 24 w 24"/>
                    <a:gd name="T7" fmla="*/ 12 h 14"/>
                    <a:gd name="T8" fmla="*/ 21 w 24"/>
                    <a:gd name="T9" fmla="*/ 12 h 14"/>
                    <a:gd name="T10" fmla="*/ 21 w 24"/>
                    <a:gd name="T11" fmla="*/ 12 h 14"/>
                    <a:gd name="T12" fmla="*/ 21 w 24"/>
                    <a:gd name="T13" fmla="*/ 12 h 14"/>
                    <a:gd name="T14" fmla="*/ 12 w 24"/>
                    <a:gd name="T15" fmla="*/ 10 h 14"/>
                    <a:gd name="T16" fmla="*/ 14 w 24"/>
                    <a:gd name="T17" fmla="*/ 10 h 14"/>
                    <a:gd name="T18" fmla="*/ 14 w 24"/>
                    <a:gd name="T19" fmla="*/ 10 h 14"/>
                    <a:gd name="T20" fmla="*/ 14 w 24"/>
                    <a:gd name="T21" fmla="*/ 12 h 14"/>
                    <a:gd name="T22" fmla="*/ 12 w 24"/>
                    <a:gd name="T23" fmla="*/ 10 h 14"/>
                    <a:gd name="T24" fmla="*/ 12 w 24"/>
                    <a:gd name="T25" fmla="*/ 10 h 14"/>
                    <a:gd name="T26" fmla="*/ 10 w 24"/>
                    <a:gd name="T27" fmla="*/ 5 h 14"/>
                    <a:gd name="T28" fmla="*/ 7 w 24"/>
                    <a:gd name="T29" fmla="*/ 7 h 14"/>
                    <a:gd name="T30" fmla="*/ 10 w 24"/>
                    <a:gd name="T31" fmla="*/ 7 h 14"/>
                    <a:gd name="T32" fmla="*/ 10 w 24"/>
                    <a:gd name="T33" fmla="*/ 5 h 14"/>
                    <a:gd name="T34" fmla="*/ 10 w 24"/>
                    <a:gd name="T35" fmla="*/ 5 h 14"/>
                    <a:gd name="T36" fmla="*/ 0 w 24"/>
                    <a:gd name="T37" fmla="*/ 7 h 14"/>
                    <a:gd name="T38" fmla="*/ 3 w 24"/>
                    <a:gd name="T39" fmla="*/ 7 h 14"/>
                    <a:gd name="T40" fmla="*/ 3 w 24"/>
                    <a:gd name="T41" fmla="*/ 10 h 14"/>
                    <a:gd name="T42" fmla="*/ 0 w 24"/>
                    <a:gd name="T43" fmla="*/ 10 h 14"/>
                    <a:gd name="T44" fmla="*/ 0 w 24"/>
                    <a:gd name="T45" fmla="*/ 7 h 14"/>
                    <a:gd name="T46" fmla="*/ 0 w 24"/>
                    <a:gd name="T47" fmla="*/ 7 h 14"/>
                    <a:gd name="T48" fmla="*/ 0 w 24"/>
                    <a:gd name="T49" fmla="*/ 7 h 14"/>
                    <a:gd name="T50" fmla="*/ 0 w 24"/>
                    <a:gd name="T51" fmla="*/ 5 h 14"/>
                    <a:gd name="T52" fmla="*/ 3 w 24"/>
                    <a:gd name="T53" fmla="*/ 5 h 14"/>
                    <a:gd name="T54" fmla="*/ 3 w 24"/>
                    <a:gd name="T55" fmla="*/ 7 h 14"/>
                    <a:gd name="T56" fmla="*/ 5 w 24"/>
                    <a:gd name="T57" fmla="*/ 10 h 14"/>
                    <a:gd name="T58" fmla="*/ 3 w 24"/>
                    <a:gd name="T59" fmla="*/ 12 h 14"/>
                    <a:gd name="T60" fmla="*/ 3 w 24"/>
                    <a:gd name="T61" fmla="*/ 14 h 14"/>
                    <a:gd name="T62" fmla="*/ 3 w 24"/>
                    <a:gd name="T63" fmla="*/ 14 h 14"/>
                    <a:gd name="T64" fmla="*/ 7 w 24"/>
                    <a:gd name="T65" fmla="*/ 14 h 14"/>
                    <a:gd name="T66" fmla="*/ 7 w 24"/>
                    <a:gd name="T67" fmla="*/ 12 h 14"/>
                    <a:gd name="T68" fmla="*/ 5 w 24"/>
                    <a:gd name="T69" fmla="*/ 10 h 14"/>
                    <a:gd name="T70" fmla="*/ 5 w 24"/>
                    <a:gd name="T71" fmla="*/ 7 h 14"/>
                    <a:gd name="T72" fmla="*/ 5 w 24"/>
                    <a:gd name="T73" fmla="*/ 5 h 14"/>
                    <a:gd name="T74" fmla="*/ 5 w 24"/>
                    <a:gd name="T75" fmla="*/ 2 h 14"/>
                    <a:gd name="T76" fmla="*/ 3 w 24"/>
                    <a:gd name="T77" fmla="*/ 0 h 14"/>
                    <a:gd name="T78" fmla="*/ 0 w 24"/>
                    <a:gd name="T79" fmla="*/ 2 h 14"/>
                    <a:gd name="T80" fmla="*/ 0 w 24"/>
                    <a:gd name="T81" fmla="*/ 5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4" h="14">
                      <a:moveTo>
                        <a:pt x="21" y="12"/>
                      </a:moveTo>
                      <a:lnTo>
                        <a:pt x="19" y="12"/>
                      </a:lnTo>
                      <a:lnTo>
                        <a:pt x="19" y="14"/>
                      </a:lnTo>
                      <a:lnTo>
                        <a:pt x="24" y="12"/>
                      </a:lnTo>
                      <a:lnTo>
                        <a:pt x="21" y="12"/>
                      </a:lnTo>
                      <a:lnTo>
                        <a:pt x="21" y="12"/>
                      </a:lnTo>
                      <a:lnTo>
                        <a:pt x="21" y="12"/>
                      </a:lnTo>
                      <a:close/>
                      <a:moveTo>
                        <a:pt x="12" y="10"/>
                      </a:moveTo>
                      <a:lnTo>
                        <a:pt x="14" y="10"/>
                      </a:lnTo>
                      <a:lnTo>
                        <a:pt x="14" y="10"/>
                      </a:lnTo>
                      <a:lnTo>
                        <a:pt x="14" y="12"/>
                      </a:lnTo>
                      <a:lnTo>
                        <a:pt x="12" y="10"/>
                      </a:lnTo>
                      <a:lnTo>
                        <a:pt x="12" y="10"/>
                      </a:lnTo>
                      <a:close/>
                      <a:moveTo>
                        <a:pt x="10" y="5"/>
                      </a:moveTo>
                      <a:lnTo>
                        <a:pt x="7" y="7"/>
                      </a:lnTo>
                      <a:lnTo>
                        <a:pt x="10" y="7"/>
                      </a:lnTo>
                      <a:lnTo>
                        <a:pt x="10" y="5"/>
                      </a:lnTo>
                      <a:lnTo>
                        <a:pt x="10" y="5"/>
                      </a:lnTo>
                      <a:close/>
                      <a:moveTo>
                        <a:pt x="0" y="7"/>
                      </a:moveTo>
                      <a:lnTo>
                        <a:pt x="3" y="7"/>
                      </a:lnTo>
                      <a:lnTo>
                        <a:pt x="3" y="10"/>
                      </a:lnTo>
                      <a:lnTo>
                        <a:pt x="0" y="10"/>
                      </a:lnTo>
                      <a:lnTo>
                        <a:pt x="0" y="7"/>
                      </a:lnTo>
                      <a:lnTo>
                        <a:pt x="0" y="7"/>
                      </a:lnTo>
                      <a:lnTo>
                        <a:pt x="0" y="7"/>
                      </a:lnTo>
                      <a:close/>
                      <a:moveTo>
                        <a:pt x="0" y="5"/>
                      </a:moveTo>
                      <a:lnTo>
                        <a:pt x="3" y="5"/>
                      </a:lnTo>
                      <a:lnTo>
                        <a:pt x="3" y="7"/>
                      </a:lnTo>
                      <a:lnTo>
                        <a:pt x="5" y="10"/>
                      </a:lnTo>
                      <a:lnTo>
                        <a:pt x="3" y="12"/>
                      </a:lnTo>
                      <a:lnTo>
                        <a:pt x="3" y="14"/>
                      </a:lnTo>
                      <a:lnTo>
                        <a:pt x="3" y="14"/>
                      </a:lnTo>
                      <a:lnTo>
                        <a:pt x="7" y="14"/>
                      </a:lnTo>
                      <a:lnTo>
                        <a:pt x="7" y="12"/>
                      </a:lnTo>
                      <a:lnTo>
                        <a:pt x="5" y="10"/>
                      </a:lnTo>
                      <a:lnTo>
                        <a:pt x="5" y="7"/>
                      </a:lnTo>
                      <a:lnTo>
                        <a:pt x="5" y="5"/>
                      </a:lnTo>
                      <a:lnTo>
                        <a:pt x="5" y="2"/>
                      </a:lnTo>
                      <a:lnTo>
                        <a:pt x="3" y="0"/>
                      </a:lnTo>
                      <a:lnTo>
                        <a:pt x="0" y="2"/>
                      </a:lnTo>
                      <a:lnTo>
                        <a:pt x="0" y="5"/>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0" name="Freeform 165">
                  <a:extLst>
                    <a:ext uri="{FF2B5EF4-FFF2-40B4-BE49-F238E27FC236}">
                      <a16:creationId xmlns:a16="http://schemas.microsoft.com/office/drawing/2014/main" id="{D71E72D6-F2F3-5035-D888-DBDDD1525782}"/>
                    </a:ext>
                  </a:extLst>
                </p:cNvPr>
                <p:cNvSpPr>
                  <a:spLocks noEditPoints="1"/>
                </p:cNvSpPr>
                <p:nvPr/>
              </p:nvSpPr>
              <p:spPr bwMode="auto">
                <a:xfrm>
                  <a:off x="1932" y="2410"/>
                  <a:ext cx="36" cy="12"/>
                </a:xfrm>
                <a:custGeom>
                  <a:avLst/>
                  <a:gdLst>
                    <a:gd name="T0" fmla="*/ 34 w 36"/>
                    <a:gd name="T1" fmla="*/ 10 h 12"/>
                    <a:gd name="T2" fmla="*/ 36 w 36"/>
                    <a:gd name="T3" fmla="*/ 12 h 12"/>
                    <a:gd name="T4" fmla="*/ 34 w 36"/>
                    <a:gd name="T5" fmla="*/ 12 h 12"/>
                    <a:gd name="T6" fmla="*/ 34 w 36"/>
                    <a:gd name="T7" fmla="*/ 12 h 12"/>
                    <a:gd name="T8" fmla="*/ 34 w 36"/>
                    <a:gd name="T9" fmla="*/ 10 h 12"/>
                    <a:gd name="T10" fmla="*/ 34 w 36"/>
                    <a:gd name="T11" fmla="*/ 10 h 12"/>
                    <a:gd name="T12" fmla="*/ 36 w 36"/>
                    <a:gd name="T13" fmla="*/ 5 h 12"/>
                    <a:gd name="T14" fmla="*/ 34 w 36"/>
                    <a:gd name="T15" fmla="*/ 5 h 12"/>
                    <a:gd name="T16" fmla="*/ 36 w 36"/>
                    <a:gd name="T17" fmla="*/ 7 h 12"/>
                    <a:gd name="T18" fmla="*/ 36 w 36"/>
                    <a:gd name="T19" fmla="*/ 5 h 12"/>
                    <a:gd name="T20" fmla="*/ 36 w 36"/>
                    <a:gd name="T21" fmla="*/ 5 h 12"/>
                    <a:gd name="T22" fmla="*/ 36 w 36"/>
                    <a:gd name="T23" fmla="*/ 5 h 12"/>
                    <a:gd name="T24" fmla="*/ 24 w 36"/>
                    <a:gd name="T25" fmla="*/ 7 h 12"/>
                    <a:gd name="T26" fmla="*/ 22 w 36"/>
                    <a:gd name="T27" fmla="*/ 10 h 12"/>
                    <a:gd name="T28" fmla="*/ 24 w 36"/>
                    <a:gd name="T29" fmla="*/ 10 h 12"/>
                    <a:gd name="T30" fmla="*/ 26 w 36"/>
                    <a:gd name="T31" fmla="*/ 10 h 12"/>
                    <a:gd name="T32" fmla="*/ 24 w 36"/>
                    <a:gd name="T33" fmla="*/ 7 h 12"/>
                    <a:gd name="T34" fmla="*/ 24 w 36"/>
                    <a:gd name="T35" fmla="*/ 7 h 12"/>
                    <a:gd name="T36" fmla="*/ 19 w 36"/>
                    <a:gd name="T37" fmla="*/ 0 h 12"/>
                    <a:gd name="T38" fmla="*/ 19 w 36"/>
                    <a:gd name="T39" fmla="*/ 0 h 12"/>
                    <a:gd name="T40" fmla="*/ 24 w 36"/>
                    <a:gd name="T41" fmla="*/ 0 h 12"/>
                    <a:gd name="T42" fmla="*/ 22 w 36"/>
                    <a:gd name="T43" fmla="*/ 0 h 12"/>
                    <a:gd name="T44" fmla="*/ 22 w 36"/>
                    <a:gd name="T45" fmla="*/ 2 h 12"/>
                    <a:gd name="T46" fmla="*/ 19 w 36"/>
                    <a:gd name="T47" fmla="*/ 2 h 12"/>
                    <a:gd name="T48" fmla="*/ 19 w 36"/>
                    <a:gd name="T49" fmla="*/ 0 h 12"/>
                    <a:gd name="T50" fmla="*/ 19 w 36"/>
                    <a:gd name="T51" fmla="*/ 0 h 12"/>
                    <a:gd name="T52" fmla="*/ 3 w 36"/>
                    <a:gd name="T53" fmla="*/ 5 h 12"/>
                    <a:gd name="T54" fmla="*/ 5 w 36"/>
                    <a:gd name="T55" fmla="*/ 5 h 12"/>
                    <a:gd name="T56" fmla="*/ 0 w 36"/>
                    <a:gd name="T57" fmla="*/ 5 h 12"/>
                    <a:gd name="T58" fmla="*/ 3 w 36"/>
                    <a:gd name="T59" fmla="*/ 5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12">
                      <a:moveTo>
                        <a:pt x="34" y="10"/>
                      </a:moveTo>
                      <a:lnTo>
                        <a:pt x="36" y="12"/>
                      </a:lnTo>
                      <a:lnTo>
                        <a:pt x="34" y="12"/>
                      </a:lnTo>
                      <a:lnTo>
                        <a:pt x="34" y="12"/>
                      </a:lnTo>
                      <a:lnTo>
                        <a:pt x="34" y="10"/>
                      </a:lnTo>
                      <a:lnTo>
                        <a:pt x="34" y="10"/>
                      </a:lnTo>
                      <a:close/>
                      <a:moveTo>
                        <a:pt x="36" y="5"/>
                      </a:moveTo>
                      <a:lnTo>
                        <a:pt x="34" y="5"/>
                      </a:lnTo>
                      <a:lnTo>
                        <a:pt x="36" y="7"/>
                      </a:lnTo>
                      <a:lnTo>
                        <a:pt x="36" y="5"/>
                      </a:lnTo>
                      <a:lnTo>
                        <a:pt x="36" y="5"/>
                      </a:lnTo>
                      <a:lnTo>
                        <a:pt x="36" y="5"/>
                      </a:lnTo>
                      <a:close/>
                      <a:moveTo>
                        <a:pt x="24" y="7"/>
                      </a:moveTo>
                      <a:lnTo>
                        <a:pt x="22" y="10"/>
                      </a:lnTo>
                      <a:lnTo>
                        <a:pt x="24" y="10"/>
                      </a:lnTo>
                      <a:lnTo>
                        <a:pt x="26" y="10"/>
                      </a:lnTo>
                      <a:lnTo>
                        <a:pt x="24" y="7"/>
                      </a:lnTo>
                      <a:lnTo>
                        <a:pt x="24" y="7"/>
                      </a:lnTo>
                      <a:close/>
                      <a:moveTo>
                        <a:pt x="19" y="0"/>
                      </a:moveTo>
                      <a:lnTo>
                        <a:pt x="19" y="0"/>
                      </a:lnTo>
                      <a:lnTo>
                        <a:pt x="24" y="0"/>
                      </a:lnTo>
                      <a:lnTo>
                        <a:pt x="22" y="0"/>
                      </a:lnTo>
                      <a:lnTo>
                        <a:pt x="22" y="2"/>
                      </a:lnTo>
                      <a:lnTo>
                        <a:pt x="19" y="2"/>
                      </a:lnTo>
                      <a:lnTo>
                        <a:pt x="19" y="0"/>
                      </a:lnTo>
                      <a:lnTo>
                        <a:pt x="19" y="0"/>
                      </a:lnTo>
                      <a:close/>
                      <a:moveTo>
                        <a:pt x="3" y="5"/>
                      </a:moveTo>
                      <a:lnTo>
                        <a:pt x="5" y="5"/>
                      </a:lnTo>
                      <a:lnTo>
                        <a:pt x="0" y="5"/>
                      </a:lnTo>
                      <a:lnTo>
                        <a:pt x="3" y="5"/>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1" name="Freeform 166">
                  <a:extLst>
                    <a:ext uri="{FF2B5EF4-FFF2-40B4-BE49-F238E27FC236}">
                      <a16:creationId xmlns:a16="http://schemas.microsoft.com/office/drawing/2014/main" id="{501991E8-FD4B-3E46-7AD9-072A748ADB90}"/>
                    </a:ext>
                  </a:extLst>
                </p:cNvPr>
                <p:cNvSpPr>
                  <a:spLocks noEditPoints="1"/>
                </p:cNvSpPr>
                <p:nvPr/>
              </p:nvSpPr>
              <p:spPr bwMode="auto">
                <a:xfrm>
                  <a:off x="1906" y="2408"/>
                  <a:ext cx="24" cy="7"/>
                </a:xfrm>
                <a:custGeom>
                  <a:avLst/>
                  <a:gdLst>
                    <a:gd name="T0" fmla="*/ 19 w 24"/>
                    <a:gd name="T1" fmla="*/ 4 h 7"/>
                    <a:gd name="T2" fmla="*/ 22 w 24"/>
                    <a:gd name="T3" fmla="*/ 4 h 7"/>
                    <a:gd name="T4" fmla="*/ 24 w 24"/>
                    <a:gd name="T5" fmla="*/ 4 h 7"/>
                    <a:gd name="T6" fmla="*/ 24 w 24"/>
                    <a:gd name="T7" fmla="*/ 4 h 7"/>
                    <a:gd name="T8" fmla="*/ 19 w 24"/>
                    <a:gd name="T9" fmla="*/ 4 h 7"/>
                    <a:gd name="T10" fmla="*/ 19 w 24"/>
                    <a:gd name="T11" fmla="*/ 4 h 7"/>
                    <a:gd name="T12" fmla="*/ 17 w 24"/>
                    <a:gd name="T13" fmla="*/ 0 h 7"/>
                    <a:gd name="T14" fmla="*/ 17 w 24"/>
                    <a:gd name="T15" fmla="*/ 0 h 7"/>
                    <a:gd name="T16" fmla="*/ 12 w 24"/>
                    <a:gd name="T17" fmla="*/ 0 h 7"/>
                    <a:gd name="T18" fmla="*/ 3 w 24"/>
                    <a:gd name="T19" fmla="*/ 0 h 7"/>
                    <a:gd name="T20" fmla="*/ 3 w 24"/>
                    <a:gd name="T21" fmla="*/ 0 h 7"/>
                    <a:gd name="T22" fmla="*/ 0 w 24"/>
                    <a:gd name="T23" fmla="*/ 2 h 7"/>
                    <a:gd name="T24" fmla="*/ 0 w 24"/>
                    <a:gd name="T25" fmla="*/ 2 h 7"/>
                    <a:gd name="T26" fmla="*/ 0 w 24"/>
                    <a:gd name="T27" fmla="*/ 4 h 7"/>
                    <a:gd name="T28" fmla="*/ 0 w 24"/>
                    <a:gd name="T29" fmla="*/ 4 h 7"/>
                    <a:gd name="T30" fmla="*/ 7 w 24"/>
                    <a:gd name="T31" fmla="*/ 7 h 7"/>
                    <a:gd name="T32" fmla="*/ 7 w 24"/>
                    <a:gd name="T33" fmla="*/ 7 h 7"/>
                    <a:gd name="T34" fmla="*/ 12 w 24"/>
                    <a:gd name="T35" fmla="*/ 4 h 7"/>
                    <a:gd name="T36" fmla="*/ 15 w 24"/>
                    <a:gd name="T37" fmla="*/ 7 h 7"/>
                    <a:gd name="T38" fmla="*/ 17 w 24"/>
                    <a:gd name="T39" fmla="*/ 4 h 7"/>
                    <a:gd name="T40" fmla="*/ 19 w 24"/>
                    <a:gd name="T41" fmla="*/ 2 h 7"/>
                    <a:gd name="T42" fmla="*/ 17 w 24"/>
                    <a:gd name="T43" fmla="*/ 2 h 7"/>
                    <a:gd name="T44" fmla="*/ 17 w 24"/>
                    <a:gd name="T45"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 h="7">
                      <a:moveTo>
                        <a:pt x="19" y="4"/>
                      </a:moveTo>
                      <a:lnTo>
                        <a:pt x="22" y="4"/>
                      </a:lnTo>
                      <a:lnTo>
                        <a:pt x="24" y="4"/>
                      </a:lnTo>
                      <a:lnTo>
                        <a:pt x="24" y="4"/>
                      </a:lnTo>
                      <a:lnTo>
                        <a:pt x="19" y="4"/>
                      </a:lnTo>
                      <a:lnTo>
                        <a:pt x="19" y="4"/>
                      </a:lnTo>
                      <a:close/>
                      <a:moveTo>
                        <a:pt x="17" y="0"/>
                      </a:moveTo>
                      <a:lnTo>
                        <a:pt x="17" y="0"/>
                      </a:lnTo>
                      <a:lnTo>
                        <a:pt x="12" y="0"/>
                      </a:lnTo>
                      <a:lnTo>
                        <a:pt x="3" y="0"/>
                      </a:lnTo>
                      <a:lnTo>
                        <a:pt x="3" y="0"/>
                      </a:lnTo>
                      <a:lnTo>
                        <a:pt x="0" y="2"/>
                      </a:lnTo>
                      <a:lnTo>
                        <a:pt x="0" y="2"/>
                      </a:lnTo>
                      <a:lnTo>
                        <a:pt x="0" y="4"/>
                      </a:lnTo>
                      <a:lnTo>
                        <a:pt x="0" y="4"/>
                      </a:lnTo>
                      <a:lnTo>
                        <a:pt x="7" y="7"/>
                      </a:lnTo>
                      <a:lnTo>
                        <a:pt x="7" y="7"/>
                      </a:lnTo>
                      <a:lnTo>
                        <a:pt x="12" y="4"/>
                      </a:lnTo>
                      <a:lnTo>
                        <a:pt x="15" y="7"/>
                      </a:lnTo>
                      <a:lnTo>
                        <a:pt x="17" y="4"/>
                      </a:lnTo>
                      <a:lnTo>
                        <a:pt x="19" y="2"/>
                      </a:lnTo>
                      <a:lnTo>
                        <a:pt x="17" y="2"/>
                      </a:lnTo>
                      <a:lnTo>
                        <a:pt x="17" y="0"/>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2" name="Freeform 167">
                  <a:extLst>
                    <a:ext uri="{FF2B5EF4-FFF2-40B4-BE49-F238E27FC236}">
                      <a16:creationId xmlns:a16="http://schemas.microsoft.com/office/drawing/2014/main" id="{EE71ED29-6E6E-0980-C8B0-045CEF290728}"/>
                    </a:ext>
                  </a:extLst>
                </p:cNvPr>
                <p:cNvSpPr>
                  <a:spLocks noEditPoints="1"/>
                </p:cNvSpPr>
                <p:nvPr/>
              </p:nvSpPr>
              <p:spPr bwMode="auto">
                <a:xfrm>
                  <a:off x="1852" y="2391"/>
                  <a:ext cx="45" cy="26"/>
                </a:xfrm>
                <a:custGeom>
                  <a:avLst/>
                  <a:gdLst>
                    <a:gd name="T0" fmla="*/ 40 w 45"/>
                    <a:gd name="T1" fmla="*/ 19 h 26"/>
                    <a:gd name="T2" fmla="*/ 40 w 45"/>
                    <a:gd name="T3" fmla="*/ 21 h 26"/>
                    <a:gd name="T4" fmla="*/ 38 w 45"/>
                    <a:gd name="T5" fmla="*/ 19 h 26"/>
                    <a:gd name="T6" fmla="*/ 40 w 45"/>
                    <a:gd name="T7" fmla="*/ 19 h 26"/>
                    <a:gd name="T8" fmla="*/ 5 w 45"/>
                    <a:gd name="T9" fmla="*/ 5 h 26"/>
                    <a:gd name="T10" fmla="*/ 5 w 45"/>
                    <a:gd name="T11" fmla="*/ 7 h 26"/>
                    <a:gd name="T12" fmla="*/ 2 w 45"/>
                    <a:gd name="T13" fmla="*/ 10 h 26"/>
                    <a:gd name="T14" fmla="*/ 5 w 45"/>
                    <a:gd name="T15" fmla="*/ 14 h 26"/>
                    <a:gd name="T16" fmla="*/ 2 w 45"/>
                    <a:gd name="T17" fmla="*/ 17 h 26"/>
                    <a:gd name="T18" fmla="*/ 0 w 45"/>
                    <a:gd name="T19" fmla="*/ 19 h 26"/>
                    <a:gd name="T20" fmla="*/ 2 w 45"/>
                    <a:gd name="T21" fmla="*/ 24 h 26"/>
                    <a:gd name="T22" fmla="*/ 5 w 45"/>
                    <a:gd name="T23" fmla="*/ 26 h 26"/>
                    <a:gd name="T24" fmla="*/ 7 w 45"/>
                    <a:gd name="T25" fmla="*/ 26 h 26"/>
                    <a:gd name="T26" fmla="*/ 12 w 45"/>
                    <a:gd name="T27" fmla="*/ 21 h 26"/>
                    <a:gd name="T28" fmla="*/ 12 w 45"/>
                    <a:gd name="T29" fmla="*/ 19 h 26"/>
                    <a:gd name="T30" fmla="*/ 14 w 45"/>
                    <a:gd name="T31" fmla="*/ 19 h 26"/>
                    <a:gd name="T32" fmla="*/ 17 w 45"/>
                    <a:gd name="T33" fmla="*/ 17 h 26"/>
                    <a:gd name="T34" fmla="*/ 19 w 45"/>
                    <a:gd name="T35" fmla="*/ 21 h 26"/>
                    <a:gd name="T36" fmla="*/ 26 w 45"/>
                    <a:gd name="T37" fmla="*/ 17 h 26"/>
                    <a:gd name="T38" fmla="*/ 31 w 45"/>
                    <a:gd name="T39" fmla="*/ 17 h 26"/>
                    <a:gd name="T40" fmla="*/ 35 w 45"/>
                    <a:gd name="T41" fmla="*/ 17 h 26"/>
                    <a:gd name="T42" fmla="*/ 40 w 45"/>
                    <a:gd name="T43" fmla="*/ 19 h 26"/>
                    <a:gd name="T44" fmla="*/ 43 w 45"/>
                    <a:gd name="T45" fmla="*/ 17 h 26"/>
                    <a:gd name="T46" fmla="*/ 43 w 45"/>
                    <a:gd name="T47" fmla="*/ 14 h 26"/>
                    <a:gd name="T48" fmla="*/ 38 w 45"/>
                    <a:gd name="T49" fmla="*/ 12 h 26"/>
                    <a:gd name="T50" fmla="*/ 33 w 45"/>
                    <a:gd name="T51" fmla="*/ 10 h 26"/>
                    <a:gd name="T52" fmla="*/ 26 w 45"/>
                    <a:gd name="T53" fmla="*/ 7 h 26"/>
                    <a:gd name="T54" fmla="*/ 26 w 45"/>
                    <a:gd name="T55" fmla="*/ 7 h 26"/>
                    <a:gd name="T56" fmla="*/ 33 w 45"/>
                    <a:gd name="T57" fmla="*/ 7 h 26"/>
                    <a:gd name="T58" fmla="*/ 33 w 45"/>
                    <a:gd name="T59" fmla="*/ 7 h 26"/>
                    <a:gd name="T60" fmla="*/ 28 w 45"/>
                    <a:gd name="T61" fmla="*/ 5 h 26"/>
                    <a:gd name="T62" fmla="*/ 26 w 45"/>
                    <a:gd name="T63" fmla="*/ 2 h 26"/>
                    <a:gd name="T64" fmla="*/ 24 w 45"/>
                    <a:gd name="T65" fmla="*/ 2 h 26"/>
                    <a:gd name="T66" fmla="*/ 12 w 45"/>
                    <a:gd name="T67" fmla="*/ 0 h 26"/>
                    <a:gd name="T68" fmla="*/ 7 w 45"/>
                    <a:gd name="T6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5" h="26">
                      <a:moveTo>
                        <a:pt x="40" y="19"/>
                      </a:moveTo>
                      <a:lnTo>
                        <a:pt x="40" y="19"/>
                      </a:lnTo>
                      <a:lnTo>
                        <a:pt x="43" y="21"/>
                      </a:lnTo>
                      <a:lnTo>
                        <a:pt x="40" y="21"/>
                      </a:lnTo>
                      <a:lnTo>
                        <a:pt x="40" y="21"/>
                      </a:lnTo>
                      <a:lnTo>
                        <a:pt x="38" y="19"/>
                      </a:lnTo>
                      <a:lnTo>
                        <a:pt x="40" y="19"/>
                      </a:lnTo>
                      <a:lnTo>
                        <a:pt x="40" y="19"/>
                      </a:lnTo>
                      <a:close/>
                      <a:moveTo>
                        <a:pt x="5" y="2"/>
                      </a:moveTo>
                      <a:lnTo>
                        <a:pt x="5" y="5"/>
                      </a:lnTo>
                      <a:lnTo>
                        <a:pt x="5" y="5"/>
                      </a:lnTo>
                      <a:lnTo>
                        <a:pt x="5" y="7"/>
                      </a:lnTo>
                      <a:lnTo>
                        <a:pt x="5" y="10"/>
                      </a:lnTo>
                      <a:lnTo>
                        <a:pt x="2" y="10"/>
                      </a:lnTo>
                      <a:lnTo>
                        <a:pt x="2" y="12"/>
                      </a:lnTo>
                      <a:lnTo>
                        <a:pt x="5" y="14"/>
                      </a:lnTo>
                      <a:lnTo>
                        <a:pt x="5" y="14"/>
                      </a:lnTo>
                      <a:lnTo>
                        <a:pt x="2" y="17"/>
                      </a:lnTo>
                      <a:lnTo>
                        <a:pt x="0" y="19"/>
                      </a:lnTo>
                      <a:lnTo>
                        <a:pt x="0" y="19"/>
                      </a:lnTo>
                      <a:lnTo>
                        <a:pt x="2" y="21"/>
                      </a:lnTo>
                      <a:lnTo>
                        <a:pt x="2" y="24"/>
                      </a:lnTo>
                      <a:lnTo>
                        <a:pt x="2" y="24"/>
                      </a:lnTo>
                      <a:lnTo>
                        <a:pt x="5" y="26"/>
                      </a:lnTo>
                      <a:lnTo>
                        <a:pt x="5" y="26"/>
                      </a:lnTo>
                      <a:lnTo>
                        <a:pt x="7" y="26"/>
                      </a:lnTo>
                      <a:lnTo>
                        <a:pt x="7" y="24"/>
                      </a:lnTo>
                      <a:lnTo>
                        <a:pt x="12" y="21"/>
                      </a:lnTo>
                      <a:lnTo>
                        <a:pt x="9" y="19"/>
                      </a:lnTo>
                      <a:lnTo>
                        <a:pt x="12" y="19"/>
                      </a:lnTo>
                      <a:lnTo>
                        <a:pt x="12" y="19"/>
                      </a:lnTo>
                      <a:lnTo>
                        <a:pt x="14" y="19"/>
                      </a:lnTo>
                      <a:lnTo>
                        <a:pt x="17" y="17"/>
                      </a:lnTo>
                      <a:lnTo>
                        <a:pt x="17" y="17"/>
                      </a:lnTo>
                      <a:lnTo>
                        <a:pt x="17" y="19"/>
                      </a:lnTo>
                      <a:lnTo>
                        <a:pt x="19" y="21"/>
                      </a:lnTo>
                      <a:lnTo>
                        <a:pt x="21" y="19"/>
                      </a:lnTo>
                      <a:lnTo>
                        <a:pt x="26" y="17"/>
                      </a:lnTo>
                      <a:lnTo>
                        <a:pt x="28" y="17"/>
                      </a:lnTo>
                      <a:lnTo>
                        <a:pt x="31" y="17"/>
                      </a:lnTo>
                      <a:lnTo>
                        <a:pt x="33" y="17"/>
                      </a:lnTo>
                      <a:lnTo>
                        <a:pt x="35" y="17"/>
                      </a:lnTo>
                      <a:lnTo>
                        <a:pt x="38" y="17"/>
                      </a:lnTo>
                      <a:lnTo>
                        <a:pt x="40" y="19"/>
                      </a:lnTo>
                      <a:lnTo>
                        <a:pt x="43" y="17"/>
                      </a:lnTo>
                      <a:lnTo>
                        <a:pt x="43" y="17"/>
                      </a:lnTo>
                      <a:lnTo>
                        <a:pt x="45" y="14"/>
                      </a:lnTo>
                      <a:lnTo>
                        <a:pt x="43" y="14"/>
                      </a:lnTo>
                      <a:lnTo>
                        <a:pt x="38" y="12"/>
                      </a:lnTo>
                      <a:lnTo>
                        <a:pt x="38" y="12"/>
                      </a:lnTo>
                      <a:lnTo>
                        <a:pt x="35" y="10"/>
                      </a:lnTo>
                      <a:lnTo>
                        <a:pt x="33" y="10"/>
                      </a:lnTo>
                      <a:lnTo>
                        <a:pt x="28" y="10"/>
                      </a:lnTo>
                      <a:lnTo>
                        <a:pt x="26" y="7"/>
                      </a:lnTo>
                      <a:lnTo>
                        <a:pt x="24" y="7"/>
                      </a:lnTo>
                      <a:lnTo>
                        <a:pt x="26" y="7"/>
                      </a:lnTo>
                      <a:lnTo>
                        <a:pt x="28" y="7"/>
                      </a:lnTo>
                      <a:lnTo>
                        <a:pt x="33" y="7"/>
                      </a:lnTo>
                      <a:lnTo>
                        <a:pt x="35" y="7"/>
                      </a:lnTo>
                      <a:lnTo>
                        <a:pt x="33" y="7"/>
                      </a:lnTo>
                      <a:lnTo>
                        <a:pt x="33" y="7"/>
                      </a:lnTo>
                      <a:lnTo>
                        <a:pt x="28" y="5"/>
                      </a:lnTo>
                      <a:lnTo>
                        <a:pt x="28" y="2"/>
                      </a:lnTo>
                      <a:lnTo>
                        <a:pt x="26" y="2"/>
                      </a:lnTo>
                      <a:lnTo>
                        <a:pt x="24" y="2"/>
                      </a:lnTo>
                      <a:lnTo>
                        <a:pt x="24" y="2"/>
                      </a:lnTo>
                      <a:lnTo>
                        <a:pt x="14" y="0"/>
                      </a:lnTo>
                      <a:lnTo>
                        <a:pt x="12" y="0"/>
                      </a:lnTo>
                      <a:lnTo>
                        <a:pt x="9" y="0"/>
                      </a:lnTo>
                      <a:lnTo>
                        <a:pt x="7" y="0"/>
                      </a:lnTo>
                      <a:lnTo>
                        <a:pt x="5" y="2"/>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3" name="Freeform 168">
                  <a:extLst>
                    <a:ext uri="{FF2B5EF4-FFF2-40B4-BE49-F238E27FC236}">
                      <a16:creationId xmlns:a16="http://schemas.microsoft.com/office/drawing/2014/main" id="{DD99BB3E-99F2-E060-E8E3-AD135BA78CFC}"/>
                    </a:ext>
                  </a:extLst>
                </p:cNvPr>
                <p:cNvSpPr>
                  <a:spLocks noEditPoints="1"/>
                </p:cNvSpPr>
                <p:nvPr/>
              </p:nvSpPr>
              <p:spPr bwMode="auto">
                <a:xfrm>
                  <a:off x="2091" y="1329"/>
                  <a:ext cx="480" cy="557"/>
                </a:xfrm>
                <a:custGeom>
                  <a:avLst/>
                  <a:gdLst>
                    <a:gd name="T0" fmla="*/ 51 w 203"/>
                    <a:gd name="T1" fmla="*/ 225 h 235"/>
                    <a:gd name="T2" fmla="*/ 40 w 203"/>
                    <a:gd name="T3" fmla="*/ 216 h 235"/>
                    <a:gd name="T4" fmla="*/ 34 w 203"/>
                    <a:gd name="T5" fmla="*/ 204 h 235"/>
                    <a:gd name="T6" fmla="*/ 32 w 203"/>
                    <a:gd name="T7" fmla="*/ 199 h 235"/>
                    <a:gd name="T8" fmla="*/ 36 w 203"/>
                    <a:gd name="T9" fmla="*/ 186 h 235"/>
                    <a:gd name="T10" fmla="*/ 34 w 203"/>
                    <a:gd name="T11" fmla="*/ 179 h 235"/>
                    <a:gd name="T12" fmla="*/ 42 w 203"/>
                    <a:gd name="T13" fmla="*/ 173 h 235"/>
                    <a:gd name="T14" fmla="*/ 44 w 203"/>
                    <a:gd name="T15" fmla="*/ 171 h 235"/>
                    <a:gd name="T16" fmla="*/ 47 w 203"/>
                    <a:gd name="T17" fmla="*/ 160 h 235"/>
                    <a:gd name="T18" fmla="*/ 49 w 203"/>
                    <a:gd name="T19" fmla="*/ 152 h 235"/>
                    <a:gd name="T20" fmla="*/ 48 w 203"/>
                    <a:gd name="T21" fmla="*/ 139 h 235"/>
                    <a:gd name="T22" fmla="*/ 37 w 203"/>
                    <a:gd name="T23" fmla="*/ 136 h 235"/>
                    <a:gd name="T24" fmla="*/ 41 w 203"/>
                    <a:gd name="T25" fmla="*/ 116 h 235"/>
                    <a:gd name="T26" fmla="*/ 32 w 203"/>
                    <a:gd name="T27" fmla="*/ 91 h 235"/>
                    <a:gd name="T28" fmla="*/ 7 w 203"/>
                    <a:gd name="T29" fmla="*/ 80 h 235"/>
                    <a:gd name="T30" fmla="*/ 21 w 203"/>
                    <a:gd name="T31" fmla="*/ 69 h 235"/>
                    <a:gd name="T32" fmla="*/ 8 w 203"/>
                    <a:gd name="T33" fmla="*/ 54 h 235"/>
                    <a:gd name="T34" fmla="*/ 41 w 203"/>
                    <a:gd name="T35" fmla="*/ 40 h 235"/>
                    <a:gd name="T36" fmla="*/ 52 w 203"/>
                    <a:gd name="T37" fmla="*/ 27 h 235"/>
                    <a:gd name="T38" fmla="*/ 79 w 203"/>
                    <a:gd name="T39" fmla="*/ 14 h 235"/>
                    <a:gd name="T40" fmla="*/ 93 w 203"/>
                    <a:gd name="T41" fmla="*/ 25 h 235"/>
                    <a:gd name="T42" fmla="*/ 109 w 203"/>
                    <a:gd name="T43" fmla="*/ 25 h 235"/>
                    <a:gd name="T44" fmla="*/ 116 w 203"/>
                    <a:gd name="T45" fmla="*/ 10 h 235"/>
                    <a:gd name="T46" fmla="*/ 137 w 203"/>
                    <a:gd name="T47" fmla="*/ 1 h 235"/>
                    <a:gd name="T48" fmla="*/ 150 w 203"/>
                    <a:gd name="T49" fmla="*/ 9 h 235"/>
                    <a:gd name="T50" fmla="*/ 160 w 203"/>
                    <a:gd name="T51" fmla="*/ 11 h 235"/>
                    <a:gd name="T52" fmla="*/ 178 w 203"/>
                    <a:gd name="T53" fmla="*/ 24 h 235"/>
                    <a:gd name="T54" fmla="*/ 140 w 203"/>
                    <a:gd name="T55" fmla="*/ 30 h 235"/>
                    <a:gd name="T56" fmla="*/ 170 w 203"/>
                    <a:gd name="T57" fmla="*/ 32 h 235"/>
                    <a:gd name="T58" fmla="*/ 176 w 203"/>
                    <a:gd name="T59" fmla="*/ 41 h 235"/>
                    <a:gd name="T60" fmla="*/ 194 w 203"/>
                    <a:gd name="T61" fmla="*/ 46 h 235"/>
                    <a:gd name="T62" fmla="*/ 177 w 203"/>
                    <a:gd name="T63" fmla="*/ 55 h 235"/>
                    <a:gd name="T64" fmla="*/ 169 w 203"/>
                    <a:gd name="T65" fmla="*/ 83 h 235"/>
                    <a:gd name="T66" fmla="*/ 168 w 203"/>
                    <a:gd name="T67" fmla="*/ 95 h 235"/>
                    <a:gd name="T68" fmla="*/ 169 w 203"/>
                    <a:gd name="T69" fmla="*/ 106 h 235"/>
                    <a:gd name="T70" fmla="*/ 164 w 203"/>
                    <a:gd name="T71" fmla="*/ 114 h 235"/>
                    <a:gd name="T72" fmla="*/ 163 w 203"/>
                    <a:gd name="T73" fmla="*/ 126 h 235"/>
                    <a:gd name="T74" fmla="*/ 149 w 203"/>
                    <a:gd name="T75" fmla="*/ 128 h 235"/>
                    <a:gd name="T76" fmla="*/ 143 w 203"/>
                    <a:gd name="T77" fmla="*/ 135 h 235"/>
                    <a:gd name="T78" fmla="*/ 157 w 203"/>
                    <a:gd name="T79" fmla="*/ 146 h 235"/>
                    <a:gd name="T80" fmla="*/ 148 w 203"/>
                    <a:gd name="T81" fmla="*/ 153 h 235"/>
                    <a:gd name="T82" fmla="*/ 135 w 203"/>
                    <a:gd name="T83" fmla="*/ 152 h 235"/>
                    <a:gd name="T84" fmla="*/ 145 w 203"/>
                    <a:gd name="T85" fmla="*/ 159 h 235"/>
                    <a:gd name="T86" fmla="*/ 137 w 203"/>
                    <a:gd name="T87" fmla="*/ 172 h 235"/>
                    <a:gd name="T88" fmla="*/ 115 w 203"/>
                    <a:gd name="T89" fmla="*/ 174 h 235"/>
                    <a:gd name="T90" fmla="*/ 96 w 203"/>
                    <a:gd name="T91" fmla="*/ 191 h 235"/>
                    <a:gd name="T92" fmla="*/ 81 w 203"/>
                    <a:gd name="T93" fmla="*/ 194 h 235"/>
                    <a:gd name="T94" fmla="*/ 71 w 203"/>
                    <a:gd name="T95" fmla="*/ 208 h 235"/>
                    <a:gd name="T96" fmla="*/ 67 w 203"/>
                    <a:gd name="T97" fmla="*/ 219 h 235"/>
                    <a:gd name="T98" fmla="*/ 59 w 203"/>
                    <a:gd name="T99" fmla="*/ 229 h 235"/>
                    <a:gd name="T100" fmla="*/ 68 w 203"/>
                    <a:gd name="T101" fmla="*/ 214 h 235"/>
                    <a:gd name="T102" fmla="*/ 151 w 203"/>
                    <a:gd name="T103" fmla="*/ 165 h 235"/>
                    <a:gd name="T104" fmla="*/ 153 w 203"/>
                    <a:gd name="T105" fmla="*/ 135 h 235"/>
                    <a:gd name="T106" fmla="*/ 162 w 203"/>
                    <a:gd name="T107" fmla="*/ 121 h 235"/>
                    <a:gd name="T108" fmla="*/ 167 w 203"/>
                    <a:gd name="T109" fmla="*/ 101 h 235"/>
                    <a:gd name="T110" fmla="*/ 187 w 203"/>
                    <a:gd name="T111" fmla="*/ 31 h 235"/>
                    <a:gd name="T112" fmla="*/ 115 w 203"/>
                    <a:gd name="T113" fmla="*/ 9 h 235"/>
                    <a:gd name="T114" fmla="*/ 91 w 203"/>
                    <a:gd name="T115" fmla="*/ 18 h 235"/>
                    <a:gd name="T116" fmla="*/ 38 w 203"/>
                    <a:gd name="T117" fmla="*/ 109 h 235"/>
                    <a:gd name="T118" fmla="*/ 38 w 203"/>
                    <a:gd name="T119" fmla="*/ 127 h 235"/>
                    <a:gd name="T120" fmla="*/ 41 w 203"/>
                    <a:gd name="T121" fmla="*/ 227 h 235"/>
                    <a:gd name="T122" fmla="*/ 38 w 203"/>
                    <a:gd name="T123" fmla="*/ 166 h 235"/>
                    <a:gd name="T124" fmla="*/ 47 w 203"/>
                    <a:gd name="T125" fmla="*/ 15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3" h="235">
                      <a:moveTo>
                        <a:pt x="60" y="232"/>
                      </a:moveTo>
                      <a:cubicBezTo>
                        <a:pt x="58" y="231"/>
                        <a:pt x="58" y="231"/>
                        <a:pt x="58" y="231"/>
                      </a:cubicBezTo>
                      <a:cubicBezTo>
                        <a:pt x="57" y="231"/>
                        <a:pt x="57" y="231"/>
                        <a:pt x="57" y="231"/>
                      </a:cubicBezTo>
                      <a:cubicBezTo>
                        <a:pt x="57" y="231"/>
                        <a:pt x="57" y="231"/>
                        <a:pt x="57" y="231"/>
                      </a:cubicBezTo>
                      <a:cubicBezTo>
                        <a:pt x="57" y="230"/>
                        <a:pt x="57" y="230"/>
                        <a:pt x="57" y="230"/>
                      </a:cubicBezTo>
                      <a:cubicBezTo>
                        <a:pt x="57" y="230"/>
                        <a:pt x="57" y="230"/>
                        <a:pt x="57" y="230"/>
                      </a:cubicBezTo>
                      <a:cubicBezTo>
                        <a:pt x="57" y="230"/>
                        <a:pt x="57" y="230"/>
                        <a:pt x="57" y="230"/>
                      </a:cubicBezTo>
                      <a:cubicBezTo>
                        <a:pt x="57" y="230"/>
                        <a:pt x="57" y="230"/>
                        <a:pt x="57" y="230"/>
                      </a:cubicBezTo>
                      <a:cubicBezTo>
                        <a:pt x="56" y="230"/>
                        <a:pt x="56" y="230"/>
                        <a:pt x="56" y="230"/>
                      </a:cubicBezTo>
                      <a:cubicBezTo>
                        <a:pt x="56" y="230"/>
                        <a:pt x="56" y="230"/>
                        <a:pt x="56" y="230"/>
                      </a:cubicBezTo>
                      <a:cubicBezTo>
                        <a:pt x="56" y="231"/>
                        <a:pt x="56" y="231"/>
                        <a:pt x="56" y="231"/>
                      </a:cubicBezTo>
                      <a:cubicBezTo>
                        <a:pt x="55" y="231"/>
                        <a:pt x="55" y="231"/>
                        <a:pt x="55" y="231"/>
                      </a:cubicBezTo>
                      <a:cubicBezTo>
                        <a:pt x="55" y="231"/>
                        <a:pt x="55" y="231"/>
                        <a:pt x="55" y="231"/>
                      </a:cubicBezTo>
                      <a:cubicBezTo>
                        <a:pt x="55" y="232"/>
                        <a:pt x="55" y="232"/>
                        <a:pt x="55" y="232"/>
                      </a:cubicBezTo>
                      <a:cubicBezTo>
                        <a:pt x="55" y="232"/>
                        <a:pt x="55" y="232"/>
                        <a:pt x="55" y="232"/>
                      </a:cubicBezTo>
                      <a:cubicBezTo>
                        <a:pt x="55" y="233"/>
                        <a:pt x="55" y="233"/>
                        <a:pt x="55" y="233"/>
                      </a:cubicBezTo>
                      <a:cubicBezTo>
                        <a:pt x="54" y="232"/>
                        <a:pt x="54" y="232"/>
                        <a:pt x="54" y="232"/>
                      </a:cubicBezTo>
                      <a:cubicBezTo>
                        <a:pt x="54" y="232"/>
                        <a:pt x="54" y="232"/>
                        <a:pt x="54" y="232"/>
                      </a:cubicBezTo>
                      <a:cubicBezTo>
                        <a:pt x="55" y="231"/>
                        <a:pt x="55" y="231"/>
                        <a:pt x="55" y="231"/>
                      </a:cubicBezTo>
                      <a:cubicBezTo>
                        <a:pt x="55" y="230"/>
                        <a:pt x="55" y="230"/>
                        <a:pt x="55" y="230"/>
                      </a:cubicBezTo>
                      <a:cubicBezTo>
                        <a:pt x="55" y="229"/>
                        <a:pt x="55" y="229"/>
                        <a:pt x="55" y="229"/>
                      </a:cubicBezTo>
                      <a:cubicBezTo>
                        <a:pt x="55" y="229"/>
                        <a:pt x="55" y="229"/>
                        <a:pt x="55" y="229"/>
                      </a:cubicBezTo>
                      <a:cubicBezTo>
                        <a:pt x="55" y="230"/>
                        <a:pt x="55" y="230"/>
                        <a:pt x="55" y="230"/>
                      </a:cubicBezTo>
                      <a:cubicBezTo>
                        <a:pt x="54" y="231"/>
                        <a:pt x="54" y="231"/>
                        <a:pt x="54" y="231"/>
                      </a:cubicBezTo>
                      <a:cubicBezTo>
                        <a:pt x="53" y="232"/>
                        <a:pt x="53" y="232"/>
                        <a:pt x="53" y="232"/>
                      </a:cubicBezTo>
                      <a:cubicBezTo>
                        <a:pt x="53" y="231"/>
                        <a:pt x="53" y="231"/>
                        <a:pt x="53" y="231"/>
                      </a:cubicBezTo>
                      <a:cubicBezTo>
                        <a:pt x="53" y="231"/>
                        <a:pt x="53" y="231"/>
                        <a:pt x="53" y="231"/>
                      </a:cubicBezTo>
                      <a:cubicBezTo>
                        <a:pt x="54" y="230"/>
                        <a:pt x="54" y="230"/>
                        <a:pt x="54" y="230"/>
                      </a:cubicBezTo>
                      <a:cubicBezTo>
                        <a:pt x="54" y="229"/>
                        <a:pt x="54" y="229"/>
                        <a:pt x="54" y="229"/>
                      </a:cubicBezTo>
                      <a:cubicBezTo>
                        <a:pt x="55" y="229"/>
                        <a:pt x="55" y="229"/>
                        <a:pt x="55" y="229"/>
                      </a:cubicBezTo>
                      <a:cubicBezTo>
                        <a:pt x="54" y="229"/>
                        <a:pt x="54" y="229"/>
                        <a:pt x="54" y="229"/>
                      </a:cubicBezTo>
                      <a:cubicBezTo>
                        <a:pt x="54" y="229"/>
                        <a:pt x="54" y="229"/>
                        <a:pt x="54" y="229"/>
                      </a:cubicBezTo>
                      <a:cubicBezTo>
                        <a:pt x="53" y="229"/>
                        <a:pt x="53" y="229"/>
                        <a:pt x="53" y="229"/>
                      </a:cubicBezTo>
                      <a:cubicBezTo>
                        <a:pt x="53" y="230"/>
                        <a:pt x="53" y="230"/>
                        <a:pt x="53" y="230"/>
                      </a:cubicBezTo>
                      <a:cubicBezTo>
                        <a:pt x="52" y="229"/>
                        <a:pt x="52" y="229"/>
                        <a:pt x="52" y="229"/>
                      </a:cubicBezTo>
                      <a:cubicBezTo>
                        <a:pt x="53" y="229"/>
                        <a:pt x="53" y="229"/>
                        <a:pt x="53" y="229"/>
                      </a:cubicBezTo>
                      <a:cubicBezTo>
                        <a:pt x="53" y="228"/>
                        <a:pt x="53" y="228"/>
                        <a:pt x="53" y="228"/>
                      </a:cubicBezTo>
                      <a:cubicBezTo>
                        <a:pt x="53" y="228"/>
                        <a:pt x="53" y="228"/>
                        <a:pt x="53" y="228"/>
                      </a:cubicBezTo>
                      <a:cubicBezTo>
                        <a:pt x="53" y="228"/>
                        <a:pt x="53" y="228"/>
                        <a:pt x="53" y="228"/>
                      </a:cubicBezTo>
                      <a:cubicBezTo>
                        <a:pt x="52" y="228"/>
                        <a:pt x="52" y="228"/>
                        <a:pt x="52" y="228"/>
                      </a:cubicBezTo>
                      <a:cubicBezTo>
                        <a:pt x="52" y="229"/>
                        <a:pt x="52" y="229"/>
                        <a:pt x="52" y="229"/>
                      </a:cubicBezTo>
                      <a:cubicBezTo>
                        <a:pt x="52" y="229"/>
                        <a:pt x="52" y="229"/>
                        <a:pt x="52" y="229"/>
                      </a:cubicBezTo>
                      <a:cubicBezTo>
                        <a:pt x="51" y="229"/>
                        <a:pt x="51" y="229"/>
                        <a:pt x="51" y="229"/>
                      </a:cubicBezTo>
                      <a:cubicBezTo>
                        <a:pt x="51" y="228"/>
                        <a:pt x="51" y="228"/>
                        <a:pt x="51" y="228"/>
                      </a:cubicBezTo>
                      <a:cubicBezTo>
                        <a:pt x="51" y="228"/>
                        <a:pt x="51" y="228"/>
                        <a:pt x="51" y="228"/>
                      </a:cubicBezTo>
                      <a:cubicBezTo>
                        <a:pt x="50" y="229"/>
                        <a:pt x="50" y="229"/>
                        <a:pt x="50" y="229"/>
                      </a:cubicBezTo>
                      <a:cubicBezTo>
                        <a:pt x="50" y="229"/>
                        <a:pt x="50" y="229"/>
                        <a:pt x="50" y="229"/>
                      </a:cubicBezTo>
                      <a:cubicBezTo>
                        <a:pt x="50" y="228"/>
                        <a:pt x="50" y="228"/>
                        <a:pt x="50" y="228"/>
                      </a:cubicBezTo>
                      <a:cubicBezTo>
                        <a:pt x="52" y="228"/>
                        <a:pt x="52" y="228"/>
                        <a:pt x="52" y="228"/>
                      </a:cubicBezTo>
                      <a:cubicBezTo>
                        <a:pt x="52" y="227"/>
                        <a:pt x="52" y="227"/>
                        <a:pt x="52" y="227"/>
                      </a:cubicBezTo>
                      <a:cubicBezTo>
                        <a:pt x="52" y="227"/>
                        <a:pt x="52" y="227"/>
                        <a:pt x="52" y="227"/>
                      </a:cubicBezTo>
                      <a:cubicBezTo>
                        <a:pt x="53" y="226"/>
                        <a:pt x="53" y="226"/>
                        <a:pt x="53" y="226"/>
                      </a:cubicBezTo>
                      <a:cubicBezTo>
                        <a:pt x="53" y="226"/>
                        <a:pt x="53" y="226"/>
                        <a:pt x="53" y="226"/>
                      </a:cubicBezTo>
                      <a:cubicBezTo>
                        <a:pt x="52" y="226"/>
                        <a:pt x="52" y="226"/>
                        <a:pt x="52" y="226"/>
                      </a:cubicBezTo>
                      <a:cubicBezTo>
                        <a:pt x="51" y="227"/>
                        <a:pt x="51" y="227"/>
                        <a:pt x="51" y="227"/>
                      </a:cubicBezTo>
                      <a:cubicBezTo>
                        <a:pt x="51" y="226"/>
                        <a:pt x="51" y="226"/>
                        <a:pt x="51" y="226"/>
                      </a:cubicBezTo>
                      <a:cubicBezTo>
                        <a:pt x="51" y="226"/>
                        <a:pt x="51" y="226"/>
                        <a:pt x="51" y="226"/>
                      </a:cubicBezTo>
                      <a:cubicBezTo>
                        <a:pt x="52" y="226"/>
                        <a:pt x="52" y="226"/>
                        <a:pt x="52" y="226"/>
                      </a:cubicBezTo>
                      <a:cubicBezTo>
                        <a:pt x="53" y="225"/>
                        <a:pt x="53" y="225"/>
                        <a:pt x="53" y="225"/>
                      </a:cubicBezTo>
                      <a:cubicBezTo>
                        <a:pt x="53" y="225"/>
                        <a:pt x="53" y="225"/>
                        <a:pt x="53" y="225"/>
                      </a:cubicBezTo>
                      <a:cubicBezTo>
                        <a:pt x="54" y="225"/>
                        <a:pt x="54" y="225"/>
                        <a:pt x="54" y="225"/>
                      </a:cubicBezTo>
                      <a:cubicBezTo>
                        <a:pt x="54" y="224"/>
                        <a:pt x="54" y="224"/>
                        <a:pt x="54" y="224"/>
                      </a:cubicBezTo>
                      <a:cubicBezTo>
                        <a:pt x="54" y="224"/>
                        <a:pt x="54" y="224"/>
                        <a:pt x="54" y="224"/>
                      </a:cubicBezTo>
                      <a:cubicBezTo>
                        <a:pt x="53" y="224"/>
                        <a:pt x="53" y="224"/>
                        <a:pt x="53" y="224"/>
                      </a:cubicBezTo>
                      <a:cubicBezTo>
                        <a:pt x="53" y="225"/>
                        <a:pt x="53" y="225"/>
                        <a:pt x="53" y="225"/>
                      </a:cubicBezTo>
                      <a:cubicBezTo>
                        <a:pt x="51" y="226"/>
                        <a:pt x="51" y="226"/>
                        <a:pt x="51" y="226"/>
                      </a:cubicBezTo>
                      <a:cubicBezTo>
                        <a:pt x="50" y="226"/>
                        <a:pt x="50" y="226"/>
                        <a:pt x="50" y="226"/>
                      </a:cubicBezTo>
                      <a:cubicBezTo>
                        <a:pt x="50" y="226"/>
                        <a:pt x="50" y="226"/>
                        <a:pt x="50" y="226"/>
                      </a:cubicBezTo>
                      <a:cubicBezTo>
                        <a:pt x="50" y="225"/>
                        <a:pt x="50" y="225"/>
                        <a:pt x="50" y="225"/>
                      </a:cubicBezTo>
                      <a:cubicBezTo>
                        <a:pt x="51" y="225"/>
                        <a:pt x="51" y="225"/>
                        <a:pt x="51" y="225"/>
                      </a:cubicBezTo>
                      <a:cubicBezTo>
                        <a:pt x="52" y="224"/>
                        <a:pt x="52" y="224"/>
                        <a:pt x="52" y="224"/>
                      </a:cubicBezTo>
                      <a:cubicBezTo>
                        <a:pt x="52" y="224"/>
                        <a:pt x="52" y="224"/>
                        <a:pt x="52" y="224"/>
                      </a:cubicBezTo>
                      <a:cubicBezTo>
                        <a:pt x="51" y="223"/>
                        <a:pt x="51" y="223"/>
                        <a:pt x="51" y="223"/>
                      </a:cubicBezTo>
                      <a:cubicBezTo>
                        <a:pt x="51" y="223"/>
                        <a:pt x="51" y="223"/>
                        <a:pt x="51" y="223"/>
                      </a:cubicBezTo>
                      <a:cubicBezTo>
                        <a:pt x="51" y="223"/>
                        <a:pt x="51" y="223"/>
                        <a:pt x="51" y="223"/>
                      </a:cubicBezTo>
                      <a:cubicBezTo>
                        <a:pt x="51" y="223"/>
                        <a:pt x="51" y="223"/>
                        <a:pt x="51" y="223"/>
                      </a:cubicBezTo>
                      <a:cubicBezTo>
                        <a:pt x="51" y="224"/>
                        <a:pt x="51" y="224"/>
                        <a:pt x="51" y="224"/>
                      </a:cubicBezTo>
                      <a:cubicBezTo>
                        <a:pt x="51" y="224"/>
                        <a:pt x="51" y="224"/>
                        <a:pt x="51" y="224"/>
                      </a:cubicBezTo>
                      <a:cubicBezTo>
                        <a:pt x="50" y="225"/>
                        <a:pt x="50" y="225"/>
                        <a:pt x="50" y="225"/>
                      </a:cubicBezTo>
                      <a:cubicBezTo>
                        <a:pt x="50" y="224"/>
                        <a:pt x="50" y="224"/>
                        <a:pt x="50" y="224"/>
                      </a:cubicBezTo>
                      <a:cubicBezTo>
                        <a:pt x="49" y="225"/>
                        <a:pt x="49" y="225"/>
                        <a:pt x="49" y="225"/>
                      </a:cubicBezTo>
                      <a:cubicBezTo>
                        <a:pt x="48" y="225"/>
                        <a:pt x="48" y="225"/>
                        <a:pt x="48" y="225"/>
                      </a:cubicBezTo>
                      <a:cubicBezTo>
                        <a:pt x="48" y="225"/>
                        <a:pt x="48" y="225"/>
                        <a:pt x="48" y="225"/>
                      </a:cubicBezTo>
                      <a:cubicBezTo>
                        <a:pt x="48" y="225"/>
                        <a:pt x="48" y="225"/>
                        <a:pt x="48" y="225"/>
                      </a:cubicBezTo>
                      <a:cubicBezTo>
                        <a:pt x="47" y="226"/>
                        <a:pt x="47" y="226"/>
                        <a:pt x="47" y="226"/>
                      </a:cubicBezTo>
                      <a:cubicBezTo>
                        <a:pt x="47" y="225"/>
                        <a:pt x="47" y="225"/>
                        <a:pt x="47" y="225"/>
                      </a:cubicBezTo>
                      <a:cubicBezTo>
                        <a:pt x="46" y="225"/>
                        <a:pt x="46" y="225"/>
                        <a:pt x="46" y="225"/>
                      </a:cubicBezTo>
                      <a:cubicBezTo>
                        <a:pt x="45" y="225"/>
                        <a:pt x="45" y="225"/>
                        <a:pt x="45" y="225"/>
                      </a:cubicBezTo>
                      <a:cubicBezTo>
                        <a:pt x="45" y="226"/>
                        <a:pt x="45" y="226"/>
                        <a:pt x="45" y="226"/>
                      </a:cubicBezTo>
                      <a:cubicBezTo>
                        <a:pt x="44" y="225"/>
                        <a:pt x="44" y="225"/>
                        <a:pt x="44" y="225"/>
                      </a:cubicBezTo>
                      <a:cubicBezTo>
                        <a:pt x="44" y="226"/>
                        <a:pt x="44" y="226"/>
                        <a:pt x="44" y="226"/>
                      </a:cubicBezTo>
                      <a:cubicBezTo>
                        <a:pt x="44" y="226"/>
                        <a:pt x="44" y="226"/>
                        <a:pt x="44" y="226"/>
                      </a:cubicBezTo>
                      <a:cubicBezTo>
                        <a:pt x="44" y="226"/>
                        <a:pt x="44" y="226"/>
                        <a:pt x="44" y="226"/>
                      </a:cubicBezTo>
                      <a:cubicBezTo>
                        <a:pt x="44" y="227"/>
                        <a:pt x="44" y="227"/>
                        <a:pt x="44" y="227"/>
                      </a:cubicBezTo>
                      <a:cubicBezTo>
                        <a:pt x="42" y="226"/>
                        <a:pt x="42" y="226"/>
                        <a:pt x="42" y="226"/>
                      </a:cubicBezTo>
                      <a:cubicBezTo>
                        <a:pt x="42" y="226"/>
                        <a:pt x="42" y="226"/>
                        <a:pt x="42" y="226"/>
                      </a:cubicBezTo>
                      <a:cubicBezTo>
                        <a:pt x="43" y="225"/>
                        <a:pt x="43" y="225"/>
                        <a:pt x="43" y="225"/>
                      </a:cubicBezTo>
                      <a:cubicBezTo>
                        <a:pt x="43" y="225"/>
                        <a:pt x="43" y="225"/>
                        <a:pt x="43" y="225"/>
                      </a:cubicBezTo>
                      <a:cubicBezTo>
                        <a:pt x="44" y="225"/>
                        <a:pt x="44" y="225"/>
                        <a:pt x="44" y="225"/>
                      </a:cubicBezTo>
                      <a:cubicBezTo>
                        <a:pt x="44" y="224"/>
                        <a:pt x="44" y="224"/>
                        <a:pt x="44" y="224"/>
                      </a:cubicBezTo>
                      <a:cubicBezTo>
                        <a:pt x="43" y="224"/>
                        <a:pt x="43" y="224"/>
                        <a:pt x="43" y="224"/>
                      </a:cubicBezTo>
                      <a:cubicBezTo>
                        <a:pt x="43" y="223"/>
                        <a:pt x="43" y="223"/>
                        <a:pt x="43" y="223"/>
                      </a:cubicBezTo>
                      <a:cubicBezTo>
                        <a:pt x="42" y="223"/>
                        <a:pt x="42" y="223"/>
                        <a:pt x="42" y="223"/>
                      </a:cubicBezTo>
                      <a:cubicBezTo>
                        <a:pt x="42" y="223"/>
                        <a:pt x="42" y="223"/>
                        <a:pt x="42" y="223"/>
                      </a:cubicBezTo>
                      <a:cubicBezTo>
                        <a:pt x="42" y="223"/>
                        <a:pt x="42" y="223"/>
                        <a:pt x="42" y="223"/>
                      </a:cubicBezTo>
                      <a:cubicBezTo>
                        <a:pt x="40" y="224"/>
                        <a:pt x="40" y="224"/>
                        <a:pt x="40" y="224"/>
                      </a:cubicBezTo>
                      <a:cubicBezTo>
                        <a:pt x="40" y="223"/>
                        <a:pt x="40" y="223"/>
                        <a:pt x="40" y="223"/>
                      </a:cubicBezTo>
                      <a:cubicBezTo>
                        <a:pt x="40" y="223"/>
                        <a:pt x="40" y="223"/>
                        <a:pt x="40" y="223"/>
                      </a:cubicBezTo>
                      <a:cubicBezTo>
                        <a:pt x="40" y="222"/>
                        <a:pt x="40" y="222"/>
                        <a:pt x="40" y="222"/>
                      </a:cubicBezTo>
                      <a:cubicBezTo>
                        <a:pt x="40" y="222"/>
                        <a:pt x="40" y="222"/>
                        <a:pt x="40" y="222"/>
                      </a:cubicBezTo>
                      <a:cubicBezTo>
                        <a:pt x="39" y="222"/>
                        <a:pt x="39" y="222"/>
                        <a:pt x="39" y="222"/>
                      </a:cubicBezTo>
                      <a:cubicBezTo>
                        <a:pt x="39" y="221"/>
                        <a:pt x="39" y="221"/>
                        <a:pt x="39" y="221"/>
                      </a:cubicBezTo>
                      <a:cubicBezTo>
                        <a:pt x="40" y="221"/>
                        <a:pt x="40" y="221"/>
                        <a:pt x="40" y="221"/>
                      </a:cubicBezTo>
                      <a:cubicBezTo>
                        <a:pt x="41" y="221"/>
                        <a:pt x="41" y="221"/>
                        <a:pt x="41" y="221"/>
                      </a:cubicBezTo>
                      <a:cubicBezTo>
                        <a:pt x="41" y="221"/>
                        <a:pt x="41" y="221"/>
                        <a:pt x="41" y="221"/>
                      </a:cubicBezTo>
                      <a:cubicBezTo>
                        <a:pt x="41" y="220"/>
                        <a:pt x="41" y="220"/>
                        <a:pt x="41" y="220"/>
                      </a:cubicBezTo>
                      <a:cubicBezTo>
                        <a:pt x="41" y="220"/>
                        <a:pt x="41" y="220"/>
                        <a:pt x="41" y="220"/>
                      </a:cubicBezTo>
                      <a:cubicBezTo>
                        <a:pt x="40" y="220"/>
                        <a:pt x="40" y="220"/>
                        <a:pt x="40" y="220"/>
                      </a:cubicBezTo>
                      <a:cubicBezTo>
                        <a:pt x="39" y="221"/>
                        <a:pt x="39" y="221"/>
                        <a:pt x="39" y="221"/>
                      </a:cubicBezTo>
                      <a:cubicBezTo>
                        <a:pt x="38" y="221"/>
                        <a:pt x="38" y="221"/>
                        <a:pt x="38" y="221"/>
                      </a:cubicBezTo>
                      <a:cubicBezTo>
                        <a:pt x="37" y="221"/>
                        <a:pt x="37" y="221"/>
                        <a:pt x="37" y="221"/>
                      </a:cubicBezTo>
                      <a:cubicBezTo>
                        <a:pt x="37" y="220"/>
                        <a:pt x="37" y="220"/>
                        <a:pt x="37" y="220"/>
                      </a:cubicBezTo>
                      <a:cubicBezTo>
                        <a:pt x="38" y="220"/>
                        <a:pt x="38" y="220"/>
                        <a:pt x="38" y="220"/>
                      </a:cubicBezTo>
                      <a:cubicBezTo>
                        <a:pt x="39" y="220"/>
                        <a:pt x="39" y="220"/>
                        <a:pt x="39" y="220"/>
                      </a:cubicBezTo>
                      <a:cubicBezTo>
                        <a:pt x="39" y="219"/>
                        <a:pt x="39" y="219"/>
                        <a:pt x="39" y="219"/>
                      </a:cubicBezTo>
                      <a:cubicBezTo>
                        <a:pt x="40" y="219"/>
                        <a:pt x="40" y="219"/>
                        <a:pt x="40" y="219"/>
                      </a:cubicBezTo>
                      <a:cubicBezTo>
                        <a:pt x="40" y="218"/>
                        <a:pt x="40" y="218"/>
                        <a:pt x="40" y="218"/>
                      </a:cubicBezTo>
                      <a:cubicBezTo>
                        <a:pt x="40" y="218"/>
                        <a:pt x="40" y="218"/>
                        <a:pt x="40" y="218"/>
                      </a:cubicBezTo>
                      <a:cubicBezTo>
                        <a:pt x="39" y="218"/>
                        <a:pt x="39" y="218"/>
                        <a:pt x="39" y="218"/>
                      </a:cubicBezTo>
                      <a:cubicBezTo>
                        <a:pt x="38" y="218"/>
                        <a:pt x="38" y="218"/>
                        <a:pt x="38" y="218"/>
                      </a:cubicBezTo>
                      <a:cubicBezTo>
                        <a:pt x="38" y="219"/>
                        <a:pt x="38" y="219"/>
                        <a:pt x="38" y="219"/>
                      </a:cubicBezTo>
                      <a:cubicBezTo>
                        <a:pt x="37" y="218"/>
                        <a:pt x="37" y="218"/>
                        <a:pt x="37" y="218"/>
                      </a:cubicBezTo>
                      <a:cubicBezTo>
                        <a:pt x="38" y="218"/>
                        <a:pt x="38" y="218"/>
                        <a:pt x="38" y="218"/>
                      </a:cubicBezTo>
                      <a:cubicBezTo>
                        <a:pt x="38" y="218"/>
                        <a:pt x="38" y="218"/>
                        <a:pt x="38" y="218"/>
                      </a:cubicBezTo>
                      <a:cubicBezTo>
                        <a:pt x="39" y="218"/>
                        <a:pt x="39" y="218"/>
                        <a:pt x="39" y="218"/>
                      </a:cubicBezTo>
                      <a:cubicBezTo>
                        <a:pt x="39" y="217"/>
                        <a:pt x="39" y="217"/>
                        <a:pt x="39" y="217"/>
                      </a:cubicBezTo>
                      <a:cubicBezTo>
                        <a:pt x="40" y="217"/>
                        <a:pt x="40" y="217"/>
                        <a:pt x="40" y="217"/>
                      </a:cubicBezTo>
                      <a:cubicBezTo>
                        <a:pt x="40" y="216"/>
                        <a:pt x="40" y="216"/>
                        <a:pt x="40" y="216"/>
                      </a:cubicBezTo>
                      <a:cubicBezTo>
                        <a:pt x="40" y="216"/>
                        <a:pt x="40" y="216"/>
                        <a:pt x="40" y="216"/>
                      </a:cubicBezTo>
                      <a:cubicBezTo>
                        <a:pt x="40" y="216"/>
                        <a:pt x="40" y="216"/>
                        <a:pt x="40" y="216"/>
                      </a:cubicBezTo>
                      <a:cubicBezTo>
                        <a:pt x="39" y="216"/>
                        <a:pt x="39" y="216"/>
                        <a:pt x="39" y="216"/>
                      </a:cubicBezTo>
                      <a:cubicBezTo>
                        <a:pt x="38" y="217"/>
                        <a:pt x="38" y="217"/>
                        <a:pt x="38" y="217"/>
                      </a:cubicBezTo>
                      <a:cubicBezTo>
                        <a:pt x="38" y="217"/>
                        <a:pt x="38" y="217"/>
                        <a:pt x="38" y="217"/>
                      </a:cubicBezTo>
                      <a:cubicBezTo>
                        <a:pt x="37" y="217"/>
                        <a:pt x="37" y="217"/>
                        <a:pt x="37" y="217"/>
                      </a:cubicBezTo>
                      <a:cubicBezTo>
                        <a:pt x="37" y="217"/>
                        <a:pt x="37" y="217"/>
                        <a:pt x="37" y="217"/>
                      </a:cubicBezTo>
                      <a:cubicBezTo>
                        <a:pt x="38" y="216"/>
                        <a:pt x="38" y="216"/>
                        <a:pt x="38" y="216"/>
                      </a:cubicBezTo>
                      <a:cubicBezTo>
                        <a:pt x="38" y="216"/>
                        <a:pt x="38" y="216"/>
                        <a:pt x="38" y="216"/>
                      </a:cubicBezTo>
                      <a:cubicBezTo>
                        <a:pt x="38" y="215"/>
                        <a:pt x="38" y="215"/>
                        <a:pt x="38" y="215"/>
                      </a:cubicBezTo>
                      <a:cubicBezTo>
                        <a:pt x="38" y="215"/>
                        <a:pt x="38" y="215"/>
                        <a:pt x="38" y="215"/>
                      </a:cubicBezTo>
                      <a:cubicBezTo>
                        <a:pt x="38" y="215"/>
                        <a:pt x="38" y="215"/>
                        <a:pt x="38" y="215"/>
                      </a:cubicBezTo>
                      <a:cubicBezTo>
                        <a:pt x="38" y="215"/>
                        <a:pt x="38" y="215"/>
                        <a:pt x="38" y="215"/>
                      </a:cubicBezTo>
                      <a:cubicBezTo>
                        <a:pt x="37" y="215"/>
                        <a:pt x="37" y="215"/>
                        <a:pt x="37" y="215"/>
                      </a:cubicBezTo>
                      <a:cubicBezTo>
                        <a:pt x="37" y="214"/>
                        <a:pt x="37" y="214"/>
                        <a:pt x="37" y="214"/>
                      </a:cubicBezTo>
                      <a:cubicBezTo>
                        <a:pt x="37" y="214"/>
                        <a:pt x="37" y="214"/>
                        <a:pt x="37" y="214"/>
                      </a:cubicBezTo>
                      <a:cubicBezTo>
                        <a:pt x="37" y="213"/>
                        <a:pt x="37" y="213"/>
                        <a:pt x="37" y="213"/>
                      </a:cubicBezTo>
                      <a:cubicBezTo>
                        <a:pt x="37" y="213"/>
                        <a:pt x="37" y="213"/>
                        <a:pt x="37" y="213"/>
                      </a:cubicBezTo>
                      <a:cubicBezTo>
                        <a:pt x="36" y="214"/>
                        <a:pt x="36" y="214"/>
                        <a:pt x="36" y="214"/>
                      </a:cubicBezTo>
                      <a:cubicBezTo>
                        <a:pt x="36" y="214"/>
                        <a:pt x="36" y="214"/>
                        <a:pt x="36" y="214"/>
                      </a:cubicBezTo>
                      <a:cubicBezTo>
                        <a:pt x="36" y="213"/>
                        <a:pt x="36" y="213"/>
                        <a:pt x="36" y="213"/>
                      </a:cubicBezTo>
                      <a:cubicBezTo>
                        <a:pt x="36" y="213"/>
                        <a:pt x="36" y="213"/>
                        <a:pt x="36" y="213"/>
                      </a:cubicBezTo>
                      <a:cubicBezTo>
                        <a:pt x="37" y="212"/>
                        <a:pt x="37" y="212"/>
                        <a:pt x="37" y="212"/>
                      </a:cubicBezTo>
                      <a:cubicBezTo>
                        <a:pt x="37" y="212"/>
                        <a:pt x="37" y="212"/>
                        <a:pt x="37" y="212"/>
                      </a:cubicBezTo>
                      <a:cubicBezTo>
                        <a:pt x="38" y="211"/>
                        <a:pt x="38" y="211"/>
                        <a:pt x="38" y="211"/>
                      </a:cubicBezTo>
                      <a:cubicBezTo>
                        <a:pt x="37" y="211"/>
                        <a:pt x="37" y="211"/>
                        <a:pt x="37" y="211"/>
                      </a:cubicBezTo>
                      <a:cubicBezTo>
                        <a:pt x="37" y="210"/>
                        <a:pt x="37" y="210"/>
                        <a:pt x="37" y="210"/>
                      </a:cubicBezTo>
                      <a:cubicBezTo>
                        <a:pt x="38" y="210"/>
                        <a:pt x="38" y="210"/>
                        <a:pt x="38" y="210"/>
                      </a:cubicBezTo>
                      <a:cubicBezTo>
                        <a:pt x="37" y="210"/>
                        <a:pt x="37" y="210"/>
                        <a:pt x="37" y="210"/>
                      </a:cubicBezTo>
                      <a:cubicBezTo>
                        <a:pt x="37" y="210"/>
                        <a:pt x="37" y="210"/>
                        <a:pt x="37" y="210"/>
                      </a:cubicBezTo>
                      <a:cubicBezTo>
                        <a:pt x="37" y="210"/>
                        <a:pt x="37" y="210"/>
                        <a:pt x="37" y="210"/>
                      </a:cubicBezTo>
                      <a:cubicBezTo>
                        <a:pt x="36" y="210"/>
                        <a:pt x="36" y="210"/>
                        <a:pt x="36" y="210"/>
                      </a:cubicBezTo>
                      <a:cubicBezTo>
                        <a:pt x="36" y="210"/>
                        <a:pt x="36" y="210"/>
                        <a:pt x="36" y="210"/>
                      </a:cubicBezTo>
                      <a:cubicBezTo>
                        <a:pt x="36" y="210"/>
                        <a:pt x="36" y="210"/>
                        <a:pt x="36" y="210"/>
                      </a:cubicBezTo>
                      <a:cubicBezTo>
                        <a:pt x="35" y="210"/>
                        <a:pt x="35" y="210"/>
                        <a:pt x="35" y="210"/>
                      </a:cubicBezTo>
                      <a:cubicBezTo>
                        <a:pt x="35" y="209"/>
                        <a:pt x="35" y="209"/>
                        <a:pt x="35" y="209"/>
                      </a:cubicBezTo>
                      <a:cubicBezTo>
                        <a:pt x="35" y="209"/>
                        <a:pt x="35" y="209"/>
                        <a:pt x="35" y="209"/>
                      </a:cubicBezTo>
                      <a:cubicBezTo>
                        <a:pt x="36" y="208"/>
                        <a:pt x="36" y="208"/>
                        <a:pt x="36" y="208"/>
                      </a:cubicBezTo>
                      <a:cubicBezTo>
                        <a:pt x="36" y="208"/>
                        <a:pt x="36" y="208"/>
                        <a:pt x="36" y="208"/>
                      </a:cubicBezTo>
                      <a:cubicBezTo>
                        <a:pt x="36" y="208"/>
                        <a:pt x="36" y="208"/>
                        <a:pt x="36" y="208"/>
                      </a:cubicBezTo>
                      <a:cubicBezTo>
                        <a:pt x="35" y="208"/>
                        <a:pt x="35" y="208"/>
                        <a:pt x="35" y="208"/>
                      </a:cubicBezTo>
                      <a:cubicBezTo>
                        <a:pt x="34" y="208"/>
                        <a:pt x="34" y="208"/>
                        <a:pt x="34" y="208"/>
                      </a:cubicBezTo>
                      <a:cubicBezTo>
                        <a:pt x="34" y="208"/>
                        <a:pt x="34" y="208"/>
                        <a:pt x="34" y="208"/>
                      </a:cubicBezTo>
                      <a:cubicBezTo>
                        <a:pt x="34" y="208"/>
                        <a:pt x="34" y="208"/>
                        <a:pt x="34" y="208"/>
                      </a:cubicBezTo>
                      <a:cubicBezTo>
                        <a:pt x="34" y="207"/>
                        <a:pt x="34" y="207"/>
                        <a:pt x="34" y="207"/>
                      </a:cubicBezTo>
                      <a:cubicBezTo>
                        <a:pt x="34" y="207"/>
                        <a:pt x="34" y="207"/>
                        <a:pt x="34" y="207"/>
                      </a:cubicBezTo>
                      <a:cubicBezTo>
                        <a:pt x="35" y="207"/>
                        <a:pt x="35" y="207"/>
                        <a:pt x="35" y="207"/>
                      </a:cubicBezTo>
                      <a:cubicBezTo>
                        <a:pt x="36" y="207"/>
                        <a:pt x="36" y="207"/>
                        <a:pt x="36" y="207"/>
                      </a:cubicBezTo>
                      <a:cubicBezTo>
                        <a:pt x="37" y="207"/>
                        <a:pt x="37" y="207"/>
                        <a:pt x="37" y="207"/>
                      </a:cubicBezTo>
                      <a:cubicBezTo>
                        <a:pt x="36" y="207"/>
                        <a:pt x="36" y="207"/>
                        <a:pt x="36" y="207"/>
                      </a:cubicBezTo>
                      <a:cubicBezTo>
                        <a:pt x="36" y="206"/>
                        <a:pt x="36" y="206"/>
                        <a:pt x="36" y="206"/>
                      </a:cubicBezTo>
                      <a:cubicBezTo>
                        <a:pt x="35" y="206"/>
                        <a:pt x="35" y="206"/>
                        <a:pt x="35" y="206"/>
                      </a:cubicBezTo>
                      <a:cubicBezTo>
                        <a:pt x="34" y="207"/>
                        <a:pt x="34" y="207"/>
                        <a:pt x="34" y="207"/>
                      </a:cubicBezTo>
                      <a:cubicBezTo>
                        <a:pt x="34" y="207"/>
                        <a:pt x="34" y="207"/>
                        <a:pt x="34" y="207"/>
                      </a:cubicBezTo>
                      <a:cubicBezTo>
                        <a:pt x="33" y="206"/>
                        <a:pt x="33" y="206"/>
                        <a:pt x="33" y="206"/>
                      </a:cubicBezTo>
                      <a:cubicBezTo>
                        <a:pt x="34" y="206"/>
                        <a:pt x="34" y="206"/>
                        <a:pt x="34" y="206"/>
                      </a:cubicBezTo>
                      <a:cubicBezTo>
                        <a:pt x="35" y="206"/>
                        <a:pt x="35" y="206"/>
                        <a:pt x="35" y="206"/>
                      </a:cubicBezTo>
                      <a:cubicBezTo>
                        <a:pt x="36" y="205"/>
                        <a:pt x="36" y="205"/>
                        <a:pt x="36" y="205"/>
                      </a:cubicBezTo>
                      <a:cubicBezTo>
                        <a:pt x="35" y="205"/>
                        <a:pt x="35" y="205"/>
                        <a:pt x="35" y="205"/>
                      </a:cubicBezTo>
                      <a:cubicBezTo>
                        <a:pt x="35" y="205"/>
                        <a:pt x="35" y="205"/>
                        <a:pt x="35" y="205"/>
                      </a:cubicBezTo>
                      <a:cubicBezTo>
                        <a:pt x="34" y="205"/>
                        <a:pt x="34" y="205"/>
                        <a:pt x="34" y="205"/>
                      </a:cubicBezTo>
                      <a:cubicBezTo>
                        <a:pt x="35" y="205"/>
                        <a:pt x="35" y="205"/>
                        <a:pt x="35" y="205"/>
                      </a:cubicBezTo>
                      <a:cubicBezTo>
                        <a:pt x="35" y="205"/>
                        <a:pt x="35" y="205"/>
                        <a:pt x="35" y="205"/>
                      </a:cubicBezTo>
                      <a:cubicBezTo>
                        <a:pt x="36" y="205"/>
                        <a:pt x="36" y="205"/>
                        <a:pt x="36" y="205"/>
                      </a:cubicBezTo>
                      <a:cubicBezTo>
                        <a:pt x="37" y="205"/>
                        <a:pt x="37" y="205"/>
                        <a:pt x="37" y="205"/>
                      </a:cubicBezTo>
                      <a:cubicBezTo>
                        <a:pt x="37" y="204"/>
                        <a:pt x="37" y="204"/>
                        <a:pt x="37" y="204"/>
                      </a:cubicBezTo>
                      <a:cubicBezTo>
                        <a:pt x="37" y="204"/>
                        <a:pt x="37" y="204"/>
                        <a:pt x="37" y="204"/>
                      </a:cubicBezTo>
                      <a:cubicBezTo>
                        <a:pt x="36" y="204"/>
                        <a:pt x="36" y="204"/>
                        <a:pt x="36" y="204"/>
                      </a:cubicBezTo>
                      <a:cubicBezTo>
                        <a:pt x="36" y="204"/>
                        <a:pt x="36" y="204"/>
                        <a:pt x="36" y="204"/>
                      </a:cubicBezTo>
                      <a:cubicBezTo>
                        <a:pt x="35" y="204"/>
                        <a:pt x="35" y="204"/>
                        <a:pt x="35" y="204"/>
                      </a:cubicBezTo>
                      <a:cubicBezTo>
                        <a:pt x="35" y="204"/>
                        <a:pt x="35" y="204"/>
                        <a:pt x="35" y="204"/>
                      </a:cubicBezTo>
                      <a:cubicBezTo>
                        <a:pt x="34" y="204"/>
                        <a:pt x="34" y="204"/>
                        <a:pt x="34" y="204"/>
                      </a:cubicBezTo>
                      <a:cubicBezTo>
                        <a:pt x="34" y="205"/>
                        <a:pt x="34" y="205"/>
                        <a:pt x="34" y="205"/>
                      </a:cubicBezTo>
                      <a:cubicBezTo>
                        <a:pt x="33" y="205"/>
                        <a:pt x="33" y="205"/>
                        <a:pt x="33" y="205"/>
                      </a:cubicBezTo>
                      <a:cubicBezTo>
                        <a:pt x="33" y="205"/>
                        <a:pt x="33" y="205"/>
                        <a:pt x="33" y="205"/>
                      </a:cubicBezTo>
                      <a:cubicBezTo>
                        <a:pt x="33" y="204"/>
                        <a:pt x="33" y="204"/>
                        <a:pt x="33" y="204"/>
                      </a:cubicBezTo>
                      <a:cubicBezTo>
                        <a:pt x="33" y="203"/>
                        <a:pt x="33" y="203"/>
                        <a:pt x="33" y="203"/>
                      </a:cubicBezTo>
                      <a:cubicBezTo>
                        <a:pt x="34" y="203"/>
                        <a:pt x="34" y="203"/>
                        <a:pt x="34" y="203"/>
                      </a:cubicBezTo>
                      <a:cubicBezTo>
                        <a:pt x="35" y="203"/>
                        <a:pt x="35" y="203"/>
                        <a:pt x="35" y="203"/>
                      </a:cubicBezTo>
                      <a:cubicBezTo>
                        <a:pt x="35" y="203"/>
                        <a:pt x="35" y="203"/>
                        <a:pt x="35" y="203"/>
                      </a:cubicBezTo>
                      <a:cubicBezTo>
                        <a:pt x="34" y="203"/>
                        <a:pt x="34" y="203"/>
                        <a:pt x="34" y="203"/>
                      </a:cubicBezTo>
                      <a:cubicBezTo>
                        <a:pt x="33" y="203"/>
                        <a:pt x="33" y="203"/>
                        <a:pt x="33" y="203"/>
                      </a:cubicBezTo>
                      <a:cubicBezTo>
                        <a:pt x="33" y="202"/>
                        <a:pt x="33" y="202"/>
                        <a:pt x="33" y="202"/>
                      </a:cubicBezTo>
                      <a:cubicBezTo>
                        <a:pt x="33" y="202"/>
                        <a:pt x="33" y="202"/>
                        <a:pt x="33" y="202"/>
                      </a:cubicBezTo>
                      <a:cubicBezTo>
                        <a:pt x="34" y="201"/>
                        <a:pt x="34" y="201"/>
                        <a:pt x="34" y="201"/>
                      </a:cubicBezTo>
                      <a:cubicBezTo>
                        <a:pt x="36" y="201"/>
                        <a:pt x="36" y="201"/>
                        <a:pt x="36" y="201"/>
                      </a:cubicBezTo>
                      <a:cubicBezTo>
                        <a:pt x="37" y="201"/>
                        <a:pt x="37" y="201"/>
                        <a:pt x="37" y="201"/>
                      </a:cubicBezTo>
                      <a:cubicBezTo>
                        <a:pt x="38" y="201"/>
                        <a:pt x="38" y="201"/>
                        <a:pt x="38" y="201"/>
                      </a:cubicBezTo>
                      <a:cubicBezTo>
                        <a:pt x="38" y="201"/>
                        <a:pt x="38" y="201"/>
                        <a:pt x="38" y="201"/>
                      </a:cubicBezTo>
                      <a:cubicBezTo>
                        <a:pt x="39" y="200"/>
                        <a:pt x="39" y="200"/>
                        <a:pt x="39" y="200"/>
                      </a:cubicBezTo>
                      <a:cubicBezTo>
                        <a:pt x="38" y="200"/>
                        <a:pt x="38" y="200"/>
                        <a:pt x="38" y="200"/>
                      </a:cubicBezTo>
                      <a:cubicBezTo>
                        <a:pt x="37" y="200"/>
                        <a:pt x="37" y="200"/>
                        <a:pt x="37" y="200"/>
                      </a:cubicBezTo>
                      <a:cubicBezTo>
                        <a:pt x="36" y="201"/>
                        <a:pt x="36" y="201"/>
                        <a:pt x="36" y="201"/>
                      </a:cubicBezTo>
                      <a:cubicBezTo>
                        <a:pt x="35" y="201"/>
                        <a:pt x="35" y="201"/>
                        <a:pt x="35" y="201"/>
                      </a:cubicBezTo>
                      <a:cubicBezTo>
                        <a:pt x="34" y="201"/>
                        <a:pt x="34" y="201"/>
                        <a:pt x="34" y="201"/>
                      </a:cubicBezTo>
                      <a:cubicBezTo>
                        <a:pt x="33" y="201"/>
                        <a:pt x="33" y="201"/>
                        <a:pt x="33" y="201"/>
                      </a:cubicBezTo>
                      <a:cubicBezTo>
                        <a:pt x="33" y="201"/>
                        <a:pt x="33" y="201"/>
                        <a:pt x="33" y="201"/>
                      </a:cubicBezTo>
                      <a:cubicBezTo>
                        <a:pt x="33" y="201"/>
                        <a:pt x="33" y="201"/>
                        <a:pt x="33" y="201"/>
                      </a:cubicBezTo>
                      <a:cubicBezTo>
                        <a:pt x="35" y="201"/>
                        <a:pt x="35" y="201"/>
                        <a:pt x="35" y="201"/>
                      </a:cubicBezTo>
                      <a:cubicBezTo>
                        <a:pt x="35" y="200"/>
                        <a:pt x="35" y="200"/>
                        <a:pt x="35" y="200"/>
                      </a:cubicBezTo>
                      <a:cubicBezTo>
                        <a:pt x="36" y="199"/>
                        <a:pt x="36" y="199"/>
                        <a:pt x="36" y="199"/>
                      </a:cubicBezTo>
                      <a:cubicBezTo>
                        <a:pt x="37" y="199"/>
                        <a:pt x="37" y="199"/>
                        <a:pt x="37" y="199"/>
                      </a:cubicBezTo>
                      <a:cubicBezTo>
                        <a:pt x="37" y="199"/>
                        <a:pt x="37" y="199"/>
                        <a:pt x="37" y="199"/>
                      </a:cubicBezTo>
                      <a:cubicBezTo>
                        <a:pt x="38" y="200"/>
                        <a:pt x="38" y="200"/>
                        <a:pt x="38" y="200"/>
                      </a:cubicBezTo>
                      <a:cubicBezTo>
                        <a:pt x="39" y="200"/>
                        <a:pt x="39" y="200"/>
                        <a:pt x="39" y="200"/>
                      </a:cubicBezTo>
                      <a:cubicBezTo>
                        <a:pt x="39" y="200"/>
                        <a:pt x="39" y="200"/>
                        <a:pt x="39" y="200"/>
                      </a:cubicBezTo>
                      <a:cubicBezTo>
                        <a:pt x="38" y="199"/>
                        <a:pt x="38" y="199"/>
                        <a:pt x="38" y="199"/>
                      </a:cubicBezTo>
                      <a:cubicBezTo>
                        <a:pt x="38" y="199"/>
                        <a:pt x="38" y="199"/>
                        <a:pt x="38" y="199"/>
                      </a:cubicBezTo>
                      <a:cubicBezTo>
                        <a:pt x="37" y="199"/>
                        <a:pt x="37" y="199"/>
                        <a:pt x="37" y="199"/>
                      </a:cubicBezTo>
                      <a:cubicBezTo>
                        <a:pt x="37" y="198"/>
                        <a:pt x="37" y="198"/>
                        <a:pt x="37" y="198"/>
                      </a:cubicBezTo>
                      <a:cubicBezTo>
                        <a:pt x="37" y="198"/>
                        <a:pt x="37" y="198"/>
                        <a:pt x="37" y="198"/>
                      </a:cubicBezTo>
                      <a:cubicBezTo>
                        <a:pt x="38" y="198"/>
                        <a:pt x="38" y="198"/>
                        <a:pt x="38" y="198"/>
                      </a:cubicBezTo>
                      <a:cubicBezTo>
                        <a:pt x="38" y="198"/>
                        <a:pt x="38" y="198"/>
                        <a:pt x="38" y="198"/>
                      </a:cubicBezTo>
                      <a:cubicBezTo>
                        <a:pt x="38" y="198"/>
                        <a:pt x="38" y="198"/>
                        <a:pt x="38" y="198"/>
                      </a:cubicBezTo>
                      <a:cubicBezTo>
                        <a:pt x="39" y="198"/>
                        <a:pt x="39" y="198"/>
                        <a:pt x="39" y="198"/>
                      </a:cubicBezTo>
                      <a:cubicBezTo>
                        <a:pt x="39" y="199"/>
                        <a:pt x="39" y="199"/>
                        <a:pt x="39" y="199"/>
                      </a:cubicBezTo>
                      <a:cubicBezTo>
                        <a:pt x="40" y="200"/>
                        <a:pt x="40" y="200"/>
                        <a:pt x="40" y="200"/>
                      </a:cubicBezTo>
                      <a:cubicBezTo>
                        <a:pt x="40" y="199"/>
                        <a:pt x="40" y="199"/>
                        <a:pt x="40" y="199"/>
                      </a:cubicBezTo>
                      <a:cubicBezTo>
                        <a:pt x="40" y="199"/>
                        <a:pt x="40" y="199"/>
                        <a:pt x="40" y="199"/>
                      </a:cubicBezTo>
                      <a:cubicBezTo>
                        <a:pt x="39" y="198"/>
                        <a:pt x="39" y="198"/>
                        <a:pt x="39" y="198"/>
                      </a:cubicBezTo>
                      <a:cubicBezTo>
                        <a:pt x="39" y="197"/>
                        <a:pt x="39" y="197"/>
                        <a:pt x="39" y="197"/>
                      </a:cubicBezTo>
                      <a:cubicBezTo>
                        <a:pt x="40" y="197"/>
                        <a:pt x="40" y="197"/>
                        <a:pt x="40" y="197"/>
                      </a:cubicBezTo>
                      <a:cubicBezTo>
                        <a:pt x="40" y="196"/>
                        <a:pt x="40" y="196"/>
                        <a:pt x="40" y="196"/>
                      </a:cubicBezTo>
                      <a:cubicBezTo>
                        <a:pt x="39" y="196"/>
                        <a:pt x="39" y="196"/>
                        <a:pt x="39" y="196"/>
                      </a:cubicBezTo>
                      <a:cubicBezTo>
                        <a:pt x="39" y="197"/>
                        <a:pt x="39" y="197"/>
                        <a:pt x="39" y="197"/>
                      </a:cubicBezTo>
                      <a:cubicBezTo>
                        <a:pt x="38" y="197"/>
                        <a:pt x="38" y="197"/>
                        <a:pt x="38" y="197"/>
                      </a:cubicBezTo>
                      <a:cubicBezTo>
                        <a:pt x="38" y="196"/>
                        <a:pt x="38" y="196"/>
                        <a:pt x="38" y="196"/>
                      </a:cubicBezTo>
                      <a:cubicBezTo>
                        <a:pt x="38" y="197"/>
                        <a:pt x="38" y="197"/>
                        <a:pt x="38" y="197"/>
                      </a:cubicBezTo>
                      <a:cubicBezTo>
                        <a:pt x="37" y="198"/>
                        <a:pt x="37" y="198"/>
                        <a:pt x="37" y="198"/>
                      </a:cubicBezTo>
                      <a:cubicBezTo>
                        <a:pt x="36" y="198"/>
                        <a:pt x="36" y="198"/>
                        <a:pt x="36" y="198"/>
                      </a:cubicBezTo>
                      <a:cubicBezTo>
                        <a:pt x="36" y="198"/>
                        <a:pt x="36" y="198"/>
                        <a:pt x="36" y="198"/>
                      </a:cubicBezTo>
                      <a:cubicBezTo>
                        <a:pt x="36" y="197"/>
                        <a:pt x="36" y="197"/>
                        <a:pt x="36" y="197"/>
                      </a:cubicBezTo>
                      <a:cubicBezTo>
                        <a:pt x="36" y="197"/>
                        <a:pt x="36" y="197"/>
                        <a:pt x="36" y="197"/>
                      </a:cubicBezTo>
                      <a:cubicBezTo>
                        <a:pt x="36" y="197"/>
                        <a:pt x="36" y="197"/>
                        <a:pt x="36" y="197"/>
                      </a:cubicBezTo>
                      <a:cubicBezTo>
                        <a:pt x="36" y="197"/>
                        <a:pt x="36" y="197"/>
                        <a:pt x="36" y="197"/>
                      </a:cubicBezTo>
                      <a:cubicBezTo>
                        <a:pt x="35" y="198"/>
                        <a:pt x="35" y="198"/>
                        <a:pt x="35" y="198"/>
                      </a:cubicBezTo>
                      <a:cubicBezTo>
                        <a:pt x="35" y="198"/>
                        <a:pt x="35" y="198"/>
                        <a:pt x="35" y="198"/>
                      </a:cubicBezTo>
                      <a:cubicBezTo>
                        <a:pt x="34" y="199"/>
                        <a:pt x="34" y="199"/>
                        <a:pt x="34" y="199"/>
                      </a:cubicBezTo>
                      <a:cubicBezTo>
                        <a:pt x="33" y="199"/>
                        <a:pt x="33" y="199"/>
                        <a:pt x="33" y="199"/>
                      </a:cubicBezTo>
                      <a:cubicBezTo>
                        <a:pt x="32" y="200"/>
                        <a:pt x="32" y="200"/>
                        <a:pt x="32" y="200"/>
                      </a:cubicBezTo>
                      <a:cubicBezTo>
                        <a:pt x="32" y="200"/>
                        <a:pt x="32" y="200"/>
                        <a:pt x="32" y="200"/>
                      </a:cubicBezTo>
                      <a:cubicBezTo>
                        <a:pt x="32" y="199"/>
                        <a:pt x="32" y="199"/>
                        <a:pt x="32" y="199"/>
                      </a:cubicBezTo>
                      <a:cubicBezTo>
                        <a:pt x="32" y="198"/>
                        <a:pt x="32" y="198"/>
                        <a:pt x="32" y="198"/>
                      </a:cubicBezTo>
                      <a:cubicBezTo>
                        <a:pt x="32" y="198"/>
                        <a:pt x="32" y="198"/>
                        <a:pt x="32" y="198"/>
                      </a:cubicBezTo>
                      <a:cubicBezTo>
                        <a:pt x="32" y="197"/>
                        <a:pt x="32" y="197"/>
                        <a:pt x="32" y="197"/>
                      </a:cubicBezTo>
                      <a:cubicBezTo>
                        <a:pt x="32" y="197"/>
                        <a:pt x="32" y="197"/>
                        <a:pt x="32" y="197"/>
                      </a:cubicBezTo>
                      <a:cubicBezTo>
                        <a:pt x="32" y="196"/>
                        <a:pt x="32" y="196"/>
                        <a:pt x="32" y="196"/>
                      </a:cubicBezTo>
                      <a:cubicBezTo>
                        <a:pt x="33" y="196"/>
                        <a:pt x="33" y="196"/>
                        <a:pt x="33" y="196"/>
                      </a:cubicBezTo>
                      <a:cubicBezTo>
                        <a:pt x="34" y="195"/>
                        <a:pt x="34" y="195"/>
                        <a:pt x="34" y="195"/>
                      </a:cubicBezTo>
                      <a:cubicBezTo>
                        <a:pt x="35" y="195"/>
                        <a:pt x="35" y="195"/>
                        <a:pt x="35" y="195"/>
                      </a:cubicBezTo>
                      <a:cubicBezTo>
                        <a:pt x="35" y="195"/>
                        <a:pt x="35" y="195"/>
                        <a:pt x="35" y="195"/>
                      </a:cubicBezTo>
                      <a:cubicBezTo>
                        <a:pt x="36" y="195"/>
                        <a:pt x="36" y="195"/>
                        <a:pt x="36" y="195"/>
                      </a:cubicBezTo>
                      <a:cubicBezTo>
                        <a:pt x="35" y="194"/>
                        <a:pt x="35" y="194"/>
                        <a:pt x="35" y="194"/>
                      </a:cubicBezTo>
                      <a:cubicBezTo>
                        <a:pt x="35" y="194"/>
                        <a:pt x="35" y="194"/>
                        <a:pt x="35" y="194"/>
                      </a:cubicBezTo>
                      <a:cubicBezTo>
                        <a:pt x="34" y="195"/>
                        <a:pt x="34" y="195"/>
                        <a:pt x="34" y="195"/>
                      </a:cubicBezTo>
                      <a:cubicBezTo>
                        <a:pt x="34" y="195"/>
                        <a:pt x="34" y="195"/>
                        <a:pt x="34" y="195"/>
                      </a:cubicBezTo>
                      <a:cubicBezTo>
                        <a:pt x="34" y="195"/>
                        <a:pt x="34" y="195"/>
                        <a:pt x="34" y="195"/>
                      </a:cubicBezTo>
                      <a:cubicBezTo>
                        <a:pt x="33" y="195"/>
                        <a:pt x="33" y="195"/>
                        <a:pt x="33" y="195"/>
                      </a:cubicBezTo>
                      <a:cubicBezTo>
                        <a:pt x="32" y="195"/>
                        <a:pt x="32" y="195"/>
                        <a:pt x="32" y="195"/>
                      </a:cubicBezTo>
                      <a:cubicBezTo>
                        <a:pt x="32" y="195"/>
                        <a:pt x="32" y="195"/>
                        <a:pt x="32" y="195"/>
                      </a:cubicBezTo>
                      <a:cubicBezTo>
                        <a:pt x="32" y="194"/>
                        <a:pt x="32" y="194"/>
                        <a:pt x="32" y="194"/>
                      </a:cubicBezTo>
                      <a:cubicBezTo>
                        <a:pt x="32" y="193"/>
                        <a:pt x="32" y="193"/>
                        <a:pt x="32" y="193"/>
                      </a:cubicBezTo>
                      <a:cubicBezTo>
                        <a:pt x="33" y="193"/>
                        <a:pt x="33" y="193"/>
                        <a:pt x="33" y="193"/>
                      </a:cubicBezTo>
                      <a:cubicBezTo>
                        <a:pt x="32" y="192"/>
                        <a:pt x="32" y="192"/>
                        <a:pt x="32" y="192"/>
                      </a:cubicBezTo>
                      <a:cubicBezTo>
                        <a:pt x="32" y="192"/>
                        <a:pt x="32" y="192"/>
                        <a:pt x="32" y="192"/>
                      </a:cubicBezTo>
                      <a:cubicBezTo>
                        <a:pt x="32" y="192"/>
                        <a:pt x="32" y="192"/>
                        <a:pt x="32" y="192"/>
                      </a:cubicBezTo>
                      <a:cubicBezTo>
                        <a:pt x="31" y="192"/>
                        <a:pt x="31" y="192"/>
                        <a:pt x="31" y="192"/>
                      </a:cubicBezTo>
                      <a:cubicBezTo>
                        <a:pt x="31" y="192"/>
                        <a:pt x="31" y="192"/>
                        <a:pt x="31" y="192"/>
                      </a:cubicBezTo>
                      <a:cubicBezTo>
                        <a:pt x="31" y="191"/>
                        <a:pt x="31" y="191"/>
                        <a:pt x="31" y="191"/>
                      </a:cubicBezTo>
                      <a:cubicBezTo>
                        <a:pt x="32" y="191"/>
                        <a:pt x="32" y="191"/>
                        <a:pt x="32" y="191"/>
                      </a:cubicBezTo>
                      <a:cubicBezTo>
                        <a:pt x="33" y="191"/>
                        <a:pt x="33" y="191"/>
                        <a:pt x="33" y="191"/>
                      </a:cubicBezTo>
                      <a:cubicBezTo>
                        <a:pt x="34" y="191"/>
                        <a:pt x="34" y="191"/>
                        <a:pt x="34" y="191"/>
                      </a:cubicBezTo>
                      <a:cubicBezTo>
                        <a:pt x="35" y="190"/>
                        <a:pt x="35" y="190"/>
                        <a:pt x="35" y="190"/>
                      </a:cubicBezTo>
                      <a:cubicBezTo>
                        <a:pt x="35" y="190"/>
                        <a:pt x="35" y="190"/>
                        <a:pt x="35" y="190"/>
                      </a:cubicBezTo>
                      <a:cubicBezTo>
                        <a:pt x="35" y="189"/>
                        <a:pt x="35" y="189"/>
                        <a:pt x="35" y="189"/>
                      </a:cubicBezTo>
                      <a:cubicBezTo>
                        <a:pt x="36" y="189"/>
                        <a:pt x="36" y="189"/>
                        <a:pt x="36" y="189"/>
                      </a:cubicBezTo>
                      <a:cubicBezTo>
                        <a:pt x="36" y="189"/>
                        <a:pt x="36" y="189"/>
                        <a:pt x="36" y="189"/>
                      </a:cubicBezTo>
                      <a:cubicBezTo>
                        <a:pt x="36" y="189"/>
                        <a:pt x="36" y="189"/>
                        <a:pt x="36" y="189"/>
                      </a:cubicBezTo>
                      <a:cubicBezTo>
                        <a:pt x="38" y="189"/>
                        <a:pt x="38" y="189"/>
                        <a:pt x="38" y="189"/>
                      </a:cubicBezTo>
                      <a:cubicBezTo>
                        <a:pt x="38" y="189"/>
                        <a:pt x="38" y="189"/>
                        <a:pt x="38" y="189"/>
                      </a:cubicBezTo>
                      <a:cubicBezTo>
                        <a:pt x="39" y="189"/>
                        <a:pt x="39" y="189"/>
                        <a:pt x="39" y="189"/>
                      </a:cubicBezTo>
                      <a:cubicBezTo>
                        <a:pt x="39" y="189"/>
                        <a:pt x="39" y="189"/>
                        <a:pt x="39" y="189"/>
                      </a:cubicBezTo>
                      <a:cubicBezTo>
                        <a:pt x="38" y="189"/>
                        <a:pt x="38" y="189"/>
                        <a:pt x="38" y="189"/>
                      </a:cubicBezTo>
                      <a:cubicBezTo>
                        <a:pt x="38" y="188"/>
                        <a:pt x="38" y="188"/>
                        <a:pt x="38" y="188"/>
                      </a:cubicBezTo>
                      <a:cubicBezTo>
                        <a:pt x="37" y="188"/>
                        <a:pt x="37" y="188"/>
                        <a:pt x="37" y="188"/>
                      </a:cubicBezTo>
                      <a:cubicBezTo>
                        <a:pt x="35" y="189"/>
                        <a:pt x="35" y="189"/>
                        <a:pt x="35" y="189"/>
                      </a:cubicBezTo>
                      <a:cubicBezTo>
                        <a:pt x="35" y="189"/>
                        <a:pt x="35" y="189"/>
                        <a:pt x="35" y="189"/>
                      </a:cubicBezTo>
                      <a:cubicBezTo>
                        <a:pt x="34" y="189"/>
                        <a:pt x="34" y="189"/>
                        <a:pt x="34" y="189"/>
                      </a:cubicBezTo>
                      <a:cubicBezTo>
                        <a:pt x="34" y="190"/>
                        <a:pt x="34" y="190"/>
                        <a:pt x="34" y="190"/>
                      </a:cubicBezTo>
                      <a:cubicBezTo>
                        <a:pt x="34" y="190"/>
                        <a:pt x="34" y="190"/>
                        <a:pt x="34" y="190"/>
                      </a:cubicBezTo>
                      <a:cubicBezTo>
                        <a:pt x="33" y="190"/>
                        <a:pt x="33" y="190"/>
                        <a:pt x="33" y="190"/>
                      </a:cubicBezTo>
                      <a:cubicBezTo>
                        <a:pt x="32" y="191"/>
                        <a:pt x="32" y="191"/>
                        <a:pt x="32" y="191"/>
                      </a:cubicBezTo>
                      <a:cubicBezTo>
                        <a:pt x="32" y="191"/>
                        <a:pt x="32" y="191"/>
                        <a:pt x="32" y="191"/>
                      </a:cubicBezTo>
                      <a:cubicBezTo>
                        <a:pt x="32" y="191"/>
                        <a:pt x="32" y="191"/>
                        <a:pt x="32" y="191"/>
                      </a:cubicBezTo>
                      <a:cubicBezTo>
                        <a:pt x="32" y="190"/>
                        <a:pt x="32" y="190"/>
                        <a:pt x="32" y="190"/>
                      </a:cubicBezTo>
                      <a:cubicBezTo>
                        <a:pt x="31" y="190"/>
                        <a:pt x="31" y="190"/>
                        <a:pt x="31" y="190"/>
                      </a:cubicBezTo>
                      <a:cubicBezTo>
                        <a:pt x="31" y="190"/>
                        <a:pt x="31" y="190"/>
                        <a:pt x="31" y="190"/>
                      </a:cubicBezTo>
                      <a:cubicBezTo>
                        <a:pt x="32" y="189"/>
                        <a:pt x="32" y="189"/>
                        <a:pt x="32" y="189"/>
                      </a:cubicBezTo>
                      <a:cubicBezTo>
                        <a:pt x="31" y="189"/>
                        <a:pt x="31" y="189"/>
                        <a:pt x="31" y="189"/>
                      </a:cubicBezTo>
                      <a:cubicBezTo>
                        <a:pt x="31" y="189"/>
                        <a:pt x="31" y="189"/>
                        <a:pt x="31" y="189"/>
                      </a:cubicBezTo>
                      <a:cubicBezTo>
                        <a:pt x="30" y="188"/>
                        <a:pt x="30" y="188"/>
                        <a:pt x="30" y="188"/>
                      </a:cubicBezTo>
                      <a:cubicBezTo>
                        <a:pt x="30" y="188"/>
                        <a:pt x="30" y="188"/>
                        <a:pt x="30" y="188"/>
                      </a:cubicBezTo>
                      <a:cubicBezTo>
                        <a:pt x="31" y="187"/>
                        <a:pt x="31" y="187"/>
                        <a:pt x="31" y="187"/>
                      </a:cubicBezTo>
                      <a:cubicBezTo>
                        <a:pt x="32" y="187"/>
                        <a:pt x="32" y="187"/>
                        <a:pt x="32" y="187"/>
                      </a:cubicBezTo>
                      <a:cubicBezTo>
                        <a:pt x="32" y="187"/>
                        <a:pt x="32" y="187"/>
                        <a:pt x="32" y="187"/>
                      </a:cubicBezTo>
                      <a:cubicBezTo>
                        <a:pt x="33" y="187"/>
                        <a:pt x="33" y="187"/>
                        <a:pt x="33" y="187"/>
                      </a:cubicBezTo>
                      <a:cubicBezTo>
                        <a:pt x="33" y="187"/>
                        <a:pt x="33" y="187"/>
                        <a:pt x="33" y="187"/>
                      </a:cubicBezTo>
                      <a:cubicBezTo>
                        <a:pt x="34" y="187"/>
                        <a:pt x="34" y="187"/>
                        <a:pt x="34" y="187"/>
                      </a:cubicBezTo>
                      <a:cubicBezTo>
                        <a:pt x="35" y="187"/>
                        <a:pt x="35" y="187"/>
                        <a:pt x="35" y="187"/>
                      </a:cubicBezTo>
                      <a:cubicBezTo>
                        <a:pt x="35" y="187"/>
                        <a:pt x="35" y="187"/>
                        <a:pt x="35" y="187"/>
                      </a:cubicBezTo>
                      <a:cubicBezTo>
                        <a:pt x="36" y="186"/>
                        <a:pt x="36" y="186"/>
                        <a:pt x="36" y="186"/>
                      </a:cubicBezTo>
                      <a:cubicBezTo>
                        <a:pt x="36" y="186"/>
                        <a:pt x="36" y="186"/>
                        <a:pt x="36" y="186"/>
                      </a:cubicBezTo>
                      <a:cubicBezTo>
                        <a:pt x="35" y="186"/>
                        <a:pt x="35" y="186"/>
                        <a:pt x="35" y="186"/>
                      </a:cubicBezTo>
                      <a:cubicBezTo>
                        <a:pt x="34" y="186"/>
                        <a:pt x="34" y="186"/>
                        <a:pt x="34" y="186"/>
                      </a:cubicBezTo>
                      <a:cubicBezTo>
                        <a:pt x="33" y="187"/>
                        <a:pt x="33" y="187"/>
                        <a:pt x="33" y="187"/>
                      </a:cubicBezTo>
                      <a:cubicBezTo>
                        <a:pt x="33" y="187"/>
                        <a:pt x="33" y="187"/>
                        <a:pt x="33" y="187"/>
                      </a:cubicBezTo>
                      <a:cubicBezTo>
                        <a:pt x="32" y="186"/>
                        <a:pt x="32" y="186"/>
                        <a:pt x="32" y="186"/>
                      </a:cubicBezTo>
                      <a:cubicBezTo>
                        <a:pt x="32" y="186"/>
                        <a:pt x="32" y="186"/>
                        <a:pt x="32" y="186"/>
                      </a:cubicBezTo>
                      <a:cubicBezTo>
                        <a:pt x="32" y="186"/>
                        <a:pt x="32" y="186"/>
                        <a:pt x="32" y="186"/>
                      </a:cubicBezTo>
                      <a:cubicBezTo>
                        <a:pt x="31" y="187"/>
                        <a:pt x="31" y="187"/>
                        <a:pt x="31" y="187"/>
                      </a:cubicBezTo>
                      <a:cubicBezTo>
                        <a:pt x="31" y="187"/>
                        <a:pt x="31" y="187"/>
                        <a:pt x="31" y="187"/>
                      </a:cubicBezTo>
                      <a:cubicBezTo>
                        <a:pt x="30" y="186"/>
                        <a:pt x="30" y="186"/>
                        <a:pt x="30" y="186"/>
                      </a:cubicBezTo>
                      <a:cubicBezTo>
                        <a:pt x="30" y="187"/>
                        <a:pt x="30" y="187"/>
                        <a:pt x="30" y="187"/>
                      </a:cubicBezTo>
                      <a:cubicBezTo>
                        <a:pt x="29" y="187"/>
                        <a:pt x="29" y="187"/>
                        <a:pt x="29" y="187"/>
                      </a:cubicBezTo>
                      <a:cubicBezTo>
                        <a:pt x="29" y="186"/>
                        <a:pt x="29" y="186"/>
                        <a:pt x="29" y="186"/>
                      </a:cubicBezTo>
                      <a:cubicBezTo>
                        <a:pt x="30" y="186"/>
                        <a:pt x="30" y="186"/>
                        <a:pt x="30" y="186"/>
                      </a:cubicBezTo>
                      <a:cubicBezTo>
                        <a:pt x="31" y="186"/>
                        <a:pt x="31" y="186"/>
                        <a:pt x="31" y="186"/>
                      </a:cubicBezTo>
                      <a:cubicBezTo>
                        <a:pt x="33" y="185"/>
                        <a:pt x="33" y="185"/>
                        <a:pt x="33" y="185"/>
                      </a:cubicBezTo>
                      <a:cubicBezTo>
                        <a:pt x="33" y="185"/>
                        <a:pt x="33" y="185"/>
                        <a:pt x="33" y="185"/>
                      </a:cubicBezTo>
                      <a:cubicBezTo>
                        <a:pt x="35" y="184"/>
                        <a:pt x="35" y="184"/>
                        <a:pt x="35" y="184"/>
                      </a:cubicBezTo>
                      <a:cubicBezTo>
                        <a:pt x="35" y="184"/>
                        <a:pt x="35" y="184"/>
                        <a:pt x="35" y="184"/>
                      </a:cubicBezTo>
                      <a:cubicBezTo>
                        <a:pt x="37" y="182"/>
                        <a:pt x="37" y="182"/>
                        <a:pt x="37" y="182"/>
                      </a:cubicBezTo>
                      <a:cubicBezTo>
                        <a:pt x="38" y="182"/>
                        <a:pt x="38" y="182"/>
                        <a:pt x="38" y="182"/>
                      </a:cubicBezTo>
                      <a:cubicBezTo>
                        <a:pt x="40" y="181"/>
                        <a:pt x="40" y="181"/>
                        <a:pt x="40" y="181"/>
                      </a:cubicBezTo>
                      <a:cubicBezTo>
                        <a:pt x="40" y="181"/>
                        <a:pt x="40" y="181"/>
                        <a:pt x="40" y="181"/>
                      </a:cubicBezTo>
                      <a:cubicBezTo>
                        <a:pt x="41" y="181"/>
                        <a:pt x="41" y="181"/>
                        <a:pt x="41" y="181"/>
                      </a:cubicBezTo>
                      <a:cubicBezTo>
                        <a:pt x="41" y="181"/>
                        <a:pt x="41" y="181"/>
                        <a:pt x="41" y="181"/>
                      </a:cubicBezTo>
                      <a:cubicBezTo>
                        <a:pt x="40" y="180"/>
                        <a:pt x="40" y="180"/>
                        <a:pt x="40" y="180"/>
                      </a:cubicBezTo>
                      <a:cubicBezTo>
                        <a:pt x="39" y="181"/>
                        <a:pt x="39" y="181"/>
                        <a:pt x="39" y="181"/>
                      </a:cubicBezTo>
                      <a:cubicBezTo>
                        <a:pt x="36" y="182"/>
                        <a:pt x="36" y="182"/>
                        <a:pt x="36" y="182"/>
                      </a:cubicBezTo>
                      <a:cubicBezTo>
                        <a:pt x="35" y="183"/>
                        <a:pt x="35" y="183"/>
                        <a:pt x="35" y="183"/>
                      </a:cubicBezTo>
                      <a:cubicBezTo>
                        <a:pt x="35" y="184"/>
                        <a:pt x="35" y="184"/>
                        <a:pt x="35" y="184"/>
                      </a:cubicBezTo>
                      <a:cubicBezTo>
                        <a:pt x="34" y="184"/>
                        <a:pt x="34" y="184"/>
                        <a:pt x="34" y="184"/>
                      </a:cubicBezTo>
                      <a:cubicBezTo>
                        <a:pt x="32" y="184"/>
                        <a:pt x="32" y="184"/>
                        <a:pt x="32" y="184"/>
                      </a:cubicBezTo>
                      <a:cubicBezTo>
                        <a:pt x="32" y="185"/>
                        <a:pt x="32" y="185"/>
                        <a:pt x="32" y="185"/>
                      </a:cubicBezTo>
                      <a:cubicBezTo>
                        <a:pt x="30" y="185"/>
                        <a:pt x="30" y="185"/>
                        <a:pt x="30" y="185"/>
                      </a:cubicBezTo>
                      <a:cubicBezTo>
                        <a:pt x="29" y="185"/>
                        <a:pt x="29" y="185"/>
                        <a:pt x="29" y="185"/>
                      </a:cubicBezTo>
                      <a:cubicBezTo>
                        <a:pt x="29" y="185"/>
                        <a:pt x="29" y="185"/>
                        <a:pt x="29" y="185"/>
                      </a:cubicBezTo>
                      <a:cubicBezTo>
                        <a:pt x="29" y="185"/>
                        <a:pt x="29" y="185"/>
                        <a:pt x="29" y="185"/>
                      </a:cubicBezTo>
                      <a:cubicBezTo>
                        <a:pt x="29" y="183"/>
                        <a:pt x="29" y="183"/>
                        <a:pt x="29" y="183"/>
                      </a:cubicBezTo>
                      <a:cubicBezTo>
                        <a:pt x="30" y="183"/>
                        <a:pt x="30" y="183"/>
                        <a:pt x="30" y="183"/>
                      </a:cubicBezTo>
                      <a:cubicBezTo>
                        <a:pt x="30" y="183"/>
                        <a:pt x="30" y="183"/>
                        <a:pt x="30" y="183"/>
                      </a:cubicBezTo>
                      <a:cubicBezTo>
                        <a:pt x="31" y="183"/>
                        <a:pt x="31" y="183"/>
                        <a:pt x="31" y="183"/>
                      </a:cubicBezTo>
                      <a:cubicBezTo>
                        <a:pt x="31" y="183"/>
                        <a:pt x="31" y="183"/>
                        <a:pt x="31" y="183"/>
                      </a:cubicBezTo>
                      <a:cubicBezTo>
                        <a:pt x="33" y="183"/>
                        <a:pt x="33" y="183"/>
                        <a:pt x="33" y="183"/>
                      </a:cubicBezTo>
                      <a:cubicBezTo>
                        <a:pt x="33" y="183"/>
                        <a:pt x="33" y="183"/>
                        <a:pt x="33" y="183"/>
                      </a:cubicBezTo>
                      <a:cubicBezTo>
                        <a:pt x="33" y="183"/>
                        <a:pt x="33" y="183"/>
                        <a:pt x="33" y="183"/>
                      </a:cubicBezTo>
                      <a:cubicBezTo>
                        <a:pt x="32" y="182"/>
                        <a:pt x="32" y="182"/>
                        <a:pt x="32" y="182"/>
                      </a:cubicBezTo>
                      <a:cubicBezTo>
                        <a:pt x="32" y="182"/>
                        <a:pt x="32" y="182"/>
                        <a:pt x="32" y="182"/>
                      </a:cubicBezTo>
                      <a:cubicBezTo>
                        <a:pt x="31" y="182"/>
                        <a:pt x="31" y="182"/>
                        <a:pt x="31" y="182"/>
                      </a:cubicBezTo>
                      <a:cubicBezTo>
                        <a:pt x="31" y="182"/>
                        <a:pt x="31" y="182"/>
                        <a:pt x="31" y="182"/>
                      </a:cubicBezTo>
                      <a:cubicBezTo>
                        <a:pt x="30" y="182"/>
                        <a:pt x="30" y="182"/>
                        <a:pt x="30" y="182"/>
                      </a:cubicBezTo>
                      <a:cubicBezTo>
                        <a:pt x="30" y="181"/>
                        <a:pt x="30" y="181"/>
                        <a:pt x="30" y="181"/>
                      </a:cubicBezTo>
                      <a:cubicBezTo>
                        <a:pt x="31" y="181"/>
                        <a:pt x="31" y="181"/>
                        <a:pt x="31" y="181"/>
                      </a:cubicBezTo>
                      <a:cubicBezTo>
                        <a:pt x="32" y="182"/>
                        <a:pt x="32" y="182"/>
                        <a:pt x="32" y="182"/>
                      </a:cubicBezTo>
                      <a:cubicBezTo>
                        <a:pt x="33" y="182"/>
                        <a:pt x="33" y="182"/>
                        <a:pt x="33" y="182"/>
                      </a:cubicBezTo>
                      <a:cubicBezTo>
                        <a:pt x="34" y="181"/>
                        <a:pt x="34" y="181"/>
                        <a:pt x="34" y="181"/>
                      </a:cubicBezTo>
                      <a:cubicBezTo>
                        <a:pt x="34" y="181"/>
                        <a:pt x="34" y="181"/>
                        <a:pt x="34" y="181"/>
                      </a:cubicBezTo>
                      <a:cubicBezTo>
                        <a:pt x="33" y="181"/>
                        <a:pt x="33" y="181"/>
                        <a:pt x="33" y="181"/>
                      </a:cubicBezTo>
                      <a:cubicBezTo>
                        <a:pt x="33" y="181"/>
                        <a:pt x="33" y="181"/>
                        <a:pt x="33" y="181"/>
                      </a:cubicBezTo>
                      <a:cubicBezTo>
                        <a:pt x="32" y="181"/>
                        <a:pt x="32" y="181"/>
                        <a:pt x="32" y="181"/>
                      </a:cubicBezTo>
                      <a:cubicBezTo>
                        <a:pt x="32" y="180"/>
                        <a:pt x="32" y="180"/>
                        <a:pt x="32" y="180"/>
                      </a:cubicBezTo>
                      <a:cubicBezTo>
                        <a:pt x="33" y="180"/>
                        <a:pt x="33" y="180"/>
                        <a:pt x="33" y="180"/>
                      </a:cubicBezTo>
                      <a:cubicBezTo>
                        <a:pt x="34" y="180"/>
                        <a:pt x="34" y="180"/>
                        <a:pt x="34" y="180"/>
                      </a:cubicBezTo>
                      <a:cubicBezTo>
                        <a:pt x="34" y="180"/>
                        <a:pt x="34" y="180"/>
                        <a:pt x="34" y="180"/>
                      </a:cubicBezTo>
                      <a:cubicBezTo>
                        <a:pt x="35" y="180"/>
                        <a:pt x="35" y="180"/>
                        <a:pt x="35" y="180"/>
                      </a:cubicBezTo>
                      <a:cubicBezTo>
                        <a:pt x="35" y="180"/>
                        <a:pt x="35" y="180"/>
                        <a:pt x="35" y="180"/>
                      </a:cubicBezTo>
                      <a:cubicBezTo>
                        <a:pt x="35" y="180"/>
                        <a:pt x="35" y="180"/>
                        <a:pt x="35" y="180"/>
                      </a:cubicBezTo>
                      <a:cubicBezTo>
                        <a:pt x="35" y="179"/>
                        <a:pt x="35" y="179"/>
                        <a:pt x="35" y="179"/>
                      </a:cubicBezTo>
                      <a:cubicBezTo>
                        <a:pt x="35" y="179"/>
                        <a:pt x="35" y="179"/>
                        <a:pt x="35" y="179"/>
                      </a:cubicBezTo>
                      <a:cubicBezTo>
                        <a:pt x="34" y="179"/>
                        <a:pt x="34" y="179"/>
                        <a:pt x="34" y="179"/>
                      </a:cubicBezTo>
                      <a:cubicBezTo>
                        <a:pt x="34" y="179"/>
                        <a:pt x="34" y="179"/>
                        <a:pt x="34" y="179"/>
                      </a:cubicBezTo>
                      <a:cubicBezTo>
                        <a:pt x="33" y="179"/>
                        <a:pt x="33" y="179"/>
                        <a:pt x="33" y="179"/>
                      </a:cubicBezTo>
                      <a:cubicBezTo>
                        <a:pt x="31" y="179"/>
                        <a:pt x="31" y="179"/>
                        <a:pt x="31" y="179"/>
                      </a:cubicBezTo>
                      <a:cubicBezTo>
                        <a:pt x="30" y="179"/>
                        <a:pt x="30" y="179"/>
                        <a:pt x="30" y="179"/>
                      </a:cubicBezTo>
                      <a:cubicBezTo>
                        <a:pt x="30" y="178"/>
                        <a:pt x="30" y="178"/>
                        <a:pt x="30" y="178"/>
                      </a:cubicBezTo>
                      <a:cubicBezTo>
                        <a:pt x="30" y="178"/>
                        <a:pt x="30" y="178"/>
                        <a:pt x="30" y="178"/>
                      </a:cubicBezTo>
                      <a:cubicBezTo>
                        <a:pt x="31" y="178"/>
                        <a:pt x="31" y="178"/>
                        <a:pt x="31" y="178"/>
                      </a:cubicBezTo>
                      <a:cubicBezTo>
                        <a:pt x="31" y="178"/>
                        <a:pt x="31" y="178"/>
                        <a:pt x="31" y="178"/>
                      </a:cubicBezTo>
                      <a:cubicBezTo>
                        <a:pt x="31" y="178"/>
                        <a:pt x="31" y="178"/>
                        <a:pt x="31" y="178"/>
                      </a:cubicBezTo>
                      <a:cubicBezTo>
                        <a:pt x="31" y="178"/>
                        <a:pt x="31" y="178"/>
                        <a:pt x="31" y="178"/>
                      </a:cubicBezTo>
                      <a:cubicBezTo>
                        <a:pt x="30" y="178"/>
                        <a:pt x="30" y="178"/>
                        <a:pt x="30" y="178"/>
                      </a:cubicBezTo>
                      <a:cubicBezTo>
                        <a:pt x="30" y="178"/>
                        <a:pt x="30" y="178"/>
                        <a:pt x="30" y="178"/>
                      </a:cubicBezTo>
                      <a:cubicBezTo>
                        <a:pt x="30" y="177"/>
                        <a:pt x="30" y="177"/>
                        <a:pt x="30" y="177"/>
                      </a:cubicBezTo>
                      <a:cubicBezTo>
                        <a:pt x="32" y="177"/>
                        <a:pt x="32" y="177"/>
                        <a:pt x="32" y="177"/>
                      </a:cubicBezTo>
                      <a:cubicBezTo>
                        <a:pt x="32" y="177"/>
                        <a:pt x="32" y="177"/>
                        <a:pt x="32" y="177"/>
                      </a:cubicBezTo>
                      <a:cubicBezTo>
                        <a:pt x="33" y="177"/>
                        <a:pt x="33" y="177"/>
                        <a:pt x="33" y="177"/>
                      </a:cubicBezTo>
                      <a:cubicBezTo>
                        <a:pt x="36" y="177"/>
                        <a:pt x="36" y="177"/>
                        <a:pt x="36" y="177"/>
                      </a:cubicBezTo>
                      <a:cubicBezTo>
                        <a:pt x="36" y="177"/>
                        <a:pt x="36" y="177"/>
                        <a:pt x="36" y="177"/>
                      </a:cubicBezTo>
                      <a:cubicBezTo>
                        <a:pt x="38" y="177"/>
                        <a:pt x="38" y="177"/>
                        <a:pt x="38" y="177"/>
                      </a:cubicBezTo>
                      <a:cubicBezTo>
                        <a:pt x="38" y="177"/>
                        <a:pt x="38" y="177"/>
                        <a:pt x="38" y="177"/>
                      </a:cubicBezTo>
                      <a:cubicBezTo>
                        <a:pt x="38" y="176"/>
                        <a:pt x="38" y="176"/>
                        <a:pt x="38" y="176"/>
                      </a:cubicBezTo>
                      <a:cubicBezTo>
                        <a:pt x="37" y="176"/>
                        <a:pt x="37" y="176"/>
                        <a:pt x="37" y="176"/>
                      </a:cubicBezTo>
                      <a:cubicBezTo>
                        <a:pt x="35" y="176"/>
                        <a:pt x="35" y="176"/>
                        <a:pt x="35" y="176"/>
                      </a:cubicBezTo>
                      <a:cubicBezTo>
                        <a:pt x="34" y="176"/>
                        <a:pt x="34" y="176"/>
                        <a:pt x="34" y="176"/>
                      </a:cubicBezTo>
                      <a:cubicBezTo>
                        <a:pt x="33" y="176"/>
                        <a:pt x="33" y="176"/>
                        <a:pt x="33" y="176"/>
                      </a:cubicBezTo>
                      <a:cubicBezTo>
                        <a:pt x="33" y="176"/>
                        <a:pt x="33" y="176"/>
                        <a:pt x="33" y="176"/>
                      </a:cubicBezTo>
                      <a:cubicBezTo>
                        <a:pt x="32" y="176"/>
                        <a:pt x="32" y="176"/>
                        <a:pt x="32" y="176"/>
                      </a:cubicBezTo>
                      <a:cubicBezTo>
                        <a:pt x="31" y="176"/>
                        <a:pt x="31" y="176"/>
                        <a:pt x="31" y="176"/>
                      </a:cubicBezTo>
                      <a:cubicBezTo>
                        <a:pt x="31" y="177"/>
                        <a:pt x="31" y="177"/>
                        <a:pt x="31" y="177"/>
                      </a:cubicBezTo>
                      <a:cubicBezTo>
                        <a:pt x="30" y="177"/>
                        <a:pt x="30" y="177"/>
                        <a:pt x="30" y="177"/>
                      </a:cubicBezTo>
                      <a:cubicBezTo>
                        <a:pt x="30" y="176"/>
                        <a:pt x="30" y="176"/>
                        <a:pt x="30" y="176"/>
                      </a:cubicBezTo>
                      <a:cubicBezTo>
                        <a:pt x="31" y="175"/>
                        <a:pt x="31" y="175"/>
                        <a:pt x="31" y="175"/>
                      </a:cubicBezTo>
                      <a:cubicBezTo>
                        <a:pt x="32" y="175"/>
                        <a:pt x="32" y="175"/>
                        <a:pt x="32" y="175"/>
                      </a:cubicBezTo>
                      <a:cubicBezTo>
                        <a:pt x="32" y="174"/>
                        <a:pt x="32" y="174"/>
                        <a:pt x="32" y="174"/>
                      </a:cubicBezTo>
                      <a:cubicBezTo>
                        <a:pt x="33" y="174"/>
                        <a:pt x="33" y="174"/>
                        <a:pt x="33" y="174"/>
                      </a:cubicBezTo>
                      <a:cubicBezTo>
                        <a:pt x="34" y="173"/>
                        <a:pt x="34" y="173"/>
                        <a:pt x="34" y="173"/>
                      </a:cubicBezTo>
                      <a:cubicBezTo>
                        <a:pt x="34" y="173"/>
                        <a:pt x="34" y="173"/>
                        <a:pt x="34" y="173"/>
                      </a:cubicBezTo>
                      <a:cubicBezTo>
                        <a:pt x="35" y="173"/>
                        <a:pt x="35" y="173"/>
                        <a:pt x="35" y="173"/>
                      </a:cubicBezTo>
                      <a:cubicBezTo>
                        <a:pt x="35" y="173"/>
                        <a:pt x="35" y="173"/>
                        <a:pt x="35" y="173"/>
                      </a:cubicBezTo>
                      <a:cubicBezTo>
                        <a:pt x="36" y="173"/>
                        <a:pt x="36" y="173"/>
                        <a:pt x="36" y="173"/>
                      </a:cubicBezTo>
                      <a:cubicBezTo>
                        <a:pt x="37" y="173"/>
                        <a:pt x="37" y="173"/>
                        <a:pt x="37" y="173"/>
                      </a:cubicBezTo>
                      <a:cubicBezTo>
                        <a:pt x="37" y="173"/>
                        <a:pt x="37" y="173"/>
                        <a:pt x="37" y="173"/>
                      </a:cubicBezTo>
                      <a:cubicBezTo>
                        <a:pt x="37" y="173"/>
                        <a:pt x="37" y="173"/>
                        <a:pt x="37" y="173"/>
                      </a:cubicBezTo>
                      <a:cubicBezTo>
                        <a:pt x="38" y="173"/>
                        <a:pt x="38" y="173"/>
                        <a:pt x="38" y="173"/>
                      </a:cubicBezTo>
                      <a:cubicBezTo>
                        <a:pt x="39" y="174"/>
                        <a:pt x="39" y="174"/>
                        <a:pt x="39" y="174"/>
                      </a:cubicBezTo>
                      <a:cubicBezTo>
                        <a:pt x="40" y="174"/>
                        <a:pt x="40" y="174"/>
                        <a:pt x="40" y="174"/>
                      </a:cubicBezTo>
                      <a:cubicBezTo>
                        <a:pt x="41" y="174"/>
                        <a:pt x="41" y="174"/>
                        <a:pt x="41" y="174"/>
                      </a:cubicBezTo>
                      <a:cubicBezTo>
                        <a:pt x="42" y="175"/>
                        <a:pt x="42" y="175"/>
                        <a:pt x="42" y="175"/>
                      </a:cubicBezTo>
                      <a:cubicBezTo>
                        <a:pt x="43" y="176"/>
                        <a:pt x="43" y="176"/>
                        <a:pt x="43" y="176"/>
                      </a:cubicBezTo>
                      <a:cubicBezTo>
                        <a:pt x="44" y="176"/>
                        <a:pt x="44" y="176"/>
                        <a:pt x="44" y="176"/>
                      </a:cubicBezTo>
                      <a:cubicBezTo>
                        <a:pt x="45" y="176"/>
                        <a:pt x="45" y="176"/>
                        <a:pt x="45" y="176"/>
                      </a:cubicBezTo>
                      <a:cubicBezTo>
                        <a:pt x="45" y="176"/>
                        <a:pt x="45" y="176"/>
                        <a:pt x="45" y="176"/>
                      </a:cubicBezTo>
                      <a:cubicBezTo>
                        <a:pt x="45" y="176"/>
                        <a:pt x="45" y="176"/>
                        <a:pt x="45" y="176"/>
                      </a:cubicBezTo>
                      <a:cubicBezTo>
                        <a:pt x="45" y="175"/>
                        <a:pt x="45" y="175"/>
                        <a:pt x="45" y="175"/>
                      </a:cubicBezTo>
                      <a:cubicBezTo>
                        <a:pt x="45" y="175"/>
                        <a:pt x="45" y="175"/>
                        <a:pt x="45" y="175"/>
                      </a:cubicBezTo>
                      <a:cubicBezTo>
                        <a:pt x="44" y="176"/>
                        <a:pt x="44" y="176"/>
                        <a:pt x="44" y="176"/>
                      </a:cubicBezTo>
                      <a:cubicBezTo>
                        <a:pt x="44" y="176"/>
                        <a:pt x="44" y="176"/>
                        <a:pt x="44" y="176"/>
                      </a:cubicBezTo>
                      <a:cubicBezTo>
                        <a:pt x="42" y="175"/>
                        <a:pt x="42" y="175"/>
                        <a:pt x="42" y="175"/>
                      </a:cubicBezTo>
                      <a:cubicBezTo>
                        <a:pt x="42" y="174"/>
                        <a:pt x="42" y="174"/>
                        <a:pt x="42" y="174"/>
                      </a:cubicBezTo>
                      <a:cubicBezTo>
                        <a:pt x="42" y="174"/>
                        <a:pt x="42" y="174"/>
                        <a:pt x="42" y="174"/>
                      </a:cubicBezTo>
                      <a:cubicBezTo>
                        <a:pt x="42" y="173"/>
                        <a:pt x="42" y="173"/>
                        <a:pt x="42" y="173"/>
                      </a:cubicBezTo>
                      <a:cubicBezTo>
                        <a:pt x="44" y="174"/>
                        <a:pt x="44" y="174"/>
                        <a:pt x="44" y="174"/>
                      </a:cubicBezTo>
                      <a:cubicBezTo>
                        <a:pt x="45" y="173"/>
                        <a:pt x="45" y="173"/>
                        <a:pt x="45" y="173"/>
                      </a:cubicBezTo>
                      <a:cubicBezTo>
                        <a:pt x="45" y="173"/>
                        <a:pt x="45" y="173"/>
                        <a:pt x="45" y="173"/>
                      </a:cubicBezTo>
                      <a:cubicBezTo>
                        <a:pt x="45" y="172"/>
                        <a:pt x="45" y="172"/>
                        <a:pt x="45" y="172"/>
                      </a:cubicBezTo>
                      <a:cubicBezTo>
                        <a:pt x="44" y="172"/>
                        <a:pt x="44" y="172"/>
                        <a:pt x="44" y="172"/>
                      </a:cubicBezTo>
                      <a:cubicBezTo>
                        <a:pt x="43" y="172"/>
                        <a:pt x="43" y="172"/>
                        <a:pt x="43" y="172"/>
                      </a:cubicBezTo>
                      <a:cubicBezTo>
                        <a:pt x="43" y="173"/>
                        <a:pt x="43" y="173"/>
                        <a:pt x="43" y="173"/>
                      </a:cubicBezTo>
                      <a:cubicBezTo>
                        <a:pt x="44" y="173"/>
                        <a:pt x="44" y="173"/>
                        <a:pt x="44" y="173"/>
                      </a:cubicBezTo>
                      <a:cubicBezTo>
                        <a:pt x="43" y="173"/>
                        <a:pt x="43" y="173"/>
                        <a:pt x="43" y="173"/>
                      </a:cubicBezTo>
                      <a:cubicBezTo>
                        <a:pt x="42" y="173"/>
                        <a:pt x="42" y="173"/>
                        <a:pt x="42" y="173"/>
                      </a:cubicBezTo>
                      <a:cubicBezTo>
                        <a:pt x="42" y="173"/>
                        <a:pt x="42" y="173"/>
                        <a:pt x="42" y="173"/>
                      </a:cubicBezTo>
                      <a:cubicBezTo>
                        <a:pt x="41" y="172"/>
                        <a:pt x="41" y="172"/>
                        <a:pt x="41" y="172"/>
                      </a:cubicBezTo>
                      <a:cubicBezTo>
                        <a:pt x="42" y="172"/>
                        <a:pt x="42" y="172"/>
                        <a:pt x="42" y="172"/>
                      </a:cubicBezTo>
                      <a:cubicBezTo>
                        <a:pt x="42" y="172"/>
                        <a:pt x="42" y="172"/>
                        <a:pt x="42" y="172"/>
                      </a:cubicBezTo>
                      <a:cubicBezTo>
                        <a:pt x="43" y="172"/>
                        <a:pt x="43" y="172"/>
                        <a:pt x="43" y="172"/>
                      </a:cubicBezTo>
                      <a:cubicBezTo>
                        <a:pt x="42" y="171"/>
                        <a:pt x="42" y="171"/>
                        <a:pt x="42" y="171"/>
                      </a:cubicBezTo>
                      <a:cubicBezTo>
                        <a:pt x="42" y="171"/>
                        <a:pt x="42" y="171"/>
                        <a:pt x="42" y="171"/>
                      </a:cubicBezTo>
                      <a:cubicBezTo>
                        <a:pt x="42" y="171"/>
                        <a:pt x="42" y="171"/>
                        <a:pt x="42" y="171"/>
                      </a:cubicBezTo>
                      <a:cubicBezTo>
                        <a:pt x="41" y="171"/>
                        <a:pt x="41" y="171"/>
                        <a:pt x="41" y="171"/>
                      </a:cubicBezTo>
                      <a:cubicBezTo>
                        <a:pt x="41" y="171"/>
                        <a:pt x="41" y="171"/>
                        <a:pt x="41" y="171"/>
                      </a:cubicBezTo>
                      <a:cubicBezTo>
                        <a:pt x="41" y="172"/>
                        <a:pt x="41" y="172"/>
                        <a:pt x="41" y="172"/>
                      </a:cubicBezTo>
                      <a:cubicBezTo>
                        <a:pt x="41" y="172"/>
                        <a:pt x="41" y="172"/>
                        <a:pt x="41" y="172"/>
                      </a:cubicBezTo>
                      <a:cubicBezTo>
                        <a:pt x="41" y="173"/>
                        <a:pt x="41" y="173"/>
                        <a:pt x="41" y="173"/>
                      </a:cubicBezTo>
                      <a:cubicBezTo>
                        <a:pt x="40" y="173"/>
                        <a:pt x="40" y="173"/>
                        <a:pt x="40" y="173"/>
                      </a:cubicBezTo>
                      <a:cubicBezTo>
                        <a:pt x="40" y="174"/>
                        <a:pt x="40" y="174"/>
                        <a:pt x="40" y="174"/>
                      </a:cubicBezTo>
                      <a:cubicBezTo>
                        <a:pt x="39" y="173"/>
                        <a:pt x="39" y="173"/>
                        <a:pt x="39" y="173"/>
                      </a:cubicBezTo>
                      <a:cubicBezTo>
                        <a:pt x="38" y="172"/>
                        <a:pt x="38" y="172"/>
                        <a:pt x="38" y="172"/>
                      </a:cubicBezTo>
                      <a:cubicBezTo>
                        <a:pt x="37" y="172"/>
                        <a:pt x="37" y="172"/>
                        <a:pt x="37" y="172"/>
                      </a:cubicBezTo>
                      <a:cubicBezTo>
                        <a:pt x="37" y="172"/>
                        <a:pt x="37" y="172"/>
                        <a:pt x="37" y="172"/>
                      </a:cubicBezTo>
                      <a:cubicBezTo>
                        <a:pt x="37" y="172"/>
                        <a:pt x="37" y="172"/>
                        <a:pt x="37" y="172"/>
                      </a:cubicBezTo>
                      <a:cubicBezTo>
                        <a:pt x="37" y="172"/>
                        <a:pt x="37" y="172"/>
                        <a:pt x="37" y="172"/>
                      </a:cubicBezTo>
                      <a:cubicBezTo>
                        <a:pt x="36" y="172"/>
                        <a:pt x="36" y="172"/>
                        <a:pt x="36" y="172"/>
                      </a:cubicBezTo>
                      <a:cubicBezTo>
                        <a:pt x="35" y="172"/>
                        <a:pt x="35" y="172"/>
                        <a:pt x="35" y="172"/>
                      </a:cubicBezTo>
                      <a:cubicBezTo>
                        <a:pt x="34" y="172"/>
                        <a:pt x="34" y="172"/>
                        <a:pt x="34" y="172"/>
                      </a:cubicBezTo>
                      <a:cubicBezTo>
                        <a:pt x="34" y="173"/>
                        <a:pt x="34" y="173"/>
                        <a:pt x="34" y="173"/>
                      </a:cubicBezTo>
                      <a:cubicBezTo>
                        <a:pt x="33" y="174"/>
                        <a:pt x="33" y="174"/>
                        <a:pt x="33" y="174"/>
                      </a:cubicBezTo>
                      <a:cubicBezTo>
                        <a:pt x="32" y="174"/>
                        <a:pt x="32" y="174"/>
                        <a:pt x="32" y="174"/>
                      </a:cubicBezTo>
                      <a:cubicBezTo>
                        <a:pt x="32" y="174"/>
                        <a:pt x="32" y="174"/>
                        <a:pt x="32" y="174"/>
                      </a:cubicBezTo>
                      <a:cubicBezTo>
                        <a:pt x="32" y="173"/>
                        <a:pt x="32" y="173"/>
                        <a:pt x="32" y="173"/>
                      </a:cubicBezTo>
                      <a:cubicBezTo>
                        <a:pt x="33" y="172"/>
                        <a:pt x="33" y="172"/>
                        <a:pt x="33" y="172"/>
                      </a:cubicBezTo>
                      <a:cubicBezTo>
                        <a:pt x="33" y="172"/>
                        <a:pt x="33" y="172"/>
                        <a:pt x="33" y="172"/>
                      </a:cubicBezTo>
                      <a:cubicBezTo>
                        <a:pt x="34" y="172"/>
                        <a:pt x="34" y="172"/>
                        <a:pt x="34" y="172"/>
                      </a:cubicBezTo>
                      <a:cubicBezTo>
                        <a:pt x="34" y="171"/>
                        <a:pt x="34" y="171"/>
                        <a:pt x="34" y="171"/>
                      </a:cubicBezTo>
                      <a:cubicBezTo>
                        <a:pt x="34" y="171"/>
                        <a:pt x="34" y="171"/>
                        <a:pt x="34" y="171"/>
                      </a:cubicBezTo>
                      <a:cubicBezTo>
                        <a:pt x="34" y="171"/>
                        <a:pt x="34" y="171"/>
                        <a:pt x="34" y="171"/>
                      </a:cubicBezTo>
                      <a:cubicBezTo>
                        <a:pt x="34" y="171"/>
                        <a:pt x="34" y="171"/>
                        <a:pt x="34" y="171"/>
                      </a:cubicBezTo>
                      <a:cubicBezTo>
                        <a:pt x="35" y="170"/>
                        <a:pt x="35" y="170"/>
                        <a:pt x="35" y="170"/>
                      </a:cubicBezTo>
                      <a:cubicBezTo>
                        <a:pt x="35" y="170"/>
                        <a:pt x="35" y="170"/>
                        <a:pt x="35" y="170"/>
                      </a:cubicBezTo>
                      <a:cubicBezTo>
                        <a:pt x="36" y="171"/>
                        <a:pt x="36" y="171"/>
                        <a:pt x="36" y="171"/>
                      </a:cubicBezTo>
                      <a:cubicBezTo>
                        <a:pt x="37" y="171"/>
                        <a:pt x="37" y="171"/>
                        <a:pt x="37" y="171"/>
                      </a:cubicBezTo>
                      <a:cubicBezTo>
                        <a:pt x="38" y="171"/>
                        <a:pt x="38" y="171"/>
                        <a:pt x="38" y="171"/>
                      </a:cubicBezTo>
                      <a:cubicBezTo>
                        <a:pt x="38" y="171"/>
                        <a:pt x="38" y="171"/>
                        <a:pt x="38" y="171"/>
                      </a:cubicBezTo>
                      <a:cubicBezTo>
                        <a:pt x="37" y="170"/>
                        <a:pt x="37" y="170"/>
                        <a:pt x="37" y="170"/>
                      </a:cubicBezTo>
                      <a:cubicBezTo>
                        <a:pt x="37" y="170"/>
                        <a:pt x="37" y="170"/>
                        <a:pt x="37" y="170"/>
                      </a:cubicBezTo>
                      <a:cubicBezTo>
                        <a:pt x="36" y="170"/>
                        <a:pt x="36" y="170"/>
                        <a:pt x="36" y="170"/>
                      </a:cubicBezTo>
                      <a:cubicBezTo>
                        <a:pt x="35" y="169"/>
                        <a:pt x="35" y="169"/>
                        <a:pt x="35" y="169"/>
                      </a:cubicBezTo>
                      <a:cubicBezTo>
                        <a:pt x="35" y="169"/>
                        <a:pt x="35" y="169"/>
                        <a:pt x="35" y="169"/>
                      </a:cubicBezTo>
                      <a:cubicBezTo>
                        <a:pt x="34" y="168"/>
                        <a:pt x="34" y="168"/>
                        <a:pt x="34" y="168"/>
                      </a:cubicBezTo>
                      <a:cubicBezTo>
                        <a:pt x="34" y="168"/>
                        <a:pt x="34" y="168"/>
                        <a:pt x="34" y="168"/>
                      </a:cubicBezTo>
                      <a:cubicBezTo>
                        <a:pt x="35" y="168"/>
                        <a:pt x="35" y="168"/>
                        <a:pt x="35" y="168"/>
                      </a:cubicBezTo>
                      <a:cubicBezTo>
                        <a:pt x="36" y="168"/>
                        <a:pt x="36" y="168"/>
                        <a:pt x="36" y="168"/>
                      </a:cubicBezTo>
                      <a:cubicBezTo>
                        <a:pt x="37" y="169"/>
                        <a:pt x="37" y="169"/>
                        <a:pt x="37" y="169"/>
                      </a:cubicBezTo>
                      <a:cubicBezTo>
                        <a:pt x="38" y="170"/>
                        <a:pt x="38" y="170"/>
                        <a:pt x="38" y="170"/>
                      </a:cubicBezTo>
                      <a:cubicBezTo>
                        <a:pt x="38" y="170"/>
                        <a:pt x="38" y="170"/>
                        <a:pt x="38" y="170"/>
                      </a:cubicBezTo>
                      <a:cubicBezTo>
                        <a:pt x="37" y="169"/>
                        <a:pt x="37" y="169"/>
                        <a:pt x="37" y="169"/>
                      </a:cubicBezTo>
                      <a:cubicBezTo>
                        <a:pt x="37" y="168"/>
                        <a:pt x="37" y="168"/>
                        <a:pt x="37" y="168"/>
                      </a:cubicBezTo>
                      <a:cubicBezTo>
                        <a:pt x="37" y="168"/>
                        <a:pt x="37" y="168"/>
                        <a:pt x="37" y="168"/>
                      </a:cubicBezTo>
                      <a:cubicBezTo>
                        <a:pt x="38" y="169"/>
                        <a:pt x="38" y="169"/>
                        <a:pt x="38" y="169"/>
                      </a:cubicBezTo>
                      <a:cubicBezTo>
                        <a:pt x="38" y="170"/>
                        <a:pt x="38" y="170"/>
                        <a:pt x="38" y="170"/>
                      </a:cubicBezTo>
                      <a:cubicBezTo>
                        <a:pt x="40" y="170"/>
                        <a:pt x="40" y="170"/>
                        <a:pt x="40" y="170"/>
                      </a:cubicBezTo>
                      <a:cubicBezTo>
                        <a:pt x="40" y="170"/>
                        <a:pt x="40" y="170"/>
                        <a:pt x="40" y="170"/>
                      </a:cubicBezTo>
                      <a:cubicBezTo>
                        <a:pt x="41" y="170"/>
                        <a:pt x="41" y="170"/>
                        <a:pt x="41" y="170"/>
                      </a:cubicBezTo>
                      <a:cubicBezTo>
                        <a:pt x="42" y="170"/>
                        <a:pt x="42" y="170"/>
                        <a:pt x="42" y="170"/>
                      </a:cubicBezTo>
                      <a:cubicBezTo>
                        <a:pt x="42" y="170"/>
                        <a:pt x="42" y="170"/>
                        <a:pt x="42" y="170"/>
                      </a:cubicBezTo>
                      <a:cubicBezTo>
                        <a:pt x="43" y="171"/>
                        <a:pt x="43" y="171"/>
                        <a:pt x="43" y="171"/>
                      </a:cubicBezTo>
                      <a:cubicBezTo>
                        <a:pt x="44" y="171"/>
                        <a:pt x="44" y="171"/>
                        <a:pt x="44" y="171"/>
                      </a:cubicBezTo>
                      <a:cubicBezTo>
                        <a:pt x="44" y="172"/>
                        <a:pt x="44" y="172"/>
                        <a:pt x="44" y="172"/>
                      </a:cubicBezTo>
                      <a:cubicBezTo>
                        <a:pt x="45" y="172"/>
                        <a:pt x="45" y="172"/>
                        <a:pt x="45" y="172"/>
                      </a:cubicBezTo>
                      <a:cubicBezTo>
                        <a:pt x="45" y="171"/>
                        <a:pt x="45" y="171"/>
                        <a:pt x="45" y="171"/>
                      </a:cubicBezTo>
                      <a:cubicBezTo>
                        <a:pt x="44" y="171"/>
                        <a:pt x="44" y="171"/>
                        <a:pt x="44" y="171"/>
                      </a:cubicBezTo>
                      <a:cubicBezTo>
                        <a:pt x="42" y="169"/>
                        <a:pt x="42" y="169"/>
                        <a:pt x="42" y="169"/>
                      </a:cubicBezTo>
                      <a:cubicBezTo>
                        <a:pt x="42" y="169"/>
                        <a:pt x="42" y="169"/>
                        <a:pt x="42" y="169"/>
                      </a:cubicBezTo>
                      <a:cubicBezTo>
                        <a:pt x="42" y="169"/>
                        <a:pt x="42" y="169"/>
                        <a:pt x="42" y="169"/>
                      </a:cubicBezTo>
                      <a:cubicBezTo>
                        <a:pt x="43" y="168"/>
                        <a:pt x="43" y="168"/>
                        <a:pt x="43" y="168"/>
                      </a:cubicBezTo>
                      <a:cubicBezTo>
                        <a:pt x="43" y="168"/>
                        <a:pt x="43" y="168"/>
                        <a:pt x="43" y="168"/>
                      </a:cubicBezTo>
                      <a:cubicBezTo>
                        <a:pt x="43" y="167"/>
                        <a:pt x="43" y="167"/>
                        <a:pt x="43" y="167"/>
                      </a:cubicBezTo>
                      <a:cubicBezTo>
                        <a:pt x="44" y="167"/>
                        <a:pt x="44" y="167"/>
                        <a:pt x="44" y="167"/>
                      </a:cubicBezTo>
                      <a:cubicBezTo>
                        <a:pt x="44" y="167"/>
                        <a:pt x="44" y="167"/>
                        <a:pt x="44" y="167"/>
                      </a:cubicBezTo>
                      <a:cubicBezTo>
                        <a:pt x="43" y="167"/>
                        <a:pt x="43" y="167"/>
                        <a:pt x="43" y="167"/>
                      </a:cubicBezTo>
                      <a:cubicBezTo>
                        <a:pt x="43" y="167"/>
                        <a:pt x="43" y="167"/>
                        <a:pt x="43" y="167"/>
                      </a:cubicBezTo>
                      <a:cubicBezTo>
                        <a:pt x="41" y="167"/>
                        <a:pt x="41" y="167"/>
                        <a:pt x="41" y="167"/>
                      </a:cubicBezTo>
                      <a:cubicBezTo>
                        <a:pt x="41" y="167"/>
                        <a:pt x="41" y="167"/>
                        <a:pt x="41" y="167"/>
                      </a:cubicBezTo>
                      <a:cubicBezTo>
                        <a:pt x="41" y="167"/>
                        <a:pt x="41" y="167"/>
                        <a:pt x="41" y="167"/>
                      </a:cubicBezTo>
                      <a:cubicBezTo>
                        <a:pt x="42" y="168"/>
                        <a:pt x="42" y="168"/>
                        <a:pt x="42" y="168"/>
                      </a:cubicBezTo>
                      <a:cubicBezTo>
                        <a:pt x="42" y="168"/>
                        <a:pt x="42" y="168"/>
                        <a:pt x="42" y="168"/>
                      </a:cubicBezTo>
                      <a:cubicBezTo>
                        <a:pt x="40" y="168"/>
                        <a:pt x="40" y="168"/>
                        <a:pt x="40" y="168"/>
                      </a:cubicBezTo>
                      <a:cubicBezTo>
                        <a:pt x="40" y="168"/>
                        <a:pt x="40" y="168"/>
                        <a:pt x="40" y="168"/>
                      </a:cubicBezTo>
                      <a:cubicBezTo>
                        <a:pt x="39" y="168"/>
                        <a:pt x="39" y="168"/>
                        <a:pt x="39" y="168"/>
                      </a:cubicBezTo>
                      <a:cubicBezTo>
                        <a:pt x="39" y="168"/>
                        <a:pt x="39" y="168"/>
                        <a:pt x="39" y="168"/>
                      </a:cubicBezTo>
                      <a:cubicBezTo>
                        <a:pt x="38" y="168"/>
                        <a:pt x="38" y="168"/>
                        <a:pt x="38" y="168"/>
                      </a:cubicBezTo>
                      <a:cubicBezTo>
                        <a:pt x="37" y="168"/>
                        <a:pt x="37" y="168"/>
                        <a:pt x="37" y="168"/>
                      </a:cubicBezTo>
                      <a:cubicBezTo>
                        <a:pt x="37" y="167"/>
                        <a:pt x="37" y="167"/>
                        <a:pt x="37" y="167"/>
                      </a:cubicBezTo>
                      <a:cubicBezTo>
                        <a:pt x="38" y="167"/>
                        <a:pt x="38" y="167"/>
                        <a:pt x="38" y="167"/>
                      </a:cubicBezTo>
                      <a:cubicBezTo>
                        <a:pt x="38" y="167"/>
                        <a:pt x="38" y="167"/>
                        <a:pt x="38" y="167"/>
                      </a:cubicBezTo>
                      <a:cubicBezTo>
                        <a:pt x="38" y="167"/>
                        <a:pt x="38" y="167"/>
                        <a:pt x="38" y="167"/>
                      </a:cubicBezTo>
                      <a:cubicBezTo>
                        <a:pt x="37" y="167"/>
                        <a:pt x="37" y="167"/>
                        <a:pt x="37" y="167"/>
                      </a:cubicBezTo>
                      <a:cubicBezTo>
                        <a:pt x="36" y="167"/>
                        <a:pt x="36" y="167"/>
                        <a:pt x="36" y="167"/>
                      </a:cubicBezTo>
                      <a:cubicBezTo>
                        <a:pt x="38" y="166"/>
                        <a:pt x="38" y="166"/>
                        <a:pt x="38" y="166"/>
                      </a:cubicBezTo>
                      <a:cubicBezTo>
                        <a:pt x="39" y="166"/>
                        <a:pt x="39" y="166"/>
                        <a:pt x="39" y="166"/>
                      </a:cubicBezTo>
                      <a:cubicBezTo>
                        <a:pt x="39" y="166"/>
                        <a:pt x="39" y="166"/>
                        <a:pt x="39" y="166"/>
                      </a:cubicBezTo>
                      <a:cubicBezTo>
                        <a:pt x="40" y="166"/>
                        <a:pt x="40" y="166"/>
                        <a:pt x="40" y="166"/>
                      </a:cubicBezTo>
                      <a:cubicBezTo>
                        <a:pt x="41" y="166"/>
                        <a:pt x="41" y="166"/>
                        <a:pt x="41" y="166"/>
                      </a:cubicBezTo>
                      <a:cubicBezTo>
                        <a:pt x="42" y="166"/>
                        <a:pt x="42" y="166"/>
                        <a:pt x="42" y="166"/>
                      </a:cubicBezTo>
                      <a:cubicBezTo>
                        <a:pt x="42" y="166"/>
                        <a:pt x="42" y="166"/>
                        <a:pt x="42" y="166"/>
                      </a:cubicBezTo>
                      <a:cubicBezTo>
                        <a:pt x="43" y="166"/>
                        <a:pt x="43" y="166"/>
                        <a:pt x="43" y="166"/>
                      </a:cubicBezTo>
                      <a:cubicBezTo>
                        <a:pt x="43" y="165"/>
                        <a:pt x="43" y="165"/>
                        <a:pt x="43" y="165"/>
                      </a:cubicBezTo>
                      <a:cubicBezTo>
                        <a:pt x="44" y="165"/>
                        <a:pt x="44" y="165"/>
                        <a:pt x="44" y="165"/>
                      </a:cubicBezTo>
                      <a:cubicBezTo>
                        <a:pt x="44" y="165"/>
                        <a:pt x="44" y="165"/>
                        <a:pt x="44" y="165"/>
                      </a:cubicBezTo>
                      <a:cubicBezTo>
                        <a:pt x="45" y="164"/>
                        <a:pt x="45" y="164"/>
                        <a:pt x="45" y="164"/>
                      </a:cubicBezTo>
                      <a:cubicBezTo>
                        <a:pt x="45" y="164"/>
                        <a:pt x="45" y="164"/>
                        <a:pt x="45" y="164"/>
                      </a:cubicBezTo>
                      <a:cubicBezTo>
                        <a:pt x="45" y="164"/>
                        <a:pt x="45" y="164"/>
                        <a:pt x="45" y="164"/>
                      </a:cubicBezTo>
                      <a:cubicBezTo>
                        <a:pt x="44" y="164"/>
                        <a:pt x="44" y="164"/>
                        <a:pt x="44" y="164"/>
                      </a:cubicBezTo>
                      <a:cubicBezTo>
                        <a:pt x="44" y="164"/>
                        <a:pt x="44" y="164"/>
                        <a:pt x="44" y="164"/>
                      </a:cubicBezTo>
                      <a:cubicBezTo>
                        <a:pt x="44" y="164"/>
                        <a:pt x="44" y="164"/>
                        <a:pt x="44" y="164"/>
                      </a:cubicBezTo>
                      <a:cubicBezTo>
                        <a:pt x="44" y="163"/>
                        <a:pt x="44" y="163"/>
                        <a:pt x="44" y="163"/>
                      </a:cubicBezTo>
                      <a:cubicBezTo>
                        <a:pt x="45" y="162"/>
                        <a:pt x="45" y="162"/>
                        <a:pt x="45" y="162"/>
                      </a:cubicBezTo>
                      <a:cubicBezTo>
                        <a:pt x="45" y="161"/>
                        <a:pt x="45" y="161"/>
                        <a:pt x="45" y="161"/>
                      </a:cubicBezTo>
                      <a:cubicBezTo>
                        <a:pt x="45" y="161"/>
                        <a:pt x="45" y="161"/>
                        <a:pt x="45" y="161"/>
                      </a:cubicBezTo>
                      <a:cubicBezTo>
                        <a:pt x="45" y="161"/>
                        <a:pt x="45" y="161"/>
                        <a:pt x="45" y="161"/>
                      </a:cubicBezTo>
                      <a:cubicBezTo>
                        <a:pt x="46" y="162"/>
                        <a:pt x="46" y="162"/>
                        <a:pt x="46" y="162"/>
                      </a:cubicBezTo>
                      <a:cubicBezTo>
                        <a:pt x="45" y="162"/>
                        <a:pt x="45" y="162"/>
                        <a:pt x="45" y="162"/>
                      </a:cubicBezTo>
                      <a:cubicBezTo>
                        <a:pt x="45" y="162"/>
                        <a:pt x="45" y="162"/>
                        <a:pt x="45" y="162"/>
                      </a:cubicBezTo>
                      <a:cubicBezTo>
                        <a:pt x="46" y="163"/>
                        <a:pt x="46" y="163"/>
                        <a:pt x="46" y="163"/>
                      </a:cubicBezTo>
                      <a:cubicBezTo>
                        <a:pt x="47" y="163"/>
                        <a:pt x="47" y="163"/>
                        <a:pt x="47" y="163"/>
                      </a:cubicBezTo>
                      <a:cubicBezTo>
                        <a:pt x="47" y="163"/>
                        <a:pt x="47" y="163"/>
                        <a:pt x="47" y="163"/>
                      </a:cubicBezTo>
                      <a:cubicBezTo>
                        <a:pt x="48" y="163"/>
                        <a:pt x="48" y="163"/>
                        <a:pt x="48" y="163"/>
                      </a:cubicBezTo>
                      <a:cubicBezTo>
                        <a:pt x="48" y="163"/>
                        <a:pt x="48" y="163"/>
                        <a:pt x="48" y="163"/>
                      </a:cubicBezTo>
                      <a:cubicBezTo>
                        <a:pt x="48" y="163"/>
                        <a:pt x="48" y="163"/>
                        <a:pt x="48" y="163"/>
                      </a:cubicBezTo>
                      <a:cubicBezTo>
                        <a:pt x="49" y="163"/>
                        <a:pt x="49" y="163"/>
                        <a:pt x="49" y="163"/>
                      </a:cubicBezTo>
                      <a:cubicBezTo>
                        <a:pt x="49" y="162"/>
                        <a:pt x="49" y="162"/>
                        <a:pt x="49" y="162"/>
                      </a:cubicBezTo>
                      <a:cubicBezTo>
                        <a:pt x="48" y="162"/>
                        <a:pt x="48" y="162"/>
                        <a:pt x="48" y="162"/>
                      </a:cubicBezTo>
                      <a:cubicBezTo>
                        <a:pt x="47" y="162"/>
                        <a:pt x="47" y="162"/>
                        <a:pt x="47" y="162"/>
                      </a:cubicBezTo>
                      <a:cubicBezTo>
                        <a:pt x="47" y="162"/>
                        <a:pt x="47" y="162"/>
                        <a:pt x="47" y="162"/>
                      </a:cubicBezTo>
                      <a:cubicBezTo>
                        <a:pt x="48" y="162"/>
                        <a:pt x="48" y="162"/>
                        <a:pt x="48" y="162"/>
                      </a:cubicBezTo>
                      <a:cubicBezTo>
                        <a:pt x="49" y="161"/>
                        <a:pt x="49" y="161"/>
                        <a:pt x="49" y="161"/>
                      </a:cubicBezTo>
                      <a:cubicBezTo>
                        <a:pt x="49" y="161"/>
                        <a:pt x="49" y="161"/>
                        <a:pt x="49" y="161"/>
                      </a:cubicBezTo>
                      <a:cubicBezTo>
                        <a:pt x="48" y="161"/>
                        <a:pt x="48" y="161"/>
                        <a:pt x="48" y="161"/>
                      </a:cubicBezTo>
                      <a:cubicBezTo>
                        <a:pt x="48" y="161"/>
                        <a:pt x="48" y="161"/>
                        <a:pt x="48" y="161"/>
                      </a:cubicBezTo>
                      <a:cubicBezTo>
                        <a:pt x="47" y="161"/>
                        <a:pt x="47" y="161"/>
                        <a:pt x="47" y="161"/>
                      </a:cubicBezTo>
                      <a:cubicBezTo>
                        <a:pt x="47" y="160"/>
                        <a:pt x="47" y="160"/>
                        <a:pt x="47" y="160"/>
                      </a:cubicBezTo>
                      <a:cubicBezTo>
                        <a:pt x="47" y="161"/>
                        <a:pt x="47" y="161"/>
                        <a:pt x="47" y="161"/>
                      </a:cubicBezTo>
                      <a:cubicBezTo>
                        <a:pt x="46" y="161"/>
                        <a:pt x="46" y="161"/>
                        <a:pt x="46" y="161"/>
                      </a:cubicBezTo>
                      <a:cubicBezTo>
                        <a:pt x="46" y="160"/>
                        <a:pt x="46" y="160"/>
                        <a:pt x="46" y="160"/>
                      </a:cubicBezTo>
                      <a:cubicBezTo>
                        <a:pt x="46" y="160"/>
                        <a:pt x="46" y="160"/>
                        <a:pt x="46" y="160"/>
                      </a:cubicBezTo>
                      <a:cubicBezTo>
                        <a:pt x="46" y="160"/>
                        <a:pt x="46" y="160"/>
                        <a:pt x="46" y="160"/>
                      </a:cubicBezTo>
                      <a:cubicBezTo>
                        <a:pt x="46" y="160"/>
                        <a:pt x="46" y="160"/>
                        <a:pt x="46" y="160"/>
                      </a:cubicBezTo>
                      <a:cubicBezTo>
                        <a:pt x="47" y="159"/>
                        <a:pt x="47" y="159"/>
                        <a:pt x="47" y="159"/>
                      </a:cubicBezTo>
                      <a:cubicBezTo>
                        <a:pt x="48" y="158"/>
                        <a:pt x="48" y="158"/>
                        <a:pt x="48" y="158"/>
                      </a:cubicBezTo>
                      <a:cubicBezTo>
                        <a:pt x="48" y="158"/>
                        <a:pt x="48" y="158"/>
                        <a:pt x="48" y="158"/>
                      </a:cubicBezTo>
                      <a:cubicBezTo>
                        <a:pt x="48" y="158"/>
                        <a:pt x="48" y="158"/>
                        <a:pt x="48" y="158"/>
                      </a:cubicBezTo>
                      <a:cubicBezTo>
                        <a:pt x="49" y="158"/>
                        <a:pt x="49" y="158"/>
                        <a:pt x="49" y="158"/>
                      </a:cubicBezTo>
                      <a:cubicBezTo>
                        <a:pt x="49" y="158"/>
                        <a:pt x="49" y="158"/>
                        <a:pt x="49" y="158"/>
                      </a:cubicBezTo>
                      <a:cubicBezTo>
                        <a:pt x="48" y="158"/>
                        <a:pt x="48" y="158"/>
                        <a:pt x="48" y="158"/>
                      </a:cubicBezTo>
                      <a:cubicBezTo>
                        <a:pt x="47" y="158"/>
                        <a:pt x="47" y="158"/>
                        <a:pt x="47" y="158"/>
                      </a:cubicBezTo>
                      <a:cubicBezTo>
                        <a:pt x="47" y="158"/>
                        <a:pt x="47" y="158"/>
                        <a:pt x="47" y="158"/>
                      </a:cubicBezTo>
                      <a:cubicBezTo>
                        <a:pt x="48" y="157"/>
                        <a:pt x="48" y="157"/>
                        <a:pt x="48" y="157"/>
                      </a:cubicBezTo>
                      <a:cubicBezTo>
                        <a:pt x="48" y="157"/>
                        <a:pt x="48" y="157"/>
                        <a:pt x="48" y="157"/>
                      </a:cubicBezTo>
                      <a:cubicBezTo>
                        <a:pt x="49" y="156"/>
                        <a:pt x="49" y="156"/>
                        <a:pt x="49" y="156"/>
                      </a:cubicBezTo>
                      <a:cubicBezTo>
                        <a:pt x="49" y="156"/>
                        <a:pt x="49" y="156"/>
                        <a:pt x="49" y="156"/>
                      </a:cubicBezTo>
                      <a:cubicBezTo>
                        <a:pt x="50" y="156"/>
                        <a:pt x="50" y="156"/>
                        <a:pt x="50" y="156"/>
                      </a:cubicBezTo>
                      <a:cubicBezTo>
                        <a:pt x="50" y="156"/>
                        <a:pt x="50" y="156"/>
                        <a:pt x="50" y="156"/>
                      </a:cubicBezTo>
                      <a:cubicBezTo>
                        <a:pt x="50" y="155"/>
                        <a:pt x="50" y="155"/>
                        <a:pt x="50" y="155"/>
                      </a:cubicBezTo>
                      <a:cubicBezTo>
                        <a:pt x="49" y="155"/>
                        <a:pt x="49" y="155"/>
                        <a:pt x="49" y="155"/>
                      </a:cubicBezTo>
                      <a:cubicBezTo>
                        <a:pt x="49" y="155"/>
                        <a:pt x="49" y="155"/>
                        <a:pt x="49" y="155"/>
                      </a:cubicBezTo>
                      <a:cubicBezTo>
                        <a:pt x="50" y="155"/>
                        <a:pt x="50" y="155"/>
                        <a:pt x="50" y="155"/>
                      </a:cubicBezTo>
                      <a:cubicBezTo>
                        <a:pt x="50" y="155"/>
                        <a:pt x="50" y="155"/>
                        <a:pt x="50" y="155"/>
                      </a:cubicBezTo>
                      <a:cubicBezTo>
                        <a:pt x="50" y="154"/>
                        <a:pt x="50" y="154"/>
                        <a:pt x="50" y="154"/>
                      </a:cubicBezTo>
                      <a:cubicBezTo>
                        <a:pt x="50" y="154"/>
                        <a:pt x="50" y="154"/>
                        <a:pt x="50" y="154"/>
                      </a:cubicBezTo>
                      <a:cubicBezTo>
                        <a:pt x="49" y="154"/>
                        <a:pt x="49" y="154"/>
                        <a:pt x="49" y="154"/>
                      </a:cubicBezTo>
                      <a:cubicBezTo>
                        <a:pt x="48" y="154"/>
                        <a:pt x="48" y="154"/>
                        <a:pt x="48" y="154"/>
                      </a:cubicBezTo>
                      <a:cubicBezTo>
                        <a:pt x="47" y="154"/>
                        <a:pt x="47" y="154"/>
                        <a:pt x="47" y="154"/>
                      </a:cubicBezTo>
                      <a:cubicBezTo>
                        <a:pt x="47" y="154"/>
                        <a:pt x="47" y="154"/>
                        <a:pt x="47" y="154"/>
                      </a:cubicBezTo>
                      <a:cubicBezTo>
                        <a:pt x="46" y="154"/>
                        <a:pt x="46" y="154"/>
                        <a:pt x="46" y="154"/>
                      </a:cubicBezTo>
                      <a:cubicBezTo>
                        <a:pt x="46" y="154"/>
                        <a:pt x="46" y="154"/>
                        <a:pt x="46" y="154"/>
                      </a:cubicBezTo>
                      <a:cubicBezTo>
                        <a:pt x="45" y="154"/>
                        <a:pt x="45" y="154"/>
                        <a:pt x="45" y="154"/>
                      </a:cubicBezTo>
                      <a:cubicBezTo>
                        <a:pt x="45" y="154"/>
                        <a:pt x="45" y="154"/>
                        <a:pt x="45" y="154"/>
                      </a:cubicBezTo>
                      <a:cubicBezTo>
                        <a:pt x="44" y="154"/>
                        <a:pt x="44" y="154"/>
                        <a:pt x="44" y="154"/>
                      </a:cubicBezTo>
                      <a:cubicBezTo>
                        <a:pt x="43" y="153"/>
                        <a:pt x="43" y="153"/>
                        <a:pt x="43" y="153"/>
                      </a:cubicBezTo>
                      <a:cubicBezTo>
                        <a:pt x="43" y="153"/>
                        <a:pt x="43" y="153"/>
                        <a:pt x="43" y="153"/>
                      </a:cubicBezTo>
                      <a:cubicBezTo>
                        <a:pt x="42" y="153"/>
                        <a:pt x="42" y="153"/>
                        <a:pt x="42" y="153"/>
                      </a:cubicBezTo>
                      <a:cubicBezTo>
                        <a:pt x="42" y="152"/>
                        <a:pt x="42" y="152"/>
                        <a:pt x="42" y="152"/>
                      </a:cubicBezTo>
                      <a:cubicBezTo>
                        <a:pt x="42" y="152"/>
                        <a:pt x="42" y="152"/>
                        <a:pt x="42" y="152"/>
                      </a:cubicBezTo>
                      <a:cubicBezTo>
                        <a:pt x="41" y="151"/>
                        <a:pt x="41" y="151"/>
                        <a:pt x="41" y="151"/>
                      </a:cubicBezTo>
                      <a:cubicBezTo>
                        <a:pt x="39" y="150"/>
                        <a:pt x="39" y="150"/>
                        <a:pt x="39" y="150"/>
                      </a:cubicBezTo>
                      <a:cubicBezTo>
                        <a:pt x="38" y="150"/>
                        <a:pt x="38" y="150"/>
                        <a:pt x="38" y="150"/>
                      </a:cubicBezTo>
                      <a:cubicBezTo>
                        <a:pt x="37" y="149"/>
                        <a:pt x="37" y="149"/>
                        <a:pt x="37" y="149"/>
                      </a:cubicBezTo>
                      <a:cubicBezTo>
                        <a:pt x="37" y="149"/>
                        <a:pt x="37" y="149"/>
                        <a:pt x="37" y="149"/>
                      </a:cubicBezTo>
                      <a:cubicBezTo>
                        <a:pt x="36" y="148"/>
                        <a:pt x="36" y="148"/>
                        <a:pt x="36" y="148"/>
                      </a:cubicBezTo>
                      <a:cubicBezTo>
                        <a:pt x="36" y="147"/>
                        <a:pt x="36" y="147"/>
                        <a:pt x="36" y="147"/>
                      </a:cubicBezTo>
                      <a:cubicBezTo>
                        <a:pt x="35" y="147"/>
                        <a:pt x="35" y="147"/>
                        <a:pt x="35" y="147"/>
                      </a:cubicBezTo>
                      <a:cubicBezTo>
                        <a:pt x="35" y="146"/>
                        <a:pt x="35" y="146"/>
                        <a:pt x="35" y="146"/>
                      </a:cubicBezTo>
                      <a:cubicBezTo>
                        <a:pt x="36" y="145"/>
                        <a:pt x="36" y="145"/>
                        <a:pt x="36" y="145"/>
                      </a:cubicBezTo>
                      <a:cubicBezTo>
                        <a:pt x="37" y="145"/>
                        <a:pt x="37" y="145"/>
                        <a:pt x="37" y="145"/>
                      </a:cubicBezTo>
                      <a:cubicBezTo>
                        <a:pt x="38" y="145"/>
                        <a:pt x="38" y="145"/>
                        <a:pt x="38" y="145"/>
                      </a:cubicBezTo>
                      <a:cubicBezTo>
                        <a:pt x="38" y="145"/>
                        <a:pt x="38" y="145"/>
                        <a:pt x="38" y="145"/>
                      </a:cubicBezTo>
                      <a:cubicBezTo>
                        <a:pt x="39" y="145"/>
                        <a:pt x="39" y="145"/>
                        <a:pt x="39" y="145"/>
                      </a:cubicBezTo>
                      <a:cubicBezTo>
                        <a:pt x="40" y="146"/>
                        <a:pt x="40" y="146"/>
                        <a:pt x="40" y="146"/>
                      </a:cubicBezTo>
                      <a:cubicBezTo>
                        <a:pt x="41" y="146"/>
                        <a:pt x="41" y="146"/>
                        <a:pt x="41" y="146"/>
                      </a:cubicBezTo>
                      <a:cubicBezTo>
                        <a:pt x="42" y="146"/>
                        <a:pt x="42" y="146"/>
                        <a:pt x="42" y="146"/>
                      </a:cubicBezTo>
                      <a:cubicBezTo>
                        <a:pt x="42" y="147"/>
                        <a:pt x="42" y="147"/>
                        <a:pt x="42" y="147"/>
                      </a:cubicBezTo>
                      <a:cubicBezTo>
                        <a:pt x="43" y="147"/>
                        <a:pt x="43" y="147"/>
                        <a:pt x="43" y="147"/>
                      </a:cubicBezTo>
                      <a:cubicBezTo>
                        <a:pt x="44" y="147"/>
                        <a:pt x="44" y="147"/>
                        <a:pt x="44" y="147"/>
                      </a:cubicBezTo>
                      <a:cubicBezTo>
                        <a:pt x="44" y="147"/>
                        <a:pt x="44" y="147"/>
                        <a:pt x="44" y="147"/>
                      </a:cubicBezTo>
                      <a:cubicBezTo>
                        <a:pt x="45" y="147"/>
                        <a:pt x="45" y="147"/>
                        <a:pt x="45" y="147"/>
                      </a:cubicBezTo>
                      <a:cubicBezTo>
                        <a:pt x="45" y="148"/>
                        <a:pt x="45" y="148"/>
                        <a:pt x="45" y="148"/>
                      </a:cubicBezTo>
                      <a:cubicBezTo>
                        <a:pt x="46" y="149"/>
                        <a:pt x="46" y="149"/>
                        <a:pt x="46" y="149"/>
                      </a:cubicBezTo>
                      <a:cubicBezTo>
                        <a:pt x="46" y="150"/>
                        <a:pt x="46" y="150"/>
                        <a:pt x="46" y="150"/>
                      </a:cubicBezTo>
                      <a:cubicBezTo>
                        <a:pt x="47" y="151"/>
                        <a:pt x="47" y="151"/>
                        <a:pt x="47" y="151"/>
                      </a:cubicBezTo>
                      <a:cubicBezTo>
                        <a:pt x="48" y="151"/>
                        <a:pt x="48" y="151"/>
                        <a:pt x="48" y="151"/>
                      </a:cubicBezTo>
                      <a:cubicBezTo>
                        <a:pt x="49" y="152"/>
                        <a:pt x="49" y="152"/>
                        <a:pt x="49" y="152"/>
                      </a:cubicBezTo>
                      <a:cubicBezTo>
                        <a:pt x="49" y="151"/>
                        <a:pt x="49" y="151"/>
                        <a:pt x="49" y="151"/>
                      </a:cubicBezTo>
                      <a:cubicBezTo>
                        <a:pt x="50" y="151"/>
                        <a:pt x="50" y="151"/>
                        <a:pt x="50" y="151"/>
                      </a:cubicBezTo>
                      <a:cubicBezTo>
                        <a:pt x="50" y="151"/>
                        <a:pt x="50" y="151"/>
                        <a:pt x="50" y="151"/>
                      </a:cubicBezTo>
                      <a:cubicBezTo>
                        <a:pt x="49" y="151"/>
                        <a:pt x="49" y="151"/>
                        <a:pt x="49" y="151"/>
                      </a:cubicBezTo>
                      <a:cubicBezTo>
                        <a:pt x="49" y="151"/>
                        <a:pt x="49" y="151"/>
                        <a:pt x="49" y="151"/>
                      </a:cubicBezTo>
                      <a:cubicBezTo>
                        <a:pt x="48" y="150"/>
                        <a:pt x="48" y="150"/>
                        <a:pt x="48" y="150"/>
                      </a:cubicBezTo>
                      <a:cubicBezTo>
                        <a:pt x="47" y="149"/>
                        <a:pt x="47" y="149"/>
                        <a:pt x="47" y="149"/>
                      </a:cubicBezTo>
                      <a:cubicBezTo>
                        <a:pt x="47" y="149"/>
                        <a:pt x="47" y="149"/>
                        <a:pt x="47" y="149"/>
                      </a:cubicBezTo>
                      <a:cubicBezTo>
                        <a:pt x="47" y="149"/>
                        <a:pt x="47" y="149"/>
                        <a:pt x="47" y="149"/>
                      </a:cubicBezTo>
                      <a:cubicBezTo>
                        <a:pt x="48" y="150"/>
                        <a:pt x="48" y="150"/>
                        <a:pt x="48" y="150"/>
                      </a:cubicBezTo>
                      <a:cubicBezTo>
                        <a:pt x="49" y="150"/>
                        <a:pt x="49" y="150"/>
                        <a:pt x="49" y="150"/>
                      </a:cubicBezTo>
                      <a:cubicBezTo>
                        <a:pt x="49" y="149"/>
                        <a:pt x="49" y="149"/>
                        <a:pt x="49" y="149"/>
                      </a:cubicBezTo>
                      <a:cubicBezTo>
                        <a:pt x="49" y="149"/>
                        <a:pt x="49" y="149"/>
                        <a:pt x="49" y="149"/>
                      </a:cubicBezTo>
                      <a:cubicBezTo>
                        <a:pt x="49" y="149"/>
                        <a:pt x="49" y="149"/>
                        <a:pt x="49" y="149"/>
                      </a:cubicBezTo>
                      <a:cubicBezTo>
                        <a:pt x="48" y="148"/>
                        <a:pt x="48" y="148"/>
                        <a:pt x="48" y="148"/>
                      </a:cubicBezTo>
                      <a:cubicBezTo>
                        <a:pt x="47" y="148"/>
                        <a:pt x="47" y="148"/>
                        <a:pt x="47" y="148"/>
                      </a:cubicBezTo>
                      <a:cubicBezTo>
                        <a:pt x="47" y="147"/>
                        <a:pt x="47" y="147"/>
                        <a:pt x="47" y="147"/>
                      </a:cubicBezTo>
                      <a:cubicBezTo>
                        <a:pt x="47" y="147"/>
                        <a:pt x="47" y="147"/>
                        <a:pt x="47" y="147"/>
                      </a:cubicBezTo>
                      <a:cubicBezTo>
                        <a:pt x="47" y="147"/>
                        <a:pt x="47" y="147"/>
                        <a:pt x="47" y="147"/>
                      </a:cubicBezTo>
                      <a:cubicBezTo>
                        <a:pt x="48" y="148"/>
                        <a:pt x="48" y="148"/>
                        <a:pt x="48" y="148"/>
                      </a:cubicBezTo>
                      <a:cubicBezTo>
                        <a:pt x="49" y="148"/>
                        <a:pt x="49" y="148"/>
                        <a:pt x="49" y="148"/>
                      </a:cubicBezTo>
                      <a:cubicBezTo>
                        <a:pt x="48" y="147"/>
                        <a:pt x="48" y="147"/>
                        <a:pt x="48" y="147"/>
                      </a:cubicBezTo>
                      <a:cubicBezTo>
                        <a:pt x="47" y="146"/>
                        <a:pt x="47" y="146"/>
                        <a:pt x="47" y="146"/>
                      </a:cubicBezTo>
                      <a:cubicBezTo>
                        <a:pt x="46" y="145"/>
                        <a:pt x="46" y="145"/>
                        <a:pt x="46" y="145"/>
                      </a:cubicBezTo>
                      <a:cubicBezTo>
                        <a:pt x="46" y="145"/>
                        <a:pt x="46" y="145"/>
                        <a:pt x="46" y="145"/>
                      </a:cubicBezTo>
                      <a:cubicBezTo>
                        <a:pt x="46" y="145"/>
                        <a:pt x="46" y="145"/>
                        <a:pt x="46" y="145"/>
                      </a:cubicBezTo>
                      <a:cubicBezTo>
                        <a:pt x="47" y="145"/>
                        <a:pt x="47" y="145"/>
                        <a:pt x="47" y="145"/>
                      </a:cubicBezTo>
                      <a:cubicBezTo>
                        <a:pt x="49" y="145"/>
                        <a:pt x="49" y="145"/>
                        <a:pt x="49" y="145"/>
                      </a:cubicBezTo>
                      <a:cubicBezTo>
                        <a:pt x="50" y="145"/>
                        <a:pt x="50" y="145"/>
                        <a:pt x="50" y="145"/>
                      </a:cubicBezTo>
                      <a:cubicBezTo>
                        <a:pt x="50" y="145"/>
                        <a:pt x="50" y="145"/>
                        <a:pt x="50" y="145"/>
                      </a:cubicBezTo>
                      <a:cubicBezTo>
                        <a:pt x="49" y="144"/>
                        <a:pt x="49" y="144"/>
                        <a:pt x="49" y="144"/>
                      </a:cubicBezTo>
                      <a:cubicBezTo>
                        <a:pt x="49" y="144"/>
                        <a:pt x="49" y="144"/>
                        <a:pt x="49" y="144"/>
                      </a:cubicBezTo>
                      <a:cubicBezTo>
                        <a:pt x="48" y="144"/>
                        <a:pt x="48" y="144"/>
                        <a:pt x="48" y="144"/>
                      </a:cubicBezTo>
                      <a:cubicBezTo>
                        <a:pt x="47" y="144"/>
                        <a:pt x="47" y="144"/>
                        <a:pt x="47" y="144"/>
                      </a:cubicBezTo>
                      <a:cubicBezTo>
                        <a:pt x="46" y="144"/>
                        <a:pt x="46" y="144"/>
                        <a:pt x="46" y="144"/>
                      </a:cubicBezTo>
                      <a:cubicBezTo>
                        <a:pt x="46" y="144"/>
                        <a:pt x="46" y="144"/>
                        <a:pt x="46" y="144"/>
                      </a:cubicBezTo>
                      <a:cubicBezTo>
                        <a:pt x="47" y="143"/>
                        <a:pt x="47" y="143"/>
                        <a:pt x="47" y="143"/>
                      </a:cubicBezTo>
                      <a:cubicBezTo>
                        <a:pt x="48" y="143"/>
                        <a:pt x="48" y="143"/>
                        <a:pt x="48" y="143"/>
                      </a:cubicBezTo>
                      <a:cubicBezTo>
                        <a:pt x="48" y="143"/>
                        <a:pt x="48" y="143"/>
                        <a:pt x="48" y="143"/>
                      </a:cubicBezTo>
                      <a:cubicBezTo>
                        <a:pt x="49" y="143"/>
                        <a:pt x="49" y="143"/>
                        <a:pt x="49" y="143"/>
                      </a:cubicBezTo>
                      <a:cubicBezTo>
                        <a:pt x="49" y="143"/>
                        <a:pt x="49" y="143"/>
                        <a:pt x="49" y="143"/>
                      </a:cubicBezTo>
                      <a:cubicBezTo>
                        <a:pt x="49" y="143"/>
                        <a:pt x="49" y="143"/>
                        <a:pt x="49" y="143"/>
                      </a:cubicBezTo>
                      <a:cubicBezTo>
                        <a:pt x="48" y="142"/>
                        <a:pt x="48" y="142"/>
                        <a:pt x="48" y="142"/>
                      </a:cubicBezTo>
                      <a:cubicBezTo>
                        <a:pt x="48" y="142"/>
                        <a:pt x="48" y="142"/>
                        <a:pt x="48" y="142"/>
                      </a:cubicBezTo>
                      <a:cubicBezTo>
                        <a:pt x="48" y="142"/>
                        <a:pt x="48" y="142"/>
                        <a:pt x="48" y="142"/>
                      </a:cubicBezTo>
                      <a:cubicBezTo>
                        <a:pt x="47" y="142"/>
                        <a:pt x="47" y="142"/>
                        <a:pt x="47" y="142"/>
                      </a:cubicBezTo>
                      <a:cubicBezTo>
                        <a:pt x="47" y="143"/>
                        <a:pt x="47" y="143"/>
                        <a:pt x="47" y="143"/>
                      </a:cubicBezTo>
                      <a:cubicBezTo>
                        <a:pt x="45" y="144"/>
                        <a:pt x="45" y="144"/>
                        <a:pt x="45" y="144"/>
                      </a:cubicBezTo>
                      <a:cubicBezTo>
                        <a:pt x="45" y="144"/>
                        <a:pt x="45" y="144"/>
                        <a:pt x="45" y="144"/>
                      </a:cubicBezTo>
                      <a:cubicBezTo>
                        <a:pt x="45" y="143"/>
                        <a:pt x="45" y="143"/>
                        <a:pt x="45" y="143"/>
                      </a:cubicBezTo>
                      <a:cubicBezTo>
                        <a:pt x="45" y="143"/>
                        <a:pt x="45" y="143"/>
                        <a:pt x="45" y="143"/>
                      </a:cubicBezTo>
                      <a:cubicBezTo>
                        <a:pt x="46" y="142"/>
                        <a:pt x="46" y="142"/>
                        <a:pt x="46" y="142"/>
                      </a:cubicBezTo>
                      <a:cubicBezTo>
                        <a:pt x="46" y="142"/>
                        <a:pt x="46" y="142"/>
                        <a:pt x="46" y="142"/>
                      </a:cubicBezTo>
                      <a:cubicBezTo>
                        <a:pt x="47" y="142"/>
                        <a:pt x="47" y="142"/>
                        <a:pt x="47" y="142"/>
                      </a:cubicBezTo>
                      <a:cubicBezTo>
                        <a:pt x="47" y="142"/>
                        <a:pt x="47" y="142"/>
                        <a:pt x="47" y="142"/>
                      </a:cubicBezTo>
                      <a:cubicBezTo>
                        <a:pt x="48" y="141"/>
                        <a:pt x="48" y="141"/>
                        <a:pt x="48" y="141"/>
                      </a:cubicBezTo>
                      <a:cubicBezTo>
                        <a:pt x="48" y="141"/>
                        <a:pt x="48" y="141"/>
                        <a:pt x="48" y="141"/>
                      </a:cubicBezTo>
                      <a:cubicBezTo>
                        <a:pt x="49" y="141"/>
                        <a:pt x="49" y="141"/>
                        <a:pt x="49" y="141"/>
                      </a:cubicBezTo>
                      <a:cubicBezTo>
                        <a:pt x="49" y="141"/>
                        <a:pt x="49" y="141"/>
                        <a:pt x="49" y="141"/>
                      </a:cubicBezTo>
                      <a:cubicBezTo>
                        <a:pt x="47" y="140"/>
                        <a:pt x="47" y="140"/>
                        <a:pt x="47" y="140"/>
                      </a:cubicBezTo>
                      <a:cubicBezTo>
                        <a:pt x="47" y="141"/>
                        <a:pt x="47" y="141"/>
                        <a:pt x="47" y="141"/>
                      </a:cubicBezTo>
                      <a:cubicBezTo>
                        <a:pt x="46" y="141"/>
                        <a:pt x="46" y="141"/>
                        <a:pt x="46" y="141"/>
                      </a:cubicBezTo>
                      <a:cubicBezTo>
                        <a:pt x="46" y="141"/>
                        <a:pt x="46" y="141"/>
                        <a:pt x="46" y="141"/>
                      </a:cubicBezTo>
                      <a:cubicBezTo>
                        <a:pt x="45" y="141"/>
                        <a:pt x="45" y="141"/>
                        <a:pt x="45" y="141"/>
                      </a:cubicBezTo>
                      <a:cubicBezTo>
                        <a:pt x="44" y="141"/>
                        <a:pt x="44" y="141"/>
                        <a:pt x="44" y="141"/>
                      </a:cubicBezTo>
                      <a:cubicBezTo>
                        <a:pt x="44" y="140"/>
                        <a:pt x="44" y="140"/>
                        <a:pt x="44" y="140"/>
                      </a:cubicBezTo>
                      <a:cubicBezTo>
                        <a:pt x="45" y="140"/>
                        <a:pt x="45" y="140"/>
                        <a:pt x="45" y="140"/>
                      </a:cubicBezTo>
                      <a:cubicBezTo>
                        <a:pt x="45" y="140"/>
                        <a:pt x="45" y="140"/>
                        <a:pt x="45" y="140"/>
                      </a:cubicBezTo>
                      <a:cubicBezTo>
                        <a:pt x="47" y="139"/>
                        <a:pt x="47" y="139"/>
                        <a:pt x="47" y="139"/>
                      </a:cubicBezTo>
                      <a:cubicBezTo>
                        <a:pt x="48" y="139"/>
                        <a:pt x="48" y="139"/>
                        <a:pt x="48" y="139"/>
                      </a:cubicBezTo>
                      <a:cubicBezTo>
                        <a:pt x="49" y="139"/>
                        <a:pt x="49" y="139"/>
                        <a:pt x="49" y="139"/>
                      </a:cubicBezTo>
                      <a:cubicBezTo>
                        <a:pt x="49" y="138"/>
                        <a:pt x="49" y="138"/>
                        <a:pt x="49" y="138"/>
                      </a:cubicBezTo>
                      <a:cubicBezTo>
                        <a:pt x="49" y="138"/>
                        <a:pt x="49" y="138"/>
                        <a:pt x="49" y="138"/>
                      </a:cubicBezTo>
                      <a:cubicBezTo>
                        <a:pt x="49" y="138"/>
                        <a:pt x="49" y="138"/>
                        <a:pt x="49" y="138"/>
                      </a:cubicBezTo>
                      <a:cubicBezTo>
                        <a:pt x="48" y="138"/>
                        <a:pt x="48" y="138"/>
                        <a:pt x="48" y="138"/>
                      </a:cubicBezTo>
                      <a:cubicBezTo>
                        <a:pt x="47" y="139"/>
                        <a:pt x="47" y="139"/>
                        <a:pt x="47" y="139"/>
                      </a:cubicBezTo>
                      <a:cubicBezTo>
                        <a:pt x="47" y="139"/>
                        <a:pt x="47" y="139"/>
                        <a:pt x="47" y="139"/>
                      </a:cubicBezTo>
                      <a:cubicBezTo>
                        <a:pt x="46" y="138"/>
                        <a:pt x="46" y="138"/>
                        <a:pt x="46" y="138"/>
                      </a:cubicBezTo>
                      <a:cubicBezTo>
                        <a:pt x="46" y="138"/>
                        <a:pt x="46" y="138"/>
                        <a:pt x="46" y="138"/>
                      </a:cubicBezTo>
                      <a:cubicBezTo>
                        <a:pt x="45" y="138"/>
                        <a:pt x="45" y="138"/>
                        <a:pt x="45" y="138"/>
                      </a:cubicBezTo>
                      <a:cubicBezTo>
                        <a:pt x="45" y="138"/>
                        <a:pt x="45" y="138"/>
                        <a:pt x="45" y="138"/>
                      </a:cubicBezTo>
                      <a:cubicBezTo>
                        <a:pt x="45" y="137"/>
                        <a:pt x="45" y="137"/>
                        <a:pt x="45" y="137"/>
                      </a:cubicBezTo>
                      <a:cubicBezTo>
                        <a:pt x="45" y="137"/>
                        <a:pt x="45" y="137"/>
                        <a:pt x="45" y="137"/>
                      </a:cubicBezTo>
                      <a:cubicBezTo>
                        <a:pt x="46" y="136"/>
                        <a:pt x="46" y="136"/>
                        <a:pt x="46" y="136"/>
                      </a:cubicBezTo>
                      <a:cubicBezTo>
                        <a:pt x="46" y="136"/>
                        <a:pt x="46" y="136"/>
                        <a:pt x="46" y="136"/>
                      </a:cubicBezTo>
                      <a:cubicBezTo>
                        <a:pt x="47" y="135"/>
                        <a:pt x="47" y="135"/>
                        <a:pt x="47" y="135"/>
                      </a:cubicBezTo>
                      <a:cubicBezTo>
                        <a:pt x="47" y="135"/>
                        <a:pt x="47" y="135"/>
                        <a:pt x="47" y="135"/>
                      </a:cubicBezTo>
                      <a:cubicBezTo>
                        <a:pt x="46" y="135"/>
                        <a:pt x="46" y="135"/>
                        <a:pt x="46" y="135"/>
                      </a:cubicBezTo>
                      <a:cubicBezTo>
                        <a:pt x="46" y="135"/>
                        <a:pt x="46" y="135"/>
                        <a:pt x="46" y="135"/>
                      </a:cubicBezTo>
                      <a:cubicBezTo>
                        <a:pt x="45" y="136"/>
                        <a:pt x="45" y="136"/>
                        <a:pt x="45" y="136"/>
                      </a:cubicBezTo>
                      <a:cubicBezTo>
                        <a:pt x="45" y="137"/>
                        <a:pt x="45" y="137"/>
                        <a:pt x="45" y="137"/>
                      </a:cubicBezTo>
                      <a:cubicBezTo>
                        <a:pt x="44" y="137"/>
                        <a:pt x="44" y="137"/>
                        <a:pt x="44" y="137"/>
                      </a:cubicBezTo>
                      <a:cubicBezTo>
                        <a:pt x="44" y="137"/>
                        <a:pt x="44" y="137"/>
                        <a:pt x="44" y="137"/>
                      </a:cubicBezTo>
                      <a:cubicBezTo>
                        <a:pt x="43" y="137"/>
                        <a:pt x="43" y="137"/>
                        <a:pt x="43" y="137"/>
                      </a:cubicBezTo>
                      <a:cubicBezTo>
                        <a:pt x="44" y="137"/>
                        <a:pt x="44" y="137"/>
                        <a:pt x="44" y="137"/>
                      </a:cubicBezTo>
                      <a:cubicBezTo>
                        <a:pt x="44" y="136"/>
                        <a:pt x="44" y="136"/>
                        <a:pt x="44" y="136"/>
                      </a:cubicBezTo>
                      <a:cubicBezTo>
                        <a:pt x="44" y="135"/>
                        <a:pt x="44" y="135"/>
                        <a:pt x="44" y="135"/>
                      </a:cubicBezTo>
                      <a:cubicBezTo>
                        <a:pt x="43" y="134"/>
                        <a:pt x="43" y="134"/>
                        <a:pt x="43" y="134"/>
                      </a:cubicBezTo>
                      <a:cubicBezTo>
                        <a:pt x="43" y="133"/>
                        <a:pt x="43" y="133"/>
                        <a:pt x="43" y="133"/>
                      </a:cubicBezTo>
                      <a:cubicBezTo>
                        <a:pt x="44" y="132"/>
                        <a:pt x="44" y="132"/>
                        <a:pt x="44" y="132"/>
                      </a:cubicBezTo>
                      <a:cubicBezTo>
                        <a:pt x="44" y="132"/>
                        <a:pt x="44" y="132"/>
                        <a:pt x="44" y="132"/>
                      </a:cubicBezTo>
                      <a:cubicBezTo>
                        <a:pt x="43" y="132"/>
                        <a:pt x="43" y="132"/>
                        <a:pt x="43" y="132"/>
                      </a:cubicBezTo>
                      <a:cubicBezTo>
                        <a:pt x="43" y="132"/>
                        <a:pt x="43" y="132"/>
                        <a:pt x="43" y="132"/>
                      </a:cubicBezTo>
                      <a:cubicBezTo>
                        <a:pt x="43" y="133"/>
                        <a:pt x="43" y="133"/>
                        <a:pt x="43" y="133"/>
                      </a:cubicBezTo>
                      <a:cubicBezTo>
                        <a:pt x="43" y="134"/>
                        <a:pt x="43" y="134"/>
                        <a:pt x="43" y="134"/>
                      </a:cubicBezTo>
                      <a:cubicBezTo>
                        <a:pt x="43" y="135"/>
                        <a:pt x="43" y="135"/>
                        <a:pt x="43" y="135"/>
                      </a:cubicBezTo>
                      <a:cubicBezTo>
                        <a:pt x="43" y="136"/>
                        <a:pt x="43" y="136"/>
                        <a:pt x="43" y="136"/>
                      </a:cubicBezTo>
                      <a:cubicBezTo>
                        <a:pt x="43" y="137"/>
                        <a:pt x="43" y="137"/>
                        <a:pt x="43" y="137"/>
                      </a:cubicBezTo>
                      <a:cubicBezTo>
                        <a:pt x="43" y="137"/>
                        <a:pt x="43" y="137"/>
                        <a:pt x="43" y="137"/>
                      </a:cubicBezTo>
                      <a:cubicBezTo>
                        <a:pt x="43" y="138"/>
                        <a:pt x="43" y="138"/>
                        <a:pt x="43" y="138"/>
                      </a:cubicBezTo>
                      <a:cubicBezTo>
                        <a:pt x="42" y="137"/>
                        <a:pt x="42" y="137"/>
                        <a:pt x="42" y="137"/>
                      </a:cubicBezTo>
                      <a:cubicBezTo>
                        <a:pt x="42" y="137"/>
                        <a:pt x="42" y="137"/>
                        <a:pt x="42" y="137"/>
                      </a:cubicBezTo>
                      <a:cubicBezTo>
                        <a:pt x="41" y="138"/>
                        <a:pt x="41" y="138"/>
                        <a:pt x="41" y="138"/>
                      </a:cubicBezTo>
                      <a:cubicBezTo>
                        <a:pt x="41" y="138"/>
                        <a:pt x="41" y="138"/>
                        <a:pt x="41" y="138"/>
                      </a:cubicBezTo>
                      <a:cubicBezTo>
                        <a:pt x="41" y="138"/>
                        <a:pt x="41" y="138"/>
                        <a:pt x="41" y="138"/>
                      </a:cubicBezTo>
                      <a:cubicBezTo>
                        <a:pt x="40" y="138"/>
                        <a:pt x="40" y="138"/>
                        <a:pt x="40" y="138"/>
                      </a:cubicBezTo>
                      <a:cubicBezTo>
                        <a:pt x="41" y="138"/>
                        <a:pt x="41" y="138"/>
                        <a:pt x="41" y="138"/>
                      </a:cubicBezTo>
                      <a:cubicBezTo>
                        <a:pt x="41" y="139"/>
                        <a:pt x="41" y="139"/>
                        <a:pt x="41" y="139"/>
                      </a:cubicBezTo>
                      <a:cubicBezTo>
                        <a:pt x="41" y="139"/>
                        <a:pt x="41" y="139"/>
                        <a:pt x="41" y="139"/>
                      </a:cubicBezTo>
                      <a:cubicBezTo>
                        <a:pt x="40" y="140"/>
                        <a:pt x="40" y="140"/>
                        <a:pt x="40" y="140"/>
                      </a:cubicBezTo>
                      <a:cubicBezTo>
                        <a:pt x="40" y="140"/>
                        <a:pt x="40" y="140"/>
                        <a:pt x="40" y="140"/>
                      </a:cubicBezTo>
                      <a:cubicBezTo>
                        <a:pt x="39" y="140"/>
                        <a:pt x="39" y="140"/>
                        <a:pt x="39" y="140"/>
                      </a:cubicBezTo>
                      <a:cubicBezTo>
                        <a:pt x="39" y="140"/>
                        <a:pt x="39" y="140"/>
                        <a:pt x="39" y="140"/>
                      </a:cubicBezTo>
                      <a:cubicBezTo>
                        <a:pt x="38" y="141"/>
                        <a:pt x="38" y="141"/>
                        <a:pt x="38" y="141"/>
                      </a:cubicBezTo>
                      <a:cubicBezTo>
                        <a:pt x="37" y="141"/>
                        <a:pt x="37" y="141"/>
                        <a:pt x="37" y="141"/>
                      </a:cubicBezTo>
                      <a:cubicBezTo>
                        <a:pt x="37" y="140"/>
                        <a:pt x="37" y="140"/>
                        <a:pt x="37" y="140"/>
                      </a:cubicBezTo>
                      <a:cubicBezTo>
                        <a:pt x="37" y="140"/>
                        <a:pt x="37" y="140"/>
                        <a:pt x="37" y="140"/>
                      </a:cubicBezTo>
                      <a:cubicBezTo>
                        <a:pt x="37" y="139"/>
                        <a:pt x="37" y="139"/>
                        <a:pt x="37" y="139"/>
                      </a:cubicBezTo>
                      <a:cubicBezTo>
                        <a:pt x="36" y="139"/>
                        <a:pt x="36" y="139"/>
                        <a:pt x="36" y="139"/>
                      </a:cubicBezTo>
                      <a:cubicBezTo>
                        <a:pt x="36" y="139"/>
                        <a:pt x="36" y="139"/>
                        <a:pt x="36" y="139"/>
                      </a:cubicBezTo>
                      <a:cubicBezTo>
                        <a:pt x="36" y="139"/>
                        <a:pt x="36" y="139"/>
                        <a:pt x="36" y="139"/>
                      </a:cubicBezTo>
                      <a:cubicBezTo>
                        <a:pt x="35" y="139"/>
                        <a:pt x="35" y="139"/>
                        <a:pt x="35" y="139"/>
                      </a:cubicBezTo>
                      <a:cubicBezTo>
                        <a:pt x="35" y="138"/>
                        <a:pt x="35" y="138"/>
                        <a:pt x="35" y="138"/>
                      </a:cubicBezTo>
                      <a:cubicBezTo>
                        <a:pt x="35" y="138"/>
                        <a:pt x="35" y="138"/>
                        <a:pt x="35" y="138"/>
                      </a:cubicBezTo>
                      <a:cubicBezTo>
                        <a:pt x="35" y="137"/>
                        <a:pt x="35" y="137"/>
                        <a:pt x="35" y="137"/>
                      </a:cubicBezTo>
                      <a:cubicBezTo>
                        <a:pt x="35" y="137"/>
                        <a:pt x="35" y="137"/>
                        <a:pt x="35" y="137"/>
                      </a:cubicBezTo>
                      <a:cubicBezTo>
                        <a:pt x="35" y="137"/>
                        <a:pt x="35" y="137"/>
                        <a:pt x="35" y="137"/>
                      </a:cubicBezTo>
                      <a:cubicBezTo>
                        <a:pt x="36" y="136"/>
                        <a:pt x="36" y="136"/>
                        <a:pt x="36" y="136"/>
                      </a:cubicBezTo>
                      <a:cubicBezTo>
                        <a:pt x="36" y="136"/>
                        <a:pt x="36" y="136"/>
                        <a:pt x="36" y="136"/>
                      </a:cubicBezTo>
                      <a:cubicBezTo>
                        <a:pt x="37" y="136"/>
                        <a:pt x="37" y="136"/>
                        <a:pt x="37" y="136"/>
                      </a:cubicBezTo>
                      <a:cubicBezTo>
                        <a:pt x="37" y="136"/>
                        <a:pt x="37" y="136"/>
                        <a:pt x="37" y="136"/>
                      </a:cubicBezTo>
                      <a:cubicBezTo>
                        <a:pt x="38" y="135"/>
                        <a:pt x="38" y="135"/>
                        <a:pt x="38" y="135"/>
                      </a:cubicBezTo>
                      <a:cubicBezTo>
                        <a:pt x="39" y="135"/>
                        <a:pt x="39" y="135"/>
                        <a:pt x="39" y="135"/>
                      </a:cubicBezTo>
                      <a:cubicBezTo>
                        <a:pt x="39" y="135"/>
                        <a:pt x="39" y="135"/>
                        <a:pt x="39" y="135"/>
                      </a:cubicBezTo>
                      <a:cubicBezTo>
                        <a:pt x="41" y="134"/>
                        <a:pt x="41" y="134"/>
                        <a:pt x="41" y="134"/>
                      </a:cubicBezTo>
                      <a:cubicBezTo>
                        <a:pt x="41" y="133"/>
                        <a:pt x="41" y="133"/>
                        <a:pt x="41" y="133"/>
                      </a:cubicBezTo>
                      <a:cubicBezTo>
                        <a:pt x="41" y="133"/>
                        <a:pt x="41" y="133"/>
                        <a:pt x="41" y="133"/>
                      </a:cubicBezTo>
                      <a:cubicBezTo>
                        <a:pt x="41" y="133"/>
                        <a:pt x="41" y="133"/>
                        <a:pt x="41" y="133"/>
                      </a:cubicBezTo>
                      <a:cubicBezTo>
                        <a:pt x="41" y="133"/>
                        <a:pt x="41" y="133"/>
                        <a:pt x="41" y="133"/>
                      </a:cubicBezTo>
                      <a:cubicBezTo>
                        <a:pt x="40" y="134"/>
                        <a:pt x="40" y="134"/>
                        <a:pt x="40" y="134"/>
                      </a:cubicBezTo>
                      <a:cubicBezTo>
                        <a:pt x="39" y="135"/>
                        <a:pt x="39" y="135"/>
                        <a:pt x="39" y="135"/>
                      </a:cubicBezTo>
                      <a:cubicBezTo>
                        <a:pt x="38" y="135"/>
                        <a:pt x="38" y="135"/>
                        <a:pt x="38" y="135"/>
                      </a:cubicBezTo>
                      <a:cubicBezTo>
                        <a:pt x="37" y="135"/>
                        <a:pt x="37" y="135"/>
                        <a:pt x="37" y="135"/>
                      </a:cubicBezTo>
                      <a:cubicBezTo>
                        <a:pt x="37" y="134"/>
                        <a:pt x="37" y="134"/>
                        <a:pt x="37" y="134"/>
                      </a:cubicBezTo>
                      <a:cubicBezTo>
                        <a:pt x="37" y="134"/>
                        <a:pt x="37" y="134"/>
                        <a:pt x="37" y="134"/>
                      </a:cubicBezTo>
                      <a:cubicBezTo>
                        <a:pt x="37" y="133"/>
                        <a:pt x="37" y="133"/>
                        <a:pt x="37" y="133"/>
                      </a:cubicBezTo>
                      <a:cubicBezTo>
                        <a:pt x="38" y="132"/>
                        <a:pt x="38" y="132"/>
                        <a:pt x="38" y="132"/>
                      </a:cubicBezTo>
                      <a:cubicBezTo>
                        <a:pt x="39" y="132"/>
                        <a:pt x="39" y="132"/>
                        <a:pt x="39" y="132"/>
                      </a:cubicBezTo>
                      <a:cubicBezTo>
                        <a:pt x="39" y="132"/>
                        <a:pt x="39" y="132"/>
                        <a:pt x="39" y="132"/>
                      </a:cubicBezTo>
                      <a:cubicBezTo>
                        <a:pt x="39" y="132"/>
                        <a:pt x="39" y="132"/>
                        <a:pt x="39" y="132"/>
                      </a:cubicBezTo>
                      <a:cubicBezTo>
                        <a:pt x="39" y="131"/>
                        <a:pt x="39" y="131"/>
                        <a:pt x="39" y="131"/>
                      </a:cubicBezTo>
                      <a:cubicBezTo>
                        <a:pt x="40" y="131"/>
                        <a:pt x="40" y="131"/>
                        <a:pt x="40" y="131"/>
                      </a:cubicBezTo>
                      <a:cubicBezTo>
                        <a:pt x="40" y="131"/>
                        <a:pt x="40" y="131"/>
                        <a:pt x="40" y="131"/>
                      </a:cubicBezTo>
                      <a:cubicBezTo>
                        <a:pt x="40" y="131"/>
                        <a:pt x="40" y="131"/>
                        <a:pt x="40" y="131"/>
                      </a:cubicBezTo>
                      <a:cubicBezTo>
                        <a:pt x="40" y="130"/>
                        <a:pt x="40" y="130"/>
                        <a:pt x="40" y="130"/>
                      </a:cubicBezTo>
                      <a:cubicBezTo>
                        <a:pt x="40" y="130"/>
                        <a:pt x="40" y="130"/>
                        <a:pt x="40" y="130"/>
                      </a:cubicBezTo>
                      <a:cubicBezTo>
                        <a:pt x="39" y="130"/>
                        <a:pt x="39" y="130"/>
                        <a:pt x="39" y="130"/>
                      </a:cubicBezTo>
                      <a:cubicBezTo>
                        <a:pt x="39" y="131"/>
                        <a:pt x="39" y="131"/>
                        <a:pt x="39" y="131"/>
                      </a:cubicBezTo>
                      <a:cubicBezTo>
                        <a:pt x="38" y="130"/>
                        <a:pt x="38" y="130"/>
                        <a:pt x="38" y="130"/>
                      </a:cubicBezTo>
                      <a:cubicBezTo>
                        <a:pt x="37" y="130"/>
                        <a:pt x="37" y="130"/>
                        <a:pt x="37" y="130"/>
                      </a:cubicBezTo>
                      <a:cubicBezTo>
                        <a:pt x="37" y="130"/>
                        <a:pt x="37" y="130"/>
                        <a:pt x="37" y="130"/>
                      </a:cubicBezTo>
                      <a:cubicBezTo>
                        <a:pt x="37" y="130"/>
                        <a:pt x="37" y="130"/>
                        <a:pt x="37" y="130"/>
                      </a:cubicBezTo>
                      <a:cubicBezTo>
                        <a:pt x="38" y="129"/>
                        <a:pt x="38" y="129"/>
                        <a:pt x="38" y="129"/>
                      </a:cubicBezTo>
                      <a:cubicBezTo>
                        <a:pt x="39" y="129"/>
                        <a:pt x="39" y="129"/>
                        <a:pt x="39" y="129"/>
                      </a:cubicBezTo>
                      <a:cubicBezTo>
                        <a:pt x="39" y="130"/>
                        <a:pt x="39" y="130"/>
                        <a:pt x="39" y="130"/>
                      </a:cubicBezTo>
                      <a:cubicBezTo>
                        <a:pt x="40" y="129"/>
                        <a:pt x="40" y="129"/>
                        <a:pt x="40" y="129"/>
                      </a:cubicBezTo>
                      <a:cubicBezTo>
                        <a:pt x="41" y="129"/>
                        <a:pt x="41" y="129"/>
                        <a:pt x="41" y="129"/>
                      </a:cubicBezTo>
                      <a:cubicBezTo>
                        <a:pt x="41" y="128"/>
                        <a:pt x="41" y="128"/>
                        <a:pt x="41" y="128"/>
                      </a:cubicBezTo>
                      <a:cubicBezTo>
                        <a:pt x="41" y="128"/>
                        <a:pt x="41" y="128"/>
                        <a:pt x="41" y="128"/>
                      </a:cubicBezTo>
                      <a:cubicBezTo>
                        <a:pt x="41" y="127"/>
                        <a:pt x="41" y="127"/>
                        <a:pt x="41" y="127"/>
                      </a:cubicBezTo>
                      <a:cubicBezTo>
                        <a:pt x="42" y="126"/>
                        <a:pt x="42" y="126"/>
                        <a:pt x="42" y="126"/>
                      </a:cubicBezTo>
                      <a:cubicBezTo>
                        <a:pt x="42" y="125"/>
                        <a:pt x="42" y="125"/>
                        <a:pt x="42" y="125"/>
                      </a:cubicBezTo>
                      <a:cubicBezTo>
                        <a:pt x="42" y="124"/>
                        <a:pt x="42" y="124"/>
                        <a:pt x="42" y="124"/>
                      </a:cubicBezTo>
                      <a:cubicBezTo>
                        <a:pt x="42" y="124"/>
                        <a:pt x="42" y="124"/>
                        <a:pt x="42" y="124"/>
                      </a:cubicBezTo>
                      <a:cubicBezTo>
                        <a:pt x="41" y="124"/>
                        <a:pt x="41" y="124"/>
                        <a:pt x="41" y="124"/>
                      </a:cubicBezTo>
                      <a:cubicBezTo>
                        <a:pt x="41" y="124"/>
                        <a:pt x="41" y="124"/>
                        <a:pt x="41" y="124"/>
                      </a:cubicBezTo>
                      <a:cubicBezTo>
                        <a:pt x="40" y="123"/>
                        <a:pt x="40" y="123"/>
                        <a:pt x="40" y="123"/>
                      </a:cubicBezTo>
                      <a:cubicBezTo>
                        <a:pt x="40" y="123"/>
                        <a:pt x="40" y="123"/>
                        <a:pt x="40" y="123"/>
                      </a:cubicBezTo>
                      <a:cubicBezTo>
                        <a:pt x="39" y="123"/>
                        <a:pt x="39" y="123"/>
                        <a:pt x="39" y="123"/>
                      </a:cubicBezTo>
                      <a:cubicBezTo>
                        <a:pt x="39" y="123"/>
                        <a:pt x="39" y="123"/>
                        <a:pt x="39" y="123"/>
                      </a:cubicBezTo>
                      <a:cubicBezTo>
                        <a:pt x="39" y="123"/>
                        <a:pt x="39" y="123"/>
                        <a:pt x="39" y="123"/>
                      </a:cubicBezTo>
                      <a:cubicBezTo>
                        <a:pt x="40" y="123"/>
                        <a:pt x="40" y="123"/>
                        <a:pt x="40" y="123"/>
                      </a:cubicBezTo>
                      <a:cubicBezTo>
                        <a:pt x="41" y="122"/>
                        <a:pt x="41" y="122"/>
                        <a:pt x="41" y="122"/>
                      </a:cubicBezTo>
                      <a:cubicBezTo>
                        <a:pt x="41" y="122"/>
                        <a:pt x="41" y="122"/>
                        <a:pt x="41" y="122"/>
                      </a:cubicBezTo>
                      <a:cubicBezTo>
                        <a:pt x="41" y="121"/>
                        <a:pt x="41" y="121"/>
                        <a:pt x="41" y="121"/>
                      </a:cubicBezTo>
                      <a:cubicBezTo>
                        <a:pt x="42" y="121"/>
                        <a:pt x="42" y="121"/>
                        <a:pt x="42" y="121"/>
                      </a:cubicBezTo>
                      <a:cubicBezTo>
                        <a:pt x="42" y="120"/>
                        <a:pt x="42" y="120"/>
                        <a:pt x="42" y="120"/>
                      </a:cubicBezTo>
                      <a:cubicBezTo>
                        <a:pt x="41" y="120"/>
                        <a:pt x="41" y="120"/>
                        <a:pt x="41" y="120"/>
                      </a:cubicBezTo>
                      <a:cubicBezTo>
                        <a:pt x="41" y="120"/>
                        <a:pt x="41" y="120"/>
                        <a:pt x="41" y="120"/>
                      </a:cubicBezTo>
                      <a:cubicBezTo>
                        <a:pt x="40" y="120"/>
                        <a:pt x="40" y="120"/>
                        <a:pt x="40" y="120"/>
                      </a:cubicBezTo>
                      <a:cubicBezTo>
                        <a:pt x="40" y="119"/>
                        <a:pt x="40" y="119"/>
                        <a:pt x="40" y="119"/>
                      </a:cubicBezTo>
                      <a:cubicBezTo>
                        <a:pt x="41" y="119"/>
                        <a:pt x="41" y="119"/>
                        <a:pt x="41" y="119"/>
                      </a:cubicBezTo>
                      <a:cubicBezTo>
                        <a:pt x="41" y="119"/>
                        <a:pt x="41" y="119"/>
                        <a:pt x="41" y="119"/>
                      </a:cubicBezTo>
                      <a:cubicBezTo>
                        <a:pt x="41" y="118"/>
                        <a:pt x="41" y="118"/>
                        <a:pt x="41" y="118"/>
                      </a:cubicBezTo>
                      <a:cubicBezTo>
                        <a:pt x="40" y="118"/>
                        <a:pt x="40" y="118"/>
                        <a:pt x="40" y="118"/>
                      </a:cubicBezTo>
                      <a:cubicBezTo>
                        <a:pt x="40" y="117"/>
                        <a:pt x="40" y="117"/>
                        <a:pt x="40" y="117"/>
                      </a:cubicBezTo>
                      <a:cubicBezTo>
                        <a:pt x="41" y="117"/>
                        <a:pt x="41" y="117"/>
                        <a:pt x="41" y="117"/>
                      </a:cubicBezTo>
                      <a:cubicBezTo>
                        <a:pt x="41" y="117"/>
                        <a:pt x="41" y="117"/>
                        <a:pt x="41" y="117"/>
                      </a:cubicBezTo>
                      <a:cubicBezTo>
                        <a:pt x="41" y="117"/>
                        <a:pt x="41" y="117"/>
                        <a:pt x="41" y="117"/>
                      </a:cubicBezTo>
                      <a:cubicBezTo>
                        <a:pt x="41" y="116"/>
                        <a:pt x="41" y="116"/>
                        <a:pt x="41" y="116"/>
                      </a:cubicBezTo>
                      <a:cubicBezTo>
                        <a:pt x="41" y="116"/>
                        <a:pt x="41" y="116"/>
                        <a:pt x="41" y="116"/>
                      </a:cubicBezTo>
                      <a:cubicBezTo>
                        <a:pt x="41" y="115"/>
                        <a:pt x="41" y="115"/>
                        <a:pt x="41" y="115"/>
                      </a:cubicBezTo>
                      <a:cubicBezTo>
                        <a:pt x="41" y="114"/>
                        <a:pt x="41" y="114"/>
                        <a:pt x="41" y="114"/>
                      </a:cubicBezTo>
                      <a:cubicBezTo>
                        <a:pt x="41" y="114"/>
                        <a:pt x="41" y="114"/>
                        <a:pt x="41" y="114"/>
                      </a:cubicBezTo>
                      <a:cubicBezTo>
                        <a:pt x="41" y="113"/>
                        <a:pt x="41" y="113"/>
                        <a:pt x="41" y="113"/>
                      </a:cubicBezTo>
                      <a:cubicBezTo>
                        <a:pt x="41" y="113"/>
                        <a:pt x="41" y="113"/>
                        <a:pt x="41" y="113"/>
                      </a:cubicBezTo>
                      <a:cubicBezTo>
                        <a:pt x="41" y="112"/>
                        <a:pt x="41" y="112"/>
                        <a:pt x="41" y="112"/>
                      </a:cubicBezTo>
                      <a:cubicBezTo>
                        <a:pt x="41" y="111"/>
                        <a:pt x="41" y="111"/>
                        <a:pt x="41" y="111"/>
                      </a:cubicBezTo>
                      <a:cubicBezTo>
                        <a:pt x="41" y="111"/>
                        <a:pt x="41" y="111"/>
                        <a:pt x="41" y="111"/>
                      </a:cubicBezTo>
                      <a:cubicBezTo>
                        <a:pt x="40" y="111"/>
                        <a:pt x="40" y="111"/>
                        <a:pt x="40" y="111"/>
                      </a:cubicBezTo>
                      <a:cubicBezTo>
                        <a:pt x="39" y="112"/>
                        <a:pt x="39" y="112"/>
                        <a:pt x="39" y="112"/>
                      </a:cubicBezTo>
                      <a:cubicBezTo>
                        <a:pt x="39" y="112"/>
                        <a:pt x="39" y="112"/>
                        <a:pt x="39" y="112"/>
                      </a:cubicBezTo>
                      <a:cubicBezTo>
                        <a:pt x="39" y="112"/>
                        <a:pt x="39" y="112"/>
                        <a:pt x="39" y="112"/>
                      </a:cubicBezTo>
                      <a:cubicBezTo>
                        <a:pt x="38" y="113"/>
                        <a:pt x="38" y="113"/>
                        <a:pt x="38" y="113"/>
                      </a:cubicBezTo>
                      <a:cubicBezTo>
                        <a:pt x="38" y="112"/>
                        <a:pt x="38" y="112"/>
                        <a:pt x="38" y="112"/>
                      </a:cubicBezTo>
                      <a:cubicBezTo>
                        <a:pt x="38" y="112"/>
                        <a:pt x="38" y="112"/>
                        <a:pt x="38" y="112"/>
                      </a:cubicBezTo>
                      <a:cubicBezTo>
                        <a:pt x="39" y="111"/>
                        <a:pt x="39" y="111"/>
                        <a:pt x="39" y="111"/>
                      </a:cubicBezTo>
                      <a:cubicBezTo>
                        <a:pt x="39" y="111"/>
                        <a:pt x="39" y="111"/>
                        <a:pt x="39" y="111"/>
                      </a:cubicBezTo>
                      <a:cubicBezTo>
                        <a:pt x="40" y="111"/>
                        <a:pt x="40" y="111"/>
                        <a:pt x="40" y="111"/>
                      </a:cubicBezTo>
                      <a:cubicBezTo>
                        <a:pt x="40" y="110"/>
                        <a:pt x="40" y="110"/>
                        <a:pt x="40" y="110"/>
                      </a:cubicBezTo>
                      <a:cubicBezTo>
                        <a:pt x="41" y="110"/>
                        <a:pt x="41" y="110"/>
                        <a:pt x="41" y="110"/>
                      </a:cubicBezTo>
                      <a:cubicBezTo>
                        <a:pt x="42" y="109"/>
                        <a:pt x="42" y="109"/>
                        <a:pt x="42" y="109"/>
                      </a:cubicBezTo>
                      <a:cubicBezTo>
                        <a:pt x="42" y="109"/>
                        <a:pt x="42" y="109"/>
                        <a:pt x="42" y="109"/>
                      </a:cubicBezTo>
                      <a:cubicBezTo>
                        <a:pt x="42" y="108"/>
                        <a:pt x="42" y="108"/>
                        <a:pt x="42" y="108"/>
                      </a:cubicBezTo>
                      <a:cubicBezTo>
                        <a:pt x="41" y="108"/>
                        <a:pt x="41" y="108"/>
                        <a:pt x="41" y="108"/>
                      </a:cubicBezTo>
                      <a:cubicBezTo>
                        <a:pt x="41" y="107"/>
                        <a:pt x="41" y="107"/>
                        <a:pt x="41" y="107"/>
                      </a:cubicBezTo>
                      <a:cubicBezTo>
                        <a:pt x="40" y="106"/>
                        <a:pt x="40" y="106"/>
                        <a:pt x="40" y="106"/>
                      </a:cubicBezTo>
                      <a:cubicBezTo>
                        <a:pt x="40" y="106"/>
                        <a:pt x="40" y="106"/>
                        <a:pt x="40" y="106"/>
                      </a:cubicBezTo>
                      <a:cubicBezTo>
                        <a:pt x="40" y="106"/>
                        <a:pt x="40" y="106"/>
                        <a:pt x="40" y="106"/>
                      </a:cubicBezTo>
                      <a:cubicBezTo>
                        <a:pt x="39" y="106"/>
                        <a:pt x="39" y="106"/>
                        <a:pt x="39" y="106"/>
                      </a:cubicBezTo>
                      <a:cubicBezTo>
                        <a:pt x="39" y="105"/>
                        <a:pt x="39" y="105"/>
                        <a:pt x="39" y="105"/>
                      </a:cubicBezTo>
                      <a:cubicBezTo>
                        <a:pt x="40" y="105"/>
                        <a:pt x="40" y="105"/>
                        <a:pt x="40" y="105"/>
                      </a:cubicBezTo>
                      <a:cubicBezTo>
                        <a:pt x="39" y="104"/>
                        <a:pt x="39" y="104"/>
                        <a:pt x="39" y="104"/>
                      </a:cubicBezTo>
                      <a:cubicBezTo>
                        <a:pt x="39" y="104"/>
                        <a:pt x="39" y="104"/>
                        <a:pt x="39" y="104"/>
                      </a:cubicBezTo>
                      <a:cubicBezTo>
                        <a:pt x="39" y="103"/>
                        <a:pt x="39" y="103"/>
                        <a:pt x="39" y="103"/>
                      </a:cubicBezTo>
                      <a:cubicBezTo>
                        <a:pt x="37" y="102"/>
                        <a:pt x="37" y="102"/>
                        <a:pt x="37" y="102"/>
                      </a:cubicBezTo>
                      <a:cubicBezTo>
                        <a:pt x="37" y="101"/>
                        <a:pt x="37" y="101"/>
                        <a:pt x="37" y="101"/>
                      </a:cubicBezTo>
                      <a:cubicBezTo>
                        <a:pt x="37" y="101"/>
                        <a:pt x="37" y="101"/>
                        <a:pt x="37" y="101"/>
                      </a:cubicBezTo>
                      <a:cubicBezTo>
                        <a:pt x="37" y="100"/>
                        <a:pt x="37" y="100"/>
                        <a:pt x="37" y="100"/>
                      </a:cubicBezTo>
                      <a:cubicBezTo>
                        <a:pt x="37" y="100"/>
                        <a:pt x="37" y="100"/>
                        <a:pt x="37" y="100"/>
                      </a:cubicBezTo>
                      <a:cubicBezTo>
                        <a:pt x="37" y="100"/>
                        <a:pt x="37" y="100"/>
                        <a:pt x="37" y="100"/>
                      </a:cubicBezTo>
                      <a:cubicBezTo>
                        <a:pt x="38" y="99"/>
                        <a:pt x="38" y="99"/>
                        <a:pt x="38" y="99"/>
                      </a:cubicBezTo>
                      <a:cubicBezTo>
                        <a:pt x="39" y="99"/>
                        <a:pt x="39" y="99"/>
                        <a:pt x="39" y="99"/>
                      </a:cubicBezTo>
                      <a:cubicBezTo>
                        <a:pt x="39" y="98"/>
                        <a:pt x="39" y="98"/>
                        <a:pt x="39" y="98"/>
                      </a:cubicBezTo>
                      <a:cubicBezTo>
                        <a:pt x="39" y="98"/>
                        <a:pt x="39" y="98"/>
                        <a:pt x="39" y="98"/>
                      </a:cubicBezTo>
                      <a:cubicBezTo>
                        <a:pt x="38" y="98"/>
                        <a:pt x="38" y="98"/>
                        <a:pt x="38" y="98"/>
                      </a:cubicBezTo>
                      <a:cubicBezTo>
                        <a:pt x="38" y="98"/>
                        <a:pt x="38" y="98"/>
                        <a:pt x="38" y="98"/>
                      </a:cubicBezTo>
                      <a:cubicBezTo>
                        <a:pt x="38" y="98"/>
                        <a:pt x="38" y="98"/>
                        <a:pt x="38" y="98"/>
                      </a:cubicBezTo>
                      <a:cubicBezTo>
                        <a:pt x="39" y="97"/>
                        <a:pt x="39" y="97"/>
                        <a:pt x="39" y="97"/>
                      </a:cubicBezTo>
                      <a:cubicBezTo>
                        <a:pt x="39" y="96"/>
                        <a:pt x="39" y="96"/>
                        <a:pt x="39" y="96"/>
                      </a:cubicBezTo>
                      <a:cubicBezTo>
                        <a:pt x="39" y="96"/>
                        <a:pt x="39" y="96"/>
                        <a:pt x="39" y="96"/>
                      </a:cubicBezTo>
                      <a:cubicBezTo>
                        <a:pt x="39" y="96"/>
                        <a:pt x="39" y="96"/>
                        <a:pt x="39" y="96"/>
                      </a:cubicBezTo>
                      <a:cubicBezTo>
                        <a:pt x="39" y="95"/>
                        <a:pt x="39" y="95"/>
                        <a:pt x="39" y="95"/>
                      </a:cubicBezTo>
                      <a:cubicBezTo>
                        <a:pt x="39" y="95"/>
                        <a:pt x="39" y="95"/>
                        <a:pt x="39" y="95"/>
                      </a:cubicBezTo>
                      <a:cubicBezTo>
                        <a:pt x="38" y="95"/>
                        <a:pt x="38" y="95"/>
                        <a:pt x="38" y="95"/>
                      </a:cubicBezTo>
                      <a:cubicBezTo>
                        <a:pt x="38" y="94"/>
                        <a:pt x="38" y="94"/>
                        <a:pt x="38" y="94"/>
                      </a:cubicBezTo>
                      <a:cubicBezTo>
                        <a:pt x="37" y="93"/>
                        <a:pt x="37" y="93"/>
                        <a:pt x="37" y="93"/>
                      </a:cubicBezTo>
                      <a:cubicBezTo>
                        <a:pt x="36" y="92"/>
                        <a:pt x="36" y="92"/>
                        <a:pt x="36" y="92"/>
                      </a:cubicBezTo>
                      <a:cubicBezTo>
                        <a:pt x="36" y="92"/>
                        <a:pt x="36" y="92"/>
                        <a:pt x="36" y="92"/>
                      </a:cubicBezTo>
                      <a:cubicBezTo>
                        <a:pt x="36" y="92"/>
                        <a:pt x="36" y="92"/>
                        <a:pt x="36" y="92"/>
                      </a:cubicBezTo>
                      <a:cubicBezTo>
                        <a:pt x="36" y="93"/>
                        <a:pt x="36" y="93"/>
                        <a:pt x="36" y="93"/>
                      </a:cubicBezTo>
                      <a:cubicBezTo>
                        <a:pt x="35" y="93"/>
                        <a:pt x="35" y="93"/>
                        <a:pt x="35" y="93"/>
                      </a:cubicBezTo>
                      <a:cubicBezTo>
                        <a:pt x="35" y="92"/>
                        <a:pt x="35" y="92"/>
                        <a:pt x="35" y="92"/>
                      </a:cubicBezTo>
                      <a:cubicBezTo>
                        <a:pt x="35" y="92"/>
                        <a:pt x="35" y="92"/>
                        <a:pt x="35" y="92"/>
                      </a:cubicBezTo>
                      <a:cubicBezTo>
                        <a:pt x="34" y="91"/>
                        <a:pt x="34" y="91"/>
                        <a:pt x="34" y="91"/>
                      </a:cubicBezTo>
                      <a:cubicBezTo>
                        <a:pt x="34" y="91"/>
                        <a:pt x="34" y="91"/>
                        <a:pt x="34" y="91"/>
                      </a:cubicBezTo>
                      <a:cubicBezTo>
                        <a:pt x="33" y="91"/>
                        <a:pt x="33" y="91"/>
                        <a:pt x="33" y="91"/>
                      </a:cubicBezTo>
                      <a:cubicBezTo>
                        <a:pt x="33" y="90"/>
                        <a:pt x="33" y="90"/>
                        <a:pt x="33" y="90"/>
                      </a:cubicBezTo>
                      <a:cubicBezTo>
                        <a:pt x="33" y="91"/>
                        <a:pt x="33" y="91"/>
                        <a:pt x="33" y="91"/>
                      </a:cubicBezTo>
                      <a:cubicBezTo>
                        <a:pt x="32" y="91"/>
                        <a:pt x="32" y="91"/>
                        <a:pt x="32" y="91"/>
                      </a:cubicBezTo>
                      <a:cubicBezTo>
                        <a:pt x="32" y="90"/>
                        <a:pt x="32" y="90"/>
                        <a:pt x="32" y="90"/>
                      </a:cubicBezTo>
                      <a:cubicBezTo>
                        <a:pt x="32" y="90"/>
                        <a:pt x="32" y="90"/>
                        <a:pt x="32" y="90"/>
                      </a:cubicBezTo>
                      <a:cubicBezTo>
                        <a:pt x="31" y="89"/>
                        <a:pt x="31" y="89"/>
                        <a:pt x="31" y="89"/>
                      </a:cubicBezTo>
                      <a:cubicBezTo>
                        <a:pt x="30" y="88"/>
                        <a:pt x="30" y="88"/>
                        <a:pt x="30" y="88"/>
                      </a:cubicBezTo>
                      <a:cubicBezTo>
                        <a:pt x="30" y="88"/>
                        <a:pt x="30" y="88"/>
                        <a:pt x="30" y="88"/>
                      </a:cubicBezTo>
                      <a:cubicBezTo>
                        <a:pt x="29" y="89"/>
                        <a:pt x="29" y="89"/>
                        <a:pt x="29" y="89"/>
                      </a:cubicBezTo>
                      <a:cubicBezTo>
                        <a:pt x="29" y="88"/>
                        <a:pt x="29" y="88"/>
                        <a:pt x="29" y="88"/>
                      </a:cubicBezTo>
                      <a:cubicBezTo>
                        <a:pt x="27" y="87"/>
                        <a:pt x="27" y="87"/>
                        <a:pt x="27" y="87"/>
                      </a:cubicBezTo>
                      <a:cubicBezTo>
                        <a:pt x="26" y="87"/>
                        <a:pt x="26" y="87"/>
                        <a:pt x="26" y="87"/>
                      </a:cubicBezTo>
                      <a:cubicBezTo>
                        <a:pt x="26" y="86"/>
                        <a:pt x="26" y="86"/>
                        <a:pt x="26" y="86"/>
                      </a:cubicBezTo>
                      <a:cubicBezTo>
                        <a:pt x="25" y="86"/>
                        <a:pt x="25" y="86"/>
                        <a:pt x="25" y="86"/>
                      </a:cubicBezTo>
                      <a:cubicBezTo>
                        <a:pt x="24" y="86"/>
                        <a:pt x="24" y="86"/>
                        <a:pt x="24" y="86"/>
                      </a:cubicBezTo>
                      <a:cubicBezTo>
                        <a:pt x="23" y="87"/>
                        <a:pt x="23" y="87"/>
                        <a:pt x="23" y="87"/>
                      </a:cubicBezTo>
                      <a:cubicBezTo>
                        <a:pt x="23" y="88"/>
                        <a:pt x="23" y="88"/>
                        <a:pt x="23" y="88"/>
                      </a:cubicBezTo>
                      <a:cubicBezTo>
                        <a:pt x="22" y="88"/>
                        <a:pt x="22" y="88"/>
                        <a:pt x="22" y="88"/>
                      </a:cubicBezTo>
                      <a:cubicBezTo>
                        <a:pt x="21" y="89"/>
                        <a:pt x="21" y="89"/>
                        <a:pt x="21" y="89"/>
                      </a:cubicBezTo>
                      <a:cubicBezTo>
                        <a:pt x="21" y="88"/>
                        <a:pt x="21" y="88"/>
                        <a:pt x="21" y="88"/>
                      </a:cubicBezTo>
                      <a:cubicBezTo>
                        <a:pt x="22" y="87"/>
                        <a:pt x="22" y="87"/>
                        <a:pt x="22" y="87"/>
                      </a:cubicBezTo>
                      <a:cubicBezTo>
                        <a:pt x="22" y="86"/>
                        <a:pt x="22" y="86"/>
                        <a:pt x="22" y="86"/>
                      </a:cubicBezTo>
                      <a:cubicBezTo>
                        <a:pt x="21" y="86"/>
                        <a:pt x="21" y="86"/>
                        <a:pt x="21" y="86"/>
                      </a:cubicBezTo>
                      <a:cubicBezTo>
                        <a:pt x="21" y="86"/>
                        <a:pt x="21" y="86"/>
                        <a:pt x="21" y="86"/>
                      </a:cubicBezTo>
                      <a:cubicBezTo>
                        <a:pt x="20" y="87"/>
                        <a:pt x="20" y="87"/>
                        <a:pt x="20" y="87"/>
                      </a:cubicBezTo>
                      <a:cubicBezTo>
                        <a:pt x="20" y="87"/>
                        <a:pt x="20" y="87"/>
                        <a:pt x="20" y="87"/>
                      </a:cubicBezTo>
                      <a:cubicBezTo>
                        <a:pt x="19" y="87"/>
                        <a:pt x="19" y="87"/>
                        <a:pt x="19" y="87"/>
                      </a:cubicBezTo>
                      <a:cubicBezTo>
                        <a:pt x="19" y="87"/>
                        <a:pt x="19" y="87"/>
                        <a:pt x="19" y="87"/>
                      </a:cubicBezTo>
                      <a:cubicBezTo>
                        <a:pt x="18" y="86"/>
                        <a:pt x="18" y="86"/>
                        <a:pt x="18" y="86"/>
                      </a:cubicBezTo>
                      <a:cubicBezTo>
                        <a:pt x="18" y="86"/>
                        <a:pt x="18" y="86"/>
                        <a:pt x="18" y="86"/>
                      </a:cubicBezTo>
                      <a:cubicBezTo>
                        <a:pt x="18" y="86"/>
                        <a:pt x="18" y="86"/>
                        <a:pt x="18" y="86"/>
                      </a:cubicBezTo>
                      <a:cubicBezTo>
                        <a:pt x="17" y="88"/>
                        <a:pt x="17" y="88"/>
                        <a:pt x="17" y="88"/>
                      </a:cubicBezTo>
                      <a:cubicBezTo>
                        <a:pt x="17" y="88"/>
                        <a:pt x="17" y="88"/>
                        <a:pt x="17" y="88"/>
                      </a:cubicBezTo>
                      <a:cubicBezTo>
                        <a:pt x="16" y="88"/>
                        <a:pt x="16" y="88"/>
                        <a:pt x="16" y="88"/>
                      </a:cubicBezTo>
                      <a:cubicBezTo>
                        <a:pt x="16" y="87"/>
                        <a:pt x="16" y="87"/>
                        <a:pt x="16" y="87"/>
                      </a:cubicBezTo>
                      <a:cubicBezTo>
                        <a:pt x="17" y="86"/>
                        <a:pt x="17" y="86"/>
                        <a:pt x="17" y="86"/>
                      </a:cubicBezTo>
                      <a:cubicBezTo>
                        <a:pt x="17" y="86"/>
                        <a:pt x="17" y="86"/>
                        <a:pt x="17" y="86"/>
                      </a:cubicBezTo>
                      <a:cubicBezTo>
                        <a:pt x="17" y="85"/>
                        <a:pt x="17" y="85"/>
                        <a:pt x="17" y="85"/>
                      </a:cubicBezTo>
                      <a:cubicBezTo>
                        <a:pt x="17" y="86"/>
                        <a:pt x="17" y="86"/>
                        <a:pt x="17" y="86"/>
                      </a:cubicBezTo>
                      <a:cubicBezTo>
                        <a:pt x="16" y="85"/>
                        <a:pt x="16" y="85"/>
                        <a:pt x="16" y="85"/>
                      </a:cubicBezTo>
                      <a:cubicBezTo>
                        <a:pt x="15" y="86"/>
                        <a:pt x="15" y="86"/>
                        <a:pt x="15" y="86"/>
                      </a:cubicBezTo>
                      <a:cubicBezTo>
                        <a:pt x="15" y="86"/>
                        <a:pt x="15" y="86"/>
                        <a:pt x="15" y="86"/>
                      </a:cubicBezTo>
                      <a:cubicBezTo>
                        <a:pt x="14" y="86"/>
                        <a:pt x="14" y="86"/>
                        <a:pt x="14" y="86"/>
                      </a:cubicBezTo>
                      <a:cubicBezTo>
                        <a:pt x="14" y="86"/>
                        <a:pt x="14" y="86"/>
                        <a:pt x="14" y="86"/>
                      </a:cubicBezTo>
                      <a:cubicBezTo>
                        <a:pt x="14" y="86"/>
                        <a:pt x="14" y="86"/>
                        <a:pt x="14" y="86"/>
                      </a:cubicBezTo>
                      <a:cubicBezTo>
                        <a:pt x="14" y="86"/>
                        <a:pt x="14" y="86"/>
                        <a:pt x="14" y="86"/>
                      </a:cubicBezTo>
                      <a:cubicBezTo>
                        <a:pt x="14" y="85"/>
                        <a:pt x="14" y="85"/>
                        <a:pt x="14" y="85"/>
                      </a:cubicBezTo>
                      <a:cubicBezTo>
                        <a:pt x="13" y="84"/>
                        <a:pt x="13" y="84"/>
                        <a:pt x="13" y="84"/>
                      </a:cubicBezTo>
                      <a:cubicBezTo>
                        <a:pt x="13" y="84"/>
                        <a:pt x="13" y="84"/>
                        <a:pt x="13" y="84"/>
                      </a:cubicBezTo>
                      <a:cubicBezTo>
                        <a:pt x="13" y="84"/>
                        <a:pt x="13" y="84"/>
                        <a:pt x="13" y="84"/>
                      </a:cubicBezTo>
                      <a:cubicBezTo>
                        <a:pt x="13" y="85"/>
                        <a:pt x="13" y="85"/>
                        <a:pt x="13" y="85"/>
                      </a:cubicBezTo>
                      <a:cubicBezTo>
                        <a:pt x="12" y="86"/>
                        <a:pt x="12" y="86"/>
                        <a:pt x="12" y="86"/>
                      </a:cubicBezTo>
                      <a:cubicBezTo>
                        <a:pt x="12" y="86"/>
                        <a:pt x="12" y="86"/>
                        <a:pt x="12" y="86"/>
                      </a:cubicBezTo>
                      <a:cubicBezTo>
                        <a:pt x="12" y="87"/>
                        <a:pt x="12" y="87"/>
                        <a:pt x="12" y="87"/>
                      </a:cubicBezTo>
                      <a:cubicBezTo>
                        <a:pt x="12" y="88"/>
                        <a:pt x="12" y="88"/>
                        <a:pt x="12" y="88"/>
                      </a:cubicBezTo>
                      <a:cubicBezTo>
                        <a:pt x="12" y="88"/>
                        <a:pt x="12" y="88"/>
                        <a:pt x="12" y="88"/>
                      </a:cubicBezTo>
                      <a:cubicBezTo>
                        <a:pt x="12" y="89"/>
                        <a:pt x="12" y="89"/>
                        <a:pt x="12" y="89"/>
                      </a:cubicBezTo>
                      <a:cubicBezTo>
                        <a:pt x="11" y="88"/>
                        <a:pt x="11" y="88"/>
                        <a:pt x="11" y="88"/>
                      </a:cubicBezTo>
                      <a:cubicBezTo>
                        <a:pt x="10" y="87"/>
                        <a:pt x="10" y="87"/>
                        <a:pt x="10" y="87"/>
                      </a:cubicBezTo>
                      <a:cubicBezTo>
                        <a:pt x="9" y="87"/>
                        <a:pt x="9" y="87"/>
                        <a:pt x="9" y="87"/>
                      </a:cubicBezTo>
                      <a:cubicBezTo>
                        <a:pt x="8" y="86"/>
                        <a:pt x="8" y="86"/>
                        <a:pt x="8" y="86"/>
                      </a:cubicBezTo>
                      <a:cubicBezTo>
                        <a:pt x="8" y="86"/>
                        <a:pt x="8" y="86"/>
                        <a:pt x="8" y="86"/>
                      </a:cubicBezTo>
                      <a:cubicBezTo>
                        <a:pt x="7" y="85"/>
                        <a:pt x="7" y="85"/>
                        <a:pt x="7" y="85"/>
                      </a:cubicBezTo>
                      <a:cubicBezTo>
                        <a:pt x="7" y="85"/>
                        <a:pt x="7" y="85"/>
                        <a:pt x="7" y="85"/>
                      </a:cubicBezTo>
                      <a:cubicBezTo>
                        <a:pt x="8" y="85"/>
                        <a:pt x="8" y="85"/>
                        <a:pt x="8" y="85"/>
                      </a:cubicBezTo>
                      <a:cubicBezTo>
                        <a:pt x="7" y="85"/>
                        <a:pt x="7" y="85"/>
                        <a:pt x="7" y="85"/>
                      </a:cubicBezTo>
                      <a:cubicBezTo>
                        <a:pt x="6" y="83"/>
                        <a:pt x="6" y="83"/>
                        <a:pt x="6" y="83"/>
                      </a:cubicBezTo>
                      <a:cubicBezTo>
                        <a:pt x="5" y="83"/>
                        <a:pt x="5" y="83"/>
                        <a:pt x="5" y="83"/>
                      </a:cubicBezTo>
                      <a:cubicBezTo>
                        <a:pt x="5" y="82"/>
                        <a:pt x="5" y="82"/>
                        <a:pt x="5" y="82"/>
                      </a:cubicBezTo>
                      <a:cubicBezTo>
                        <a:pt x="5" y="81"/>
                        <a:pt x="5" y="81"/>
                        <a:pt x="5" y="81"/>
                      </a:cubicBezTo>
                      <a:cubicBezTo>
                        <a:pt x="5" y="81"/>
                        <a:pt x="5" y="81"/>
                        <a:pt x="5" y="81"/>
                      </a:cubicBezTo>
                      <a:cubicBezTo>
                        <a:pt x="6" y="80"/>
                        <a:pt x="6" y="80"/>
                        <a:pt x="6" y="80"/>
                      </a:cubicBezTo>
                      <a:cubicBezTo>
                        <a:pt x="7" y="80"/>
                        <a:pt x="7" y="80"/>
                        <a:pt x="7" y="80"/>
                      </a:cubicBezTo>
                      <a:cubicBezTo>
                        <a:pt x="8" y="80"/>
                        <a:pt x="8" y="80"/>
                        <a:pt x="8" y="80"/>
                      </a:cubicBezTo>
                      <a:cubicBezTo>
                        <a:pt x="9" y="80"/>
                        <a:pt x="9" y="80"/>
                        <a:pt x="9" y="80"/>
                      </a:cubicBezTo>
                      <a:cubicBezTo>
                        <a:pt x="9" y="80"/>
                        <a:pt x="9" y="80"/>
                        <a:pt x="9" y="80"/>
                      </a:cubicBezTo>
                      <a:cubicBezTo>
                        <a:pt x="10" y="80"/>
                        <a:pt x="10" y="80"/>
                        <a:pt x="10" y="80"/>
                      </a:cubicBezTo>
                      <a:cubicBezTo>
                        <a:pt x="10" y="79"/>
                        <a:pt x="10" y="79"/>
                        <a:pt x="10" y="79"/>
                      </a:cubicBezTo>
                      <a:cubicBezTo>
                        <a:pt x="10" y="79"/>
                        <a:pt x="10" y="79"/>
                        <a:pt x="10" y="79"/>
                      </a:cubicBezTo>
                      <a:cubicBezTo>
                        <a:pt x="9" y="79"/>
                        <a:pt x="9" y="79"/>
                        <a:pt x="9" y="79"/>
                      </a:cubicBezTo>
                      <a:cubicBezTo>
                        <a:pt x="8" y="78"/>
                        <a:pt x="8" y="78"/>
                        <a:pt x="8" y="78"/>
                      </a:cubicBezTo>
                      <a:cubicBezTo>
                        <a:pt x="7" y="78"/>
                        <a:pt x="7" y="78"/>
                        <a:pt x="7" y="78"/>
                      </a:cubicBezTo>
                      <a:cubicBezTo>
                        <a:pt x="7" y="79"/>
                        <a:pt x="7" y="79"/>
                        <a:pt x="7" y="79"/>
                      </a:cubicBezTo>
                      <a:cubicBezTo>
                        <a:pt x="6" y="77"/>
                        <a:pt x="6" y="77"/>
                        <a:pt x="6" y="77"/>
                      </a:cubicBezTo>
                      <a:cubicBezTo>
                        <a:pt x="6" y="76"/>
                        <a:pt x="6" y="76"/>
                        <a:pt x="6" y="76"/>
                      </a:cubicBezTo>
                      <a:cubicBezTo>
                        <a:pt x="6" y="76"/>
                        <a:pt x="6" y="76"/>
                        <a:pt x="6" y="76"/>
                      </a:cubicBezTo>
                      <a:cubicBezTo>
                        <a:pt x="7" y="76"/>
                        <a:pt x="7" y="76"/>
                        <a:pt x="7" y="76"/>
                      </a:cubicBezTo>
                      <a:cubicBezTo>
                        <a:pt x="7" y="75"/>
                        <a:pt x="7" y="75"/>
                        <a:pt x="7" y="75"/>
                      </a:cubicBezTo>
                      <a:cubicBezTo>
                        <a:pt x="8" y="74"/>
                        <a:pt x="8" y="74"/>
                        <a:pt x="8" y="74"/>
                      </a:cubicBezTo>
                      <a:cubicBezTo>
                        <a:pt x="7" y="74"/>
                        <a:pt x="7" y="74"/>
                        <a:pt x="7" y="74"/>
                      </a:cubicBezTo>
                      <a:cubicBezTo>
                        <a:pt x="7" y="74"/>
                        <a:pt x="7" y="74"/>
                        <a:pt x="7" y="74"/>
                      </a:cubicBezTo>
                      <a:cubicBezTo>
                        <a:pt x="6" y="75"/>
                        <a:pt x="6" y="75"/>
                        <a:pt x="6" y="75"/>
                      </a:cubicBezTo>
                      <a:cubicBezTo>
                        <a:pt x="5" y="75"/>
                        <a:pt x="5" y="75"/>
                        <a:pt x="5" y="75"/>
                      </a:cubicBezTo>
                      <a:cubicBezTo>
                        <a:pt x="5" y="76"/>
                        <a:pt x="5" y="76"/>
                        <a:pt x="5" y="76"/>
                      </a:cubicBezTo>
                      <a:cubicBezTo>
                        <a:pt x="4" y="76"/>
                        <a:pt x="4" y="76"/>
                        <a:pt x="4" y="76"/>
                      </a:cubicBezTo>
                      <a:cubicBezTo>
                        <a:pt x="3" y="76"/>
                        <a:pt x="3" y="76"/>
                        <a:pt x="3" y="76"/>
                      </a:cubicBezTo>
                      <a:cubicBezTo>
                        <a:pt x="3" y="75"/>
                        <a:pt x="3" y="75"/>
                        <a:pt x="3" y="75"/>
                      </a:cubicBezTo>
                      <a:cubicBezTo>
                        <a:pt x="3" y="74"/>
                        <a:pt x="3" y="74"/>
                        <a:pt x="3" y="74"/>
                      </a:cubicBezTo>
                      <a:cubicBezTo>
                        <a:pt x="4" y="74"/>
                        <a:pt x="4" y="74"/>
                        <a:pt x="4" y="74"/>
                      </a:cubicBezTo>
                      <a:cubicBezTo>
                        <a:pt x="4" y="74"/>
                        <a:pt x="4" y="74"/>
                        <a:pt x="4" y="74"/>
                      </a:cubicBezTo>
                      <a:cubicBezTo>
                        <a:pt x="3" y="74"/>
                        <a:pt x="3" y="74"/>
                        <a:pt x="3" y="74"/>
                      </a:cubicBezTo>
                      <a:cubicBezTo>
                        <a:pt x="3" y="74"/>
                        <a:pt x="3" y="74"/>
                        <a:pt x="3" y="74"/>
                      </a:cubicBezTo>
                      <a:cubicBezTo>
                        <a:pt x="3" y="73"/>
                        <a:pt x="3" y="73"/>
                        <a:pt x="3" y="73"/>
                      </a:cubicBezTo>
                      <a:cubicBezTo>
                        <a:pt x="3" y="73"/>
                        <a:pt x="3" y="73"/>
                        <a:pt x="3" y="73"/>
                      </a:cubicBezTo>
                      <a:cubicBezTo>
                        <a:pt x="3" y="72"/>
                        <a:pt x="3" y="72"/>
                        <a:pt x="3" y="72"/>
                      </a:cubicBezTo>
                      <a:cubicBezTo>
                        <a:pt x="4" y="72"/>
                        <a:pt x="4" y="72"/>
                        <a:pt x="4" y="72"/>
                      </a:cubicBezTo>
                      <a:cubicBezTo>
                        <a:pt x="4" y="72"/>
                        <a:pt x="4" y="72"/>
                        <a:pt x="4" y="72"/>
                      </a:cubicBezTo>
                      <a:cubicBezTo>
                        <a:pt x="5" y="72"/>
                        <a:pt x="5" y="72"/>
                        <a:pt x="5" y="72"/>
                      </a:cubicBezTo>
                      <a:cubicBezTo>
                        <a:pt x="5" y="72"/>
                        <a:pt x="5" y="72"/>
                        <a:pt x="5" y="72"/>
                      </a:cubicBezTo>
                      <a:cubicBezTo>
                        <a:pt x="5" y="71"/>
                        <a:pt x="5" y="71"/>
                        <a:pt x="5" y="71"/>
                      </a:cubicBezTo>
                      <a:cubicBezTo>
                        <a:pt x="7" y="71"/>
                        <a:pt x="7" y="71"/>
                        <a:pt x="7" y="71"/>
                      </a:cubicBezTo>
                      <a:cubicBezTo>
                        <a:pt x="8" y="71"/>
                        <a:pt x="8" y="71"/>
                        <a:pt x="8" y="71"/>
                      </a:cubicBezTo>
                      <a:cubicBezTo>
                        <a:pt x="9" y="72"/>
                        <a:pt x="9" y="72"/>
                        <a:pt x="9" y="72"/>
                      </a:cubicBezTo>
                      <a:cubicBezTo>
                        <a:pt x="11" y="72"/>
                        <a:pt x="11" y="72"/>
                        <a:pt x="11" y="72"/>
                      </a:cubicBezTo>
                      <a:cubicBezTo>
                        <a:pt x="13" y="73"/>
                        <a:pt x="13" y="73"/>
                        <a:pt x="13" y="73"/>
                      </a:cubicBezTo>
                      <a:cubicBezTo>
                        <a:pt x="14" y="73"/>
                        <a:pt x="14" y="73"/>
                        <a:pt x="14" y="73"/>
                      </a:cubicBezTo>
                      <a:cubicBezTo>
                        <a:pt x="15" y="73"/>
                        <a:pt x="15" y="73"/>
                        <a:pt x="15" y="73"/>
                      </a:cubicBezTo>
                      <a:cubicBezTo>
                        <a:pt x="16" y="74"/>
                        <a:pt x="16" y="74"/>
                        <a:pt x="16" y="74"/>
                      </a:cubicBezTo>
                      <a:cubicBezTo>
                        <a:pt x="17" y="74"/>
                        <a:pt x="17" y="74"/>
                        <a:pt x="17" y="74"/>
                      </a:cubicBezTo>
                      <a:cubicBezTo>
                        <a:pt x="18" y="74"/>
                        <a:pt x="18" y="74"/>
                        <a:pt x="18" y="74"/>
                      </a:cubicBezTo>
                      <a:cubicBezTo>
                        <a:pt x="19" y="74"/>
                        <a:pt x="19" y="74"/>
                        <a:pt x="19" y="74"/>
                      </a:cubicBezTo>
                      <a:cubicBezTo>
                        <a:pt x="18" y="73"/>
                        <a:pt x="18" y="73"/>
                        <a:pt x="18" y="73"/>
                      </a:cubicBezTo>
                      <a:cubicBezTo>
                        <a:pt x="17" y="73"/>
                        <a:pt x="17" y="73"/>
                        <a:pt x="17" y="73"/>
                      </a:cubicBezTo>
                      <a:cubicBezTo>
                        <a:pt x="16" y="73"/>
                        <a:pt x="16" y="73"/>
                        <a:pt x="16" y="73"/>
                      </a:cubicBezTo>
                      <a:cubicBezTo>
                        <a:pt x="14" y="72"/>
                        <a:pt x="14" y="72"/>
                        <a:pt x="14" y="72"/>
                      </a:cubicBezTo>
                      <a:cubicBezTo>
                        <a:pt x="13" y="72"/>
                        <a:pt x="13" y="72"/>
                        <a:pt x="13" y="72"/>
                      </a:cubicBezTo>
                      <a:cubicBezTo>
                        <a:pt x="12" y="72"/>
                        <a:pt x="12" y="72"/>
                        <a:pt x="12" y="72"/>
                      </a:cubicBezTo>
                      <a:cubicBezTo>
                        <a:pt x="11" y="71"/>
                        <a:pt x="11" y="71"/>
                        <a:pt x="11" y="71"/>
                      </a:cubicBezTo>
                      <a:cubicBezTo>
                        <a:pt x="11" y="71"/>
                        <a:pt x="11" y="71"/>
                        <a:pt x="11" y="71"/>
                      </a:cubicBezTo>
                      <a:cubicBezTo>
                        <a:pt x="13" y="70"/>
                        <a:pt x="13" y="70"/>
                        <a:pt x="13" y="70"/>
                      </a:cubicBezTo>
                      <a:cubicBezTo>
                        <a:pt x="14" y="70"/>
                        <a:pt x="14" y="70"/>
                        <a:pt x="14" y="70"/>
                      </a:cubicBezTo>
                      <a:cubicBezTo>
                        <a:pt x="16" y="70"/>
                        <a:pt x="16" y="70"/>
                        <a:pt x="16" y="70"/>
                      </a:cubicBezTo>
                      <a:cubicBezTo>
                        <a:pt x="18" y="71"/>
                        <a:pt x="18" y="71"/>
                        <a:pt x="18" y="71"/>
                      </a:cubicBezTo>
                      <a:cubicBezTo>
                        <a:pt x="18" y="72"/>
                        <a:pt x="18" y="72"/>
                        <a:pt x="18" y="72"/>
                      </a:cubicBezTo>
                      <a:cubicBezTo>
                        <a:pt x="19" y="72"/>
                        <a:pt x="19" y="72"/>
                        <a:pt x="19" y="72"/>
                      </a:cubicBezTo>
                      <a:cubicBezTo>
                        <a:pt x="19" y="72"/>
                        <a:pt x="19" y="72"/>
                        <a:pt x="19" y="72"/>
                      </a:cubicBezTo>
                      <a:cubicBezTo>
                        <a:pt x="20" y="72"/>
                        <a:pt x="20" y="72"/>
                        <a:pt x="20" y="72"/>
                      </a:cubicBezTo>
                      <a:cubicBezTo>
                        <a:pt x="20" y="72"/>
                        <a:pt x="20" y="72"/>
                        <a:pt x="20" y="72"/>
                      </a:cubicBezTo>
                      <a:cubicBezTo>
                        <a:pt x="20" y="72"/>
                        <a:pt x="20" y="72"/>
                        <a:pt x="20" y="72"/>
                      </a:cubicBezTo>
                      <a:cubicBezTo>
                        <a:pt x="20" y="71"/>
                        <a:pt x="20" y="71"/>
                        <a:pt x="20" y="71"/>
                      </a:cubicBezTo>
                      <a:cubicBezTo>
                        <a:pt x="21" y="70"/>
                        <a:pt x="21" y="70"/>
                        <a:pt x="21" y="70"/>
                      </a:cubicBezTo>
                      <a:cubicBezTo>
                        <a:pt x="21" y="70"/>
                        <a:pt x="21" y="70"/>
                        <a:pt x="21" y="70"/>
                      </a:cubicBezTo>
                      <a:cubicBezTo>
                        <a:pt x="21" y="69"/>
                        <a:pt x="21" y="69"/>
                        <a:pt x="21" y="69"/>
                      </a:cubicBezTo>
                      <a:cubicBezTo>
                        <a:pt x="20" y="69"/>
                        <a:pt x="20" y="69"/>
                        <a:pt x="20" y="69"/>
                      </a:cubicBezTo>
                      <a:cubicBezTo>
                        <a:pt x="20" y="69"/>
                        <a:pt x="20" y="69"/>
                        <a:pt x="20" y="69"/>
                      </a:cubicBezTo>
                      <a:cubicBezTo>
                        <a:pt x="19" y="69"/>
                        <a:pt x="19" y="69"/>
                        <a:pt x="19" y="69"/>
                      </a:cubicBezTo>
                      <a:cubicBezTo>
                        <a:pt x="20" y="68"/>
                        <a:pt x="20" y="68"/>
                        <a:pt x="20" y="68"/>
                      </a:cubicBezTo>
                      <a:cubicBezTo>
                        <a:pt x="19" y="68"/>
                        <a:pt x="19" y="68"/>
                        <a:pt x="19" y="68"/>
                      </a:cubicBezTo>
                      <a:cubicBezTo>
                        <a:pt x="18" y="68"/>
                        <a:pt x="18" y="68"/>
                        <a:pt x="18" y="68"/>
                      </a:cubicBezTo>
                      <a:cubicBezTo>
                        <a:pt x="18" y="69"/>
                        <a:pt x="18" y="69"/>
                        <a:pt x="18" y="69"/>
                      </a:cubicBezTo>
                      <a:cubicBezTo>
                        <a:pt x="17" y="69"/>
                        <a:pt x="17" y="69"/>
                        <a:pt x="17" y="69"/>
                      </a:cubicBezTo>
                      <a:cubicBezTo>
                        <a:pt x="15" y="68"/>
                        <a:pt x="15" y="68"/>
                        <a:pt x="15" y="68"/>
                      </a:cubicBezTo>
                      <a:cubicBezTo>
                        <a:pt x="14" y="68"/>
                        <a:pt x="14" y="68"/>
                        <a:pt x="14" y="68"/>
                      </a:cubicBezTo>
                      <a:cubicBezTo>
                        <a:pt x="14" y="68"/>
                        <a:pt x="14" y="68"/>
                        <a:pt x="14" y="68"/>
                      </a:cubicBezTo>
                      <a:cubicBezTo>
                        <a:pt x="14" y="67"/>
                        <a:pt x="14" y="67"/>
                        <a:pt x="14" y="67"/>
                      </a:cubicBezTo>
                      <a:cubicBezTo>
                        <a:pt x="13" y="67"/>
                        <a:pt x="13" y="67"/>
                        <a:pt x="13" y="67"/>
                      </a:cubicBezTo>
                      <a:cubicBezTo>
                        <a:pt x="13" y="67"/>
                        <a:pt x="13" y="67"/>
                        <a:pt x="13" y="67"/>
                      </a:cubicBezTo>
                      <a:cubicBezTo>
                        <a:pt x="13" y="67"/>
                        <a:pt x="13" y="67"/>
                        <a:pt x="13" y="67"/>
                      </a:cubicBezTo>
                      <a:cubicBezTo>
                        <a:pt x="13" y="67"/>
                        <a:pt x="13" y="67"/>
                        <a:pt x="13" y="67"/>
                      </a:cubicBezTo>
                      <a:cubicBezTo>
                        <a:pt x="13" y="68"/>
                        <a:pt x="13" y="68"/>
                        <a:pt x="13" y="68"/>
                      </a:cubicBezTo>
                      <a:cubicBezTo>
                        <a:pt x="13" y="68"/>
                        <a:pt x="13" y="68"/>
                        <a:pt x="13" y="68"/>
                      </a:cubicBezTo>
                      <a:cubicBezTo>
                        <a:pt x="13" y="69"/>
                        <a:pt x="13" y="69"/>
                        <a:pt x="13" y="69"/>
                      </a:cubicBezTo>
                      <a:cubicBezTo>
                        <a:pt x="11" y="69"/>
                        <a:pt x="11" y="69"/>
                        <a:pt x="11" y="69"/>
                      </a:cubicBezTo>
                      <a:cubicBezTo>
                        <a:pt x="10" y="69"/>
                        <a:pt x="10" y="69"/>
                        <a:pt x="10" y="69"/>
                      </a:cubicBezTo>
                      <a:cubicBezTo>
                        <a:pt x="9" y="67"/>
                        <a:pt x="9" y="67"/>
                        <a:pt x="9" y="67"/>
                      </a:cubicBezTo>
                      <a:cubicBezTo>
                        <a:pt x="9" y="67"/>
                        <a:pt x="9" y="67"/>
                        <a:pt x="9" y="67"/>
                      </a:cubicBezTo>
                      <a:cubicBezTo>
                        <a:pt x="10" y="67"/>
                        <a:pt x="10" y="67"/>
                        <a:pt x="10" y="67"/>
                      </a:cubicBezTo>
                      <a:cubicBezTo>
                        <a:pt x="12" y="66"/>
                        <a:pt x="12" y="66"/>
                        <a:pt x="12" y="66"/>
                      </a:cubicBezTo>
                      <a:cubicBezTo>
                        <a:pt x="11" y="66"/>
                        <a:pt x="11" y="66"/>
                        <a:pt x="11" y="66"/>
                      </a:cubicBezTo>
                      <a:cubicBezTo>
                        <a:pt x="11" y="66"/>
                        <a:pt x="11" y="66"/>
                        <a:pt x="11" y="66"/>
                      </a:cubicBezTo>
                      <a:cubicBezTo>
                        <a:pt x="10" y="66"/>
                        <a:pt x="10" y="66"/>
                        <a:pt x="10" y="66"/>
                      </a:cubicBezTo>
                      <a:cubicBezTo>
                        <a:pt x="9" y="66"/>
                        <a:pt x="9" y="66"/>
                        <a:pt x="9" y="66"/>
                      </a:cubicBezTo>
                      <a:cubicBezTo>
                        <a:pt x="8" y="66"/>
                        <a:pt x="8" y="66"/>
                        <a:pt x="8" y="66"/>
                      </a:cubicBezTo>
                      <a:cubicBezTo>
                        <a:pt x="8" y="65"/>
                        <a:pt x="8" y="65"/>
                        <a:pt x="8" y="65"/>
                      </a:cubicBezTo>
                      <a:cubicBezTo>
                        <a:pt x="9" y="65"/>
                        <a:pt x="9" y="65"/>
                        <a:pt x="9" y="65"/>
                      </a:cubicBezTo>
                      <a:cubicBezTo>
                        <a:pt x="9" y="65"/>
                        <a:pt x="9" y="65"/>
                        <a:pt x="9" y="65"/>
                      </a:cubicBezTo>
                      <a:cubicBezTo>
                        <a:pt x="10" y="64"/>
                        <a:pt x="10" y="64"/>
                        <a:pt x="10" y="64"/>
                      </a:cubicBezTo>
                      <a:cubicBezTo>
                        <a:pt x="11" y="63"/>
                        <a:pt x="11" y="63"/>
                        <a:pt x="11" y="63"/>
                      </a:cubicBezTo>
                      <a:cubicBezTo>
                        <a:pt x="11" y="63"/>
                        <a:pt x="11" y="63"/>
                        <a:pt x="11" y="63"/>
                      </a:cubicBezTo>
                      <a:cubicBezTo>
                        <a:pt x="10" y="63"/>
                        <a:pt x="10" y="63"/>
                        <a:pt x="10" y="63"/>
                      </a:cubicBezTo>
                      <a:cubicBezTo>
                        <a:pt x="10" y="63"/>
                        <a:pt x="10" y="63"/>
                        <a:pt x="10" y="63"/>
                      </a:cubicBezTo>
                      <a:cubicBezTo>
                        <a:pt x="10" y="64"/>
                        <a:pt x="10" y="64"/>
                        <a:pt x="10" y="64"/>
                      </a:cubicBezTo>
                      <a:cubicBezTo>
                        <a:pt x="9" y="64"/>
                        <a:pt x="9" y="64"/>
                        <a:pt x="9" y="64"/>
                      </a:cubicBezTo>
                      <a:cubicBezTo>
                        <a:pt x="8" y="64"/>
                        <a:pt x="8" y="64"/>
                        <a:pt x="8" y="64"/>
                      </a:cubicBezTo>
                      <a:cubicBezTo>
                        <a:pt x="7" y="64"/>
                        <a:pt x="7" y="64"/>
                        <a:pt x="7" y="64"/>
                      </a:cubicBezTo>
                      <a:cubicBezTo>
                        <a:pt x="6" y="64"/>
                        <a:pt x="6" y="64"/>
                        <a:pt x="6" y="64"/>
                      </a:cubicBezTo>
                      <a:cubicBezTo>
                        <a:pt x="7" y="63"/>
                        <a:pt x="7" y="63"/>
                        <a:pt x="7" y="63"/>
                      </a:cubicBezTo>
                      <a:cubicBezTo>
                        <a:pt x="7" y="63"/>
                        <a:pt x="7" y="63"/>
                        <a:pt x="7" y="63"/>
                      </a:cubicBezTo>
                      <a:cubicBezTo>
                        <a:pt x="8" y="62"/>
                        <a:pt x="8" y="62"/>
                        <a:pt x="8" y="62"/>
                      </a:cubicBezTo>
                      <a:cubicBezTo>
                        <a:pt x="7" y="62"/>
                        <a:pt x="7" y="62"/>
                        <a:pt x="7" y="62"/>
                      </a:cubicBezTo>
                      <a:cubicBezTo>
                        <a:pt x="7" y="62"/>
                        <a:pt x="7" y="62"/>
                        <a:pt x="7" y="62"/>
                      </a:cubicBezTo>
                      <a:cubicBezTo>
                        <a:pt x="6" y="62"/>
                        <a:pt x="6" y="62"/>
                        <a:pt x="6" y="62"/>
                      </a:cubicBezTo>
                      <a:cubicBezTo>
                        <a:pt x="6" y="61"/>
                        <a:pt x="6" y="61"/>
                        <a:pt x="6" y="61"/>
                      </a:cubicBezTo>
                      <a:cubicBezTo>
                        <a:pt x="5" y="60"/>
                        <a:pt x="5" y="60"/>
                        <a:pt x="5" y="60"/>
                      </a:cubicBezTo>
                      <a:cubicBezTo>
                        <a:pt x="4" y="59"/>
                        <a:pt x="4" y="59"/>
                        <a:pt x="4" y="59"/>
                      </a:cubicBezTo>
                      <a:cubicBezTo>
                        <a:pt x="3" y="59"/>
                        <a:pt x="3" y="59"/>
                        <a:pt x="3" y="59"/>
                      </a:cubicBezTo>
                      <a:cubicBezTo>
                        <a:pt x="3" y="58"/>
                        <a:pt x="3" y="58"/>
                        <a:pt x="3" y="58"/>
                      </a:cubicBezTo>
                      <a:cubicBezTo>
                        <a:pt x="4" y="58"/>
                        <a:pt x="4" y="58"/>
                        <a:pt x="4" y="58"/>
                      </a:cubicBezTo>
                      <a:cubicBezTo>
                        <a:pt x="4" y="58"/>
                        <a:pt x="4" y="58"/>
                        <a:pt x="4" y="58"/>
                      </a:cubicBezTo>
                      <a:cubicBezTo>
                        <a:pt x="5" y="57"/>
                        <a:pt x="5" y="57"/>
                        <a:pt x="5" y="57"/>
                      </a:cubicBezTo>
                      <a:cubicBezTo>
                        <a:pt x="5" y="57"/>
                        <a:pt x="5" y="57"/>
                        <a:pt x="5" y="57"/>
                      </a:cubicBezTo>
                      <a:cubicBezTo>
                        <a:pt x="5" y="57"/>
                        <a:pt x="5" y="57"/>
                        <a:pt x="5" y="57"/>
                      </a:cubicBezTo>
                      <a:cubicBezTo>
                        <a:pt x="6" y="57"/>
                        <a:pt x="6" y="57"/>
                        <a:pt x="6" y="57"/>
                      </a:cubicBezTo>
                      <a:cubicBezTo>
                        <a:pt x="6" y="57"/>
                        <a:pt x="6" y="57"/>
                        <a:pt x="6" y="57"/>
                      </a:cubicBezTo>
                      <a:cubicBezTo>
                        <a:pt x="5" y="56"/>
                        <a:pt x="5" y="56"/>
                        <a:pt x="5" y="56"/>
                      </a:cubicBezTo>
                      <a:cubicBezTo>
                        <a:pt x="5" y="56"/>
                        <a:pt x="5" y="56"/>
                        <a:pt x="5" y="56"/>
                      </a:cubicBezTo>
                      <a:cubicBezTo>
                        <a:pt x="4" y="56"/>
                        <a:pt x="4" y="56"/>
                        <a:pt x="4" y="56"/>
                      </a:cubicBezTo>
                      <a:cubicBezTo>
                        <a:pt x="5" y="56"/>
                        <a:pt x="5" y="56"/>
                        <a:pt x="5" y="56"/>
                      </a:cubicBezTo>
                      <a:cubicBezTo>
                        <a:pt x="5" y="56"/>
                        <a:pt x="5" y="56"/>
                        <a:pt x="5" y="56"/>
                      </a:cubicBezTo>
                      <a:cubicBezTo>
                        <a:pt x="7" y="55"/>
                        <a:pt x="7" y="55"/>
                        <a:pt x="7" y="55"/>
                      </a:cubicBezTo>
                      <a:cubicBezTo>
                        <a:pt x="7" y="55"/>
                        <a:pt x="7" y="55"/>
                        <a:pt x="7" y="55"/>
                      </a:cubicBezTo>
                      <a:cubicBezTo>
                        <a:pt x="7" y="54"/>
                        <a:pt x="7" y="54"/>
                        <a:pt x="7" y="54"/>
                      </a:cubicBezTo>
                      <a:cubicBezTo>
                        <a:pt x="8" y="54"/>
                        <a:pt x="8" y="54"/>
                        <a:pt x="8" y="54"/>
                      </a:cubicBezTo>
                      <a:cubicBezTo>
                        <a:pt x="8" y="54"/>
                        <a:pt x="8" y="54"/>
                        <a:pt x="8" y="54"/>
                      </a:cubicBezTo>
                      <a:cubicBezTo>
                        <a:pt x="9" y="54"/>
                        <a:pt x="9" y="54"/>
                        <a:pt x="9" y="54"/>
                      </a:cubicBezTo>
                      <a:cubicBezTo>
                        <a:pt x="9" y="54"/>
                        <a:pt x="9" y="54"/>
                        <a:pt x="9" y="54"/>
                      </a:cubicBezTo>
                      <a:cubicBezTo>
                        <a:pt x="10" y="54"/>
                        <a:pt x="10" y="54"/>
                        <a:pt x="10" y="54"/>
                      </a:cubicBezTo>
                      <a:cubicBezTo>
                        <a:pt x="11" y="53"/>
                        <a:pt x="11" y="53"/>
                        <a:pt x="11" y="53"/>
                      </a:cubicBezTo>
                      <a:cubicBezTo>
                        <a:pt x="11" y="53"/>
                        <a:pt x="11" y="53"/>
                        <a:pt x="11" y="53"/>
                      </a:cubicBezTo>
                      <a:cubicBezTo>
                        <a:pt x="12" y="54"/>
                        <a:pt x="12" y="54"/>
                        <a:pt x="12" y="54"/>
                      </a:cubicBezTo>
                      <a:cubicBezTo>
                        <a:pt x="12" y="54"/>
                        <a:pt x="12" y="54"/>
                        <a:pt x="12" y="54"/>
                      </a:cubicBezTo>
                      <a:cubicBezTo>
                        <a:pt x="12" y="54"/>
                        <a:pt x="12" y="54"/>
                        <a:pt x="12" y="54"/>
                      </a:cubicBezTo>
                      <a:cubicBezTo>
                        <a:pt x="13" y="54"/>
                        <a:pt x="13" y="54"/>
                        <a:pt x="13" y="54"/>
                      </a:cubicBezTo>
                      <a:cubicBezTo>
                        <a:pt x="13" y="53"/>
                        <a:pt x="13" y="53"/>
                        <a:pt x="13" y="53"/>
                      </a:cubicBezTo>
                      <a:cubicBezTo>
                        <a:pt x="14" y="53"/>
                        <a:pt x="14" y="53"/>
                        <a:pt x="14" y="53"/>
                      </a:cubicBezTo>
                      <a:cubicBezTo>
                        <a:pt x="14" y="53"/>
                        <a:pt x="14" y="53"/>
                        <a:pt x="14" y="53"/>
                      </a:cubicBezTo>
                      <a:cubicBezTo>
                        <a:pt x="14" y="53"/>
                        <a:pt x="14" y="53"/>
                        <a:pt x="14" y="53"/>
                      </a:cubicBezTo>
                      <a:cubicBezTo>
                        <a:pt x="15" y="53"/>
                        <a:pt x="15" y="53"/>
                        <a:pt x="15" y="53"/>
                      </a:cubicBezTo>
                      <a:cubicBezTo>
                        <a:pt x="15" y="53"/>
                        <a:pt x="15" y="53"/>
                        <a:pt x="15" y="53"/>
                      </a:cubicBezTo>
                      <a:cubicBezTo>
                        <a:pt x="16" y="53"/>
                        <a:pt x="16" y="53"/>
                        <a:pt x="16" y="53"/>
                      </a:cubicBezTo>
                      <a:cubicBezTo>
                        <a:pt x="20" y="52"/>
                        <a:pt x="20" y="52"/>
                        <a:pt x="20" y="52"/>
                      </a:cubicBezTo>
                      <a:cubicBezTo>
                        <a:pt x="20" y="52"/>
                        <a:pt x="20" y="52"/>
                        <a:pt x="20" y="52"/>
                      </a:cubicBezTo>
                      <a:cubicBezTo>
                        <a:pt x="21" y="52"/>
                        <a:pt x="21" y="52"/>
                        <a:pt x="21" y="52"/>
                      </a:cubicBezTo>
                      <a:cubicBezTo>
                        <a:pt x="21" y="52"/>
                        <a:pt x="21" y="52"/>
                        <a:pt x="21" y="52"/>
                      </a:cubicBezTo>
                      <a:cubicBezTo>
                        <a:pt x="20" y="51"/>
                        <a:pt x="20" y="51"/>
                        <a:pt x="20" y="51"/>
                      </a:cubicBezTo>
                      <a:cubicBezTo>
                        <a:pt x="21" y="51"/>
                        <a:pt x="21" y="51"/>
                        <a:pt x="21" y="51"/>
                      </a:cubicBezTo>
                      <a:cubicBezTo>
                        <a:pt x="22" y="50"/>
                        <a:pt x="22" y="50"/>
                        <a:pt x="22" y="50"/>
                      </a:cubicBezTo>
                      <a:cubicBezTo>
                        <a:pt x="23" y="50"/>
                        <a:pt x="23" y="50"/>
                        <a:pt x="23" y="50"/>
                      </a:cubicBezTo>
                      <a:cubicBezTo>
                        <a:pt x="24" y="50"/>
                        <a:pt x="24" y="50"/>
                        <a:pt x="24" y="50"/>
                      </a:cubicBezTo>
                      <a:cubicBezTo>
                        <a:pt x="25" y="51"/>
                        <a:pt x="25" y="51"/>
                        <a:pt x="25" y="51"/>
                      </a:cubicBezTo>
                      <a:cubicBezTo>
                        <a:pt x="26" y="51"/>
                        <a:pt x="26" y="51"/>
                        <a:pt x="26" y="51"/>
                      </a:cubicBezTo>
                      <a:cubicBezTo>
                        <a:pt x="27" y="50"/>
                        <a:pt x="27" y="50"/>
                        <a:pt x="27" y="50"/>
                      </a:cubicBezTo>
                      <a:cubicBezTo>
                        <a:pt x="28" y="50"/>
                        <a:pt x="28" y="50"/>
                        <a:pt x="28" y="50"/>
                      </a:cubicBezTo>
                      <a:cubicBezTo>
                        <a:pt x="29" y="50"/>
                        <a:pt x="29" y="50"/>
                        <a:pt x="29" y="50"/>
                      </a:cubicBezTo>
                      <a:cubicBezTo>
                        <a:pt x="29" y="51"/>
                        <a:pt x="29" y="51"/>
                        <a:pt x="29" y="51"/>
                      </a:cubicBezTo>
                      <a:cubicBezTo>
                        <a:pt x="30" y="51"/>
                        <a:pt x="30" y="51"/>
                        <a:pt x="30" y="51"/>
                      </a:cubicBezTo>
                      <a:cubicBezTo>
                        <a:pt x="30" y="51"/>
                        <a:pt x="30" y="51"/>
                        <a:pt x="30" y="51"/>
                      </a:cubicBezTo>
                      <a:cubicBezTo>
                        <a:pt x="31" y="52"/>
                        <a:pt x="31" y="52"/>
                        <a:pt x="31" y="52"/>
                      </a:cubicBezTo>
                      <a:cubicBezTo>
                        <a:pt x="32" y="52"/>
                        <a:pt x="32" y="52"/>
                        <a:pt x="32" y="52"/>
                      </a:cubicBezTo>
                      <a:cubicBezTo>
                        <a:pt x="33" y="52"/>
                        <a:pt x="33" y="52"/>
                        <a:pt x="33" y="52"/>
                      </a:cubicBezTo>
                      <a:cubicBezTo>
                        <a:pt x="33" y="51"/>
                        <a:pt x="33" y="51"/>
                        <a:pt x="33" y="51"/>
                      </a:cubicBezTo>
                      <a:cubicBezTo>
                        <a:pt x="34" y="50"/>
                        <a:pt x="34" y="50"/>
                        <a:pt x="34" y="50"/>
                      </a:cubicBezTo>
                      <a:cubicBezTo>
                        <a:pt x="34" y="50"/>
                        <a:pt x="34" y="50"/>
                        <a:pt x="34" y="50"/>
                      </a:cubicBezTo>
                      <a:cubicBezTo>
                        <a:pt x="35" y="49"/>
                        <a:pt x="35" y="49"/>
                        <a:pt x="35" y="49"/>
                      </a:cubicBezTo>
                      <a:cubicBezTo>
                        <a:pt x="36" y="48"/>
                        <a:pt x="36" y="48"/>
                        <a:pt x="36" y="48"/>
                      </a:cubicBezTo>
                      <a:cubicBezTo>
                        <a:pt x="36" y="48"/>
                        <a:pt x="36" y="48"/>
                        <a:pt x="36" y="48"/>
                      </a:cubicBezTo>
                      <a:cubicBezTo>
                        <a:pt x="37" y="46"/>
                        <a:pt x="37" y="46"/>
                        <a:pt x="37" y="46"/>
                      </a:cubicBezTo>
                      <a:cubicBezTo>
                        <a:pt x="38" y="46"/>
                        <a:pt x="38" y="46"/>
                        <a:pt x="38" y="46"/>
                      </a:cubicBezTo>
                      <a:cubicBezTo>
                        <a:pt x="38" y="45"/>
                        <a:pt x="38" y="45"/>
                        <a:pt x="38" y="45"/>
                      </a:cubicBezTo>
                      <a:cubicBezTo>
                        <a:pt x="38" y="45"/>
                        <a:pt x="38" y="45"/>
                        <a:pt x="38" y="45"/>
                      </a:cubicBezTo>
                      <a:cubicBezTo>
                        <a:pt x="38" y="44"/>
                        <a:pt x="38" y="44"/>
                        <a:pt x="38" y="44"/>
                      </a:cubicBezTo>
                      <a:cubicBezTo>
                        <a:pt x="38" y="44"/>
                        <a:pt x="38" y="44"/>
                        <a:pt x="38" y="44"/>
                      </a:cubicBezTo>
                      <a:cubicBezTo>
                        <a:pt x="39" y="44"/>
                        <a:pt x="39" y="44"/>
                        <a:pt x="39" y="44"/>
                      </a:cubicBezTo>
                      <a:cubicBezTo>
                        <a:pt x="40" y="44"/>
                        <a:pt x="40" y="44"/>
                        <a:pt x="40" y="44"/>
                      </a:cubicBezTo>
                      <a:cubicBezTo>
                        <a:pt x="41" y="43"/>
                        <a:pt x="41" y="43"/>
                        <a:pt x="41" y="43"/>
                      </a:cubicBezTo>
                      <a:cubicBezTo>
                        <a:pt x="42" y="42"/>
                        <a:pt x="42" y="42"/>
                        <a:pt x="42" y="42"/>
                      </a:cubicBezTo>
                      <a:cubicBezTo>
                        <a:pt x="41" y="42"/>
                        <a:pt x="41" y="42"/>
                        <a:pt x="41" y="42"/>
                      </a:cubicBezTo>
                      <a:cubicBezTo>
                        <a:pt x="40" y="42"/>
                        <a:pt x="40" y="42"/>
                        <a:pt x="40" y="42"/>
                      </a:cubicBezTo>
                      <a:cubicBezTo>
                        <a:pt x="39" y="42"/>
                        <a:pt x="39" y="42"/>
                        <a:pt x="39" y="42"/>
                      </a:cubicBezTo>
                      <a:cubicBezTo>
                        <a:pt x="39" y="41"/>
                        <a:pt x="39" y="41"/>
                        <a:pt x="39" y="41"/>
                      </a:cubicBezTo>
                      <a:cubicBezTo>
                        <a:pt x="40" y="41"/>
                        <a:pt x="40" y="41"/>
                        <a:pt x="40" y="41"/>
                      </a:cubicBezTo>
                      <a:cubicBezTo>
                        <a:pt x="40" y="41"/>
                        <a:pt x="40" y="41"/>
                        <a:pt x="40" y="41"/>
                      </a:cubicBezTo>
                      <a:cubicBezTo>
                        <a:pt x="42" y="41"/>
                        <a:pt x="42" y="41"/>
                        <a:pt x="42" y="41"/>
                      </a:cubicBezTo>
                      <a:cubicBezTo>
                        <a:pt x="43" y="40"/>
                        <a:pt x="43" y="40"/>
                        <a:pt x="43" y="40"/>
                      </a:cubicBezTo>
                      <a:cubicBezTo>
                        <a:pt x="44" y="40"/>
                        <a:pt x="44" y="40"/>
                        <a:pt x="44" y="40"/>
                      </a:cubicBezTo>
                      <a:cubicBezTo>
                        <a:pt x="44" y="39"/>
                        <a:pt x="44" y="39"/>
                        <a:pt x="44" y="39"/>
                      </a:cubicBezTo>
                      <a:cubicBezTo>
                        <a:pt x="44" y="39"/>
                        <a:pt x="44" y="39"/>
                        <a:pt x="44" y="39"/>
                      </a:cubicBezTo>
                      <a:cubicBezTo>
                        <a:pt x="44" y="38"/>
                        <a:pt x="44" y="38"/>
                        <a:pt x="44" y="38"/>
                      </a:cubicBezTo>
                      <a:cubicBezTo>
                        <a:pt x="43" y="38"/>
                        <a:pt x="43" y="38"/>
                        <a:pt x="43" y="38"/>
                      </a:cubicBezTo>
                      <a:cubicBezTo>
                        <a:pt x="43" y="39"/>
                        <a:pt x="43" y="39"/>
                        <a:pt x="43" y="39"/>
                      </a:cubicBezTo>
                      <a:cubicBezTo>
                        <a:pt x="43" y="40"/>
                        <a:pt x="43" y="40"/>
                        <a:pt x="43" y="40"/>
                      </a:cubicBezTo>
                      <a:cubicBezTo>
                        <a:pt x="42" y="40"/>
                        <a:pt x="42" y="40"/>
                        <a:pt x="42" y="40"/>
                      </a:cubicBezTo>
                      <a:cubicBezTo>
                        <a:pt x="41" y="40"/>
                        <a:pt x="41" y="40"/>
                        <a:pt x="41" y="40"/>
                      </a:cubicBezTo>
                      <a:cubicBezTo>
                        <a:pt x="40" y="40"/>
                        <a:pt x="40" y="40"/>
                        <a:pt x="40" y="40"/>
                      </a:cubicBezTo>
                      <a:cubicBezTo>
                        <a:pt x="39" y="40"/>
                        <a:pt x="39" y="40"/>
                        <a:pt x="39" y="40"/>
                      </a:cubicBezTo>
                      <a:cubicBezTo>
                        <a:pt x="39" y="40"/>
                        <a:pt x="39" y="40"/>
                        <a:pt x="39" y="40"/>
                      </a:cubicBezTo>
                      <a:cubicBezTo>
                        <a:pt x="38" y="40"/>
                        <a:pt x="38" y="40"/>
                        <a:pt x="38" y="40"/>
                      </a:cubicBezTo>
                      <a:cubicBezTo>
                        <a:pt x="38" y="40"/>
                        <a:pt x="38" y="40"/>
                        <a:pt x="38" y="40"/>
                      </a:cubicBezTo>
                      <a:cubicBezTo>
                        <a:pt x="37" y="39"/>
                        <a:pt x="37" y="39"/>
                        <a:pt x="37" y="39"/>
                      </a:cubicBezTo>
                      <a:cubicBezTo>
                        <a:pt x="36" y="39"/>
                        <a:pt x="36" y="39"/>
                        <a:pt x="36" y="39"/>
                      </a:cubicBezTo>
                      <a:cubicBezTo>
                        <a:pt x="36" y="40"/>
                        <a:pt x="36" y="40"/>
                        <a:pt x="36" y="40"/>
                      </a:cubicBezTo>
                      <a:cubicBezTo>
                        <a:pt x="35" y="40"/>
                        <a:pt x="35" y="40"/>
                        <a:pt x="35" y="40"/>
                      </a:cubicBezTo>
                      <a:cubicBezTo>
                        <a:pt x="35" y="39"/>
                        <a:pt x="35" y="39"/>
                        <a:pt x="35" y="39"/>
                      </a:cubicBezTo>
                      <a:cubicBezTo>
                        <a:pt x="34" y="40"/>
                        <a:pt x="34" y="40"/>
                        <a:pt x="34" y="40"/>
                      </a:cubicBezTo>
                      <a:cubicBezTo>
                        <a:pt x="34" y="39"/>
                        <a:pt x="34" y="39"/>
                        <a:pt x="34" y="39"/>
                      </a:cubicBezTo>
                      <a:cubicBezTo>
                        <a:pt x="34" y="39"/>
                        <a:pt x="34" y="39"/>
                        <a:pt x="34" y="39"/>
                      </a:cubicBezTo>
                      <a:cubicBezTo>
                        <a:pt x="34" y="38"/>
                        <a:pt x="34" y="38"/>
                        <a:pt x="34" y="38"/>
                      </a:cubicBezTo>
                      <a:cubicBezTo>
                        <a:pt x="34" y="38"/>
                        <a:pt x="34" y="38"/>
                        <a:pt x="34" y="38"/>
                      </a:cubicBezTo>
                      <a:cubicBezTo>
                        <a:pt x="33" y="38"/>
                        <a:pt x="33" y="38"/>
                        <a:pt x="33" y="38"/>
                      </a:cubicBezTo>
                      <a:cubicBezTo>
                        <a:pt x="34" y="37"/>
                        <a:pt x="34" y="37"/>
                        <a:pt x="34" y="37"/>
                      </a:cubicBezTo>
                      <a:cubicBezTo>
                        <a:pt x="34" y="37"/>
                        <a:pt x="34" y="37"/>
                        <a:pt x="34" y="37"/>
                      </a:cubicBezTo>
                      <a:cubicBezTo>
                        <a:pt x="35" y="36"/>
                        <a:pt x="35" y="36"/>
                        <a:pt x="35" y="36"/>
                      </a:cubicBezTo>
                      <a:cubicBezTo>
                        <a:pt x="35" y="36"/>
                        <a:pt x="35" y="36"/>
                        <a:pt x="35" y="36"/>
                      </a:cubicBezTo>
                      <a:cubicBezTo>
                        <a:pt x="36" y="36"/>
                        <a:pt x="36" y="36"/>
                        <a:pt x="36" y="36"/>
                      </a:cubicBezTo>
                      <a:cubicBezTo>
                        <a:pt x="36" y="35"/>
                        <a:pt x="36" y="35"/>
                        <a:pt x="36" y="35"/>
                      </a:cubicBezTo>
                      <a:cubicBezTo>
                        <a:pt x="35" y="35"/>
                        <a:pt x="35" y="35"/>
                        <a:pt x="35" y="35"/>
                      </a:cubicBezTo>
                      <a:cubicBezTo>
                        <a:pt x="35" y="34"/>
                        <a:pt x="35" y="34"/>
                        <a:pt x="35" y="34"/>
                      </a:cubicBezTo>
                      <a:cubicBezTo>
                        <a:pt x="36" y="34"/>
                        <a:pt x="36" y="34"/>
                        <a:pt x="36" y="34"/>
                      </a:cubicBezTo>
                      <a:cubicBezTo>
                        <a:pt x="36" y="34"/>
                        <a:pt x="36" y="34"/>
                        <a:pt x="36" y="34"/>
                      </a:cubicBezTo>
                      <a:cubicBezTo>
                        <a:pt x="37" y="34"/>
                        <a:pt x="37" y="34"/>
                        <a:pt x="37" y="34"/>
                      </a:cubicBezTo>
                      <a:cubicBezTo>
                        <a:pt x="38" y="33"/>
                        <a:pt x="38" y="33"/>
                        <a:pt x="38" y="33"/>
                      </a:cubicBezTo>
                      <a:cubicBezTo>
                        <a:pt x="38" y="33"/>
                        <a:pt x="38" y="33"/>
                        <a:pt x="38" y="33"/>
                      </a:cubicBezTo>
                      <a:cubicBezTo>
                        <a:pt x="39" y="32"/>
                        <a:pt x="39" y="32"/>
                        <a:pt x="39" y="32"/>
                      </a:cubicBezTo>
                      <a:cubicBezTo>
                        <a:pt x="40" y="32"/>
                        <a:pt x="40" y="32"/>
                        <a:pt x="40" y="32"/>
                      </a:cubicBezTo>
                      <a:cubicBezTo>
                        <a:pt x="40" y="31"/>
                        <a:pt x="40" y="31"/>
                        <a:pt x="40" y="31"/>
                      </a:cubicBezTo>
                      <a:cubicBezTo>
                        <a:pt x="42" y="32"/>
                        <a:pt x="42" y="32"/>
                        <a:pt x="42" y="32"/>
                      </a:cubicBezTo>
                      <a:cubicBezTo>
                        <a:pt x="42" y="31"/>
                        <a:pt x="42" y="31"/>
                        <a:pt x="42" y="31"/>
                      </a:cubicBezTo>
                      <a:cubicBezTo>
                        <a:pt x="42" y="31"/>
                        <a:pt x="42" y="31"/>
                        <a:pt x="42" y="31"/>
                      </a:cubicBezTo>
                      <a:cubicBezTo>
                        <a:pt x="42" y="31"/>
                        <a:pt x="42" y="31"/>
                        <a:pt x="42" y="31"/>
                      </a:cubicBezTo>
                      <a:cubicBezTo>
                        <a:pt x="42" y="31"/>
                        <a:pt x="42" y="31"/>
                        <a:pt x="42" y="31"/>
                      </a:cubicBezTo>
                      <a:cubicBezTo>
                        <a:pt x="42" y="30"/>
                        <a:pt x="42" y="30"/>
                        <a:pt x="42" y="30"/>
                      </a:cubicBezTo>
                      <a:cubicBezTo>
                        <a:pt x="43" y="30"/>
                        <a:pt x="43" y="30"/>
                        <a:pt x="43" y="30"/>
                      </a:cubicBezTo>
                      <a:cubicBezTo>
                        <a:pt x="43" y="31"/>
                        <a:pt x="43" y="31"/>
                        <a:pt x="43" y="31"/>
                      </a:cubicBezTo>
                      <a:cubicBezTo>
                        <a:pt x="44" y="31"/>
                        <a:pt x="44" y="31"/>
                        <a:pt x="44" y="31"/>
                      </a:cubicBezTo>
                      <a:cubicBezTo>
                        <a:pt x="45" y="30"/>
                        <a:pt x="45" y="30"/>
                        <a:pt x="45" y="30"/>
                      </a:cubicBezTo>
                      <a:cubicBezTo>
                        <a:pt x="45" y="29"/>
                        <a:pt x="45" y="29"/>
                        <a:pt x="45" y="29"/>
                      </a:cubicBezTo>
                      <a:cubicBezTo>
                        <a:pt x="45" y="28"/>
                        <a:pt x="45" y="28"/>
                        <a:pt x="45" y="28"/>
                      </a:cubicBezTo>
                      <a:cubicBezTo>
                        <a:pt x="46" y="28"/>
                        <a:pt x="46" y="28"/>
                        <a:pt x="46" y="28"/>
                      </a:cubicBezTo>
                      <a:cubicBezTo>
                        <a:pt x="47" y="28"/>
                        <a:pt x="47" y="28"/>
                        <a:pt x="47" y="28"/>
                      </a:cubicBezTo>
                      <a:cubicBezTo>
                        <a:pt x="47" y="27"/>
                        <a:pt x="47" y="27"/>
                        <a:pt x="47" y="27"/>
                      </a:cubicBezTo>
                      <a:cubicBezTo>
                        <a:pt x="48" y="27"/>
                        <a:pt x="48" y="27"/>
                        <a:pt x="48" y="27"/>
                      </a:cubicBezTo>
                      <a:cubicBezTo>
                        <a:pt x="48" y="27"/>
                        <a:pt x="48" y="27"/>
                        <a:pt x="48" y="27"/>
                      </a:cubicBezTo>
                      <a:cubicBezTo>
                        <a:pt x="49" y="27"/>
                        <a:pt x="49" y="27"/>
                        <a:pt x="49" y="27"/>
                      </a:cubicBezTo>
                      <a:cubicBezTo>
                        <a:pt x="49" y="28"/>
                        <a:pt x="49" y="28"/>
                        <a:pt x="49" y="28"/>
                      </a:cubicBezTo>
                      <a:cubicBezTo>
                        <a:pt x="49" y="29"/>
                        <a:pt x="49" y="29"/>
                        <a:pt x="49" y="29"/>
                      </a:cubicBezTo>
                      <a:cubicBezTo>
                        <a:pt x="49" y="30"/>
                        <a:pt x="49" y="30"/>
                        <a:pt x="49" y="30"/>
                      </a:cubicBezTo>
                      <a:cubicBezTo>
                        <a:pt x="49" y="31"/>
                        <a:pt x="49" y="31"/>
                        <a:pt x="49" y="31"/>
                      </a:cubicBezTo>
                      <a:cubicBezTo>
                        <a:pt x="49" y="33"/>
                        <a:pt x="49" y="33"/>
                        <a:pt x="49" y="33"/>
                      </a:cubicBezTo>
                      <a:cubicBezTo>
                        <a:pt x="49" y="33"/>
                        <a:pt x="49" y="33"/>
                        <a:pt x="49" y="33"/>
                      </a:cubicBezTo>
                      <a:cubicBezTo>
                        <a:pt x="50" y="32"/>
                        <a:pt x="50" y="32"/>
                        <a:pt x="50" y="32"/>
                      </a:cubicBezTo>
                      <a:cubicBezTo>
                        <a:pt x="50" y="31"/>
                        <a:pt x="50" y="31"/>
                        <a:pt x="50" y="31"/>
                      </a:cubicBezTo>
                      <a:cubicBezTo>
                        <a:pt x="49" y="29"/>
                        <a:pt x="49" y="29"/>
                        <a:pt x="49" y="29"/>
                      </a:cubicBezTo>
                      <a:cubicBezTo>
                        <a:pt x="49" y="29"/>
                        <a:pt x="49" y="29"/>
                        <a:pt x="49" y="29"/>
                      </a:cubicBezTo>
                      <a:cubicBezTo>
                        <a:pt x="50" y="28"/>
                        <a:pt x="50" y="28"/>
                        <a:pt x="50" y="28"/>
                      </a:cubicBezTo>
                      <a:cubicBezTo>
                        <a:pt x="49" y="27"/>
                        <a:pt x="49" y="27"/>
                        <a:pt x="49" y="27"/>
                      </a:cubicBezTo>
                      <a:cubicBezTo>
                        <a:pt x="50" y="27"/>
                        <a:pt x="50" y="27"/>
                        <a:pt x="50" y="27"/>
                      </a:cubicBezTo>
                      <a:cubicBezTo>
                        <a:pt x="51" y="27"/>
                        <a:pt x="51" y="27"/>
                        <a:pt x="51" y="27"/>
                      </a:cubicBezTo>
                      <a:cubicBezTo>
                        <a:pt x="51" y="26"/>
                        <a:pt x="51" y="26"/>
                        <a:pt x="51" y="26"/>
                      </a:cubicBezTo>
                      <a:cubicBezTo>
                        <a:pt x="51" y="26"/>
                        <a:pt x="51" y="26"/>
                        <a:pt x="51" y="26"/>
                      </a:cubicBezTo>
                      <a:cubicBezTo>
                        <a:pt x="52" y="26"/>
                        <a:pt x="52" y="26"/>
                        <a:pt x="52" y="26"/>
                      </a:cubicBezTo>
                      <a:cubicBezTo>
                        <a:pt x="52" y="27"/>
                        <a:pt x="52" y="27"/>
                        <a:pt x="52" y="27"/>
                      </a:cubicBezTo>
                      <a:cubicBezTo>
                        <a:pt x="52" y="27"/>
                        <a:pt x="52" y="27"/>
                        <a:pt x="52" y="27"/>
                      </a:cubicBezTo>
                      <a:cubicBezTo>
                        <a:pt x="52" y="27"/>
                        <a:pt x="52" y="27"/>
                        <a:pt x="52" y="27"/>
                      </a:cubicBezTo>
                      <a:cubicBezTo>
                        <a:pt x="53" y="27"/>
                        <a:pt x="53" y="27"/>
                        <a:pt x="53" y="27"/>
                      </a:cubicBezTo>
                      <a:cubicBezTo>
                        <a:pt x="53" y="28"/>
                        <a:pt x="53" y="28"/>
                        <a:pt x="53" y="28"/>
                      </a:cubicBezTo>
                      <a:cubicBezTo>
                        <a:pt x="53" y="28"/>
                        <a:pt x="53" y="28"/>
                        <a:pt x="53" y="28"/>
                      </a:cubicBezTo>
                      <a:cubicBezTo>
                        <a:pt x="54" y="29"/>
                        <a:pt x="54" y="29"/>
                        <a:pt x="54" y="29"/>
                      </a:cubicBezTo>
                      <a:cubicBezTo>
                        <a:pt x="55" y="28"/>
                        <a:pt x="55" y="28"/>
                        <a:pt x="55" y="28"/>
                      </a:cubicBezTo>
                      <a:cubicBezTo>
                        <a:pt x="55" y="28"/>
                        <a:pt x="55" y="28"/>
                        <a:pt x="55" y="28"/>
                      </a:cubicBezTo>
                      <a:cubicBezTo>
                        <a:pt x="56" y="28"/>
                        <a:pt x="56" y="28"/>
                        <a:pt x="56" y="28"/>
                      </a:cubicBezTo>
                      <a:cubicBezTo>
                        <a:pt x="56" y="28"/>
                        <a:pt x="56" y="28"/>
                        <a:pt x="56" y="28"/>
                      </a:cubicBezTo>
                      <a:cubicBezTo>
                        <a:pt x="56" y="27"/>
                        <a:pt x="56" y="27"/>
                        <a:pt x="56" y="27"/>
                      </a:cubicBezTo>
                      <a:cubicBezTo>
                        <a:pt x="56" y="27"/>
                        <a:pt x="56" y="27"/>
                        <a:pt x="56" y="27"/>
                      </a:cubicBezTo>
                      <a:cubicBezTo>
                        <a:pt x="57" y="26"/>
                        <a:pt x="57" y="26"/>
                        <a:pt x="57" y="26"/>
                      </a:cubicBezTo>
                      <a:cubicBezTo>
                        <a:pt x="57" y="26"/>
                        <a:pt x="57" y="26"/>
                        <a:pt x="57" y="26"/>
                      </a:cubicBezTo>
                      <a:cubicBezTo>
                        <a:pt x="57" y="25"/>
                        <a:pt x="57" y="25"/>
                        <a:pt x="57" y="25"/>
                      </a:cubicBezTo>
                      <a:cubicBezTo>
                        <a:pt x="58" y="25"/>
                        <a:pt x="58" y="25"/>
                        <a:pt x="58" y="25"/>
                      </a:cubicBezTo>
                      <a:cubicBezTo>
                        <a:pt x="59" y="25"/>
                        <a:pt x="59" y="25"/>
                        <a:pt x="59" y="25"/>
                      </a:cubicBezTo>
                      <a:cubicBezTo>
                        <a:pt x="60" y="24"/>
                        <a:pt x="60" y="24"/>
                        <a:pt x="60" y="24"/>
                      </a:cubicBezTo>
                      <a:cubicBezTo>
                        <a:pt x="60" y="23"/>
                        <a:pt x="60" y="23"/>
                        <a:pt x="60" y="23"/>
                      </a:cubicBezTo>
                      <a:cubicBezTo>
                        <a:pt x="59" y="23"/>
                        <a:pt x="59" y="23"/>
                        <a:pt x="59" y="23"/>
                      </a:cubicBezTo>
                      <a:cubicBezTo>
                        <a:pt x="59" y="23"/>
                        <a:pt x="59" y="23"/>
                        <a:pt x="59" y="23"/>
                      </a:cubicBezTo>
                      <a:cubicBezTo>
                        <a:pt x="59" y="22"/>
                        <a:pt x="59" y="22"/>
                        <a:pt x="59" y="22"/>
                      </a:cubicBezTo>
                      <a:cubicBezTo>
                        <a:pt x="59" y="22"/>
                        <a:pt x="59" y="22"/>
                        <a:pt x="59" y="22"/>
                      </a:cubicBezTo>
                      <a:cubicBezTo>
                        <a:pt x="59" y="21"/>
                        <a:pt x="59" y="21"/>
                        <a:pt x="59" y="21"/>
                      </a:cubicBezTo>
                      <a:cubicBezTo>
                        <a:pt x="60" y="20"/>
                        <a:pt x="60" y="20"/>
                        <a:pt x="60" y="20"/>
                      </a:cubicBezTo>
                      <a:cubicBezTo>
                        <a:pt x="59" y="20"/>
                        <a:pt x="59" y="20"/>
                        <a:pt x="59" y="20"/>
                      </a:cubicBezTo>
                      <a:cubicBezTo>
                        <a:pt x="60" y="19"/>
                        <a:pt x="60" y="19"/>
                        <a:pt x="60" y="19"/>
                      </a:cubicBezTo>
                      <a:cubicBezTo>
                        <a:pt x="60" y="18"/>
                        <a:pt x="60" y="18"/>
                        <a:pt x="60" y="18"/>
                      </a:cubicBezTo>
                      <a:cubicBezTo>
                        <a:pt x="62" y="18"/>
                        <a:pt x="62" y="18"/>
                        <a:pt x="62" y="18"/>
                      </a:cubicBezTo>
                      <a:cubicBezTo>
                        <a:pt x="63" y="17"/>
                        <a:pt x="63" y="17"/>
                        <a:pt x="63" y="17"/>
                      </a:cubicBezTo>
                      <a:cubicBezTo>
                        <a:pt x="64" y="17"/>
                        <a:pt x="64" y="17"/>
                        <a:pt x="64" y="17"/>
                      </a:cubicBezTo>
                      <a:cubicBezTo>
                        <a:pt x="64" y="17"/>
                        <a:pt x="64" y="17"/>
                        <a:pt x="64" y="17"/>
                      </a:cubicBezTo>
                      <a:cubicBezTo>
                        <a:pt x="64" y="18"/>
                        <a:pt x="64" y="18"/>
                        <a:pt x="64" y="18"/>
                      </a:cubicBezTo>
                      <a:cubicBezTo>
                        <a:pt x="64" y="18"/>
                        <a:pt x="64" y="18"/>
                        <a:pt x="64" y="18"/>
                      </a:cubicBezTo>
                      <a:cubicBezTo>
                        <a:pt x="65" y="20"/>
                        <a:pt x="65" y="20"/>
                        <a:pt x="65" y="20"/>
                      </a:cubicBezTo>
                      <a:cubicBezTo>
                        <a:pt x="65" y="20"/>
                        <a:pt x="65" y="20"/>
                        <a:pt x="65" y="20"/>
                      </a:cubicBezTo>
                      <a:cubicBezTo>
                        <a:pt x="65" y="22"/>
                        <a:pt x="65" y="22"/>
                        <a:pt x="65" y="22"/>
                      </a:cubicBezTo>
                      <a:cubicBezTo>
                        <a:pt x="65" y="23"/>
                        <a:pt x="65" y="23"/>
                        <a:pt x="65" y="23"/>
                      </a:cubicBezTo>
                      <a:cubicBezTo>
                        <a:pt x="66" y="24"/>
                        <a:pt x="66" y="24"/>
                        <a:pt x="66" y="24"/>
                      </a:cubicBezTo>
                      <a:cubicBezTo>
                        <a:pt x="67" y="25"/>
                        <a:pt x="67" y="25"/>
                        <a:pt x="67" y="25"/>
                      </a:cubicBezTo>
                      <a:cubicBezTo>
                        <a:pt x="67" y="26"/>
                        <a:pt x="67" y="26"/>
                        <a:pt x="67" y="26"/>
                      </a:cubicBezTo>
                      <a:cubicBezTo>
                        <a:pt x="68" y="26"/>
                        <a:pt x="68" y="26"/>
                        <a:pt x="68" y="26"/>
                      </a:cubicBezTo>
                      <a:cubicBezTo>
                        <a:pt x="68" y="26"/>
                        <a:pt x="68" y="26"/>
                        <a:pt x="68" y="26"/>
                      </a:cubicBezTo>
                      <a:cubicBezTo>
                        <a:pt x="68" y="24"/>
                        <a:pt x="68" y="24"/>
                        <a:pt x="68" y="24"/>
                      </a:cubicBezTo>
                      <a:cubicBezTo>
                        <a:pt x="68" y="23"/>
                        <a:pt x="68" y="23"/>
                        <a:pt x="68" y="23"/>
                      </a:cubicBezTo>
                      <a:cubicBezTo>
                        <a:pt x="66" y="22"/>
                        <a:pt x="66" y="22"/>
                        <a:pt x="66" y="22"/>
                      </a:cubicBezTo>
                      <a:cubicBezTo>
                        <a:pt x="66" y="21"/>
                        <a:pt x="66" y="21"/>
                        <a:pt x="66" y="21"/>
                      </a:cubicBezTo>
                      <a:cubicBezTo>
                        <a:pt x="67" y="20"/>
                        <a:pt x="67" y="20"/>
                        <a:pt x="67" y="20"/>
                      </a:cubicBezTo>
                      <a:cubicBezTo>
                        <a:pt x="67" y="19"/>
                        <a:pt x="67" y="19"/>
                        <a:pt x="67" y="19"/>
                      </a:cubicBezTo>
                      <a:cubicBezTo>
                        <a:pt x="67" y="18"/>
                        <a:pt x="67" y="18"/>
                        <a:pt x="67" y="18"/>
                      </a:cubicBezTo>
                      <a:cubicBezTo>
                        <a:pt x="66" y="18"/>
                        <a:pt x="66" y="18"/>
                        <a:pt x="66" y="18"/>
                      </a:cubicBezTo>
                      <a:cubicBezTo>
                        <a:pt x="66" y="17"/>
                        <a:pt x="66" y="17"/>
                        <a:pt x="66" y="17"/>
                      </a:cubicBezTo>
                      <a:cubicBezTo>
                        <a:pt x="66" y="16"/>
                        <a:pt x="66" y="16"/>
                        <a:pt x="66" y="16"/>
                      </a:cubicBezTo>
                      <a:cubicBezTo>
                        <a:pt x="66" y="16"/>
                        <a:pt x="66" y="16"/>
                        <a:pt x="66" y="16"/>
                      </a:cubicBezTo>
                      <a:cubicBezTo>
                        <a:pt x="67" y="15"/>
                        <a:pt x="67" y="15"/>
                        <a:pt x="67" y="15"/>
                      </a:cubicBezTo>
                      <a:cubicBezTo>
                        <a:pt x="68" y="15"/>
                        <a:pt x="68" y="15"/>
                        <a:pt x="68" y="15"/>
                      </a:cubicBezTo>
                      <a:cubicBezTo>
                        <a:pt x="69" y="16"/>
                        <a:pt x="69" y="16"/>
                        <a:pt x="69" y="16"/>
                      </a:cubicBezTo>
                      <a:cubicBezTo>
                        <a:pt x="69" y="15"/>
                        <a:pt x="69" y="15"/>
                        <a:pt x="69" y="15"/>
                      </a:cubicBezTo>
                      <a:cubicBezTo>
                        <a:pt x="70" y="15"/>
                        <a:pt x="70" y="15"/>
                        <a:pt x="70" y="15"/>
                      </a:cubicBezTo>
                      <a:cubicBezTo>
                        <a:pt x="71" y="16"/>
                        <a:pt x="71" y="16"/>
                        <a:pt x="71" y="16"/>
                      </a:cubicBezTo>
                      <a:cubicBezTo>
                        <a:pt x="73" y="16"/>
                        <a:pt x="73" y="16"/>
                        <a:pt x="73" y="16"/>
                      </a:cubicBezTo>
                      <a:cubicBezTo>
                        <a:pt x="75" y="15"/>
                        <a:pt x="75" y="15"/>
                        <a:pt x="75" y="15"/>
                      </a:cubicBezTo>
                      <a:cubicBezTo>
                        <a:pt x="77" y="15"/>
                        <a:pt x="77" y="15"/>
                        <a:pt x="77" y="15"/>
                      </a:cubicBezTo>
                      <a:cubicBezTo>
                        <a:pt x="77" y="15"/>
                        <a:pt x="77" y="15"/>
                        <a:pt x="77" y="15"/>
                      </a:cubicBezTo>
                      <a:cubicBezTo>
                        <a:pt x="77" y="16"/>
                        <a:pt x="77" y="16"/>
                        <a:pt x="77" y="16"/>
                      </a:cubicBezTo>
                      <a:cubicBezTo>
                        <a:pt x="77" y="17"/>
                        <a:pt x="77" y="17"/>
                        <a:pt x="77" y="17"/>
                      </a:cubicBezTo>
                      <a:cubicBezTo>
                        <a:pt x="77" y="17"/>
                        <a:pt x="77" y="17"/>
                        <a:pt x="77" y="17"/>
                      </a:cubicBezTo>
                      <a:cubicBezTo>
                        <a:pt x="78" y="17"/>
                        <a:pt x="78" y="17"/>
                        <a:pt x="78" y="17"/>
                      </a:cubicBezTo>
                      <a:cubicBezTo>
                        <a:pt x="79" y="16"/>
                        <a:pt x="79" y="16"/>
                        <a:pt x="79" y="16"/>
                      </a:cubicBezTo>
                      <a:cubicBezTo>
                        <a:pt x="78" y="16"/>
                        <a:pt x="78" y="16"/>
                        <a:pt x="78" y="16"/>
                      </a:cubicBezTo>
                      <a:cubicBezTo>
                        <a:pt x="78" y="15"/>
                        <a:pt x="78" y="15"/>
                        <a:pt x="78" y="15"/>
                      </a:cubicBezTo>
                      <a:cubicBezTo>
                        <a:pt x="79" y="14"/>
                        <a:pt x="79" y="14"/>
                        <a:pt x="79" y="14"/>
                      </a:cubicBezTo>
                      <a:cubicBezTo>
                        <a:pt x="80" y="14"/>
                        <a:pt x="80" y="14"/>
                        <a:pt x="80" y="14"/>
                      </a:cubicBezTo>
                      <a:cubicBezTo>
                        <a:pt x="81" y="15"/>
                        <a:pt x="81" y="15"/>
                        <a:pt x="81" y="15"/>
                      </a:cubicBezTo>
                      <a:cubicBezTo>
                        <a:pt x="81" y="16"/>
                        <a:pt x="81" y="16"/>
                        <a:pt x="81" y="16"/>
                      </a:cubicBezTo>
                      <a:cubicBezTo>
                        <a:pt x="81" y="16"/>
                        <a:pt x="81" y="16"/>
                        <a:pt x="81" y="16"/>
                      </a:cubicBezTo>
                      <a:cubicBezTo>
                        <a:pt x="82" y="16"/>
                        <a:pt x="82" y="16"/>
                        <a:pt x="82" y="16"/>
                      </a:cubicBezTo>
                      <a:cubicBezTo>
                        <a:pt x="82" y="15"/>
                        <a:pt x="82" y="15"/>
                        <a:pt x="82" y="15"/>
                      </a:cubicBezTo>
                      <a:cubicBezTo>
                        <a:pt x="81" y="14"/>
                        <a:pt x="81" y="14"/>
                        <a:pt x="81" y="14"/>
                      </a:cubicBezTo>
                      <a:cubicBezTo>
                        <a:pt x="81" y="13"/>
                        <a:pt x="81" y="13"/>
                        <a:pt x="81" y="13"/>
                      </a:cubicBezTo>
                      <a:cubicBezTo>
                        <a:pt x="81" y="13"/>
                        <a:pt x="81" y="13"/>
                        <a:pt x="81" y="13"/>
                      </a:cubicBezTo>
                      <a:cubicBezTo>
                        <a:pt x="82" y="13"/>
                        <a:pt x="82" y="13"/>
                        <a:pt x="82" y="13"/>
                      </a:cubicBezTo>
                      <a:cubicBezTo>
                        <a:pt x="83" y="14"/>
                        <a:pt x="83" y="14"/>
                        <a:pt x="83" y="14"/>
                      </a:cubicBezTo>
                      <a:cubicBezTo>
                        <a:pt x="83" y="13"/>
                        <a:pt x="83" y="13"/>
                        <a:pt x="83" y="13"/>
                      </a:cubicBezTo>
                      <a:cubicBezTo>
                        <a:pt x="84" y="13"/>
                        <a:pt x="84" y="13"/>
                        <a:pt x="84" y="13"/>
                      </a:cubicBezTo>
                      <a:cubicBezTo>
                        <a:pt x="86" y="13"/>
                        <a:pt x="86" y="13"/>
                        <a:pt x="86" y="13"/>
                      </a:cubicBezTo>
                      <a:cubicBezTo>
                        <a:pt x="86" y="14"/>
                        <a:pt x="86" y="14"/>
                        <a:pt x="86" y="14"/>
                      </a:cubicBezTo>
                      <a:cubicBezTo>
                        <a:pt x="86" y="16"/>
                        <a:pt x="86" y="16"/>
                        <a:pt x="86" y="16"/>
                      </a:cubicBezTo>
                      <a:cubicBezTo>
                        <a:pt x="85" y="17"/>
                        <a:pt x="85" y="17"/>
                        <a:pt x="85" y="17"/>
                      </a:cubicBezTo>
                      <a:cubicBezTo>
                        <a:pt x="85" y="18"/>
                        <a:pt x="85" y="18"/>
                        <a:pt x="85" y="18"/>
                      </a:cubicBezTo>
                      <a:cubicBezTo>
                        <a:pt x="85" y="19"/>
                        <a:pt x="85" y="19"/>
                        <a:pt x="85" y="19"/>
                      </a:cubicBezTo>
                      <a:cubicBezTo>
                        <a:pt x="84" y="20"/>
                        <a:pt x="84" y="20"/>
                        <a:pt x="84" y="20"/>
                      </a:cubicBezTo>
                      <a:cubicBezTo>
                        <a:pt x="84" y="20"/>
                        <a:pt x="84" y="20"/>
                        <a:pt x="84" y="20"/>
                      </a:cubicBezTo>
                      <a:cubicBezTo>
                        <a:pt x="84" y="21"/>
                        <a:pt x="84" y="21"/>
                        <a:pt x="84" y="21"/>
                      </a:cubicBezTo>
                      <a:cubicBezTo>
                        <a:pt x="83" y="21"/>
                        <a:pt x="83" y="21"/>
                        <a:pt x="83" y="21"/>
                      </a:cubicBezTo>
                      <a:cubicBezTo>
                        <a:pt x="83" y="21"/>
                        <a:pt x="83" y="21"/>
                        <a:pt x="83" y="21"/>
                      </a:cubicBezTo>
                      <a:cubicBezTo>
                        <a:pt x="84" y="22"/>
                        <a:pt x="84" y="22"/>
                        <a:pt x="84" y="22"/>
                      </a:cubicBezTo>
                      <a:cubicBezTo>
                        <a:pt x="84" y="22"/>
                        <a:pt x="84" y="22"/>
                        <a:pt x="84" y="22"/>
                      </a:cubicBezTo>
                      <a:cubicBezTo>
                        <a:pt x="83" y="23"/>
                        <a:pt x="83" y="23"/>
                        <a:pt x="83" y="23"/>
                      </a:cubicBezTo>
                      <a:cubicBezTo>
                        <a:pt x="83" y="24"/>
                        <a:pt x="83" y="24"/>
                        <a:pt x="83" y="24"/>
                      </a:cubicBezTo>
                      <a:cubicBezTo>
                        <a:pt x="82" y="25"/>
                        <a:pt x="82" y="25"/>
                        <a:pt x="82" y="25"/>
                      </a:cubicBezTo>
                      <a:cubicBezTo>
                        <a:pt x="81" y="25"/>
                        <a:pt x="81" y="25"/>
                        <a:pt x="81" y="25"/>
                      </a:cubicBezTo>
                      <a:cubicBezTo>
                        <a:pt x="81" y="26"/>
                        <a:pt x="81" y="26"/>
                        <a:pt x="81" y="26"/>
                      </a:cubicBezTo>
                      <a:cubicBezTo>
                        <a:pt x="81" y="26"/>
                        <a:pt x="81" y="26"/>
                        <a:pt x="81" y="26"/>
                      </a:cubicBezTo>
                      <a:cubicBezTo>
                        <a:pt x="80" y="27"/>
                        <a:pt x="80" y="27"/>
                        <a:pt x="80" y="27"/>
                      </a:cubicBezTo>
                      <a:cubicBezTo>
                        <a:pt x="80" y="28"/>
                        <a:pt x="80" y="28"/>
                        <a:pt x="80" y="28"/>
                      </a:cubicBezTo>
                      <a:cubicBezTo>
                        <a:pt x="80" y="28"/>
                        <a:pt x="80" y="28"/>
                        <a:pt x="80" y="28"/>
                      </a:cubicBezTo>
                      <a:cubicBezTo>
                        <a:pt x="81" y="28"/>
                        <a:pt x="81" y="28"/>
                        <a:pt x="81" y="28"/>
                      </a:cubicBezTo>
                      <a:cubicBezTo>
                        <a:pt x="82" y="27"/>
                        <a:pt x="82" y="27"/>
                        <a:pt x="82" y="27"/>
                      </a:cubicBezTo>
                      <a:cubicBezTo>
                        <a:pt x="82" y="27"/>
                        <a:pt x="82" y="27"/>
                        <a:pt x="82" y="27"/>
                      </a:cubicBezTo>
                      <a:cubicBezTo>
                        <a:pt x="82" y="26"/>
                        <a:pt x="82" y="26"/>
                        <a:pt x="82" y="26"/>
                      </a:cubicBezTo>
                      <a:cubicBezTo>
                        <a:pt x="83" y="26"/>
                        <a:pt x="83" y="26"/>
                        <a:pt x="83" y="26"/>
                      </a:cubicBezTo>
                      <a:cubicBezTo>
                        <a:pt x="84" y="25"/>
                        <a:pt x="84" y="25"/>
                        <a:pt x="84" y="25"/>
                      </a:cubicBezTo>
                      <a:cubicBezTo>
                        <a:pt x="84" y="24"/>
                        <a:pt x="84" y="24"/>
                        <a:pt x="84" y="24"/>
                      </a:cubicBezTo>
                      <a:cubicBezTo>
                        <a:pt x="85" y="24"/>
                        <a:pt x="85" y="24"/>
                        <a:pt x="85" y="24"/>
                      </a:cubicBezTo>
                      <a:cubicBezTo>
                        <a:pt x="85" y="23"/>
                        <a:pt x="85" y="23"/>
                        <a:pt x="85" y="23"/>
                      </a:cubicBezTo>
                      <a:cubicBezTo>
                        <a:pt x="85" y="23"/>
                        <a:pt x="85" y="23"/>
                        <a:pt x="85" y="23"/>
                      </a:cubicBezTo>
                      <a:cubicBezTo>
                        <a:pt x="85" y="22"/>
                        <a:pt x="85" y="22"/>
                        <a:pt x="85" y="22"/>
                      </a:cubicBezTo>
                      <a:cubicBezTo>
                        <a:pt x="86" y="22"/>
                        <a:pt x="86" y="22"/>
                        <a:pt x="86" y="22"/>
                      </a:cubicBezTo>
                      <a:cubicBezTo>
                        <a:pt x="86" y="21"/>
                        <a:pt x="86" y="21"/>
                        <a:pt x="86" y="21"/>
                      </a:cubicBezTo>
                      <a:cubicBezTo>
                        <a:pt x="87" y="20"/>
                        <a:pt x="87" y="20"/>
                        <a:pt x="87" y="20"/>
                      </a:cubicBezTo>
                      <a:cubicBezTo>
                        <a:pt x="87" y="21"/>
                        <a:pt x="87" y="21"/>
                        <a:pt x="87" y="21"/>
                      </a:cubicBezTo>
                      <a:cubicBezTo>
                        <a:pt x="87" y="22"/>
                        <a:pt x="87" y="22"/>
                        <a:pt x="87" y="22"/>
                      </a:cubicBezTo>
                      <a:cubicBezTo>
                        <a:pt x="88" y="22"/>
                        <a:pt x="88" y="22"/>
                        <a:pt x="88" y="22"/>
                      </a:cubicBezTo>
                      <a:cubicBezTo>
                        <a:pt x="88" y="23"/>
                        <a:pt x="88" y="23"/>
                        <a:pt x="88" y="23"/>
                      </a:cubicBezTo>
                      <a:cubicBezTo>
                        <a:pt x="88" y="24"/>
                        <a:pt x="88" y="24"/>
                        <a:pt x="88" y="24"/>
                      </a:cubicBezTo>
                      <a:cubicBezTo>
                        <a:pt x="89" y="25"/>
                        <a:pt x="89" y="25"/>
                        <a:pt x="89" y="25"/>
                      </a:cubicBezTo>
                      <a:cubicBezTo>
                        <a:pt x="89" y="26"/>
                        <a:pt x="89" y="26"/>
                        <a:pt x="89" y="26"/>
                      </a:cubicBezTo>
                      <a:cubicBezTo>
                        <a:pt x="89" y="26"/>
                        <a:pt x="89" y="26"/>
                        <a:pt x="89" y="26"/>
                      </a:cubicBezTo>
                      <a:cubicBezTo>
                        <a:pt x="90" y="26"/>
                        <a:pt x="90" y="26"/>
                        <a:pt x="90" y="26"/>
                      </a:cubicBezTo>
                      <a:cubicBezTo>
                        <a:pt x="90" y="27"/>
                        <a:pt x="90" y="27"/>
                        <a:pt x="90" y="27"/>
                      </a:cubicBezTo>
                      <a:cubicBezTo>
                        <a:pt x="91" y="27"/>
                        <a:pt x="91" y="27"/>
                        <a:pt x="91" y="27"/>
                      </a:cubicBezTo>
                      <a:cubicBezTo>
                        <a:pt x="91" y="26"/>
                        <a:pt x="91" y="26"/>
                        <a:pt x="91" y="26"/>
                      </a:cubicBezTo>
                      <a:cubicBezTo>
                        <a:pt x="91" y="26"/>
                        <a:pt x="91" y="26"/>
                        <a:pt x="91" y="26"/>
                      </a:cubicBezTo>
                      <a:cubicBezTo>
                        <a:pt x="91" y="25"/>
                        <a:pt x="91" y="25"/>
                        <a:pt x="91" y="25"/>
                      </a:cubicBezTo>
                      <a:cubicBezTo>
                        <a:pt x="90" y="25"/>
                        <a:pt x="90" y="25"/>
                        <a:pt x="90" y="25"/>
                      </a:cubicBezTo>
                      <a:cubicBezTo>
                        <a:pt x="90" y="24"/>
                        <a:pt x="90" y="24"/>
                        <a:pt x="90" y="24"/>
                      </a:cubicBezTo>
                      <a:cubicBezTo>
                        <a:pt x="90" y="24"/>
                        <a:pt x="90" y="24"/>
                        <a:pt x="90" y="24"/>
                      </a:cubicBezTo>
                      <a:cubicBezTo>
                        <a:pt x="91" y="24"/>
                        <a:pt x="91" y="24"/>
                        <a:pt x="91" y="24"/>
                      </a:cubicBezTo>
                      <a:cubicBezTo>
                        <a:pt x="91" y="25"/>
                        <a:pt x="91" y="25"/>
                        <a:pt x="91" y="25"/>
                      </a:cubicBezTo>
                      <a:cubicBezTo>
                        <a:pt x="92" y="25"/>
                        <a:pt x="92" y="25"/>
                        <a:pt x="92" y="25"/>
                      </a:cubicBezTo>
                      <a:cubicBezTo>
                        <a:pt x="93" y="25"/>
                        <a:pt x="93" y="25"/>
                        <a:pt x="93" y="25"/>
                      </a:cubicBezTo>
                      <a:cubicBezTo>
                        <a:pt x="93" y="25"/>
                        <a:pt x="93" y="25"/>
                        <a:pt x="93" y="25"/>
                      </a:cubicBezTo>
                      <a:cubicBezTo>
                        <a:pt x="94" y="26"/>
                        <a:pt x="94" y="26"/>
                        <a:pt x="94" y="26"/>
                      </a:cubicBezTo>
                      <a:cubicBezTo>
                        <a:pt x="94" y="25"/>
                        <a:pt x="94" y="25"/>
                        <a:pt x="94" y="25"/>
                      </a:cubicBezTo>
                      <a:cubicBezTo>
                        <a:pt x="95" y="25"/>
                        <a:pt x="95" y="25"/>
                        <a:pt x="95" y="25"/>
                      </a:cubicBezTo>
                      <a:cubicBezTo>
                        <a:pt x="95" y="26"/>
                        <a:pt x="95" y="26"/>
                        <a:pt x="95" y="26"/>
                      </a:cubicBezTo>
                      <a:cubicBezTo>
                        <a:pt x="95" y="25"/>
                        <a:pt x="95" y="25"/>
                        <a:pt x="95" y="25"/>
                      </a:cubicBezTo>
                      <a:cubicBezTo>
                        <a:pt x="95" y="24"/>
                        <a:pt x="95" y="24"/>
                        <a:pt x="95" y="24"/>
                      </a:cubicBezTo>
                      <a:cubicBezTo>
                        <a:pt x="95" y="23"/>
                        <a:pt x="95" y="23"/>
                        <a:pt x="95" y="23"/>
                      </a:cubicBezTo>
                      <a:cubicBezTo>
                        <a:pt x="95" y="22"/>
                        <a:pt x="95" y="22"/>
                        <a:pt x="95" y="22"/>
                      </a:cubicBezTo>
                      <a:cubicBezTo>
                        <a:pt x="96" y="21"/>
                        <a:pt x="96" y="21"/>
                        <a:pt x="96" y="21"/>
                      </a:cubicBezTo>
                      <a:cubicBezTo>
                        <a:pt x="95" y="20"/>
                        <a:pt x="95" y="20"/>
                        <a:pt x="95" y="20"/>
                      </a:cubicBezTo>
                      <a:cubicBezTo>
                        <a:pt x="95" y="19"/>
                        <a:pt x="95" y="19"/>
                        <a:pt x="95" y="19"/>
                      </a:cubicBezTo>
                      <a:cubicBezTo>
                        <a:pt x="95" y="18"/>
                        <a:pt x="95" y="18"/>
                        <a:pt x="95" y="18"/>
                      </a:cubicBezTo>
                      <a:cubicBezTo>
                        <a:pt x="96" y="17"/>
                        <a:pt x="96" y="17"/>
                        <a:pt x="96" y="17"/>
                      </a:cubicBezTo>
                      <a:cubicBezTo>
                        <a:pt x="96" y="16"/>
                        <a:pt x="96" y="16"/>
                        <a:pt x="96" y="16"/>
                      </a:cubicBezTo>
                      <a:cubicBezTo>
                        <a:pt x="96" y="16"/>
                        <a:pt x="96" y="16"/>
                        <a:pt x="96" y="16"/>
                      </a:cubicBezTo>
                      <a:cubicBezTo>
                        <a:pt x="96" y="15"/>
                        <a:pt x="96" y="15"/>
                        <a:pt x="96" y="15"/>
                      </a:cubicBezTo>
                      <a:cubicBezTo>
                        <a:pt x="96" y="14"/>
                        <a:pt x="96" y="14"/>
                        <a:pt x="96" y="14"/>
                      </a:cubicBezTo>
                      <a:cubicBezTo>
                        <a:pt x="96" y="14"/>
                        <a:pt x="96" y="14"/>
                        <a:pt x="96" y="14"/>
                      </a:cubicBezTo>
                      <a:cubicBezTo>
                        <a:pt x="97" y="14"/>
                        <a:pt x="97" y="14"/>
                        <a:pt x="97" y="14"/>
                      </a:cubicBezTo>
                      <a:cubicBezTo>
                        <a:pt x="98" y="14"/>
                        <a:pt x="98" y="14"/>
                        <a:pt x="98" y="14"/>
                      </a:cubicBezTo>
                      <a:cubicBezTo>
                        <a:pt x="98" y="14"/>
                        <a:pt x="98" y="14"/>
                        <a:pt x="98" y="14"/>
                      </a:cubicBezTo>
                      <a:cubicBezTo>
                        <a:pt x="99" y="14"/>
                        <a:pt x="99" y="14"/>
                        <a:pt x="99" y="14"/>
                      </a:cubicBezTo>
                      <a:cubicBezTo>
                        <a:pt x="99" y="15"/>
                        <a:pt x="99" y="15"/>
                        <a:pt x="99" y="15"/>
                      </a:cubicBezTo>
                      <a:cubicBezTo>
                        <a:pt x="100" y="15"/>
                        <a:pt x="100" y="15"/>
                        <a:pt x="100" y="15"/>
                      </a:cubicBezTo>
                      <a:cubicBezTo>
                        <a:pt x="100" y="16"/>
                        <a:pt x="100" y="16"/>
                        <a:pt x="100" y="16"/>
                      </a:cubicBezTo>
                      <a:cubicBezTo>
                        <a:pt x="101" y="18"/>
                        <a:pt x="101" y="18"/>
                        <a:pt x="101" y="18"/>
                      </a:cubicBezTo>
                      <a:cubicBezTo>
                        <a:pt x="101" y="18"/>
                        <a:pt x="101" y="18"/>
                        <a:pt x="101" y="18"/>
                      </a:cubicBezTo>
                      <a:cubicBezTo>
                        <a:pt x="102" y="20"/>
                        <a:pt x="102" y="20"/>
                        <a:pt x="102" y="20"/>
                      </a:cubicBezTo>
                      <a:cubicBezTo>
                        <a:pt x="103" y="21"/>
                        <a:pt x="103" y="21"/>
                        <a:pt x="103" y="21"/>
                      </a:cubicBezTo>
                      <a:cubicBezTo>
                        <a:pt x="103" y="23"/>
                        <a:pt x="103" y="23"/>
                        <a:pt x="103" y="23"/>
                      </a:cubicBezTo>
                      <a:cubicBezTo>
                        <a:pt x="103" y="23"/>
                        <a:pt x="103" y="23"/>
                        <a:pt x="103" y="23"/>
                      </a:cubicBezTo>
                      <a:cubicBezTo>
                        <a:pt x="102" y="24"/>
                        <a:pt x="102" y="24"/>
                        <a:pt x="102" y="24"/>
                      </a:cubicBezTo>
                      <a:cubicBezTo>
                        <a:pt x="102" y="24"/>
                        <a:pt x="102" y="24"/>
                        <a:pt x="102" y="24"/>
                      </a:cubicBezTo>
                      <a:cubicBezTo>
                        <a:pt x="102" y="25"/>
                        <a:pt x="102" y="25"/>
                        <a:pt x="102" y="25"/>
                      </a:cubicBezTo>
                      <a:cubicBezTo>
                        <a:pt x="103" y="26"/>
                        <a:pt x="103" y="26"/>
                        <a:pt x="103" y="26"/>
                      </a:cubicBezTo>
                      <a:cubicBezTo>
                        <a:pt x="103" y="27"/>
                        <a:pt x="103" y="27"/>
                        <a:pt x="103" y="27"/>
                      </a:cubicBezTo>
                      <a:cubicBezTo>
                        <a:pt x="103" y="28"/>
                        <a:pt x="103" y="28"/>
                        <a:pt x="103" y="28"/>
                      </a:cubicBezTo>
                      <a:cubicBezTo>
                        <a:pt x="103" y="29"/>
                        <a:pt x="103" y="29"/>
                        <a:pt x="103" y="29"/>
                      </a:cubicBezTo>
                      <a:cubicBezTo>
                        <a:pt x="104" y="29"/>
                        <a:pt x="104" y="29"/>
                        <a:pt x="104" y="29"/>
                      </a:cubicBezTo>
                      <a:cubicBezTo>
                        <a:pt x="105" y="29"/>
                        <a:pt x="105" y="29"/>
                        <a:pt x="105" y="29"/>
                      </a:cubicBezTo>
                      <a:cubicBezTo>
                        <a:pt x="106" y="30"/>
                        <a:pt x="106" y="30"/>
                        <a:pt x="106" y="30"/>
                      </a:cubicBezTo>
                      <a:cubicBezTo>
                        <a:pt x="106" y="30"/>
                        <a:pt x="106" y="30"/>
                        <a:pt x="106" y="30"/>
                      </a:cubicBezTo>
                      <a:cubicBezTo>
                        <a:pt x="107" y="30"/>
                        <a:pt x="107" y="30"/>
                        <a:pt x="107" y="30"/>
                      </a:cubicBezTo>
                      <a:cubicBezTo>
                        <a:pt x="108" y="29"/>
                        <a:pt x="108" y="29"/>
                        <a:pt x="108" y="29"/>
                      </a:cubicBezTo>
                      <a:cubicBezTo>
                        <a:pt x="108" y="28"/>
                        <a:pt x="108" y="28"/>
                        <a:pt x="108" y="28"/>
                      </a:cubicBezTo>
                      <a:cubicBezTo>
                        <a:pt x="109" y="28"/>
                        <a:pt x="109" y="28"/>
                        <a:pt x="109" y="28"/>
                      </a:cubicBezTo>
                      <a:cubicBezTo>
                        <a:pt x="109" y="29"/>
                        <a:pt x="109" y="29"/>
                        <a:pt x="109" y="29"/>
                      </a:cubicBezTo>
                      <a:cubicBezTo>
                        <a:pt x="109" y="29"/>
                        <a:pt x="109" y="29"/>
                        <a:pt x="109" y="29"/>
                      </a:cubicBezTo>
                      <a:cubicBezTo>
                        <a:pt x="109" y="29"/>
                        <a:pt x="109" y="29"/>
                        <a:pt x="109" y="29"/>
                      </a:cubicBezTo>
                      <a:cubicBezTo>
                        <a:pt x="110" y="29"/>
                        <a:pt x="110" y="29"/>
                        <a:pt x="110" y="29"/>
                      </a:cubicBezTo>
                      <a:cubicBezTo>
                        <a:pt x="110" y="30"/>
                        <a:pt x="110" y="30"/>
                        <a:pt x="110" y="30"/>
                      </a:cubicBezTo>
                      <a:cubicBezTo>
                        <a:pt x="111" y="30"/>
                        <a:pt x="111" y="30"/>
                        <a:pt x="111" y="30"/>
                      </a:cubicBezTo>
                      <a:cubicBezTo>
                        <a:pt x="111" y="31"/>
                        <a:pt x="111" y="31"/>
                        <a:pt x="111" y="31"/>
                      </a:cubicBezTo>
                      <a:cubicBezTo>
                        <a:pt x="111" y="31"/>
                        <a:pt x="111" y="31"/>
                        <a:pt x="111" y="31"/>
                      </a:cubicBezTo>
                      <a:cubicBezTo>
                        <a:pt x="112" y="31"/>
                        <a:pt x="112" y="31"/>
                        <a:pt x="112" y="31"/>
                      </a:cubicBezTo>
                      <a:cubicBezTo>
                        <a:pt x="112" y="31"/>
                        <a:pt x="112" y="31"/>
                        <a:pt x="112" y="31"/>
                      </a:cubicBezTo>
                      <a:cubicBezTo>
                        <a:pt x="113" y="31"/>
                        <a:pt x="113" y="31"/>
                        <a:pt x="113" y="31"/>
                      </a:cubicBezTo>
                      <a:cubicBezTo>
                        <a:pt x="113" y="31"/>
                        <a:pt x="113" y="31"/>
                        <a:pt x="113" y="31"/>
                      </a:cubicBezTo>
                      <a:cubicBezTo>
                        <a:pt x="113" y="31"/>
                        <a:pt x="113" y="31"/>
                        <a:pt x="113" y="31"/>
                      </a:cubicBezTo>
                      <a:cubicBezTo>
                        <a:pt x="112" y="30"/>
                        <a:pt x="112" y="30"/>
                        <a:pt x="112" y="30"/>
                      </a:cubicBezTo>
                      <a:cubicBezTo>
                        <a:pt x="112" y="30"/>
                        <a:pt x="112" y="30"/>
                        <a:pt x="112" y="30"/>
                      </a:cubicBezTo>
                      <a:cubicBezTo>
                        <a:pt x="112" y="29"/>
                        <a:pt x="112" y="29"/>
                        <a:pt x="112" y="29"/>
                      </a:cubicBezTo>
                      <a:cubicBezTo>
                        <a:pt x="111" y="29"/>
                        <a:pt x="111" y="29"/>
                        <a:pt x="111" y="29"/>
                      </a:cubicBezTo>
                      <a:cubicBezTo>
                        <a:pt x="111" y="29"/>
                        <a:pt x="111" y="29"/>
                        <a:pt x="111" y="29"/>
                      </a:cubicBezTo>
                      <a:cubicBezTo>
                        <a:pt x="111" y="28"/>
                        <a:pt x="111" y="28"/>
                        <a:pt x="111" y="28"/>
                      </a:cubicBezTo>
                      <a:cubicBezTo>
                        <a:pt x="110" y="27"/>
                        <a:pt x="110" y="27"/>
                        <a:pt x="110" y="27"/>
                      </a:cubicBezTo>
                      <a:cubicBezTo>
                        <a:pt x="109" y="27"/>
                        <a:pt x="109" y="27"/>
                        <a:pt x="109" y="27"/>
                      </a:cubicBezTo>
                      <a:cubicBezTo>
                        <a:pt x="109" y="26"/>
                        <a:pt x="109" y="26"/>
                        <a:pt x="109" y="26"/>
                      </a:cubicBezTo>
                      <a:cubicBezTo>
                        <a:pt x="109" y="25"/>
                        <a:pt x="109" y="25"/>
                        <a:pt x="109" y="25"/>
                      </a:cubicBezTo>
                      <a:cubicBezTo>
                        <a:pt x="109" y="24"/>
                        <a:pt x="109" y="24"/>
                        <a:pt x="109" y="24"/>
                      </a:cubicBezTo>
                      <a:cubicBezTo>
                        <a:pt x="109" y="24"/>
                        <a:pt x="109" y="24"/>
                        <a:pt x="109" y="24"/>
                      </a:cubicBezTo>
                      <a:cubicBezTo>
                        <a:pt x="109" y="23"/>
                        <a:pt x="109" y="23"/>
                        <a:pt x="109" y="23"/>
                      </a:cubicBezTo>
                      <a:cubicBezTo>
                        <a:pt x="109" y="22"/>
                        <a:pt x="109" y="22"/>
                        <a:pt x="109" y="22"/>
                      </a:cubicBezTo>
                      <a:cubicBezTo>
                        <a:pt x="108" y="21"/>
                        <a:pt x="108" y="21"/>
                        <a:pt x="108" y="21"/>
                      </a:cubicBezTo>
                      <a:cubicBezTo>
                        <a:pt x="108" y="20"/>
                        <a:pt x="108" y="20"/>
                        <a:pt x="108" y="20"/>
                      </a:cubicBezTo>
                      <a:cubicBezTo>
                        <a:pt x="108" y="20"/>
                        <a:pt x="108" y="20"/>
                        <a:pt x="108" y="20"/>
                      </a:cubicBezTo>
                      <a:cubicBezTo>
                        <a:pt x="108" y="19"/>
                        <a:pt x="108" y="19"/>
                        <a:pt x="108" y="19"/>
                      </a:cubicBezTo>
                      <a:cubicBezTo>
                        <a:pt x="108" y="18"/>
                        <a:pt x="108" y="18"/>
                        <a:pt x="108" y="18"/>
                      </a:cubicBezTo>
                      <a:cubicBezTo>
                        <a:pt x="108" y="17"/>
                        <a:pt x="108" y="17"/>
                        <a:pt x="108" y="17"/>
                      </a:cubicBezTo>
                      <a:cubicBezTo>
                        <a:pt x="107" y="16"/>
                        <a:pt x="107" y="16"/>
                        <a:pt x="107" y="16"/>
                      </a:cubicBezTo>
                      <a:cubicBezTo>
                        <a:pt x="107" y="15"/>
                        <a:pt x="107" y="15"/>
                        <a:pt x="107" y="15"/>
                      </a:cubicBezTo>
                      <a:cubicBezTo>
                        <a:pt x="107" y="15"/>
                        <a:pt x="107" y="15"/>
                        <a:pt x="107" y="15"/>
                      </a:cubicBezTo>
                      <a:cubicBezTo>
                        <a:pt x="107" y="14"/>
                        <a:pt x="107" y="14"/>
                        <a:pt x="107" y="14"/>
                      </a:cubicBezTo>
                      <a:cubicBezTo>
                        <a:pt x="107" y="13"/>
                        <a:pt x="107" y="13"/>
                        <a:pt x="107" y="13"/>
                      </a:cubicBezTo>
                      <a:cubicBezTo>
                        <a:pt x="107" y="13"/>
                        <a:pt x="107" y="13"/>
                        <a:pt x="107" y="13"/>
                      </a:cubicBezTo>
                      <a:cubicBezTo>
                        <a:pt x="108" y="13"/>
                        <a:pt x="108" y="13"/>
                        <a:pt x="108" y="13"/>
                      </a:cubicBezTo>
                      <a:cubicBezTo>
                        <a:pt x="109" y="13"/>
                        <a:pt x="109" y="13"/>
                        <a:pt x="109" y="13"/>
                      </a:cubicBezTo>
                      <a:cubicBezTo>
                        <a:pt x="109" y="13"/>
                        <a:pt x="109" y="13"/>
                        <a:pt x="109" y="13"/>
                      </a:cubicBezTo>
                      <a:cubicBezTo>
                        <a:pt x="110" y="13"/>
                        <a:pt x="110" y="13"/>
                        <a:pt x="110" y="13"/>
                      </a:cubicBezTo>
                      <a:cubicBezTo>
                        <a:pt x="110" y="13"/>
                        <a:pt x="110" y="13"/>
                        <a:pt x="110" y="13"/>
                      </a:cubicBezTo>
                      <a:cubicBezTo>
                        <a:pt x="112" y="14"/>
                        <a:pt x="112" y="14"/>
                        <a:pt x="112" y="14"/>
                      </a:cubicBezTo>
                      <a:cubicBezTo>
                        <a:pt x="113" y="15"/>
                        <a:pt x="113" y="15"/>
                        <a:pt x="113" y="15"/>
                      </a:cubicBezTo>
                      <a:cubicBezTo>
                        <a:pt x="113" y="15"/>
                        <a:pt x="113" y="15"/>
                        <a:pt x="113" y="15"/>
                      </a:cubicBezTo>
                      <a:cubicBezTo>
                        <a:pt x="113" y="14"/>
                        <a:pt x="113" y="14"/>
                        <a:pt x="113" y="14"/>
                      </a:cubicBezTo>
                      <a:cubicBezTo>
                        <a:pt x="113" y="13"/>
                        <a:pt x="113" y="13"/>
                        <a:pt x="113" y="13"/>
                      </a:cubicBezTo>
                      <a:cubicBezTo>
                        <a:pt x="113" y="12"/>
                        <a:pt x="113" y="12"/>
                        <a:pt x="113" y="12"/>
                      </a:cubicBezTo>
                      <a:cubicBezTo>
                        <a:pt x="114" y="12"/>
                        <a:pt x="114" y="12"/>
                        <a:pt x="114" y="12"/>
                      </a:cubicBezTo>
                      <a:cubicBezTo>
                        <a:pt x="115" y="12"/>
                        <a:pt x="115" y="12"/>
                        <a:pt x="115" y="12"/>
                      </a:cubicBezTo>
                      <a:cubicBezTo>
                        <a:pt x="116" y="12"/>
                        <a:pt x="116" y="12"/>
                        <a:pt x="116" y="12"/>
                      </a:cubicBezTo>
                      <a:cubicBezTo>
                        <a:pt x="117" y="12"/>
                        <a:pt x="117" y="12"/>
                        <a:pt x="117" y="12"/>
                      </a:cubicBezTo>
                      <a:cubicBezTo>
                        <a:pt x="117" y="12"/>
                        <a:pt x="117" y="12"/>
                        <a:pt x="117" y="12"/>
                      </a:cubicBezTo>
                      <a:cubicBezTo>
                        <a:pt x="118" y="12"/>
                        <a:pt x="118" y="12"/>
                        <a:pt x="118" y="12"/>
                      </a:cubicBezTo>
                      <a:cubicBezTo>
                        <a:pt x="119" y="13"/>
                        <a:pt x="119" y="13"/>
                        <a:pt x="119" y="13"/>
                      </a:cubicBezTo>
                      <a:cubicBezTo>
                        <a:pt x="119" y="13"/>
                        <a:pt x="119" y="13"/>
                        <a:pt x="119" y="13"/>
                      </a:cubicBezTo>
                      <a:cubicBezTo>
                        <a:pt x="120" y="14"/>
                        <a:pt x="120" y="14"/>
                        <a:pt x="120" y="14"/>
                      </a:cubicBezTo>
                      <a:cubicBezTo>
                        <a:pt x="120" y="15"/>
                        <a:pt x="120" y="15"/>
                        <a:pt x="120" y="15"/>
                      </a:cubicBezTo>
                      <a:cubicBezTo>
                        <a:pt x="121" y="16"/>
                        <a:pt x="121" y="16"/>
                        <a:pt x="121" y="16"/>
                      </a:cubicBezTo>
                      <a:cubicBezTo>
                        <a:pt x="121" y="16"/>
                        <a:pt x="121" y="16"/>
                        <a:pt x="121" y="16"/>
                      </a:cubicBezTo>
                      <a:cubicBezTo>
                        <a:pt x="120" y="17"/>
                        <a:pt x="120" y="17"/>
                        <a:pt x="120" y="17"/>
                      </a:cubicBezTo>
                      <a:cubicBezTo>
                        <a:pt x="121" y="19"/>
                        <a:pt x="121" y="19"/>
                        <a:pt x="121" y="19"/>
                      </a:cubicBezTo>
                      <a:cubicBezTo>
                        <a:pt x="121" y="20"/>
                        <a:pt x="121" y="20"/>
                        <a:pt x="121" y="20"/>
                      </a:cubicBezTo>
                      <a:cubicBezTo>
                        <a:pt x="121" y="20"/>
                        <a:pt x="121" y="20"/>
                        <a:pt x="121" y="20"/>
                      </a:cubicBezTo>
                      <a:cubicBezTo>
                        <a:pt x="122" y="21"/>
                        <a:pt x="122" y="21"/>
                        <a:pt x="122" y="21"/>
                      </a:cubicBezTo>
                      <a:cubicBezTo>
                        <a:pt x="123" y="21"/>
                        <a:pt x="123" y="21"/>
                        <a:pt x="123" y="21"/>
                      </a:cubicBezTo>
                      <a:cubicBezTo>
                        <a:pt x="124" y="21"/>
                        <a:pt x="124" y="21"/>
                        <a:pt x="124" y="21"/>
                      </a:cubicBezTo>
                      <a:cubicBezTo>
                        <a:pt x="125" y="22"/>
                        <a:pt x="125" y="22"/>
                        <a:pt x="125" y="22"/>
                      </a:cubicBezTo>
                      <a:cubicBezTo>
                        <a:pt x="125" y="21"/>
                        <a:pt x="125" y="21"/>
                        <a:pt x="125" y="21"/>
                      </a:cubicBezTo>
                      <a:cubicBezTo>
                        <a:pt x="125" y="21"/>
                        <a:pt x="125" y="21"/>
                        <a:pt x="125" y="21"/>
                      </a:cubicBezTo>
                      <a:cubicBezTo>
                        <a:pt x="124" y="21"/>
                        <a:pt x="124" y="21"/>
                        <a:pt x="124" y="21"/>
                      </a:cubicBezTo>
                      <a:cubicBezTo>
                        <a:pt x="124" y="20"/>
                        <a:pt x="124" y="20"/>
                        <a:pt x="124" y="20"/>
                      </a:cubicBezTo>
                      <a:cubicBezTo>
                        <a:pt x="123" y="20"/>
                        <a:pt x="123" y="20"/>
                        <a:pt x="123" y="20"/>
                      </a:cubicBezTo>
                      <a:cubicBezTo>
                        <a:pt x="122" y="19"/>
                        <a:pt x="122" y="19"/>
                        <a:pt x="122" y="19"/>
                      </a:cubicBezTo>
                      <a:cubicBezTo>
                        <a:pt x="122" y="19"/>
                        <a:pt x="122" y="19"/>
                        <a:pt x="122" y="19"/>
                      </a:cubicBezTo>
                      <a:cubicBezTo>
                        <a:pt x="122" y="18"/>
                        <a:pt x="122" y="18"/>
                        <a:pt x="122" y="18"/>
                      </a:cubicBezTo>
                      <a:cubicBezTo>
                        <a:pt x="121" y="17"/>
                        <a:pt x="121" y="17"/>
                        <a:pt x="121" y="17"/>
                      </a:cubicBezTo>
                      <a:cubicBezTo>
                        <a:pt x="121" y="16"/>
                        <a:pt x="121" y="16"/>
                        <a:pt x="121" y="16"/>
                      </a:cubicBezTo>
                      <a:cubicBezTo>
                        <a:pt x="122" y="15"/>
                        <a:pt x="122" y="15"/>
                        <a:pt x="122" y="15"/>
                      </a:cubicBezTo>
                      <a:cubicBezTo>
                        <a:pt x="122" y="14"/>
                        <a:pt x="122" y="14"/>
                        <a:pt x="122" y="14"/>
                      </a:cubicBezTo>
                      <a:cubicBezTo>
                        <a:pt x="122" y="14"/>
                        <a:pt x="122" y="14"/>
                        <a:pt x="122" y="14"/>
                      </a:cubicBezTo>
                      <a:cubicBezTo>
                        <a:pt x="122" y="13"/>
                        <a:pt x="122" y="13"/>
                        <a:pt x="122" y="13"/>
                      </a:cubicBezTo>
                      <a:cubicBezTo>
                        <a:pt x="121" y="13"/>
                        <a:pt x="121" y="13"/>
                        <a:pt x="121" y="13"/>
                      </a:cubicBezTo>
                      <a:cubicBezTo>
                        <a:pt x="121" y="12"/>
                        <a:pt x="121" y="12"/>
                        <a:pt x="121" y="12"/>
                      </a:cubicBezTo>
                      <a:cubicBezTo>
                        <a:pt x="120" y="11"/>
                        <a:pt x="120" y="11"/>
                        <a:pt x="120" y="11"/>
                      </a:cubicBezTo>
                      <a:cubicBezTo>
                        <a:pt x="119" y="11"/>
                        <a:pt x="119" y="11"/>
                        <a:pt x="119" y="11"/>
                      </a:cubicBezTo>
                      <a:cubicBezTo>
                        <a:pt x="118" y="11"/>
                        <a:pt x="118" y="11"/>
                        <a:pt x="118" y="11"/>
                      </a:cubicBezTo>
                      <a:cubicBezTo>
                        <a:pt x="117" y="11"/>
                        <a:pt x="117" y="11"/>
                        <a:pt x="117" y="11"/>
                      </a:cubicBezTo>
                      <a:cubicBezTo>
                        <a:pt x="117" y="12"/>
                        <a:pt x="117" y="12"/>
                        <a:pt x="117" y="12"/>
                      </a:cubicBezTo>
                      <a:cubicBezTo>
                        <a:pt x="116" y="11"/>
                        <a:pt x="116" y="11"/>
                        <a:pt x="116" y="11"/>
                      </a:cubicBezTo>
                      <a:cubicBezTo>
                        <a:pt x="116" y="10"/>
                        <a:pt x="116" y="10"/>
                        <a:pt x="116" y="10"/>
                      </a:cubicBezTo>
                      <a:cubicBezTo>
                        <a:pt x="116" y="9"/>
                        <a:pt x="116" y="9"/>
                        <a:pt x="116" y="9"/>
                      </a:cubicBezTo>
                      <a:cubicBezTo>
                        <a:pt x="117" y="9"/>
                        <a:pt x="117" y="9"/>
                        <a:pt x="117" y="9"/>
                      </a:cubicBezTo>
                      <a:cubicBezTo>
                        <a:pt x="117" y="9"/>
                        <a:pt x="117" y="9"/>
                        <a:pt x="117" y="9"/>
                      </a:cubicBezTo>
                      <a:cubicBezTo>
                        <a:pt x="116" y="8"/>
                        <a:pt x="116" y="8"/>
                        <a:pt x="116" y="8"/>
                      </a:cubicBezTo>
                      <a:cubicBezTo>
                        <a:pt x="115" y="7"/>
                        <a:pt x="115" y="7"/>
                        <a:pt x="115" y="7"/>
                      </a:cubicBezTo>
                      <a:cubicBezTo>
                        <a:pt x="116" y="6"/>
                        <a:pt x="116" y="6"/>
                        <a:pt x="116" y="6"/>
                      </a:cubicBezTo>
                      <a:cubicBezTo>
                        <a:pt x="116" y="5"/>
                        <a:pt x="116" y="5"/>
                        <a:pt x="116" y="5"/>
                      </a:cubicBezTo>
                      <a:cubicBezTo>
                        <a:pt x="116" y="5"/>
                        <a:pt x="116" y="5"/>
                        <a:pt x="116" y="5"/>
                      </a:cubicBezTo>
                      <a:cubicBezTo>
                        <a:pt x="117" y="6"/>
                        <a:pt x="117" y="6"/>
                        <a:pt x="117" y="6"/>
                      </a:cubicBezTo>
                      <a:cubicBezTo>
                        <a:pt x="118" y="7"/>
                        <a:pt x="118" y="7"/>
                        <a:pt x="118" y="7"/>
                      </a:cubicBezTo>
                      <a:cubicBezTo>
                        <a:pt x="118" y="7"/>
                        <a:pt x="118" y="7"/>
                        <a:pt x="118" y="7"/>
                      </a:cubicBezTo>
                      <a:cubicBezTo>
                        <a:pt x="119" y="6"/>
                        <a:pt x="119" y="6"/>
                        <a:pt x="119" y="6"/>
                      </a:cubicBezTo>
                      <a:cubicBezTo>
                        <a:pt x="119" y="5"/>
                        <a:pt x="119" y="5"/>
                        <a:pt x="119" y="5"/>
                      </a:cubicBezTo>
                      <a:cubicBezTo>
                        <a:pt x="120" y="5"/>
                        <a:pt x="120" y="5"/>
                        <a:pt x="120" y="5"/>
                      </a:cubicBezTo>
                      <a:cubicBezTo>
                        <a:pt x="121" y="4"/>
                        <a:pt x="121" y="4"/>
                        <a:pt x="121" y="4"/>
                      </a:cubicBezTo>
                      <a:cubicBezTo>
                        <a:pt x="121" y="4"/>
                        <a:pt x="121" y="4"/>
                        <a:pt x="121" y="4"/>
                      </a:cubicBezTo>
                      <a:cubicBezTo>
                        <a:pt x="122" y="4"/>
                        <a:pt x="122" y="4"/>
                        <a:pt x="122" y="4"/>
                      </a:cubicBezTo>
                      <a:cubicBezTo>
                        <a:pt x="122" y="4"/>
                        <a:pt x="122" y="4"/>
                        <a:pt x="122" y="4"/>
                      </a:cubicBezTo>
                      <a:cubicBezTo>
                        <a:pt x="121" y="5"/>
                        <a:pt x="121" y="5"/>
                        <a:pt x="121" y="5"/>
                      </a:cubicBezTo>
                      <a:cubicBezTo>
                        <a:pt x="122" y="5"/>
                        <a:pt x="122" y="5"/>
                        <a:pt x="122" y="5"/>
                      </a:cubicBezTo>
                      <a:cubicBezTo>
                        <a:pt x="122" y="5"/>
                        <a:pt x="122" y="5"/>
                        <a:pt x="122" y="5"/>
                      </a:cubicBezTo>
                      <a:cubicBezTo>
                        <a:pt x="123" y="5"/>
                        <a:pt x="123" y="5"/>
                        <a:pt x="123" y="5"/>
                      </a:cubicBezTo>
                      <a:cubicBezTo>
                        <a:pt x="123" y="5"/>
                        <a:pt x="123" y="5"/>
                        <a:pt x="123" y="5"/>
                      </a:cubicBezTo>
                      <a:cubicBezTo>
                        <a:pt x="124" y="6"/>
                        <a:pt x="124" y="6"/>
                        <a:pt x="124" y="6"/>
                      </a:cubicBezTo>
                      <a:cubicBezTo>
                        <a:pt x="124" y="6"/>
                        <a:pt x="124" y="6"/>
                        <a:pt x="124" y="6"/>
                      </a:cubicBezTo>
                      <a:cubicBezTo>
                        <a:pt x="124" y="6"/>
                        <a:pt x="124" y="6"/>
                        <a:pt x="124" y="6"/>
                      </a:cubicBezTo>
                      <a:cubicBezTo>
                        <a:pt x="124" y="7"/>
                        <a:pt x="124" y="7"/>
                        <a:pt x="124" y="7"/>
                      </a:cubicBezTo>
                      <a:cubicBezTo>
                        <a:pt x="124" y="8"/>
                        <a:pt x="124" y="8"/>
                        <a:pt x="124" y="8"/>
                      </a:cubicBezTo>
                      <a:cubicBezTo>
                        <a:pt x="124" y="7"/>
                        <a:pt x="124" y="7"/>
                        <a:pt x="124" y="7"/>
                      </a:cubicBezTo>
                      <a:cubicBezTo>
                        <a:pt x="125" y="6"/>
                        <a:pt x="125" y="6"/>
                        <a:pt x="125" y="6"/>
                      </a:cubicBezTo>
                      <a:cubicBezTo>
                        <a:pt x="126" y="6"/>
                        <a:pt x="126" y="6"/>
                        <a:pt x="126" y="6"/>
                      </a:cubicBezTo>
                      <a:cubicBezTo>
                        <a:pt x="127" y="7"/>
                        <a:pt x="127" y="7"/>
                        <a:pt x="127" y="7"/>
                      </a:cubicBezTo>
                      <a:cubicBezTo>
                        <a:pt x="127" y="8"/>
                        <a:pt x="127" y="8"/>
                        <a:pt x="127" y="8"/>
                      </a:cubicBezTo>
                      <a:cubicBezTo>
                        <a:pt x="127" y="9"/>
                        <a:pt x="127" y="9"/>
                        <a:pt x="127" y="9"/>
                      </a:cubicBezTo>
                      <a:cubicBezTo>
                        <a:pt x="128" y="10"/>
                        <a:pt x="128" y="10"/>
                        <a:pt x="128" y="10"/>
                      </a:cubicBezTo>
                      <a:cubicBezTo>
                        <a:pt x="128" y="11"/>
                        <a:pt x="128" y="11"/>
                        <a:pt x="128" y="11"/>
                      </a:cubicBezTo>
                      <a:cubicBezTo>
                        <a:pt x="128" y="10"/>
                        <a:pt x="128" y="10"/>
                        <a:pt x="128" y="10"/>
                      </a:cubicBezTo>
                      <a:cubicBezTo>
                        <a:pt x="128" y="9"/>
                        <a:pt x="128" y="9"/>
                        <a:pt x="128" y="9"/>
                      </a:cubicBezTo>
                      <a:cubicBezTo>
                        <a:pt x="128" y="9"/>
                        <a:pt x="128" y="9"/>
                        <a:pt x="128" y="9"/>
                      </a:cubicBezTo>
                      <a:cubicBezTo>
                        <a:pt x="128" y="8"/>
                        <a:pt x="128" y="8"/>
                        <a:pt x="128" y="8"/>
                      </a:cubicBezTo>
                      <a:cubicBezTo>
                        <a:pt x="128" y="7"/>
                        <a:pt x="128" y="7"/>
                        <a:pt x="128" y="7"/>
                      </a:cubicBezTo>
                      <a:cubicBezTo>
                        <a:pt x="127" y="7"/>
                        <a:pt x="127" y="7"/>
                        <a:pt x="127" y="7"/>
                      </a:cubicBezTo>
                      <a:cubicBezTo>
                        <a:pt x="128" y="7"/>
                        <a:pt x="128" y="7"/>
                        <a:pt x="128" y="7"/>
                      </a:cubicBezTo>
                      <a:cubicBezTo>
                        <a:pt x="128" y="7"/>
                        <a:pt x="128" y="7"/>
                        <a:pt x="128" y="7"/>
                      </a:cubicBezTo>
                      <a:cubicBezTo>
                        <a:pt x="130" y="8"/>
                        <a:pt x="130" y="8"/>
                        <a:pt x="130" y="8"/>
                      </a:cubicBezTo>
                      <a:cubicBezTo>
                        <a:pt x="131" y="10"/>
                        <a:pt x="131" y="10"/>
                        <a:pt x="131" y="10"/>
                      </a:cubicBezTo>
                      <a:cubicBezTo>
                        <a:pt x="132" y="10"/>
                        <a:pt x="132" y="10"/>
                        <a:pt x="132" y="10"/>
                      </a:cubicBezTo>
                      <a:cubicBezTo>
                        <a:pt x="133" y="10"/>
                        <a:pt x="133" y="10"/>
                        <a:pt x="133" y="10"/>
                      </a:cubicBezTo>
                      <a:cubicBezTo>
                        <a:pt x="133" y="10"/>
                        <a:pt x="133" y="10"/>
                        <a:pt x="133" y="10"/>
                      </a:cubicBezTo>
                      <a:cubicBezTo>
                        <a:pt x="132" y="9"/>
                        <a:pt x="132" y="9"/>
                        <a:pt x="132" y="9"/>
                      </a:cubicBezTo>
                      <a:cubicBezTo>
                        <a:pt x="131" y="9"/>
                        <a:pt x="131" y="9"/>
                        <a:pt x="131" y="9"/>
                      </a:cubicBezTo>
                      <a:cubicBezTo>
                        <a:pt x="130" y="8"/>
                        <a:pt x="130" y="8"/>
                        <a:pt x="130" y="8"/>
                      </a:cubicBezTo>
                      <a:cubicBezTo>
                        <a:pt x="130" y="7"/>
                        <a:pt x="130" y="7"/>
                        <a:pt x="130" y="7"/>
                      </a:cubicBezTo>
                      <a:cubicBezTo>
                        <a:pt x="130" y="6"/>
                        <a:pt x="130" y="6"/>
                        <a:pt x="130" y="6"/>
                      </a:cubicBezTo>
                      <a:cubicBezTo>
                        <a:pt x="131" y="6"/>
                        <a:pt x="131" y="6"/>
                        <a:pt x="131" y="6"/>
                      </a:cubicBezTo>
                      <a:cubicBezTo>
                        <a:pt x="132" y="6"/>
                        <a:pt x="132" y="6"/>
                        <a:pt x="132" y="6"/>
                      </a:cubicBezTo>
                      <a:cubicBezTo>
                        <a:pt x="134" y="6"/>
                        <a:pt x="134" y="6"/>
                        <a:pt x="134" y="6"/>
                      </a:cubicBezTo>
                      <a:cubicBezTo>
                        <a:pt x="134" y="6"/>
                        <a:pt x="134" y="6"/>
                        <a:pt x="134" y="6"/>
                      </a:cubicBezTo>
                      <a:cubicBezTo>
                        <a:pt x="135" y="6"/>
                        <a:pt x="135" y="6"/>
                        <a:pt x="135" y="6"/>
                      </a:cubicBezTo>
                      <a:cubicBezTo>
                        <a:pt x="134" y="5"/>
                        <a:pt x="134" y="5"/>
                        <a:pt x="134" y="5"/>
                      </a:cubicBezTo>
                      <a:cubicBezTo>
                        <a:pt x="134" y="5"/>
                        <a:pt x="134" y="5"/>
                        <a:pt x="134" y="5"/>
                      </a:cubicBezTo>
                      <a:cubicBezTo>
                        <a:pt x="134" y="5"/>
                        <a:pt x="134" y="5"/>
                        <a:pt x="134" y="5"/>
                      </a:cubicBezTo>
                      <a:cubicBezTo>
                        <a:pt x="135" y="4"/>
                        <a:pt x="135" y="4"/>
                        <a:pt x="135" y="4"/>
                      </a:cubicBezTo>
                      <a:cubicBezTo>
                        <a:pt x="135" y="3"/>
                        <a:pt x="135" y="3"/>
                        <a:pt x="135" y="3"/>
                      </a:cubicBezTo>
                      <a:cubicBezTo>
                        <a:pt x="135" y="3"/>
                        <a:pt x="135" y="3"/>
                        <a:pt x="135" y="3"/>
                      </a:cubicBezTo>
                      <a:cubicBezTo>
                        <a:pt x="135" y="2"/>
                        <a:pt x="135" y="2"/>
                        <a:pt x="135" y="2"/>
                      </a:cubicBezTo>
                      <a:cubicBezTo>
                        <a:pt x="135" y="2"/>
                        <a:pt x="135" y="2"/>
                        <a:pt x="135" y="2"/>
                      </a:cubicBezTo>
                      <a:cubicBezTo>
                        <a:pt x="136" y="2"/>
                        <a:pt x="136" y="2"/>
                        <a:pt x="136" y="2"/>
                      </a:cubicBezTo>
                      <a:cubicBezTo>
                        <a:pt x="136" y="2"/>
                        <a:pt x="136" y="2"/>
                        <a:pt x="136" y="2"/>
                      </a:cubicBezTo>
                      <a:cubicBezTo>
                        <a:pt x="137" y="1"/>
                        <a:pt x="137" y="1"/>
                        <a:pt x="137" y="1"/>
                      </a:cubicBezTo>
                      <a:cubicBezTo>
                        <a:pt x="137" y="0"/>
                        <a:pt x="137" y="0"/>
                        <a:pt x="137" y="0"/>
                      </a:cubicBezTo>
                      <a:cubicBezTo>
                        <a:pt x="137" y="0"/>
                        <a:pt x="137" y="0"/>
                        <a:pt x="137" y="0"/>
                      </a:cubicBezTo>
                      <a:cubicBezTo>
                        <a:pt x="138" y="0"/>
                        <a:pt x="138" y="0"/>
                        <a:pt x="138" y="0"/>
                      </a:cubicBezTo>
                      <a:cubicBezTo>
                        <a:pt x="138" y="1"/>
                        <a:pt x="138" y="1"/>
                        <a:pt x="138" y="1"/>
                      </a:cubicBezTo>
                      <a:cubicBezTo>
                        <a:pt x="138" y="1"/>
                        <a:pt x="138" y="1"/>
                        <a:pt x="138" y="1"/>
                      </a:cubicBezTo>
                      <a:cubicBezTo>
                        <a:pt x="139" y="1"/>
                        <a:pt x="139" y="1"/>
                        <a:pt x="139" y="1"/>
                      </a:cubicBezTo>
                      <a:cubicBezTo>
                        <a:pt x="139" y="2"/>
                        <a:pt x="139" y="2"/>
                        <a:pt x="139" y="2"/>
                      </a:cubicBezTo>
                      <a:cubicBezTo>
                        <a:pt x="140" y="3"/>
                        <a:pt x="140" y="3"/>
                        <a:pt x="140" y="3"/>
                      </a:cubicBezTo>
                      <a:cubicBezTo>
                        <a:pt x="140" y="2"/>
                        <a:pt x="140" y="2"/>
                        <a:pt x="140" y="2"/>
                      </a:cubicBezTo>
                      <a:cubicBezTo>
                        <a:pt x="140" y="2"/>
                        <a:pt x="140" y="2"/>
                        <a:pt x="140" y="2"/>
                      </a:cubicBezTo>
                      <a:cubicBezTo>
                        <a:pt x="140" y="1"/>
                        <a:pt x="140" y="1"/>
                        <a:pt x="140" y="1"/>
                      </a:cubicBezTo>
                      <a:cubicBezTo>
                        <a:pt x="140" y="0"/>
                        <a:pt x="140" y="0"/>
                        <a:pt x="140" y="0"/>
                      </a:cubicBezTo>
                      <a:cubicBezTo>
                        <a:pt x="140" y="0"/>
                        <a:pt x="140" y="0"/>
                        <a:pt x="140" y="0"/>
                      </a:cubicBezTo>
                      <a:cubicBezTo>
                        <a:pt x="141" y="0"/>
                        <a:pt x="141" y="0"/>
                        <a:pt x="141" y="0"/>
                      </a:cubicBezTo>
                      <a:cubicBezTo>
                        <a:pt x="142" y="0"/>
                        <a:pt x="142" y="0"/>
                        <a:pt x="142" y="0"/>
                      </a:cubicBezTo>
                      <a:cubicBezTo>
                        <a:pt x="143" y="0"/>
                        <a:pt x="143" y="0"/>
                        <a:pt x="143" y="0"/>
                      </a:cubicBezTo>
                      <a:cubicBezTo>
                        <a:pt x="144" y="0"/>
                        <a:pt x="144" y="0"/>
                        <a:pt x="144" y="0"/>
                      </a:cubicBezTo>
                      <a:cubicBezTo>
                        <a:pt x="144" y="1"/>
                        <a:pt x="144" y="1"/>
                        <a:pt x="144" y="1"/>
                      </a:cubicBezTo>
                      <a:cubicBezTo>
                        <a:pt x="145" y="1"/>
                        <a:pt x="145" y="1"/>
                        <a:pt x="145" y="1"/>
                      </a:cubicBezTo>
                      <a:cubicBezTo>
                        <a:pt x="145" y="0"/>
                        <a:pt x="145" y="0"/>
                        <a:pt x="145" y="0"/>
                      </a:cubicBezTo>
                      <a:cubicBezTo>
                        <a:pt x="146" y="0"/>
                        <a:pt x="146" y="0"/>
                        <a:pt x="146" y="0"/>
                      </a:cubicBezTo>
                      <a:cubicBezTo>
                        <a:pt x="148" y="1"/>
                        <a:pt x="148" y="1"/>
                        <a:pt x="148" y="1"/>
                      </a:cubicBezTo>
                      <a:cubicBezTo>
                        <a:pt x="148" y="1"/>
                        <a:pt x="148" y="1"/>
                        <a:pt x="148" y="1"/>
                      </a:cubicBezTo>
                      <a:cubicBezTo>
                        <a:pt x="149" y="1"/>
                        <a:pt x="149" y="1"/>
                        <a:pt x="149" y="1"/>
                      </a:cubicBezTo>
                      <a:cubicBezTo>
                        <a:pt x="149" y="1"/>
                        <a:pt x="149" y="1"/>
                        <a:pt x="149" y="1"/>
                      </a:cubicBezTo>
                      <a:cubicBezTo>
                        <a:pt x="150" y="1"/>
                        <a:pt x="150" y="1"/>
                        <a:pt x="150" y="1"/>
                      </a:cubicBezTo>
                      <a:cubicBezTo>
                        <a:pt x="150" y="2"/>
                        <a:pt x="150" y="2"/>
                        <a:pt x="150" y="2"/>
                      </a:cubicBezTo>
                      <a:cubicBezTo>
                        <a:pt x="151" y="2"/>
                        <a:pt x="151" y="2"/>
                        <a:pt x="151" y="2"/>
                      </a:cubicBezTo>
                      <a:cubicBezTo>
                        <a:pt x="152" y="2"/>
                        <a:pt x="152" y="2"/>
                        <a:pt x="152" y="2"/>
                      </a:cubicBezTo>
                      <a:cubicBezTo>
                        <a:pt x="152" y="2"/>
                        <a:pt x="152" y="2"/>
                        <a:pt x="152" y="2"/>
                      </a:cubicBezTo>
                      <a:cubicBezTo>
                        <a:pt x="153" y="2"/>
                        <a:pt x="153" y="2"/>
                        <a:pt x="153" y="2"/>
                      </a:cubicBezTo>
                      <a:cubicBezTo>
                        <a:pt x="154" y="3"/>
                        <a:pt x="154" y="3"/>
                        <a:pt x="154" y="3"/>
                      </a:cubicBezTo>
                      <a:cubicBezTo>
                        <a:pt x="155" y="3"/>
                        <a:pt x="155" y="3"/>
                        <a:pt x="155" y="3"/>
                      </a:cubicBezTo>
                      <a:cubicBezTo>
                        <a:pt x="156" y="3"/>
                        <a:pt x="156" y="3"/>
                        <a:pt x="156" y="3"/>
                      </a:cubicBezTo>
                      <a:cubicBezTo>
                        <a:pt x="157" y="4"/>
                        <a:pt x="157" y="4"/>
                        <a:pt x="157" y="4"/>
                      </a:cubicBezTo>
                      <a:cubicBezTo>
                        <a:pt x="158" y="4"/>
                        <a:pt x="158" y="4"/>
                        <a:pt x="158" y="4"/>
                      </a:cubicBezTo>
                      <a:cubicBezTo>
                        <a:pt x="159" y="4"/>
                        <a:pt x="159" y="4"/>
                        <a:pt x="159" y="4"/>
                      </a:cubicBezTo>
                      <a:cubicBezTo>
                        <a:pt x="159" y="4"/>
                        <a:pt x="159" y="4"/>
                        <a:pt x="159" y="4"/>
                      </a:cubicBezTo>
                      <a:cubicBezTo>
                        <a:pt x="160" y="4"/>
                        <a:pt x="160" y="4"/>
                        <a:pt x="160" y="4"/>
                      </a:cubicBezTo>
                      <a:cubicBezTo>
                        <a:pt x="161" y="4"/>
                        <a:pt x="161" y="4"/>
                        <a:pt x="161" y="4"/>
                      </a:cubicBezTo>
                      <a:cubicBezTo>
                        <a:pt x="161" y="4"/>
                        <a:pt x="161" y="4"/>
                        <a:pt x="161" y="4"/>
                      </a:cubicBezTo>
                      <a:cubicBezTo>
                        <a:pt x="162" y="5"/>
                        <a:pt x="162" y="5"/>
                        <a:pt x="162" y="5"/>
                      </a:cubicBezTo>
                      <a:cubicBezTo>
                        <a:pt x="164" y="5"/>
                        <a:pt x="164" y="5"/>
                        <a:pt x="164" y="5"/>
                      </a:cubicBezTo>
                      <a:cubicBezTo>
                        <a:pt x="165" y="6"/>
                        <a:pt x="165" y="6"/>
                        <a:pt x="165" y="6"/>
                      </a:cubicBezTo>
                      <a:cubicBezTo>
                        <a:pt x="165" y="7"/>
                        <a:pt x="165" y="7"/>
                        <a:pt x="165" y="7"/>
                      </a:cubicBezTo>
                      <a:cubicBezTo>
                        <a:pt x="166" y="7"/>
                        <a:pt x="166" y="7"/>
                        <a:pt x="166" y="7"/>
                      </a:cubicBezTo>
                      <a:cubicBezTo>
                        <a:pt x="167" y="8"/>
                        <a:pt x="167" y="8"/>
                        <a:pt x="167" y="8"/>
                      </a:cubicBezTo>
                      <a:cubicBezTo>
                        <a:pt x="167" y="8"/>
                        <a:pt x="167" y="8"/>
                        <a:pt x="167" y="8"/>
                      </a:cubicBezTo>
                      <a:cubicBezTo>
                        <a:pt x="166" y="9"/>
                        <a:pt x="166" y="9"/>
                        <a:pt x="166" y="9"/>
                      </a:cubicBezTo>
                      <a:cubicBezTo>
                        <a:pt x="166" y="9"/>
                        <a:pt x="166" y="9"/>
                        <a:pt x="166" y="9"/>
                      </a:cubicBezTo>
                      <a:cubicBezTo>
                        <a:pt x="165" y="9"/>
                        <a:pt x="165" y="9"/>
                        <a:pt x="165" y="9"/>
                      </a:cubicBezTo>
                      <a:cubicBezTo>
                        <a:pt x="164" y="9"/>
                        <a:pt x="164" y="9"/>
                        <a:pt x="164" y="9"/>
                      </a:cubicBezTo>
                      <a:cubicBezTo>
                        <a:pt x="164" y="10"/>
                        <a:pt x="164" y="10"/>
                        <a:pt x="164" y="10"/>
                      </a:cubicBezTo>
                      <a:cubicBezTo>
                        <a:pt x="163" y="10"/>
                        <a:pt x="163" y="10"/>
                        <a:pt x="163" y="10"/>
                      </a:cubicBezTo>
                      <a:cubicBezTo>
                        <a:pt x="163" y="10"/>
                        <a:pt x="163" y="10"/>
                        <a:pt x="163" y="10"/>
                      </a:cubicBezTo>
                      <a:cubicBezTo>
                        <a:pt x="162" y="10"/>
                        <a:pt x="162" y="10"/>
                        <a:pt x="162" y="10"/>
                      </a:cubicBezTo>
                      <a:cubicBezTo>
                        <a:pt x="161" y="10"/>
                        <a:pt x="161" y="10"/>
                        <a:pt x="161" y="10"/>
                      </a:cubicBezTo>
                      <a:cubicBezTo>
                        <a:pt x="159" y="9"/>
                        <a:pt x="159" y="9"/>
                        <a:pt x="159" y="9"/>
                      </a:cubicBezTo>
                      <a:cubicBezTo>
                        <a:pt x="158" y="9"/>
                        <a:pt x="158" y="9"/>
                        <a:pt x="158" y="9"/>
                      </a:cubicBezTo>
                      <a:cubicBezTo>
                        <a:pt x="157" y="9"/>
                        <a:pt x="157" y="9"/>
                        <a:pt x="157" y="9"/>
                      </a:cubicBezTo>
                      <a:cubicBezTo>
                        <a:pt x="157" y="8"/>
                        <a:pt x="157" y="8"/>
                        <a:pt x="157" y="8"/>
                      </a:cubicBezTo>
                      <a:cubicBezTo>
                        <a:pt x="156" y="8"/>
                        <a:pt x="156" y="8"/>
                        <a:pt x="156" y="8"/>
                      </a:cubicBezTo>
                      <a:cubicBezTo>
                        <a:pt x="155" y="9"/>
                        <a:pt x="155" y="9"/>
                        <a:pt x="155" y="9"/>
                      </a:cubicBezTo>
                      <a:cubicBezTo>
                        <a:pt x="155" y="9"/>
                        <a:pt x="155" y="9"/>
                        <a:pt x="155" y="9"/>
                      </a:cubicBezTo>
                      <a:cubicBezTo>
                        <a:pt x="154" y="9"/>
                        <a:pt x="154" y="9"/>
                        <a:pt x="154" y="9"/>
                      </a:cubicBezTo>
                      <a:cubicBezTo>
                        <a:pt x="153" y="9"/>
                        <a:pt x="153" y="9"/>
                        <a:pt x="153" y="9"/>
                      </a:cubicBezTo>
                      <a:cubicBezTo>
                        <a:pt x="152" y="9"/>
                        <a:pt x="152" y="9"/>
                        <a:pt x="152" y="9"/>
                      </a:cubicBezTo>
                      <a:cubicBezTo>
                        <a:pt x="151" y="9"/>
                        <a:pt x="151" y="9"/>
                        <a:pt x="151" y="9"/>
                      </a:cubicBezTo>
                      <a:cubicBezTo>
                        <a:pt x="150" y="9"/>
                        <a:pt x="150" y="9"/>
                        <a:pt x="150" y="9"/>
                      </a:cubicBezTo>
                      <a:cubicBezTo>
                        <a:pt x="150" y="9"/>
                        <a:pt x="150" y="9"/>
                        <a:pt x="150" y="9"/>
                      </a:cubicBezTo>
                      <a:cubicBezTo>
                        <a:pt x="149" y="10"/>
                        <a:pt x="149" y="10"/>
                        <a:pt x="149" y="10"/>
                      </a:cubicBezTo>
                      <a:cubicBezTo>
                        <a:pt x="147" y="10"/>
                        <a:pt x="147" y="10"/>
                        <a:pt x="147" y="10"/>
                      </a:cubicBezTo>
                      <a:cubicBezTo>
                        <a:pt x="147" y="9"/>
                        <a:pt x="147" y="9"/>
                        <a:pt x="147" y="9"/>
                      </a:cubicBezTo>
                      <a:cubicBezTo>
                        <a:pt x="147" y="8"/>
                        <a:pt x="147" y="8"/>
                        <a:pt x="147" y="8"/>
                      </a:cubicBezTo>
                      <a:cubicBezTo>
                        <a:pt x="147" y="8"/>
                        <a:pt x="147" y="8"/>
                        <a:pt x="147" y="8"/>
                      </a:cubicBezTo>
                      <a:cubicBezTo>
                        <a:pt x="148" y="8"/>
                        <a:pt x="148" y="8"/>
                        <a:pt x="148" y="8"/>
                      </a:cubicBezTo>
                      <a:cubicBezTo>
                        <a:pt x="148" y="7"/>
                        <a:pt x="148" y="7"/>
                        <a:pt x="148" y="7"/>
                      </a:cubicBezTo>
                      <a:cubicBezTo>
                        <a:pt x="147" y="7"/>
                        <a:pt x="147" y="7"/>
                        <a:pt x="147" y="7"/>
                      </a:cubicBezTo>
                      <a:cubicBezTo>
                        <a:pt x="147" y="7"/>
                        <a:pt x="147" y="7"/>
                        <a:pt x="147" y="7"/>
                      </a:cubicBezTo>
                      <a:cubicBezTo>
                        <a:pt x="146" y="7"/>
                        <a:pt x="146" y="7"/>
                        <a:pt x="146" y="7"/>
                      </a:cubicBezTo>
                      <a:cubicBezTo>
                        <a:pt x="145" y="8"/>
                        <a:pt x="145" y="8"/>
                        <a:pt x="145" y="8"/>
                      </a:cubicBezTo>
                      <a:cubicBezTo>
                        <a:pt x="145" y="8"/>
                        <a:pt x="145" y="8"/>
                        <a:pt x="145" y="8"/>
                      </a:cubicBezTo>
                      <a:cubicBezTo>
                        <a:pt x="146" y="9"/>
                        <a:pt x="146" y="9"/>
                        <a:pt x="146" y="9"/>
                      </a:cubicBezTo>
                      <a:cubicBezTo>
                        <a:pt x="146" y="9"/>
                        <a:pt x="146" y="9"/>
                        <a:pt x="146" y="9"/>
                      </a:cubicBezTo>
                      <a:cubicBezTo>
                        <a:pt x="146" y="10"/>
                        <a:pt x="146" y="10"/>
                        <a:pt x="146" y="10"/>
                      </a:cubicBezTo>
                      <a:cubicBezTo>
                        <a:pt x="146" y="10"/>
                        <a:pt x="146" y="10"/>
                        <a:pt x="146" y="10"/>
                      </a:cubicBezTo>
                      <a:cubicBezTo>
                        <a:pt x="145" y="10"/>
                        <a:pt x="145" y="10"/>
                        <a:pt x="145" y="10"/>
                      </a:cubicBezTo>
                      <a:cubicBezTo>
                        <a:pt x="144" y="10"/>
                        <a:pt x="144" y="10"/>
                        <a:pt x="144" y="10"/>
                      </a:cubicBezTo>
                      <a:cubicBezTo>
                        <a:pt x="143" y="10"/>
                        <a:pt x="143" y="10"/>
                        <a:pt x="143" y="10"/>
                      </a:cubicBezTo>
                      <a:cubicBezTo>
                        <a:pt x="143" y="10"/>
                        <a:pt x="143" y="10"/>
                        <a:pt x="143" y="10"/>
                      </a:cubicBezTo>
                      <a:cubicBezTo>
                        <a:pt x="142" y="10"/>
                        <a:pt x="142" y="10"/>
                        <a:pt x="142" y="10"/>
                      </a:cubicBezTo>
                      <a:cubicBezTo>
                        <a:pt x="141" y="10"/>
                        <a:pt x="141" y="10"/>
                        <a:pt x="141" y="10"/>
                      </a:cubicBezTo>
                      <a:cubicBezTo>
                        <a:pt x="140" y="10"/>
                        <a:pt x="140" y="10"/>
                        <a:pt x="140" y="10"/>
                      </a:cubicBezTo>
                      <a:cubicBezTo>
                        <a:pt x="139" y="11"/>
                        <a:pt x="139" y="11"/>
                        <a:pt x="139" y="11"/>
                      </a:cubicBezTo>
                      <a:cubicBezTo>
                        <a:pt x="137" y="12"/>
                        <a:pt x="137" y="12"/>
                        <a:pt x="137" y="12"/>
                      </a:cubicBezTo>
                      <a:cubicBezTo>
                        <a:pt x="137" y="12"/>
                        <a:pt x="137" y="12"/>
                        <a:pt x="137" y="12"/>
                      </a:cubicBezTo>
                      <a:cubicBezTo>
                        <a:pt x="137" y="13"/>
                        <a:pt x="137" y="13"/>
                        <a:pt x="137" y="13"/>
                      </a:cubicBezTo>
                      <a:cubicBezTo>
                        <a:pt x="136" y="14"/>
                        <a:pt x="136" y="14"/>
                        <a:pt x="136" y="14"/>
                      </a:cubicBezTo>
                      <a:cubicBezTo>
                        <a:pt x="136" y="15"/>
                        <a:pt x="136" y="15"/>
                        <a:pt x="136" y="15"/>
                      </a:cubicBezTo>
                      <a:cubicBezTo>
                        <a:pt x="137" y="15"/>
                        <a:pt x="137" y="15"/>
                        <a:pt x="137" y="15"/>
                      </a:cubicBezTo>
                      <a:cubicBezTo>
                        <a:pt x="137" y="15"/>
                        <a:pt x="137" y="15"/>
                        <a:pt x="137" y="15"/>
                      </a:cubicBezTo>
                      <a:cubicBezTo>
                        <a:pt x="137" y="14"/>
                        <a:pt x="137" y="14"/>
                        <a:pt x="137" y="14"/>
                      </a:cubicBezTo>
                      <a:cubicBezTo>
                        <a:pt x="138" y="13"/>
                        <a:pt x="138" y="13"/>
                        <a:pt x="138" y="13"/>
                      </a:cubicBezTo>
                      <a:cubicBezTo>
                        <a:pt x="138" y="13"/>
                        <a:pt x="138" y="13"/>
                        <a:pt x="138" y="13"/>
                      </a:cubicBezTo>
                      <a:cubicBezTo>
                        <a:pt x="138" y="13"/>
                        <a:pt x="138" y="13"/>
                        <a:pt x="138" y="13"/>
                      </a:cubicBezTo>
                      <a:cubicBezTo>
                        <a:pt x="139" y="13"/>
                        <a:pt x="139" y="13"/>
                        <a:pt x="139" y="13"/>
                      </a:cubicBezTo>
                      <a:cubicBezTo>
                        <a:pt x="140" y="13"/>
                        <a:pt x="140" y="13"/>
                        <a:pt x="140" y="13"/>
                      </a:cubicBezTo>
                      <a:cubicBezTo>
                        <a:pt x="140" y="13"/>
                        <a:pt x="140" y="13"/>
                        <a:pt x="140" y="13"/>
                      </a:cubicBezTo>
                      <a:cubicBezTo>
                        <a:pt x="140" y="13"/>
                        <a:pt x="140" y="13"/>
                        <a:pt x="140" y="13"/>
                      </a:cubicBezTo>
                      <a:cubicBezTo>
                        <a:pt x="139" y="14"/>
                        <a:pt x="139" y="14"/>
                        <a:pt x="139" y="14"/>
                      </a:cubicBezTo>
                      <a:cubicBezTo>
                        <a:pt x="139" y="14"/>
                        <a:pt x="139" y="14"/>
                        <a:pt x="139" y="14"/>
                      </a:cubicBezTo>
                      <a:cubicBezTo>
                        <a:pt x="140" y="14"/>
                        <a:pt x="140" y="14"/>
                        <a:pt x="140" y="14"/>
                      </a:cubicBezTo>
                      <a:cubicBezTo>
                        <a:pt x="140" y="14"/>
                        <a:pt x="140" y="14"/>
                        <a:pt x="140" y="14"/>
                      </a:cubicBezTo>
                      <a:cubicBezTo>
                        <a:pt x="140" y="13"/>
                        <a:pt x="140" y="13"/>
                        <a:pt x="140" y="13"/>
                      </a:cubicBezTo>
                      <a:cubicBezTo>
                        <a:pt x="140" y="13"/>
                        <a:pt x="141" y="12"/>
                        <a:pt x="141" y="12"/>
                      </a:cubicBezTo>
                      <a:cubicBezTo>
                        <a:pt x="141" y="12"/>
                        <a:pt x="142" y="11"/>
                        <a:pt x="142" y="11"/>
                      </a:cubicBezTo>
                      <a:cubicBezTo>
                        <a:pt x="143" y="11"/>
                        <a:pt x="143" y="11"/>
                        <a:pt x="143" y="11"/>
                      </a:cubicBezTo>
                      <a:cubicBezTo>
                        <a:pt x="144" y="11"/>
                        <a:pt x="144" y="11"/>
                        <a:pt x="144" y="11"/>
                      </a:cubicBezTo>
                      <a:cubicBezTo>
                        <a:pt x="145" y="11"/>
                        <a:pt x="145" y="11"/>
                        <a:pt x="145" y="11"/>
                      </a:cubicBezTo>
                      <a:cubicBezTo>
                        <a:pt x="145" y="11"/>
                        <a:pt x="145" y="11"/>
                        <a:pt x="145" y="11"/>
                      </a:cubicBezTo>
                      <a:cubicBezTo>
                        <a:pt x="146" y="11"/>
                        <a:pt x="146" y="11"/>
                        <a:pt x="146" y="11"/>
                      </a:cubicBezTo>
                      <a:cubicBezTo>
                        <a:pt x="146" y="12"/>
                        <a:pt x="146" y="12"/>
                        <a:pt x="146" y="12"/>
                      </a:cubicBezTo>
                      <a:cubicBezTo>
                        <a:pt x="146" y="13"/>
                        <a:pt x="146" y="13"/>
                        <a:pt x="146" y="13"/>
                      </a:cubicBezTo>
                      <a:cubicBezTo>
                        <a:pt x="147" y="13"/>
                        <a:pt x="147" y="13"/>
                        <a:pt x="147" y="13"/>
                      </a:cubicBezTo>
                      <a:cubicBezTo>
                        <a:pt x="147" y="13"/>
                        <a:pt x="147" y="13"/>
                        <a:pt x="147" y="13"/>
                      </a:cubicBezTo>
                      <a:cubicBezTo>
                        <a:pt x="147" y="12"/>
                        <a:pt x="147" y="12"/>
                        <a:pt x="147" y="12"/>
                      </a:cubicBezTo>
                      <a:cubicBezTo>
                        <a:pt x="147" y="11"/>
                        <a:pt x="147" y="11"/>
                        <a:pt x="147" y="11"/>
                      </a:cubicBezTo>
                      <a:cubicBezTo>
                        <a:pt x="147" y="11"/>
                        <a:pt x="147" y="11"/>
                        <a:pt x="147" y="11"/>
                      </a:cubicBezTo>
                      <a:cubicBezTo>
                        <a:pt x="148" y="11"/>
                        <a:pt x="148" y="11"/>
                        <a:pt x="148" y="11"/>
                      </a:cubicBezTo>
                      <a:cubicBezTo>
                        <a:pt x="149" y="11"/>
                        <a:pt x="149" y="11"/>
                        <a:pt x="149" y="11"/>
                      </a:cubicBezTo>
                      <a:cubicBezTo>
                        <a:pt x="150" y="11"/>
                        <a:pt x="150" y="11"/>
                        <a:pt x="150" y="11"/>
                      </a:cubicBezTo>
                      <a:cubicBezTo>
                        <a:pt x="151" y="11"/>
                        <a:pt x="151" y="11"/>
                        <a:pt x="151" y="11"/>
                      </a:cubicBezTo>
                      <a:cubicBezTo>
                        <a:pt x="153" y="10"/>
                        <a:pt x="153" y="10"/>
                        <a:pt x="153" y="10"/>
                      </a:cubicBezTo>
                      <a:cubicBezTo>
                        <a:pt x="154" y="10"/>
                        <a:pt x="154" y="10"/>
                        <a:pt x="154" y="10"/>
                      </a:cubicBezTo>
                      <a:cubicBezTo>
                        <a:pt x="155" y="10"/>
                        <a:pt x="155" y="10"/>
                        <a:pt x="155" y="10"/>
                      </a:cubicBezTo>
                      <a:cubicBezTo>
                        <a:pt x="157" y="10"/>
                        <a:pt x="157" y="10"/>
                        <a:pt x="157" y="10"/>
                      </a:cubicBezTo>
                      <a:cubicBezTo>
                        <a:pt x="158" y="11"/>
                        <a:pt x="158" y="11"/>
                        <a:pt x="158" y="11"/>
                      </a:cubicBezTo>
                      <a:cubicBezTo>
                        <a:pt x="158" y="11"/>
                        <a:pt x="158" y="11"/>
                        <a:pt x="158" y="11"/>
                      </a:cubicBezTo>
                      <a:cubicBezTo>
                        <a:pt x="159" y="11"/>
                        <a:pt x="159" y="11"/>
                        <a:pt x="159" y="11"/>
                      </a:cubicBezTo>
                      <a:cubicBezTo>
                        <a:pt x="160" y="11"/>
                        <a:pt x="160" y="11"/>
                        <a:pt x="160" y="11"/>
                      </a:cubicBezTo>
                      <a:cubicBezTo>
                        <a:pt x="161" y="12"/>
                        <a:pt x="161" y="12"/>
                        <a:pt x="161" y="12"/>
                      </a:cubicBezTo>
                      <a:cubicBezTo>
                        <a:pt x="161" y="12"/>
                        <a:pt x="161" y="12"/>
                        <a:pt x="161" y="12"/>
                      </a:cubicBezTo>
                      <a:cubicBezTo>
                        <a:pt x="162" y="12"/>
                        <a:pt x="162" y="12"/>
                        <a:pt x="162" y="12"/>
                      </a:cubicBezTo>
                      <a:cubicBezTo>
                        <a:pt x="162" y="12"/>
                        <a:pt x="162" y="12"/>
                        <a:pt x="162" y="12"/>
                      </a:cubicBezTo>
                      <a:cubicBezTo>
                        <a:pt x="163" y="12"/>
                        <a:pt x="163" y="12"/>
                        <a:pt x="163" y="12"/>
                      </a:cubicBezTo>
                      <a:cubicBezTo>
                        <a:pt x="163" y="12"/>
                        <a:pt x="163" y="12"/>
                        <a:pt x="163" y="12"/>
                      </a:cubicBezTo>
                      <a:cubicBezTo>
                        <a:pt x="164" y="12"/>
                        <a:pt x="164" y="12"/>
                        <a:pt x="164" y="12"/>
                      </a:cubicBezTo>
                      <a:cubicBezTo>
                        <a:pt x="164" y="12"/>
                        <a:pt x="164" y="12"/>
                        <a:pt x="164" y="12"/>
                      </a:cubicBezTo>
                      <a:cubicBezTo>
                        <a:pt x="165" y="12"/>
                        <a:pt x="165" y="12"/>
                        <a:pt x="165" y="12"/>
                      </a:cubicBezTo>
                      <a:cubicBezTo>
                        <a:pt x="166" y="12"/>
                        <a:pt x="166" y="12"/>
                        <a:pt x="166" y="12"/>
                      </a:cubicBezTo>
                      <a:cubicBezTo>
                        <a:pt x="167" y="11"/>
                        <a:pt x="167" y="11"/>
                        <a:pt x="167" y="11"/>
                      </a:cubicBezTo>
                      <a:cubicBezTo>
                        <a:pt x="168" y="11"/>
                        <a:pt x="168" y="11"/>
                        <a:pt x="168" y="11"/>
                      </a:cubicBezTo>
                      <a:cubicBezTo>
                        <a:pt x="168" y="10"/>
                        <a:pt x="168" y="10"/>
                        <a:pt x="168" y="10"/>
                      </a:cubicBezTo>
                      <a:cubicBezTo>
                        <a:pt x="169" y="11"/>
                        <a:pt x="169" y="11"/>
                        <a:pt x="169" y="11"/>
                      </a:cubicBezTo>
                      <a:cubicBezTo>
                        <a:pt x="169" y="11"/>
                        <a:pt x="169" y="11"/>
                        <a:pt x="169" y="11"/>
                      </a:cubicBezTo>
                      <a:cubicBezTo>
                        <a:pt x="170" y="12"/>
                        <a:pt x="170" y="12"/>
                        <a:pt x="170" y="12"/>
                      </a:cubicBezTo>
                      <a:cubicBezTo>
                        <a:pt x="170" y="12"/>
                        <a:pt x="170" y="12"/>
                        <a:pt x="170" y="12"/>
                      </a:cubicBezTo>
                      <a:cubicBezTo>
                        <a:pt x="170" y="13"/>
                        <a:pt x="170" y="13"/>
                        <a:pt x="170" y="13"/>
                      </a:cubicBezTo>
                      <a:cubicBezTo>
                        <a:pt x="170" y="13"/>
                        <a:pt x="170" y="13"/>
                        <a:pt x="170" y="13"/>
                      </a:cubicBezTo>
                      <a:cubicBezTo>
                        <a:pt x="170" y="13"/>
                        <a:pt x="170" y="13"/>
                        <a:pt x="170" y="13"/>
                      </a:cubicBezTo>
                      <a:cubicBezTo>
                        <a:pt x="170" y="14"/>
                        <a:pt x="170" y="14"/>
                        <a:pt x="170" y="14"/>
                      </a:cubicBezTo>
                      <a:cubicBezTo>
                        <a:pt x="170" y="14"/>
                        <a:pt x="170" y="14"/>
                        <a:pt x="170" y="14"/>
                      </a:cubicBezTo>
                      <a:cubicBezTo>
                        <a:pt x="169" y="15"/>
                        <a:pt x="169" y="15"/>
                        <a:pt x="169" y="15"/>
                      </a:cubicBezTo>
                      <a:cubicBezTo>
                        <a:pt x="168" y="15"/>
                        <a:pt x="168" y="15"/>
                        <a:pt x="168" y="15"/>
                      </a:cubicBezTo>
                      <a:cubicBezTo>
                        <a:pt x="167" y="15"/>
                        <a:pt x="167" y="15"/>
                        <a:pt x="167" y="15"/>
                      </a:cubicBezTo>
                      <a:cubicBezTo>
                        <a:pt x="166" y="15"/>
                        <a:pt x="166" y="15"/>
                        <a:pt x="166" y="15"/>
                      </a:cubicBezTo>
                      <a:cubicBezTo>
                        <a:pt x="166" y="14"/>
                        <a:pt x="166" y="14"/>
                        <a:pt x="166" y="14"/>
                      </a:cubicBezTo>
                      <a:cubicBezTo>
                        <a:pt x="165" y="15"/>
                        <a:pt x="165" y="15"/>
                        <a:pt x="165" y="15"/>
                      </a:cubicBezTo>
                      <a:cubicBezTo>
                        <a:pt x="165" y="15"/>
                        <a:pt x="165" y="15"/>
                        <a:pt x="165" y="15"/>
                      </a:cubicBezTo>
                      <a:cubicBezTo>
                        <a:pt x="166" y="16"/>
                        <a:pt x="166" y="16"/>
                        <a:pt x="166" y="16"/>
                      </a:cubicBezTo>
                      <a:cubicBezTo>
                        <a:pt x="166" y="16"/>
                        <a:pt x="166" y="16"/>
                        <a:pt x="166" y="16"/>
                      </a:cubicBezTo>
                      <a:cubicBezTo>
                        <a:pt x="166" y="16"/>
                        <a:pt x="166" y="16"/>
                        <a:pt x="166" y="16"/>
                      </a:cubicBezTo>
                      <a:cubicBezTo>
                        <a:pt x="165" y="16"/>
                        <a:pt x="165" y="16"/>
                        <a:pt x="165" y="16"/>
                      </a:cubicBezTo>
                      <a:cubicBezTo>
                        <a:pt x="165" y="16"/>
                        <a:pt x="165" y="16"/>
                        <a:pt x="165" y="16"/>
                      </a:cubicBezTo>
                      <a:cubicBezTo>
                        <a:pt x="164" y="16"/>
                        <a:pt x="164" y="16"/>
                        <a:pt x="164" y="16"/>
                      </a:cubicBezTo>
                      <a:cubicBezTo>
                        <a:pt x="164" y="16"/>
                        <a:pt x="164" y="16"/>
                        <a:pt x="164" y="16"/>
                      </a:cubicBezTo>
                      <a:cubicBezTo>
                        <a:pt x="165" y="17"/>
                        <a:pt x="165" y="17"/>
                        <a:pt x="165" y="17"/>
                      </a:cubicBezTo>
                      <a:cubicBezTo>
                        <a:pt x="165" y="17"/>
                        <a:pt x="165" y="17"/>
                        <a:pt x="165" y="17"/>
                      </a:cubicBezTo>
                      <a:cubicBezTo>
                        <a:pt x="166" y="17"/>
                        <a:pt x="166" y="17"/>
                        <a:pt x="166" y="17"/>
                      </a:cubicBezTo>
                      <a:cubicBezTo>
                        <a:pt x="167" y="17"/>
                        <a:pt x="167" y="17"/>
                        <a:pt x="167" y="17"/>
                      </a:cubicBezTo>
                      <a:cubicBezTo>
                        <a:pt x="168" y="17"/>
                        <a:pt x="168" y="17"/>
                        <a:pt x="168" y="17"/>
                      </a:cubicBezTo>
                      <a:cubicBezTo>
                        <a:pt x="169" y="17"/>
                        <a:pt x="169" y="17"/>
                        <a:pt x="169" y="17"/>
                      </a:cubicBezTo>
                      <a:cubicBezTo>
                        <a:pt x="170" y="17"/>
                        <a:pt x="170" y="17"/>
                        <a:pt x="170" y="17"/>
                      </a:cubicBezTo>
                      <a:cubicBezTo>
                        <a:pt x="170" y="17"/>
                        <a:pt x="170" y="17"/>
                        <a:pt x="170" y="17"/>
                      </a:cubicBezTo>
                      <a:cubicBezTo>
                        <a:pt x="170" y="17"/>
                        <a:pt x="170" y="17"/>
                        <a:pt x="170" y="17"/>
                      </a:cubicBezTo>
                      <a:cubicBezTo>
                        <a:pt x="170" y="16"/>
                        <a:pt x="170" y="16"/>
                        <a:pt x="170" y="16"/>
                      </a:cubicBezTo>
                      <a:cubicBezTo>
                        <a:pt x="171" y="16"/>
                        <a:pt x="171" y="16"/>
                        <a:pt x="171" y="16"/>
                      </a:cubicBezTo>
                      <a:cubicBezTo>
                        <a:pt x="173" y="16"/>
                        <a:pt x="173" y="16"/>
                        <a:pt x="173" y="16"/>
                      </a:cubicBezTo>
                      <a:cubicBezTo>
                        <a:pt x="174" y="16"/>
                        <a:pt x="174" y="16"/>
                        <a:pt x="174" y="16"/>
                      </a:cubicBezTo>
                      <a:cubicBezTo>
                        <a:pt x="174" y="17"/>
                        <a:pt x="174" y="17"/>
                        <a:pt x="174" y="17"/>
                      </a:cubicBezTo>
                      <a:cubicBezTo>
                        <a:pt x="174" y="17"/>
                        <a:pt x="174" y="17"/>
                        <a:pt x="174" y="17"/>
                      </a:cubicBezTo>
                      <a:cubicBezTo>
                        <a:pt x="175" y="17"/>
                        <a:pt x="175" y="17"/>
                        <a:pt x="175" y="17"/>
                      </a:cubicBezTo>
                      <a:cubicBezTo>
                        <a:pt x="175" y="17"/>
                        <a:pt x="175" y="17"/>
                        <a:pt x="175" y="17"/>
                      </a:cubicBezTo>
                      <a:cubicBezTo>
                        <a:pt x="175" y="17"/>
                        <a:pt x="175" y="17"/>
                        <a:pt x="175" y="17"/>
                      </a:cubicBezTo>
                      <a:cubicBezTo>
                        <a:pt x="176" y="17"/>
                        <a:pt x="176" y="17"/>
                        <a:pt x="176" y="17"/>
                      </a:cubicBezTo>
                      <a:cubicBezTo>
                        <a:pt x="176" y="18"/>
                        <a:pt x="176" y="18"/>
                        <a:pt x="176" y="18"/>
                      </a:cubicBezTo>
                      <a:cubicBezTo>
                        <a:pt x="177" y="18"/>
                        <a:pt x="177" y="18"/>
                        <a:pt x="177" y="18"/>
                      </a:cubicBezTo>
                      <a:cubicBezTo>
                        <a:pt x="178" y="19"/>
                        <a:pt x="178" y="19"/>
                        <a:pt x="178" y="19"/>
                      </a:cubicBezTo>
                      <a:cubicBezTo>
                        <a:pt x="178" y="19"/>
                        <a:pt x="178" y="19"/>
                        <a:pt x="178" y="19"/>
                      </a:cubicBezTo>
                      <a:cubicBezTo>
                        <a:pt x="179" y="20"/>
                        <a:pt x="179" y="20"/>
                        <a:pt x="179" y="20"/>
                      </a:cubicBezTo>
                      <a:cubicBezTo>
                        <a:pt x="180" y="20"/>
                        <a:pt x="180" y="20"/>
                        <a:pt x="180" y="20"/>
                      </a:cubicBezTo>
                      <a:cubicBezTo>
                        <a:pt x="181" y="21"/>
                        <a:pt x="181" y="21"/>
                        <a:pt x="181" y="21"/>
                      </a:cubicBezTo>
                      <a:cubicBezTo>
                        <a:pt x="181" y="21"/>
                        <a:pt x="181" y="21"/>
                        <a:pt x="181" y="21"/>
                      </a:cubicBezTo>
                      <a:cubicBezTo>
                        <a:pt x="181" y="22"/>
                        <a:pt x="181" y="22"/>
                        <a:pt x="181" y="22"/>
                      </a:cubicBezTo>
                      <a:cubicBezTo>
                        <a:pt x="181" y="22"/>
                        <a:pt x="181" y="22"/>
                        <a:pt x="181" y="22"/>
                      </a:cubicBezTo>
                      <a:cubicBezTo>
                        <a:pt x="181" y="23"/>
                        <a:pt x="181" y="23"/>
                        <a:pt x="181" y="23"/>
                      </a:cubicBezTo>
                      <a:cubicBezTo>
                        <a:pt x="181" y="23"/>
                        <a:pt x="181" y="23"/>
                        <a:pt x="181" y="23"/>
                      </a:cubicBezTo>
                      <a:cubicBezTo>
                        <a:pt x="180" y="24"/>
                        <a:pt x="180" y="24"/>
                        <a:pt x="180" y="24"/>
                      </a:cubicBezTo>
                      <a:cubicBezTo>
                        <a:pt x="179" y="24"/>
                        <a:pt x="179" y="24"/>
                        <a:pt x="179" y="24"/>
                      </a:cubicBezTo>
                      <a:cubicBezTo>
                        <a:pt x="178" y="24"/>
                        <a:pt x="178" y="24"/>
                        <a:pt x="178" y="24"/>
                      </a:cubicBezTo>
                      <a:cubicBezTo>
                        <a:pt x="178" y="24"/>
                        <a:pt x="178" y="24"/>
                        <a:pt x="178" y="24"/>
                      </a:cubicBezTo>
                      <a:cubicBezTo>
                        <a:pt x="178" y="24"/>
                        <a:pt x="178" y="24"/>
                        <a:pt x="178" y="24"/>
                      </a:cubicBezTo>
                      <a:cubicBezTo>
                        <a:pt x="178" y="25"/>
                        <a:pt x="178" y="25"/>
                        <a:pt x="178" y="25"/>
                      </a:cubicBezTo>
                      <a:cubicBezTo>
                        <a:pt x="178" y="25"/>
                        <a:pt x="178" y="25"/>
                        <a:pt x="178" y="25"/>
                      </a:cubicBezTo>
                      <a:cubicBezTo>
                        <a:pt x="177" y="25"/>
                        <a:pt x="177" y="25"/>
                        <a:pt x="177" y="25"/>
                      </a:cubicBezTo>
                      <a:cubicBezTo>
                        <a:pt x="175" y="26"/>
                        <a:pt x="175" y="26"/>
                        <a:pt x="175" y="26"/>
                      </a:cubicBezTo>
                      <a:cubicBezTo>
                        <a:pt x="174" y="26"/>
                        <a:pt x="174" y="26"/>
                        <a:pt x="174" y="26"/>
                      </a:cubicBezTo>
                      <a:cubicBezTo>
                        <a:pt x="173" y="26"/>
                        <a:pt x="173" y="26"/>
                        <a:pt x="173" y="26"/>
                      </a:cubicBezTo>
                      <a:cubicBezTo>
                        <a:pt x="173" y="26"/>
                        <a:pt x="173" y="26"/>
                        <a:pt x="173" y="26"/>
                      </a:cubicBezTo>
                      <a:cubicBezTo>
                        <a:pt x="172" y="26"/>
                        <a:pt x="172" y="26"/>
                        <a:pt x="172" y="26"/>
                      </a:cubicBezTo>
                      <a:cubicBezTo>
                        <a:pt x="172" y="26"/>
                        <a:pt x="172" y="26"/>
                        <a:pt x="172" y="26"/>
                      </a:cubicBezTo>
                      <a:cubicBezTo>
                        <a:pt x="172" y="26"/>
                        <a:pt x="172" y="26"/>
                        <a:pt x="172" y="26"/>
                      </a:cubicBezTo>
                      <a:cubicBezTo>
                        <a:pt x="172" y="26"/>
                        <a:pt x="172" y="26"/>
                        <a:pt x="172" y="26"/>
                      </a:cubicBezTo>
                      <a:cubicBezTo>
                        <a:pt x="172" y="26"/>
                        <a:pt x="172" y="26"/>
                        <a:pt x="172" y="26"/>
                      </a:cubicBezTo>
                      <a:cubicBezTo>
                        <a:pt x="172" y="27"/>
                        <a:pt x="172" y="27"/>
                        <a:pt x="172" y="27"/>
                      </a:cubicBezTo>
                      <a:cubicBezTo>
                        <a:pt x="171" y="27"/>
                        <a:pt x="171" y="27"/>
                        <a:pt x="171" y="27"/>
                      </a:cubicBezTo>
                      <a:cubicBezTo>
                        <a:pt x="170" y="26"/>
                        <a:pt x="170" y="26"/>
                        <a:pt x="170" y="26"/>
                      </a:cubicBezTo>
                      <a:cubicBezTo>
                        <a:pt x="170" y="27"/>
                        <a:pt x="170" y="27"/>
                        <a:pt x="170" y="27"/>
                      </a:cubicBezTo>
                      <a:cubicBezTo>
                        <a:pt x="169" y="27"/>
                        <a:pt x="169" y="27"/>
                        <a:pt x="169" y="27"/>
                      </a:cubicBezTo>
                      <a:cubicBezTo>
                        <a:pt x="169" y="26"/>
                        <a:pt x="169" y="26"/>
                        <a:pt x="169" y="26"/>
                      </a:cubicBezTo>
                      <a:cubicBezTo>
                        <a:pt x="168" y="26"/>
                        <a:pt x="168" y="26"/>
                        <a:pt x="168" y="26"/>
                      </a:cubicBezTo>
                      <a:cubicBezTo>
                        <a:pt x="167" y="27"/>
                        <a:pt x="167" y="27"/>
                        <a:pt x="167" y="27"/>
                      </a:cubicBezTo>
                      <a:cubicBezTo>
                        <a:pt x="166" y="27"/>
                        <a:pt x="166" y="27"/>
                        <a:pt x="166" y="27"/>
                      </a:cubicBezTo>
                      <a:cubicBezTo>
                        <a:pt x="165" y="27"/>
                        <a:pt x="165" y="27"/>
                        <a:pt x="165" y="27"/>
                      </a:cubicBezTo>
                      <a:cubicBezTo>
                        <a:pt x="165" y="27"/>
                        <a:pt x="165" y="27"/>
                        <a:pt x="165" y="27"/>
                      </a:cubicBezTo>
                      <a:cubicBezTo>
                        <a:pt x="164" y="27"/>
                        <a:pt x="164" y="27"/>
                        <a:pt x="164" y="27"/>
                      </a:cubicBezTo>
                      <a:cubicBezTo>
                        <a:pt x="163" y="27"/>
                        <a:pt x="163" y="27"/>
                        <a:pt x="163" y="27"/>
                      </a:cubicBezTo>
                      <a:cubicBezTo>
                        <a:pt x="163" y="27"/>
                        <a:pt x="163" y="27"/>
                        <a:pt x="163" y="27"/>
                      </a:cubicBezTo>
                      <a:cubicBezTo>
                        <a:pt x="162" y="27"/>
                        <a:pt x="162" y="27"/>
                        <a:pt x="162" y="27"/>
                      </a:cubicBezTo>
                      <a:cubicBezTo>
                        <a:pt x="161" y="27"/>
                        <a:pt x="161" y="27"/>
                        <a:pt x="161" y="27"/>
                      </a:cubicBezTo>
                      <a:cubicBezTo>
                        <a:pt x="161" y="27"/>
                        <a:pt x="161" y="27"/>
                        <a:pt x="161" y="27"/>
                      </a:cubicBezTo>
                      <a:cubicBezTo>
                        <a:pt x="159" y="26"/>
                        <a:pt x="159" y="26"/>
                        <a:pt x="159" y="26"/>
                      </a:cubicBezTo>
                      <a:cubicBezTo>
                        <a:pt x="159" y="26"/>
                        <a:pt x="159" y="26"/>
                        <a:pt x="159" y="26"/>
                      </a:cubicBezTo>
                      <a:cubicBezTo>
                        <a:pt x="159" y="26"/>
                        <a:pt x="159" y="26"/>
                        <a:pt x="159" y="26"/>
                      </a:cubicBezTo>
                      <a:cubicBezTo>
                        <a:pt x="157" y="26"/>
                        <a:pt x="157" y="26"/>
                        <a:pt x="157" y="26"/>
                      </a:cubicBezTo>
                      <a:cubicBezTo>
                        <a:pt x="157" y="26"/>
                        <a:pt x="157" y="26"/>
                        <a:pt x="157" y="26"/>
                      </a:cubicBezTo>
                      <a:cubicBezTo>
                        <a:pt x="156" y="26"/>
                        <a:pt x="156" y="26"/>
                        <a:pt x="156" y="26"/>
                      </a:cubicBezTo>
                      <a:cubicBezTo>
                        <a:pt x="155" y="26"/>
                        <a:pt x="155" y="26"/>
                        <a:pt x="155" y="26"/>
                      </a:cubicBezTo>
                      <a:cubicBezTo>
                        <a:pt x="154" y="26"/>
                        <a:pt x="154" y="26"/>
                        <a:pt x="154" y="26"/>
                      </a:cubicBezTo>
                      <a:cubicBezTo>
                        <a:pt x="154" y="26"/>
                        <a:pt x="154" y="26"/>
                        <a:pt x="154" y="26"/>
                      </a:cubicBezTo>
                      <a:cubicBezTo>
                        <a:pt x="153" y="26"/>
                        <a:pt x="153" y="26"/>
                        <a:pt x="153" y="26"/>
                      </a:cubicBezTo>
                      <a:cubicBezTo>
                        <a:pt x="152" y="26"/>
                        <a:pt x="152" y="26"/>
                        <a:pt x="152" y="26"/>
                      </a:cubicBezTo>
                      <a:cubicBezTo>
                        <a:pt x="152" y="26"/>
                        <a:pt x="152" y="26"/>
                        <a:pt x="152" y="26"/>
                      </a:cubicBezTo>
                      <a:cubicBezTo>
                        <a:pt x="151" y="26"/>
                        <a:pt x="151" y="26"/>
                        <a:pt x="151" y="26"/>
                      </a:cubicBezTo>
                      <a:cubicBezTo>
                        <a:pt x="150" y="27"/>
                        <a:pt x="150" y="27"/>
                        <a:pt x="150" y="27"/>
                      </a:cubicBezTo>
                      <a:cubicBezTo>
                        <a:pt x="150" y="27"/>
                        <a:pt x="150" y="27"/>
                        <a:pt x="150" y="27"/>
                      </a:cubicBezTo>
                      <a:cubicBezTo>
                        <a:pt x="149" y="27"/>
                        <a:pt x="149" y="27"/>
                        <a:pt x="149" y="27"/>
                      </a:cubicBezTo>
                      <a:cubicBezTo>
                        <a:pt x="149" y="26"/>
                        <a:pt x="149" y="26"/>
                        <a:pt x="149" y="26"/>
                      </a:cubicBezTo>
                      <a:cubicBezTo>
                        <a:pt x="149" y="26"/>
                        <a:pt x="149" y="26"/>
                        <a:pt x="149" y="26"/>
                      </a:cubicBezTo>
                      <a:cubicBezTo>
                        <a:pt x="148" y="26"/>
                        <a:pt x="148" y="26"/>
                        <a:pt x="148" y="26"/>
                      </a:cubicBezTo>
                      <a:cubicBezTo>
                        <a:pt x="148" y="26"/>
                        <a:pt x="148" y="26"/>
                        <a:pt x="148" y="26"/>
                      </a:cubicBezTo>
                      <a:cubicBezTo>
                        <a:pt x="147" y="26"/>
                        <a:pt x="147" y="26"/>
                        <a:pt x="147" y="26"/>
                      </a:cubicBezTo>
                      <a:cubicBezTo>
                        <a:pt x="147" y="26"/>
                        <a:pt x="147" y="26"/>
                        <a:pt x="147" y="26"/>
                      </a:cubicBezTo>
                      <a:cubicBezTo>
                        <a:pt x="147" y="26"/>
                        <a:pt x="147" y="26"/>
                        <a:pt x="147" y="26"/>
                      </a:cubicBezTo>
                      <a:cubicBezTo>
                        <a:pt x="148" y="26"/>
                        <a:pt x="148" y="26"/>
                        <a:pt x="148" y="26"/>
                      </a:cubicBezTo>
                      <a:cubicBezTo>
                        <a:pt x="149" y="26"/>
                        <a:pt x="149" y="26"/>
                        <a:pt x="149" y="26"/>
                      </a:cubicBezTo>
                      <a:cubicBezTo>
                        <a:pt x="149" y="27"/>
                        <a:pt x="149" y="27"/>
                        <a:pt x="149" y="27"/>
                      </a:cubicBezTo>
                      <a:cubicBezTo>
                        <a:pt x="149" y="27"/>
                        <a:pt x="149" y="27"/>
                        <a:pt x="149" y="27"/>
                      </a:cubicBezTo>
                      <a:cubicBezTo>
                        <a:pt x="148" y="28"/>
                        <a:pt x="148" y="28"/>
                        <a:pt x="148" y="28"/>
                      </a:cubicBezTo>
                      <a:cubicBezTo>
                        <a:pt x="148" y="28"/>
                        <a:pt x="148" y="28"/>
                        <a:pt x="148" y="28"/>
                      </a:cubicBezTo>
                      <a:cubicBezTo>
                        <a:pt x="147" y="28"/>
                        <a:pt x="147" y="28"/>
                        <a:pt x="147" y="28"/>
                      </a:cubicBezTo>
                      <a:cubicBezTo>
                        <a:pt x="146" y="28"/>
                        <a:pt x="146" y="28"/>
                        <a:pt x="146" y="28"/>
                      </a:cubicBezTo>
                      <a:cubicBezTo>
                        <a:pt x="145" y="29"/>
                        <a:pt x="145" y="29"/>
                        <a:pt x="145" y="29"/>
                      </a:cubicBezTo>
                      <a:cubicBezTo>
                        <a:pt x="144" y="29"/>
                        <a:pt x="144" y="29"/>
                        <a:pt x="144" y="29"/>
                      </a:cubicBezTo>
                      <a:cubicBezTo>
                        <a:pt x="143" y="29"/>
                        <a:pt x="143" y="29"/>
                        <a:pt x="143" y="29"/>
                      </a:cubicBezTo>
                      <a:cubicBezTo>
                        <a:pt x="143" y="29"/>
                        <a:pt x="143" y="29"/>
                        <a:pt x="143" y="29"/>
                      </a:cubicBezTo>
                      <a:cubicBezTo>
                        <a:pt x="142" y="29"/>
                        <a:pt x="142" y="29"/>
                        <a:pt x="142" y="29"/>
                      </a:cubicBezTo>
                      <a:cubicBezTo>
                        <a:pt x="141" y="29"/>
                        <a:pt x="141" y="29"/>
                        <a:pt x="141" y="29"/>
                      </a:cubicBezTo>
                      <a:cubicBezTo>
                        <a:pt x="140" y="30"/>
                        <a:pt x="140" y="30"/>
                        <a:pt x="140" y="30"/>
                      </a:cubicBezTo>
                      <a:cubicBezTo>
                        <a:pt x="140" y="30"/>
                        <a:pt x="140" y="30"/>
                        <a:pt x="140" y="30"/>
                      </a:cubicBezTo>
                      <a:cubicBezTo>
                        <a:pt x="139" y="31"/>
                        <a:pt x="139" y="31"/>
                        <a:pt x="139" y="31"/>
                      </a:cubicBezTo>
                      <a:cubicBezTo>
                        <a:pt x="139" y="31"/>
                        <a:pt x="139" y="31"/>
                        <a:pt x="139" y="31"/>
                      </a:cubicBezTo>
                      <a:cubicBezTo>
                        <a:pt x="140" y="32"/>
                        <a:pt x="140" y="32"/>
                        <a:pt x="140" y="32"/>
                      </a:cubicBezTo>
                      <a:cubicBezTo>
                        <a:pt x="140" y="32"/>
                        <a:pt x="140" y="32"/>
                        <a:pt x="140" y="32"/>
                      </a:cubicBezTo>
                      <a:cubicBezTo>
                        <a:pt x="140" y="33"/>
                        <a:pt x="140" y="33"/>
                        <a:pt x="140" y="33"/>
                      </a:cubicBezTo>
                      <a:cubicBezTo>
                        <a:pt x="140" y="33"/>
                        <a:pt x="140" y="33"/>
                        <a:pt x="140" y="33"/>
                      </a:cubicBezTo>
                      <a:cubicBezTo>
                        <a:pt x="141" y="33"/>
                        <a:pt x="141" y="33"/>
                        <a:pt x="141" y="33"/>
                      </a:cubicBezTo>
                      <a:cubicBezTo>
                        <a:pt x="141" y="33"/>
                        <a:pt x="141" y="33"/>
                        <a:pt x="141" y="33"/>
                      </a:cubicBezTo>
                      <a:cubicBezTo>
                        <a:pt x="141" y="32"/>
                        <a:pt x="141" y="32"/>
                        <a:pt x="141" y="32"/>
                      </a:cubicBezTo>
                      <a:cubicBezTo>
                        <a:pt x="142" y="32"/>
                        <a:pt x="142" y="32"/>
                        <a:pt x="142" y="32"/>
                      </a:cubicBezTo>
                      <a:cubicBezTo>
                        <a:pt x="143" y="32"/>
                        <a:pt x="143" y="32"/>
                        <a:pt x="143" y="32"/>
                      </a:cubicBezTo>
                      <a:cubicBezTo>
                        <a:pt x="143" y="31"/>
                        <a:pt x="143" y="31"/>
                        <a:pt x="143" y="31"/>
                      </a:cubicBezTo>
                      <a:cubicBezTo>
                        <a:pt x="144" y="31"/>
                        <a:pt x="144" y="31"/>
                        <a:pt x="144" y="31"/>
                      </a:cubicBezTo>
                      <a:cubicBezTo>
                        <a:pt x="145" y="31"/>
                        <a:pt x="145" y="31"/>
                        <a:pt x="145" y="31"/>
                      </a:cubicBezTo>
                      <a:cubicBezTo>
                        <a:pt x="145" y="31"/>
                        <a:pt x="145" y="31"/>
                        <a:pt x="145" y="31"/>
                      </a:cubicBezTo>
                      <a:cubicBezTo>
                        <a:pt x="146" y="30"/>
                        <a:pt x="146" y="30"/>
                        <a:pt x="146" y="30"/>
                      </a:cubicBezTo>
                      <a:cubicBezTo>
                        <a:pt x="147" y="30"/>
                        <a:pt x="147" y="30"/>
                        <a:pt x="147" y="30"/>
                      </a:cubicBezTo>
                      <a:cubicBezTo>
                        <a:pt x="149" y="29"/>
                        <a:pt x="149" y="29"/>
                        <a:pt x="149" y="29"/>
                      </a:cubicBezTo>
                      <a:cubicBezTo>
                        <a:pt x="150" y="29"/>
                        <a:pt x="150" y="29"/>
                        <a:pt x="150" y="29"/>
                      </a:cubicBezTo>
                      <a:cubicBezTo>
                        <a:pt x="150" y="30"/>
                        <a:pt x="150" y="30"/>
                        <a:pt x="150" y="30"/>
                      </a:cubicBezTo>
                      <a:cubicBezTo>
                        <a:pt x="149" y="30"/>
                        <a:pt x="149" y="30"/>
                        <a:pt x="149" y="30"/>
                      </a:cubicBezTo>
                      <a:cubicBezTo>
                        <a:pt x="150" y="30"/>
                        <a:pt x="150" y="30"/>
                        <a:pt x="150" y="30"/>
                      </a:cubicBezTo>
                      <a:cubicBezTo>
                        <a:pt x="150" y="30"/>
                        <a:pt x="150" y="30"/>
                        <a:pt x="150" y="30"/>
                      </a:cubicBezTo>
                      <a:cubicBezTo>
                        <a:pt x="150" y="29"/>
                        <a:pt x="150" y="29"/>
                        <a:pt x="150" y="29"/>
                      </a:cubicBezTo>
                      <a:cubicBezTo>
                        <a:pt x="151" y="28"/>
                        <a:pt x="151" y="28"/>
                        <a:pt x="151" y="28"/>
                      </a:cubicBezTo>
                      <a:cubicBezTo>
                        <a:pt x="152" y="28"/>
                        <a:pt x="152" y="28"/>
                        <a:pt x="152" y="28"/>
                      </a:cubicBezTo>
                      <a:cubicBezTo>
                        <a:pt x="152" y="28"/>
                        <a:pt x="152" y="28"/>
                        <a:pt x="152" y="28"/>
                      </a:cubicBezTo>
                      <a:cubicBezTo>
                        <a:pt x="153" y="28"/>
                        <a:pt x="153" y="28"/>
                        <a:pt x="153" y="28"/>
                      </a:cubicBezTo>
                      <a:cubicBezTo>
                        <a:pt x="154" y="28"/>
                        <a:pt x="154" y="28"/>
                        <a:pt x="154" y="28"/>
                      </a:cubicBezTo>
                      <a:cubicBezTo>
                        <a:pt x="155" y="28"/>
                        <a:pt x="155" y="28"/>
                        <a:pt x="155" y="28"/>
                      </a:cubicBezTo>
                      <a:cubicBezTo>
                        <a:pt x="156" y="29"/>
                        <a:pt x="156" y="29"/>
                        <a:pt x="156" y="29"/>
                      </a:cubicBezTo>
                      <a:cubicBezTo>
                        <a:pt x="157" y="29"/>
                        <a:pt x="157" y="29"/>
                        <a:pt x="157" y="29"/>
                      </a:cubicBezTo>
                      <a:cubicBezTo>
                        <a:pt x="159" y="29"/>
                        <a:pt x="159" y="29"/>
                        <a:pt x="159" y="29"/>
                      </a:cubicBezTo>
                      <a:cubicBezTo>
                        <a:pt x="160" y="29"/>
                        <a:pt x="160" y="29"/>
                        <a:pt x="160" y="29"/>
                      </a:cubicBezTo>
                      <a:cubicBezTo>
                        <a:pt x="161" y="29"/>
                        <a:pt x="161" y="29"/>
                        <a:pt x="161" y="29"/>
                      </a:cubicBezTo>
                      <a:cubicBezTo>
                        <a:pt x="162" y="30"/>
                        <a:pt x="162" y="30"/>
                        <a:pt x="162" y="30"/>
                      </a:cubicBezTo>
                      <a:cubicBezTo>
                        <a:pt x="164" y="30"/>
                        <a:pt x="164" y="30"/>
                        <a:pt x="164" y="30"/>
                      </a:cubicBezTo>
                      <a:cubicBezTo>
                        <a:pt x="165" y="30"/>
                        <a:pt x="165" y="30"/>
                        <a:pt x="165" y="30"/>
                      </a:cubicBezTo>
                      <a:cubicBezTo>
                        <a:pt x="165" y="30"/>
                        <a:pt x="165" y="30"/>
                        <a:pt x="165" y="30"/>
                      </a:cubicBezTo>
                      <a:cubicBezTo>
                        <a:pt x="165" y="30"/>
                        <a:pt x="165" y="30"/>
                        <a:pt x="165" y="30"/>
                      </a:cubicBezTo>
                      <a:cubicBezTo>
                        <a:pt x="165" y="31"/>
                        <a:pt x="165" y="31"/>
                        <a:pt x="165" y="31"/>
                      </a:cubicBezTo>
                      <a:cubicBezTo>
                        <a:pt x="165" y="31"/>
                        <a:pt x="165" y="31"/>
                        <a:pt x="165" y="31"/>
                      </a:cubicBezTo>
                      <a:cubicBezTo>
                        <a:pt x="164" y="32"/>
                        <a:pt x="164" y="32"/>
                        <a:pt x="164" y="32"/>
                      </a:cubicBezTo>
                      <a:cubicBezTo>
                        <a:pt x="164" y="33"/>
                        <a:pt x="164" y="33"/>
                        <a:pt x="164" y="33"/>
                      </a:cubicBezTo>
                      <a:cubicBezTo>
                        <a:pt x="163" y="33"/>
                        <a:pt x="163" y="33"/>
                        <a:pt x="163" y="33"/>
                      </a:cubicBezTo>
                      <a:cubicBezTo>
                        <a:pt x="161" y="33"/>
                        <a:pt x="161" y="33"/>
                        <a:pt x="161" y="33"/>
                      </a:cubicBezTo>
                      <a:cubicBezTo>
                        <a:pt x="160" y="34"/>
                        <a:pt x="160" y="34"/>
                        <a:pt x="160" y="34"/>
                      </a:cubicBezTo>
                      <a:cubicBezTo>
                        <a:pt x="160" y="34"/>
                        <a:pt x="160" y="34"/>
                        <a:pt x="160" y="34"/>
                      </a:cubicBezTo>
                      <a:cubicBezTo>
                        <a:pt x="159" y="33"/>
                        <a:pt x="159" y="33"/>
                        <a:pt x="159" y="33"/>
                      </a:cubicBezTo>
                      <a:cubicBezTo>
                        <a:pt x="159" y="33"/>
                        <a:pt x="159" y="33"/>
                        <a:pt x="159" y="33"/>
                      </a:cubicBezTo>
                      <a:cubicBezTo>
                        <a:pt x="159" y="34"/>
                        <a:pt x="159" y="34"/>
                        <a:pt x="159" y="34"/>
                      </a:cubicBezTo>
                      <a:cubicBezTo>
                        <a:pt x="159" y="35"/>
                        <a:pt x="159" y="35"/>
                        <a:pt x="159" y="35"/>
                      </a:cubicBezTo>
                      <a:cubicBezTo>
                        <a:pt x="159" y="35"/>
                        <a:pt x="159" y="35"/>
                        <a:pt x="159" y="35"/>
                      </a:cubicBezTo>
                      <a:cubicBezTo>
                        <a:pt x="159" y="36"/>
                        <a:pt x="159" y="36"/>
                        <a:pt x="159" y="36"/>
                      </a:cubicBezTo>
                      <a:cubicBezTo>
                        <a:pt x="159" y="36"/>
                        <a:pt x="159" y="36"/>
                        <a:pt x="159" y="36"/>
                      </a:cubicBezTo>
                      <a:cubicBezTo>
                        <a:pt x="160" y="36"/>
                        <a:pt x="160" y="36"/>
                        <a:pt x="160" y="36"/>
                      </a:cubicBezTo>
                      <a:cubicBezTo>
                        <a:pt x="161" y="35"/>
                        <a:pt x="161" y="35"/>
                        <a:pt x="161" y="35"/>
                      </a:cubicBezTo>
                      <a:cubicBezTo>
                        <a:pt x="162" y="35"/>
                        <a:pt x="162" y="35"/>
                        <a:pt x="162" y="35"/>
                      </a:cubicBezTo>
                      <a:cubicBezTo>
                        <a:pt x="162" y="35"/>
                        <a:pt x="164" y="35"/>
                        <a:pt x="164" y="35"/>
                      </a:cubicBezTo>
                      <a:cubicBezTo>
                        <a:pt x="164" y="35"/>
                        <a:pt x="166" y="35"/>
                        <a:pt x="166" y="35"/>
                      </a:cubicBezTo>
                      <a:cubicBezTo>
                        <a:pt x="166" y="35"/>
                        <a:pt x="166" y="35"/>
                        <a:pt x="166" y="35"/>
                      </a:cubicBezTo>
                      <a:cubicBezTo>
                        <a:pt x="167" y="36"/>
                        <a:pt x="167" y="36"/>
                        <a:pt x="167" y="36"/>
                      </a:cubicBezTo>
                      <a:cubicBezTo>
                        <a:pt x="167" y="36"/>
                        <a:pt x="167" y="36"/>
                        <a:pt x="167" y="36"/>
                      </a:cubicBezTo>
                      <a:cubicBezTo>
                        <a:pt x="168" y="35"/>
                        <a:pt x="168" y="35"/>
                        <a:pt x="168" y="35"/>
                      </a:cubicBezTo>
                      <a:cubicBezTo>
                        <a:pt x="168" y="35"/>
                        <a:pt x="168" y="35"/>
                        <a:pt x="168" y="35"/>
                      </a:cubicBezTo>
                      <a:cubicBezTo>
                        <a:pt x="168" y="35"/>
                        <a:pt x="168" y="35"/>
                        <a:pt x="168" y="35"/>
                      </a:cubicBezTo>
                      <a:cubicBezTo>
                        <a:pt x="169" y="36"/>
                        <a:pt x="169" y="36"/>
                        <a:pt x="169" y="36"/>
                      </a:cubicBezTo>
                      <a:cubicBezTo>
                        <a:pt x="170" y="35"/>
                        <a:pt x="170" y="35"/>
                        <a:pt x="170" y="35"/>
                      </a:cubicBezTo>
                      <a:cubicBezTo>
                        <a:pt x="170" y="33"/>
                        <a:pt x="170" y="33"/>
                        <a:pt x="170" y="33"/>
                      </a:cubicBezTo>
                      <a:cubicBezTo>
                        <a:pt x="170" y="32"/>
                        <a:pt x="170" y="32"/>
                        <a:pt x="170" y="32"/>
                      </a:cubicBezTo>
                      <a:cubicBezTo>
                        <a:pt x="170" y="32"/>
                        <a:pt x="170" y="32"/>
                        <a:pt x="170" y="32"/>
                      </a:cubicBezTo>
                      <a:cubicBezTo>
                        <a:pt x="170" y="31"/>
                        <a:pt x="170" y="31"/>
                        <a:pt x="170" y="31"/>
                      </a:cubicBezTo>
                      <a:cubicBezTo>
                        <a:pt x="170" y="31"/>
                        <a:pt x="170" y="31"/>
                        <a:pt x="170" y="31"/>
                      </a:cubicBezTo>
                      <a:cubicBezTo>
                        <a:pt x="171" y="30"/>
                        <a:pt x="171" y="30"/>
                        <a:pt x="171" y="30"/>
                      </a:cubicBezTo>
                      <a:cubicBezTo>
                        <a:pt x="172" y="30"/>
                        <a:pt x="172" y="30"/>
                        <a:pt x="172" y="30"/>
                      </a:cubicBezTo>
                      <a:cubicBezTo>
                        <a:pt x="173" y="31"/>
                        <a:pt x="173" y="31"/>
                        <a:pt x="173" y="31"/>
                      </a:cubicBezTo>
                      <a:cubicBezTo>
                        <a:pt x="174" y="31"/>
                        <a:pt x="174" y="31"/>
                        <a:pt x="174" y="31"/>
                      </a:cubicBezTo>
                      <a:cubicBezTo>
                        <a:pt x="175" y="30"/>
                        <a:pt x="175" y="30"/>
                        <a:pt x="175" y="30"/>
                      </a:cubicBezTo>
                      <a:cubicBezTo>
                        <a:pt x="176" y="31"/>
                        <a:pt x="176" y="31"/>
                        <a:pt x="176" y="31"/>
                      </a:cubicBezTo>
                      <a:cubicBezTo>
                        <a:pt x="176" y="31"/>
                        <a:pt x="176" y="31"/>
                        <a:pt x="176" y="31"/>
                      </a:cubicBezTo>
                      <a:cubicBezTo>
                        <a:pt x="176" y="33"/>
                        <a:pt x="176" y="33"/>
                        <a:pt x="176" y="33"/>
                      </a:cubicBezTo>
                      <a:cubicBezTo>
                        <a:pt x="176" y="34"/>
                        <a:pt x="176" y="34"/>
                        <a:pt x="176" y="34"/>
                      </a:cubicBezTo>
                      <a:cubicBezTo>
                        <a:pt x="175" y="35"/>
                        <a:pt x="175" y="35"/>
                        <a:pt x="175" y="35"/>
                      </a:cubicBezTo>
                      <a:cubicBezTo>
                        <a:pt x="175" y="36"/>
                        <a:pt x="175" y="36"/>
                        <a:pt x="175" y="36"/>
                      </a:cubicBezTo>
                      <a:cubicBezTo>
                        <a:pt x="174" y="37"/>
                        <a:pt x="174" y="37"/>
                        <a:pt x="174" y="37"/>
                      </a:cubicBezTo>
                      <a:cubicBezTo>
                        <a:pt x="174" y="38"/>
                        <a:pt x="174" y="38"/>
                        <a:pt x="174" y="38"/>
                      </a:cubicBezTo>
                      <a:cubicBezTo>
                        <a:pt x="171" y="40"/>
                        <a:pt x="171" y="40"/>
                        <a:pt x="171" y="40"/>
                      </a:cubicBezTo>
                      <a:cubicBezTo>
                        <a:pt x="171" y="40"/>
                        <a:pt x="171" y="40"/>
                        <a:pt x="171" y="40"/>
                      </a:cubicBezTo>
                      <a:cubicBezTo>
                        <a:pt x="171" y="40"/>
                        <a:pt x="171" y="40"/>
                        <a:pt x="171" y="40"/>
                      </a:cubicBezTo>
                      <a:cubicBezTo>
                        <a:pt x="170" y="40"/>
                        <a:pt x="170" y="40"/>
                        <a:pt x="170" y="40"/>
                      </a:cubicBezTo>
                      <a:cubicBezTo>
                        <a:pt x="169" y="41"/>
                        <a:pt x="169" y="41"/>
                        <a:pt x="169" y="41"/>
                      </a:cubicBezTo>
                      <a:cubicBezTo>
                        <a:pt x="169" y="41"/>
                        <a:pt x="169" y="41"/>
                        <a:pt x="169" y="41"/>
                      </a:cubicBezTo>
                      <a:cubicBezTo>
                        <a:pt x="168" y="41"/>
                        <a:pt x="168" y="41"/>
                        <a:pt x="168" y="41"/>
                      </a:cubicBezTo>
                      <a:cubicBezTo>
                        <a:pt x="168" y="42"/>
                        <a:pt x="168" y="42"/>
                        <a:pt x="168" y="42"/>
                      </a:cubicBezTo>
                      <a:cubicBezTo>
                        <a:pt x="168" y="42"/>
                        <a:pt x="168" y="42"/>
                        <a:pt x="168" y="42"/>
                      </a:cubicBezTo>
                      <a:cubicBezTo>
                        <a:pt x="167" y="43"/>
                        <a:pt x="167" y="43"/>
                        <a:pt x="167" y="43"/>
                      </a:cubicBezTo>
                      <a:cubicBezTo>
                        <a:pt x="166" y="43"/>
                        <a:pt x="166" y="43"/>
                        <a:pt x="166" y="43"/>
                      </a:cubicBezTo>
                      <a:cubicBezTo>
                        <a:pt x="166" y="43"/>
                        <a:pt x="166" y="43"/>
                        <a:pt x="166" y="43"/>
                      </a:cubicBezTo>
                      <a:cubicBezTo>
                        <a:pt x="166" y="43"/>
                        <a:pt x="166" y="43"/>
                        <a:pt x="166" y="43"/>
                      </a:cubicBezTo>
                      <a:cubicBezTo>
                        <a:pt x="165" y="43"/>
                        <a:pt x="165" y="43"/>
                        <a:pt x="165" y="43"/>
                      </a:cubicBezTo>
                      <a:cubicBezTo>
                        <a:pt x="165" y="44"/>
                        <a:pt x="165" y="44"/>
                        <a:pt x="165" y="44"/>
                      </a:cubicBezTo>
                      <a:cubicBezTo>
                        <a:pt x="165" y="44"/>
                        <a:pt x="165" y="44"/>
                        <a:pt x="165" y="44"/>
                      </a:cubicBezTo>
                      <a:cubicBezTo>
                        <a:pt x="164" y="45"/>
                        <a:pt x="164" y="45"/>
                        <a:pt x="164" y="45"/>
                      </a:cubicBezTo>
                      <a:cubicBezTo>
                        <a:pt x="163" y="46"/>
                        <a:pt x="163" y="46"/>
                        <a:pt x="163" y="46"/>
                      </a:cubicBezTo>
                      <a:cubicBezTo>
                        <a:pt x="163" y="46"/>
                        <a:pt x="163" y="46"/>
                        <a:pt x="163" y="46"/>
                      </a:cubicBezTo>
                      <a:cubicBezTo>
                        <a:pt x="162" y="47"/>
                        <a:pt x="162" y="47"/>
                        <a:pt x="162" y="47"/>
                      </a:cubicBezTo>
                      <a:cubicBezTo>
                        <a:pt x="161" y="48"/>
                        <a:pt x="161" y="48"/>
                        <a:pt x="161" y="48"/>
                      </a:cubicBezTo>
                      <a:cubicBezTo>
                        <a:pt x="160" y="48"/>
                        <a:pt x="160" y="48"/>
                        <a:pt x="160" y="48"/>
                      </a:cubicBezTo>
                      <a:cubicBezTo>
                        <a:pt x="159" y="49"/>
                        <a:pt x="159" y="49"/>
                        <a:pt x="159" y="49"/>
                      </a:cubicBezTo>
                      <a:cubicBezTo>
                        <a:pt x="159" y="50"/>
                        <a:pt x="159" y="50"/>
                        <a:pt x="159" y="50"/>
                      </a:cubicBezTo>
                      <a:cubicBezTo>
                        <a:pt x="158" y="50"/>
                        <a:pt x="158" y="50"/>
                        <a:pt x="158" y="50"/>
                      </a:cubicBezTo>
                      <a:cubicBezTo>
                        <a:pt x="158" y="50"/>
                        <a:pt x="158" y="50"/>
                        <a:pt x="158" y="50"/>
                      </a:cubicBezTo>
                      <a:cubicBezTo>
                        <a:pt x="158" y="51"/>
                        <a:pt x="158" y="51"/>
                        <a:pt x="158" y="51"/>
                      </a:cubicBezTo>
                      <a:cubicBezTo>
                        <a:pt x="158" y="52"/>
                        <a:pt x="158" y="52"/>
                        <a:pt x="158" y="52"/>
                      </a:cubicBezTo>
                      <a:cubicBezTo>
                        <a:pt x="158" y="52"/>
                        <a:pt x="158" y="52"/>
                        <a:pt x="158" y="52"/>
                      </a:cubicBezTo>
                      <a:cubicBezTo>
                        <a:pt x="158" y="52"/>
                        <a:pt x="158" y="52"/>
                        <a:pt x="158" y="52"/>
                      </a:cubicBezTo>
                      <a:cubicBezTo>
                        <a:pt x="158" y="51"/>
                        <a:pt x="158" y="51"/>
                        <a:pt x="158" y="51"/>
                      </a:cubicBezTo>
                      <a:cubicBezTo>
                        <a:pt x="159" y="50"/>
                        <a:pt x="159" y="50"/>
                        <a:pt x="159" y="50"/>
                      </a:cubicBezTo>
                      <a:cubicBezTo>
                        <a:pt x="160" y="49"/>
                        <a:pt x="160" y="49"/>
                        <a:pt x="160" y="49"/>
                      </a:cubicBezTo>
                      <a:cubicBezTo>
                        <a:pt x="161" y="49"/>
                        <a:pt x="161" y="49"/>
                        <a:pt x="161" y="49"/>
                      </a:cubicBezTo>
                      <a:cubicBezTo>
                        <a:pt x="161" y="49"/>
                        <a:pt x="161" y="49"/>
                        <a:pt x="161" y="49"/>
                      </a:cubicBezTo>
                      <a:cubicBezTo>
                        <a:pt x="161" y="49"/>
                        <a:pt x="161" y="49"/>
                        <a:pt x="161" y="49"/>
                      </a:cubicBezTo>
                      <a:cubicBezTo>
                        <a:pt x="162" y="48"/>
                        <a:pt x="162" y="48"/>
                        <a:pt x="162" y="48"/>
                      </a:cubicBezTo>
                      <a:cubicBezTo>
                        <a:pt x="164" y="47"/>
                        <a:pt x="164" y="47"/>
                        <a:pt x="164" y="47"/>
                      </a:cubicBezTo>
                      <a:cubicBezTo>
                        <a:pt x="164" y="47"/>
                        <a:pt x="164" y="47"/>
                        <a:pt x="164" y="47"/>
                      </a:cubicBezTo>
                      <a:cubicBezTo>
                        <a:pt x="164" y="46"/>
                        <a:pt x="164" y="46"/>
                        <a:pt x="164" y="46"/>
                      </a:cubicBezTo>
                      <a:cubicBezTo>
                        <a:pt x="166" y="45"/>
                        <a:pt x="166" y="45"/>
                        <a:pt x="166" y="45"/>
                      </a:cubicBezTo>
                      <a:cubicBezTo>
                        <a:pt x="167" y="44"/>
                        <a:pt x="167" y="44"/>
                        <a:pt x="167" y="44"/>
                      </a:cubicBezTo>
                      <a:cubicBezTo>
                        <a:pt x="168" y="44"/>
                        <a:pt x="168" y="44"/>
                        <a:pt x="168" y="44"/>
                      </a:cubicBezTo>
                      <a:cubicBezTo>
                        <a:pt x="168" y="44"/>
                        <a:pt x="168" y="44"/>
                        <a:pt x="168" y="44"/>
                      </a:cubicBezTo>
                      <a:cubicBezTo>
                        <a:pt x="169" y="44"/>
                        <a:pt x="169" y="44"/>
                        <a:pt x="169" y="44"/>
                      </a:cubicBezTo>
                      <a:cubicBezTo>
                        <a:pt x="170" y="44"/>
                        <a:pt x="170" y="44"/>
                        <a:pt x="170" y="44"/>
                      </a:cubicBezTo>
                      <a:cubicBezTo>
                        <a:pt x="170" y="43"/>
                        <a:pt x="170" y="43"/>
                        <a:pt x="170" y="43"/>
                      </a:cubicBezTo>
                      <a:cubicBezTo>
                        <a:pt x="171" y="43"/>
                        <a:pt x="171" y="43"/>
                        <a:pt x="171" y="43"/>
                      </a:cubicBezTo>
                      <a:cubicBezTo>
                        <a:pt x="172" y="43"/>
                        <a:pt x="172" y="43"/>
                        <a:pt x="172" y="43"/>
                      </a:cubicBezTo>
                      <a:cubicBezTo>
                        <a:pt x="173" y="43"/>
                        <a:pt x="173" y="43"/>
                        <a:pt x="173" y="43"/>
                      </a:cubicBezTo>
                      <a:cubicBezTo>
                        <a:pt x="174" y="42"/>
                        <a:pt x="174" y="42"/>
                        <a:pt x="174" y="42"/>
                      </a:cubicBezTo>
                      <a:cubicBezTo>
                        <a:pt x="175" y="42"/>
                        <a:pt x="175" y="42"/>
                        <a:pt x="175" y="42"/>
                      </a:cubicBezTo>
                      <a:cubicBezTo>
                        <a:pt x="176" y="41"/>
                        <a:pt x="176" y="41"/>
                        <a:pt x="176" y="41"/>
                      </a:cubicBezTo>
                      <a:cubicBezTo>
                        <a:pt x="176" y="41"/>
                        <a:pt x="176" y="41"/>
                        <a:pt x="176" y="41"/>
                      </a:cubicBezTo>
                      <a:cubicBezTo>
                        <a:pt x="177" y="41"/>
                        <a:pt x="177" y="41"/>
                        <a:pt x="177" y="41"/>
                      </a:cubicBezTo>
                      <a:cubicBezTo>
                        <a:pt x="178" y="40"/>
                        <a:pt x="178" y="40"/>
                        <a:pt x="178" y="40"/>
                      </a:cubicBezTo>
                      <a:cubicBezTo>
                        <a:pt x="179" y="39"/>
                        <a:pt x="179" y="39"/>
                        <a:pt x="179" y="39"/>
                      </a:cubicBezTo>
                      <a:cubicBezTo>
                        <a:pt x="179" y="38"/>
                        <a:pt x="179" y="38"/>
                        <a:pt x="179" y="38"/>
                      </a:cubicBezTo>
                      <a:cubicBezTo>
                        <a:pt x="179" y="38"/>
                        <a:pt x="179" y="38"/>
                        <a:pt x="179" y="38"/>
                      </a:cubicBezTo>
                      <a:cubicBezTo>
                        <a:pt x="180" y="37"/>
                        <a:pt x="180" y="37"/>
                        <a:pt x="180" y="37"/>
                      </a:cubicBezTo>
                      <a:cubicBezTo>
                        <a:pt x="180" y="37"/>
                        <a:pt x="180" y="37"/>
                        <a:pt x="180" y="37"/>
                      </a:cubicBezTo>
                      <a:cubicBezTo>
                        <a:pt x="181" y="36"/>
                        <a:pt x="181" y="36"/>
                        <a:pt x="181" y="36"/>
                      </a:cubicBezTo>
                      <a:cubicBezTo>
                        <a:pt x="181" y="37"/>
                        <a:pt x="181" y="37"/>
                        <a:pt x="181" y="37"/>
                      </a:cubicBezTo>
                      <a:cubicBezTo>
                        <a:pt x="181" y="37"/>
                        <a:pt x="181" y="37"/>
                        <a:pt x="181" y="37"/>
                      </a:cubicBezTo>
                      <a:cubicBezTo>
                        <a:pt x="181" y="38"/>
                        <a:pt x="181" y="38"/>
                        <a:pt x="181" y="38"/>
                      </a:cubicBezTo>
                      <a:cubicBezTo>
                        <a:pt x="181" y="39"/>
                        <a:pt x="181" y="39"/>
                        <a:pt x="181" y="39"/>
                      </a:cubicBezTo>
                      <a:cubicBezTo>
                        <a:pt x="181" y="39"/>
                        <a:pt x="181" y="39"/>
                        <a:pt x="181" y="39"/>
                      </a:cubicBezTo>
                      <a:cubicBezTo>
                        <a:pt x="181" y="40"/>
                        <a:pt x="181" y="40"/>
                        <a:pt x="181" y="40"/>
                      </a:cubicBezTo>
                      <a:cubicBezTo>
                        <a:pt x="181" y="40"/>
                        <a:pt x="181" y="40"/>
                        <a:pt x="181" y="40"/>
                      </a:cubicBezTo>
                      <a:cubicBezTo>
                        <a:pt x="181" y="41"/>
                        <a:pt x="181" y="41"/>
                        <a:pt x="181" y="41"/>
                      </a:cubicBezTo>
                      <a:cubicBezTo>
                        <a:pt x="181" y="41"/>
                        <a:pt x="181" y="41"/>
                        <a:pt x="181" y="41"/>
                      </a:cubicBezTo>
                      <a:cubicBezTo>
                        <a:pt x="182" y="40"/>
                        <a:pt x="182" y="40"/>
                        <a:pt x="182" y="40"/>
                      </a:cubicBezTo>
                      <a:cubicBezTo>
                        <a:pt x="182" y="39"/>
                        <a:pt x="182" y="39"/>
                        <a:pt x="182" y="39"/>
                      </a:cubicBezTo>
                      <a:cubicBezTo>
                        <a:pt x="182" y="39"/>
                        <a:pt x="182" y="39"/>
                        <a:pt x="182" y="39"/>
                      </a:cubicBezTo>
                      <a:cubicBezTo>
                        <a:pt x="182" y="38"/>
                        <a:pt x="182" y="38"/>
                        <a:pt x="182" y="38"/>
                      </a:cubicBezTo>
                      <a:cubicBezTo>
                        <a:pt x="182" y="38"/>
                        <a:pt x="182" y="38"/>
                        <a:pt x="182" y="38"/>
                      </a:cubicBezTo>
                      <a:cubicBezTo>
                        <a:pt x="183" y="38"/>
                        <a:pt x="183" y="38"/>
                        <a:pt x="183" y="38"/>
                      </a:cubicBezTo>
                      <a:cubicBezTo>
                        <a:pt x="183" y="39"/>
                        <a:pt x="183" y="39"/>
                        <a:pt x="183" y="39"/>
                      </a:cubicBezTo>
                      <a:cubicBezTo>
                        <a:pt x="183" y="39"/>
                        <a:pt x="183" y="39"/>
                        <a:pt x="183" y="39"/>
                      </a:cubicBezTo>
                      <a:cubicBezTo>
                        <a:pt x="184" y="39"/>
                        <a:pt x="184" y="39"/>
                        <a:pt x="184" y="39"/>
                      </a:cubicBezTo>
                      <a:cubicBezTo>
                        <a:pt x="185" y="39"/>
                        <a:pt x="185" y="39"/>
                        <a:pt x="185" y="39"/>
                      </a:cubicBezTo>
                      <a:cubicBezTo>
                        <a:pt x="185" y="38"/>
                        <a:pt x="185" y="38"/>
                        <a:pt x="185" y="38"/>
                      </a:cubicBezTo>
                      <a:cubicBezTo>
                        <a:pt x="185" y="38"/>
                        <a:pt x="185" y="38"/>
                        <a:pt x="185" y="38"/>
                      </a:cubicBezTo>
                      <a:cubicBezTo>
                        <a:pt x="185" y="37"/>
                        <a:pt x="185" y="37"/>
                        <a:pt x="185" y="37"/>
                      </a:cubicBezTo>
                      <a:cubicBezTo>
                        <a:pt x="185" y="37"/>
                        <a:pt x="185" y="37"/>
                        <a:pt x="185" y="37"/>
                      </a:cubicBezTo>
                      <a:cubicBezTo>
                        <a:pt x="186" y="37"/>
                        <a:pt x="186" y="37"/>
                        <a:pt x="186" y="37"/>
                      </a:cubicBezTo>
                      <a:cubicBezTo>
                        <a:pt x="186" y="36"/>
                        <a:pt x="186" y="36"/>
                        <a:pt x="186" y="36"/>
                      </a:cubicBezTo>
                      <a:cubicBezTo>
                        <a:pt x="186" y="35"/>
                        <a:pt x="186" y="35"/>
                        <a:pt x="186" y="35"/>
                      </a:cubicBezTo>
                      <a:cubicBezTo>
                        <a:pt x="186" y="35"/>
                        <a:pt x="186" y="35"/>
                        <a:pt x="186" y="35"/>
                      </a:cubicBezTo>
                      <a:cubicBezTo>
                        <a:pt x="186" y="35"/>
                        <a:pt x="186" y="35"/>
                        <a:pt x="186" y="35"/>
                      </a:cubicBezTo>
                      <a:cubicBezTo>
                        <a:pt x="187" y="35"/>
                        <a:pt x="187" y="35"/>
                        <a:pt x="187" y="35"/>
                      </a:cubicBezTo>
                      <a:cubicBezTo>
                        <a:pt x="188" y="35"/>
                        <a:pt x="188" y="35"/>
                        <a:pt x="188" y="35"/>
                      </a:cubicBezTo>
                      <a:cubicBezTo>
                        <a:pt x="189" y="35"/>
                        <a:pt x="189" y="35"/>
                        <a:pt x="189" y="35"/>
                      </a:cubicBezTo>
                      <a:cubicBezTo>
                        <a:pt x="189" y="35"/>
                        <a:pt x="189" y="35"/>
                        <a:pt x="189" y="35"/>
                      </a:cubicBezTo>
                      <a:cubicBezTo>
                        <a:pt x="190" y="34"/>
                        <a:pt x="190" y="34"/>
                        <a:pt x="190" y="34"/>
                      </a:cubicBezTo>
                      <a:cubicBezTo>
                        <a:pt x="191" y="34"/>
                        <a:pt x="191" y="34"/>
                        <a:pt x="191" y="34"/>
                      </a:cubicBezTo>
                      <a:cubicBezTo>
                        <a:pt x="192" y="34"/>
                        <a:pt x="192" y="34"/>
                        <a:pt x="192" y="34"/>
                      </a:cubicBezTo>
                      <a:cubicBezTo>
                        <a:pt x="193" y="34"/>
                        <a:pt x="193" y="34"/>
                        <a:pt x="193" y="34"/>
                      </a:cubicBezTo>
                      <a:cubicBezTo>
                        <a:pt x="194" y="35"/>
                        <a:pt x="194" y="35"/>
                        <a:pt x="194" y="35"/>
                      </a:cubicBezTo>
                      <a:cubicBezTo>
                        <a:pt x="196" y="35"/>
                        <a:pt x="196" y="35"/>
                        <a:pt x="196" y="35"/>
                      </a:cubicBezTo>
                      <a:cubicBezTo>
                        <a:pt x="197" y="35"/>
                        <a:pt x="197" y="35"/>
                        <a:pt x="197" y="35"/>
                      </a:cubicBezTo>
                      <a:cubicBezTo>
                        <a:pt x="197" y="36"/>
                        <a:pt x="197" y="36"/>
                        <a:pt x="197" y="36"/>
                      </a:cubicBezTo>
                      <a:cubicBezTo>
                        <a:pt x="198" y="36"/>
                        <a:pt x="198" y="36"/>
                        <a:pt x="198" y="36"/>
                      </a:cubicBezTo>
                      <a:cubicBezTo>
                        <a:pt x="198" y="36"/>
                        <a:pt x="198" y="36"/>
                        <a:pt x="198" y="36"/>
                      </a:cubicBezTo>
                      <a:cubicBezTo>
                        <a:pt x="199" y="37"/>
                        <a:pt x="199" y="37"/>
                        <a:pt x="199" y="37"/>
                      </a:cubicBezTo>
                      <a:cubicBezTo>
                        <a:pt x="200" y="37"/>
                        <a:pt x="200" y="37"/>
                        <a:pt x="200" y="37"/>
                      </a:cubicBezTo>
                      <a:cubicBezTo>
                        <a:pt x="200" y="38"/>
                        <a:pt x="200" y="38"/>
                        <a:pt x="200" y="38"/>
                      </a:cubicBezTo>
                      <a:cubicBezTo>
                        <a:pt x="201" y="39"/>
                        <a:pt x="201" y="39"/>
                        <a:pt x="201" y="39"/>
                      </a:cubicBezTo>
                      <a:cubicBezTo>
                        <a:pt x="201" y="39"/>
                        <a:pt x="201" y="39"/>
                        <a:pt x="201" y="39"/>
                      </a:cubicBezTo>
                      <a:cubicBezTo>
                        <a:pt x="202" y="40"/>
                        <a:pt x="202" y="40"/>
                        <a:pt x="202" y="40"/>
                      </a:cubicBezTo>
                      <a:cubicBezTo>
                        <a:pt x="203" y="41"/>
                        <a:pt x="203" y="41"/>
                        <a:pt x="203" y="41"/>
                      </a:cubicBezTo>
                      <a:cubicBezTo>
                        <a:pt x="202" y="42"/>
                        <a:pt x="202" y="42"/>
                        <a:pt x="202" y="42"/>
                      </a:cubicBezTo>
                      <a:cubicBezTo>
                        <a:pt x="202" y="43"/>
                        <a:pt x="202" y="43"/>
                        <a:pt x="202" y="43"/>
                      </a:cubicBezTo>
                      <a:cubicBezTo>
                        <a:pt x="201" y="43"/>
                        <a:pt x="201" y="43"/>
                        <a:pt x="201" y="43"/>
                      </a:cubicBezTo>
                      <a:cubicBezTo>
                        <a:pt x="200" y="44"/>
                        <a:pt x="200" y="44"/>
                        <a:pt x="200" y="44"/>
                      </a:cubicBezTo>
                      <a:cubicBezTo>
                        <a:pt x="200" y="44"/>
                        <a:pt x="200" y="44"/>
                        <a:pt x="200" y="44"/>
                      </a:cubicBezTo>
                      <a:cubicBezTo>
                        <a:pt x="200" y="44"/>
                        <a:pt x="200" y="44"/>
                        <a:pt x="200" y="44"/>
                      </a:cubicBezTo>
                      <a:cubicBezTo>
                        <a:pt x="199" y="45"/>
                        <a:pt x="199" y="45"/>
                        <a:pt x="199" y="45"/>
                      </a:cubicBezTo>
                      <a:cubicBezTo>
                        <a:pt x="198" y="46"/>
                        <a:pt x="198" y="46"/>
                        <a:pt x="198" y="46"/>
                      </a:cubicBezTo>
                      <a:cubicBezTo>
                        <a:pt x="197" y="46"/>
                        <a:pt x="197" y="46"/>
                        <a:pt x="197" y="46"/>
                      </a:cubicBezTo>
                      <a:cubicBezTo>
                        <a:pt x="197" y="47"/>
                        <a:pt x="197" y="47"/>
                        <a:pt x="197" y="47"/>
                      </a:cubicBezTo>
                      <a:cubicBezTo>
                        <a:pt x="196" y="46"/>
                        <a:pt x="196" y="46"/>
                        <a:pt x="196" y="46"/>
                      </a:cubicBezTo>
                      <a:cubicBezTo>
                        <a:pt x="195" y="46"/>
                        <a:pt x="195" y="46"/>
                        <a:pt x="195" y="46"/>
                      </a:cubicBezTo>
                      <a:cubicBezTo>
                        <a:pt x="194" y="46"/>
                        <a:pt x="194" y="46"/>
                        <a:pt x="194" y="46"/>
                      </a:cubicBezTo>
                      <a:cubicBezTo>
                        <a:pt x="194" y="46"/>
                        <a:pt x="194" y="46"/>
                        <a:pt x="194" y="46"/>
                      </a:cubicBezTo>
                      <a:cubicBezTo>
                        <a:pt x="193" y="47"/>
                        <a:pt x="193" y="47"/>
                        <a:pt x="193" y="47"/>
                      </a:cubicBezTo>
                      <a:cubicBezTo>
                        <a:pt x="193" y="47"/>
                        <a:pt x="193" y="47"/>
                        <a:pt x="193" y="47"/>
                      </a:cubicBezTo>
                      <a:cubicBezTo>
                        <a:pt x="194" y="47"/>
                        <a:pt x="194" y="47"/>
                        <a:pt x="194" y="47"/>
                      </a:cubicBezTo>
                      <a:cubicBezTo>
                        <a:pt x="194" y="48"/>
                        <a:pt x="194" y="48"/>
                        <a:pt x="194" y="48"/>
                      </a:cubicBezTo>
                      <a:cubicBezTo>
                        <a:pt x="194" y="49"/>
                        <a:pt x="194" y="49"/>
                        <a:pt x="194" y="49"/>
                      </a:cubicBezTo>
                      <a:cubicBezTo>
                        <a:pt x="195" y="49"/>
                        <a:pt x="195" y="49"/>
                        <a:pt x="195" y="49"/>
                      </a:cubicBezTo>
                      <a:cubicBezTo>
                        <a:pt x="195" y="49"/>
                        <a:pt x="195" y="49"/>
                        <a:pt x="195" y="49"/>
                      </a:cubicBezTo>
                      <a:cubicBezTo>
                        <a:pt x="194" y="50"/>
                        <a:pt x="194" y="50"/>
                        <a:pt x="194" y="50"/>
                      </a:cubicBezTo>
                      <a:cubicBezTo>
                        <a:pt x="194" y="50"/>
                        <a:pt x="194" y="50"/>
                        <a:pt x="194" y="50"/>
                      </a:cubicBezTo>
                      <a:cubicBezTo>
                        <a:pt x="193" y="50"/>
                        <a:pt x="193" y="50"/>
                        <a:pt x="193" y="50"/>
                      </a:cubicBezTo>
                      <a:cubicBezTo>
                        <a:pt x="192" y="51"/>
                        <a:pt x="192" y="51"/>
                        <a:pt x="192" y="51"/>
                      </a:cubicBezTo>
                      <a:cubicBezTo>
                        <a:pt x="191" y="51"/>
                        <a:pt x="191" y="51"/>
                        <a:pt x="191" y="51"/>
                      </a:cubicBezTo>
                      <a:cubicBezTo>
                        <a:pt x="190" y="51"/>
                        <a:pt x="190" y="51"/>
                        <a:pt x="190" y="51"/>
                      </a:cubicBezTo>
                      <a:cubicBezTo>
                        <a:pt x="189" y="51"/>
                        <a:pt x="189" y="51"/>
                        <a:pt x="189" y="51"/>
                      </a:cubicBezTo>
                      <a:cubicBezTo>
                        <a:pt x="189" y="51"/>
                        <a:pt x="189" y="51"/>
                        <a:pt x="189" y="51"/>
                      </a:cubicBezTo>
                      <a:cubicBezTo>
                        <a:pt x="188" y="51"/>
                        <a:pt x="188" y="51"/>
                        <a:pt x="188" y="51"/>
                      </a:cubicBezTo>
                      <a:cubicBezTo>
                        <a:pt x="187" y="51"/>
                        <a:pt x="187" y="51"/>
                        <a:pt x="187" y="51"/>
                      </a:cubicBezTo>
                      <a:cubicBezTo>
                        <a:pt x="187" y="50"/>
                        <a:pt x="187" y="50"/>
                        <a:pt x="187" y="50"/>
                      </a:cubicBezTo>
                      <a:cubicBezTo>
                        <a:pt x="186" y="50"/>
                        <a:pt x="186" y="50"/>
                        <a:pt x="186" y="50"/>
                      </a:cubicBezTo>
                      <a:cubicBezTo>
                        <a:pt x="186" y="50"/>
                        <a:pt x="186" y="50"/>
                        <a:pt x="186" y="50"/>
                      </a:cubicBezTo>
                      <a:cubicBezTo>
                        <a:pt x="186" y="50"/>
                        <a:pt x="186" y="50"/>
                        <a:pt x="186" y="50"/>
                      </a:cubicBezTo>
                      <a:cubicBezTo>
                        <a:pt x="185" y="50"/>
                        <a:pt x="185" y="50"/>
                        <a:pt x="185" y="50"/>
                      </a:cubicBezTo>
                      <a:cubicBezTo>
                        <a:pt x="185" y="50"/>
                        <a:pt x="185" y="50"/>
                        <a:pt x="185" y="50"/>
                      </a:cubicBezTo>
                      <a:cubicBezTo>
                        <a:pt x="185" y="50"/>
                        <a:pt x="185" y="50"/>
                        <a:pt x="185" y="50"/>
                      </a:cubicBezTo>
                      <a:cubicBezTo>
                        <a:pt x="184" y="50"/>
                        <a:pt x="184" y="50"/>
                        <a:pt x="184" y="50"/>
                      </a:cubicBezTo>
                      <a:cubicBezTo>
                        <a:pt x="184" y="51"/>
                        <a:pt x="184" y="51"/>
                        <a:pt x="184" y="51"/>
                      </a:cubicBezTo>
                      <a:cubicBezTo>
                        <a:pt x="183" y="51"/>
                        <a:pt x="183" y="51"/>
                        <a:pt x="183" y="51"/>
                      </a:cubicBezTo>
                      <a:cubicBezTo>
                        <a:pt x="183" y="51"/>
                        <a:pt x="183" y="51"/>
                        <a:pt x="183" y="51"/>
                      </a:cubicBezTo>
                      <a:cubicBezTo>
                        <a:pt x="182" y="51"/>
                        <a:pt x="182" y="51"/>
                        <a:pt x="182" y="51"/>
                      </a:cubicBezTo>
                      <a:cubicBezTo>
                        <a:pt x="182" y="51"/>
                        <a:pt x="182" y="51"/>
                        <a:pt x="182" y="51"/>
                      </a:cubicBezTo>
                      <a:cubicBezTo>
                        <a:pt x="182" y="51"/>
                        <a:pt x="182" y="51"/>
                        <a:pt x="182" y="51"/>
                      </a:cubicBezTo>
                      <a:cubicBezTo>
                        <a:pt x="181" y="51"/>
                        <a:pt x="181" y="51"/>
                        <a:pt x="181" y="51"/>
                      </a:cubicBezTo>
                      <a:cubicBezTo>
                        <a:pt x="180" y="51"/>
                        <a:pt x="180" y="51"/>
                        <a:pt x="180" y="51"/>
                      </a:cubicBezTo>
                      <a:cubicBezTo>
                        <a:pt x="179" y="51"/>
                        <a:pt x="179" y="51"/>
                        <a:pt x="179" y="51"/>
                      </a:cubicBezTo>
                      <a:cubicBezTo>
                        <a:pt x="178" y="52"/>
                        <a:pt x="178" y="52"/>
                        <a:pt x="178" y="52"/>
                      </a:cubicBezTo>
                      <a:cubicBezTo>
                        <a:pt x="177" y="51"/>
                        <a:pt x="177" y="51"/>
                        <a:pt x="177" y="51"/>
                      </a:cubicBezTo>
                      <a:cubicBezTo>
                        <a:pt x="177" y="52"/>
                        <a:pt x="177" y="52"/>
                        <a:pt x="177" y="52"/>
                      </a:cubicBezTo>
                      <a:cubicBezTo>
                        <a:pt x="177" y="52"/>
                        <a:pt x="177" y="52"/>
                        <a:pt x="177" y="52"/>
                      </a:cubicBezTo>
                      <a:cubicBezTo>
                        <a:pt x="178" y="52"/>
                        <a:pt x="178" y="52"/>
                        <a:pt x="178" y="52"/>
                      </a:cubicBezTo>
                      <a:cubicBezTo>
                        <a:pt x="180" y="52"/>
                        <a:pt x="180" y="52"/>
                        <a:pt x="180" y="52"/>
                      </a:cubicBezTo>
                      <a:cubicBezTo>
                        <a:pt x="181" y="52"/>
                        <a:pt x="181" y="52"/>
                        <a:pt x="181" y="52"/>
                      </a:cubicBezTo>
                      <a:cubicBezTo>
                        <a:pt x="181" y="52"/>
                        <a:pt x="181" y="52"/>
                        <a:pt x="181" y="52"/>
                      </a:cubicBezTo>
                      <a:cubicBezTo>
                        <a:pt x="182" y="52"/>
                        <a:pt x="182" y="52"/>
                        <a:pt x="182" y="52"/>
                      </a:cubicBezTo>
                      <a:cubicBezTo>
                        <a:pt x="183" y="52"/>
                        <a:pt x="183" y="52"/>
                        <a:pt x="183" y="52"/>
                      </a:cubicBezTo>
                      <a:cubicBezTo>
                        <a:pt x="185" y="52"/>
                        <a:pt x="185" y="52"/>
                        <a:pt x="185" y="52"/>
                      </a:cubicBezTo>
                      <a:cubicBezTo>
                        <a:pt x="186" y="53"/>
                        <a:pt x="186" y="53"/>
                        <a:pt x="186" y="53"/>
                      </a:cubicBezTo>
                      <a:cubicBezTo>
                        <a:pt x="186" y="53"/>
                        <a:pt x="186" y="53"/>
                        <a:pt x="186" y="53"/>
                      </a:cubicBezTo>
                      <a:cubicBezTo>
                        <a:pt x="187" y="52"/>
                        <a:pt x="187" y="52"/>
                        <a:pt x="187" y="52"/>
                      </a:cubicBezTo>
                      <a:cubicBezTo>
                        <a:pt x="187" y="52"/>
                        <a:pt x="187" y="52"/>
                        <a:pt x="187" y="52"/>
                      </a:cubicBezTo>
                      <a:cubicBezTo>
                        <a:pt x="188" y="52"/>
                        <a:pt x="188" y="52"/>
                        <a:pt x="188" y="52"/>
                      </a:cubicBezTo>
                      <a:cubicBezTo>
                        <a:pt x="188" y="53"/>
                        <a:pt x="188" y="53"/>
                        <a:pt x="188" y="53"/>
                      </a:cubicBezTo>
                      <a:cubicBezTo>
                        <a:pt x="189" y="53"/>
                        <a:pt x="189" y="53"/>
                        <a:pt x="189" y="53"/>
                      </a:cubicBezTo>
                      <a:cubicBezTo>
                        <a:pt x="189" y="53"/>
                        <a:pt x="189" y="53"/>
                        <a:pt x="189" y="53"/>
                      </a:cubicBezTo>
                      <a:cubicBezTo>
                        <a:pt x="190" y="54"/>
                        <a:pt x="190" y="54"/>
                        <a:pt x="190" y="54"/>
                      </a:cubicBezTo>
                      <a:cubicBezTo>
                        <a:pt x="189" y="55"/>
                        <a:pt x="189" y="55"/>
                        <a:pt x="189" y="55"/>
                      </a:cubicBezTo>
                      <a:cubicBezTo>
                        <a:pt x="188" y="55"/>
                        <a:pt x="188" y="55"/>
                        <a:pt x="188" y="55"/>
                      </a:cubicBezTo>
                      <a:cubicBezTo>
                        <a:pt x="188" y="55"/>
                        <a:pt x="188" y="55"/>
                        <a:pt x="188" y="55"/>
                      </a:cubicBezTo>
                      <a:cubicBezTo>
                        <a:pt x="188" y="55"/>
                        <a:pt x="188" y="55"/>
                        <a:pt x="188" y="55"/>
                      </a:cubicBezTo>
                      <a:cubicBezTo>
                        <a:pt x="188" y="56"/>
                        <a:pt x="188" y="56"/>
                        <a:pt x="188" y="56"/>
                      </a:cubicBezTo>
                      <a:cubicBezTo>
                        <a:pt x="187" y="56"/>
                        <a:pt x="187" y="56"/>
                        <a:pt x="187" y="56"/>
                      </a:cubicBezTo>
                      <a:cubicBezTo>
                        <a:pt x="185" y="57"/>
                        <a:pt x="185" y="57"/>
                        <a:pt x="185" y="57"/>
                      </a:cubicBezTo>
                      <a:cubicBezTo>
                        <a:pt x="185" y="57"/>
                        <a:pt x="185" y="57"/>
                        <a:pt x="185" y="57"/>
                      </a:cubicBezTo>
                      <a:cubicBezTo>
                        <a:pt x="184" y="57"/>
                        <a:pt x="184" y="57"/>
                        <a:pt x="184" y="57"/>
                      </a:cubicBezTo>
                      <a:cubicBezTo>
                        <a:pt x="182" y="57"/>
                        <a:pt x="182" y="57"/>
                        <a:pt x="182" y="57"/>
                      </a:cubicBezTo>
                      <a:cubicBezTo>
                        <a:pt x="181" y="56"/>
                        <a:pt x="181" y="56"/>
                        <a:pt x="181" y="56"/>
                      </a:cubicBezTo>
                      <a:cubicBezTo>
                        <a:pt x="180" y="55"/>
                        <a:pt x="180" y="55"/>
                        <a:pt x="180" y="55"/>
                      </a:cubicBezTo>
                      <a:cubicBezTo>
                        <a:pt x="178" y="55"/>
                        <a:pt x="178" y="55"/>
                        <a:pt x="178" y="55"/>
                      </a:cubicBezTo>
                      <a:cubicBezTo>
                        <a:pt x="178" y="55"/>
                        <a:pt x="178" y="55"/>
                        <a:pt x="178" y="55"/>
                      </a:cubicBezTo>
                      <a:cubicBezTo>
                        <a:pt x="177" y="55"/>
                        <a:pt x="177" y="55"/>
                        <a:pt x="177" y="55"/>
                      </a:cubicBezTo>
                      <a:cubicBezTo>
                        <a:pt x="176" y="56"/>
                        <a:pt x="176" y="56"/>
                        <a:pt x="176" y="56"/>
                      </a:cubicBezTo>
                      <a:cubicBezTo>
                        <a:pt x="175" y="57"/>
                        <a:pt x="175" y="57"/>
                        <a:pt x="175" y="57"/>
                      </a:cubicBezTo>
                      <a:cubicBezTo>
                        <a:pt x="175" y="57"/>
                        <a:pt x="175" y="57"/>
                        <a:pt x="175" y="57"/>
                      </a:cubicBezTo>
                      <a:cubicBezTo>
                        <a:pt x="174" y="57"/>
                        <a:pt x="174" y="57"/>
                        <a:pt x="174" y="57"/>
                      </a:cubicBezTo>
                      <a:cubicBezTo>
                        <a:pt x="175" y="58"/>
                        <a:pt x="175" y="58"/>
                        <a:pt x="175" y="58"/>
                      </a:cubicBezTo>
                      <a:cubicBezTo>
                        <a:pt x="175" y="58"/>
                        <a:pt x="175" y="58"/>
                        <a:pt x="175" y="58"/>
                      </a:cubicBezTo>
                      <a:cubicBezTo>
                        <a:pt x="176" y="58"/>
                        <a:pt x="176" y="58"/>
                        <a:pt x="176" y="58"/>
                      </a:cubicBezTo>
                      <a:cubicBezTo>
                        <a:pt x="176" y="59"/>
                        <a:pt x="176" y="59"/>
                        <a:pt x="176" y="59"/>
                      </a:cubicBezTo>
                      <a:cubicBezTo>
                        <a:pt x="175" y="59"/>
                        <a:pt x="175" y="59"/>
                        <a:pt x="175" y="59"/>
                      </a:cubicBezTo>
                      <a:cubicBezTo>
                        <a:pt x="175" y="59"/>
                        <a:pt x="175" y="59"/>
                        <a:pt x="175" y="59"/>
                      </a:cubicBezTo>
                      <a:cubicBezTo>
                        <a:pt x="175" y="60"/>
                        <a:pt x="175" y="60"/>
                        <a:pt x="175" y="60"/>
                      </a:cubicBezTo>
                      <a:cubicBezTo>
                        <a:pt x="175" y="60"/>
                        <a:pt x="175" y="60"/>
                        <a:pt x="175" y="60"/>
                      </a:cubicBezTo>
                      <a:cubicBezTo>
                        <a:pt x="176" y="60"/>
                        <a:pt x="176" y="60"/>
                        <a:pt x="176" y="60"/>
                      </a:cubicBezTo>
                      <a:cubicBezTo>
                        <a:pt x="176" y="60"/>
                        <a:pt x="176" y="60"/>
                        <a:pt x="176" y="60"/>
                      </a:cubicBezTo>
                      <a:cubicBezTo>
                        <a:pt x="177" y="60"/>
                        <a:pt x="177" y="60"/>
                        <a:pt x="177" y="60"/>
                      </a:cubicBezTo>
                      <a:cubicBezTo>
                        <a:pt x="178" y="59"/>
                        <a:pt x="178" y="59"/>
                        <a:pt x="178" y="59"/>
                      </a:cubicBezTo>
                      <a:cubicBezTo>
                        <a:pt x="178" y="59"/>
                        <a:pt x="178" y="59"/>
                        <a:pt x="178" y="59"/>
                      </a:cubicBezTo>
                      <a:cubicBezTo>
                        <a:pt x="179" y="58"/>
                        <a:pt x="179" y="58"/>
                        <a:pt x="179" y="58"/>
                      </a:cubicBezTo>
                      <a:cubicBezTo>
                        <a:pt x="181" y="58"/>
                        <a:pt x="181" y="58"/>
                        <a:pt x="181" y="58"/>
                      </a:cubicBezTo>
                      <a:cubicBezTo>
                        <a:pt x="182" y="57"/>
                        <a:pt x="182" y="57"/>
                        <a:pt x="182" y="57"/>
                      </a:cubicBezTo>
                      <a:cubicBezTo>
                        <a:pt x="183" y="57"/>
                        <a:pt x="183" y="57"/>
                        <a:pt x="183" y="57"/>
                      </a:cubicBezTo>
                      <a:cubicBezTo>
                        <a:pt x="183" y="58"/>
                        <a:pt x="183" y="58"/>
                        <a:pt x="183" y="58"/>
                      </a:cubicBezTo>
                      <a:cubicBezTo>
                        <a:pt x="183" y="58"/>
                        <a:pt x="183" y="58"/>
                        <a:pt x="183" y="58"/>
                      </a:cubicBezTo>
                      <a:cubicBezTo>
                        <a:pt x="184" y="58"/>
                        <a:pt x="184" y="58"/>
                        <a:pt x="184" y="58"/>
                      </a:cubicBezTo>
                      <a:cubicBezTo>
                        <a:pt x="185" y="59"/>
                        <a:pt x="185" y="59"/>
                        <a:pt x="185" y="59"/>
                      </a:cubicBezTo>
                      <a:cubicBezTo>
                        <a:pt x="185" y="59"/>
                        <a:pt x="185" y="59"/>
                        <a:pt x="185" y="59"/>
                      </a:cubicBezTo>
                      <a:cubicBezTo>
                        <a:pt x="185" y="59"/>
                        <a:pt x="185" y="59"/>
                        <a:pt x="185" y="59"/>
                      </a:cubicBezTo>
                      <a:cubicBezTo>
                        <a:pt x="184" y="60"/>
                        <a:pt x="184" y="60"/>
                        <a:pt x="184" y="60"/>
                      </a:cubicBezTo>
                      <a:cubicBezTo>
                        <a:pt x="183" y="61"/>
                        <a:pt x="183" y="61"/>
                        <a:pt x="183" y="61"/>
                      </a:cubicBezTo>
                      <a:cubicBezTo>
                        <a:pt x="182" y="62"/>
                        <a:pt x="182" y="62"/>
                        <a:pt x="182" y="62"/>
                      </a:cubicBezTo>
                      <a:cubicBezTo>
                        <a:pt x="182" y="62"/>
                        <a:pt x="182" y="62"/>
                        <a:pt x="182" y="62"/>
                      </a:cubicBezTo>
                      <a:cubicBezTo>
                        <a:pt x="181" y="63"/>
                        <a:pt x="181" y="63"/>
                        <a:pt x="181" y="63"/>
                      </a:cubicBezTo>
                      <a:cubicBezTo>
                        <a:pt x="180" y="65"/>
                        <a:pt x="180" y="65"/>
                        <a:pt x="180" y="65"/>
                      </a:cubicBezTo>
                      <a:cubicBezTo>
                        <a:pt x="179" y="66"/>
                        <a:pt x="179" y="66"/>
                        <a:pt x="179" y="66"/>
                      </a:cubicBezTo>
                      <a:cubicBezTo>
                        <a:pt x="178" y="67"/>
                        <a:pt x="178" y="67"/>
                        <a:pt x="178" y="67"/>
                      </a:cubicBezTo>
                      <a:cubicBezTo>
                        <a:pt x="177" y="68"/>
                        <a:pt x="177" y="68"/>
                        <a:pt x="177" y="68"/>
                      </a:cubicBezTo>
                      <a:cubicBezTo>
                        <a:pt x="177" y="69"/>
                        <a:pt x="177" y="69"/>
                        <a:pt x="177" y="69"/>
                      </a:cubicBezTo>
                      <a:cubicBezTo>
                        <a:pt x="177" y="70"/>
                        <a:pt x="177" y="70"/>
                        <a:pt x="177" y="70"/>
                      </a:cubicBezTo>
                      <a:cubicBezTo>
                        <a:pt x="177" y="70"/>
                        <a:pt x="177" y="70"/>
                        <a:pt x="177" y="70"/>
                      </a:cubicBezTo>
                      <a:cubicBezTo>
                        <a:pt x="176" y="71"/>
                        <a:pt x="176" y="71"/>
                        <a:pt x="176" y="71"/>
                      </a:cubicBezTo>
                      <a:cubicBezTo>
                        <a:pt x="176" y="72"/>
                        <a:pt x="176" y="72"/>
                        <a:pt x="176" y="72"/>
                      </a:cubicBezTo>
                      <a:cubicBezTo>
                        <a:pt x="176" y="73"/>
                        <a:pt x="176" y="73"/>
                        <a:pt x="176" y="73"/>
                      </a:cubicBezTo>
                      <a:cubicBezTo>
                        <a:pt x="175" y="75"/>
                        <a:pt x="175" y="75"/>
                        <a:pt x="175" y="75"/>
                      </a:cubicBezTo>
                      <a:cubicBezTo>
                        <a:pt x="176" y="75"/>
                        <a:pt x="176" y="75"/>
                        <a:pt x="176" y="75"/>
                      </a:cubicBezTo>
                      <a:cubicBezTo>
                        <a:pt x="176" y="76"/>
                        <a:pt x="176" y="76"/>
                        <a:pt x="176" y="76"/>
                      </a:cubicBezTo>
                      <a:cubicBezTo>
                        <a:pt x="176" y="78"/>
                        <a:pt x="176" y="78"/>
                        <a:pt x="176" y="78"/>
                      </a:cubicBezTo>
                      <a:cubicBezTo>
                        <a:pt x="175" y="78"/>
                        <a:pt x="175" y="78"/>
                        <a:pt x="175" y="78"/>
                      </a:cubicBezTo>
                      <a:cubicBezTo>
                        <a:pt x="174" y="79"/>
                        <a:pt x="174" y="79"/>
                        <a:pt x="174" y="79"/>
                      </a:cubicBezTo>
                      <a:cubicBezTo>
                        <a:pt x="175" y="80"/>
                        <a:pt x="175" y="80"/>
                        <a:pt x="175" y="80"/>
                      </a:cubicBezTo>
                      <a:cubicBezTo>
                        <a:pt x="175" y="80"/>
                        <a:pt x="175" y="80"/>
                        <a:pt x="175" y="80"/>
                      </a:cubicBezTo>
                      <a:cubicBezTo>
                        <a:pt x="174" y="81"/>
                        <a:pt x="174" y="81"/>
                        <a:pt x="174" y="81"/>
                      </a:cubicBezTo>
                      <a:cubicBezTo>
                        <a:pt x="174" y="82"/>
                        <a:pt x="174" y="82"/>
                        <a:pt x="174" y="82"/>
                      </a:cubicBezTo>
                      <a:cubicBezTo>
                        <a:pt x="174" y="83"/>
                        <a:pt x="174" y="83"/>
                        <a:pt x="174" y="83"/>
                      </a:cubicBezTo>
                      <a:cubicBezTo>
                        <a:pt x="173" y="83"/>
                        <a:pt x="173" y="83"/>
                        <a:pt x="173" y="83"/>
                      </a:cubicBezTo>
                      <a:cubicBezTo>
                        <a:pt x="172" y="83"/>
                        <a:pt x="172" y="83"/>
                        <a:pt x="172" y="83"/>
                      </a:cubicBezTo>
                      <a:cubicBezTo>
                        <a:pt x="172" y="83"/>
                        <a:pt x="172" y="83"/>
                        <a:pt x="172" y="83"/>
                      </a:cubicBezTo>
                      <a:cubicBezTo>
                        <a:pt x="172" y="82"/>
                        <a:pt x="172" y="82"/>
                        <a:pt x="172" y="82"/>
                      </a:cubicBezTo>
                      <a:cubicBezTo>
                        <a:pt x="171" y="82"/>
                        <a:pt x="171" y="82"/>
                        <a:pt x="171" y="82"/>
                      </a:cubicBezTo>
                      <a:cubicBezTo>
                        <a:pt x="171" y="82"/>
                        <a:pt x="171" y="82"/>
                        <a:pt x="171" y="82"/>
                      </a:cubicBezTo>
                      <a:cubicBezTo>
                        <a:pt x="172" y="81"/>
                        <a:pt x="172" y="81"/>
                        <a:pt x="172" y="81"/>
                      </a:cubicBezTo>
                      <a:cubicBezTo>
                        <a:pt x="171" y="81"/>
                        <a:pt x="171" y="81"/>
                        <a:pt x="171" y="81"/>
                      </a:cubicBezTo>
                      <a:cubicBezTo>
                        <a:pt x="171" y="81"/>
                        <a:pt x="171" y="81"/>
                        <a:pt x="171" y="81"/>
                      </a:cubicBezTo>
                      <a:cubicBezTo>
                        <a:pt x="170" y="81"/>
                        <a:pt x="170" y="81"/>
                        <a:pt x="170" y="81"/>
                      </a:cubicBezTo>
                      <a:cubicBezTo>
                        <a:pt x="170" y="81"/>
                        <a:pt x="170" y="81"/>
                        <a:pt x="170" y="81"/>
                      </a:cubicBezTo>
                      <a:cubicBezTo>
                        <a:pt x="169" y="81"/>
                        <a:pt x="169" y="81"/>
                        <a:pt x="169" y="81"/>
                      </a:cubicBezTo>
                      <a:cubicBezTo>
                        <a:pt x="170" y="82"/>
                        <a:pt x="170" y="82"/>
                        <a:pt x="170" y="82"/>
                      </a:cubicBezTo>
                      <a:cubicBezTo>
                        <a:pt x="170" y="82"/>
                        <a:pt x="170" y="82"/>
                        <a:pt x="170" y="82"/>
                      </a:cubicBezTo>
                      <a:cubicBezTo>
                        <a:pt x="170" y="82"/>
                        <a:pt x="170" y="82"/>
                        <a:pt x="170" y="82"/>
                      </a:cubicBezTo>
                      <a:cubicBezTo>
                        <a:pt x="169" y="83"/>
                        <a:pt x="169" y="83"/>
                        <a:pt x="169" y="83"/>
                      </a:cubicBezTo>
                      <a:cubicBezTo>
                        <a:pt x="169" y="83"/>
                        <a:pt x="169" y="83"/>
                        <a:pt x="169" y="83"/>
                      </a:cubicBezTo>
                      <a:cubicBezTo>
                        <a:pt x="170" y="84"/>
                        <a:pt x="170" y="84"/>
                        <a:pt x="170" y="84"/>
                      </a:cubicBezTo>
                      <a:cubicBezTo>
                        <a:pt x="170" y="84"/>
                        <a:pt x="170" y="84"/>
                        <a:pt x="170" y="84"/>
                      </a:cubicBezTo>
                      <a:cubicBezTo>
                        <a:pt x="171" y="84"/>
                        <a:pt x="171" y="84"/>
                        <a:pt x="171" y="84"/>
                      </a:cubicBezTo>
                      <a:cubicBezTo>
                        <a:pt x="171" y="85"/>
                        <a:pt x="171" y="85"/>
                        <a:pt x="171" y="85"/>
                      </a:cubicBezTo>
                      <a:cubicBezTo>
                        <a:pt x="172" y="86"/>
                        <a:pt x="172" y="86"/>
                        <a:pt x="172" y="86"/>
                      </a:cubicBezTo>
                      <a:cubicBezTo>
                        <a:pt x="173" y="86"/>
                        <a:pt x="173" y="86"/>
                        <a:pt x="173" y="86"/>
                      </a:cubicBezTo>
                      <a:cubicBezTo>
                        <a:pt x="173" y="86"/>
                        <a:pt x="173" y="86"/>
                        <a:pt x="173" y="86"/>
                      </a:cubicBezTo>
                      <a:cubicBezTo>
                        <a:pt x="174" y="87"/>
                        <a:pt x="174" y="87"/>
                        <a:pt x="174" y="87"/>
                      </a:cubicBezTo>
                      <a:cubicBezTo>
                        <a:pt x="175" y="88"/>
                        <a:pt x="175" y="88"/>
                        <a:pt x="175" y="88"/>
                      </a:cubicBezTo>
                      <a:cubicBezTo>
                        <a:pt x="174" y="89"/>
                        <a:pt x="174" y="89"/>
                        <a:pt x="174" y="89"/>
                      </a:cubicBezTo>
                      <a:cubicBezTo>
                        <a:pt x="174" y="89"/>
                        <a:pt x="174" y="89"/>
                        <a:pt x="174" y="89"/>
                      </a:cubicBezTo>
                      <a:cubicBezTo>
                        <a:pt x="173" y="88"/>
                        <a:pt x="173" y="88"/>
                        <a:pt x="173" y="88"/>
                      </a:cubicBezTo>
                      <a:cubicBezTo>
                        <a:pt x="172" y="88"/>
                        <a:pt x="172" y="88"/>
                        <a:pt x="172" y="88"/>
                      </a:cubicBezTo>
                      <a:cubicBezTo>
                        <a:pt x="172" y="87"/>
                        <a:pt x="172" y="87"/>
                        <a:pt x="172" y="87"/>
                      </a:cubicBezTo>
                      <a:cubicBezTo>
                        <a:pt x="172" y="87"/>
                        <a:pt x="172" y="87"/>
                        <a:pt x="172" y="87"/>
                      </a:cubicBezTo>
                      <a:cubicBezTo>
                        <a:pt x="171" y="87"/>
                        <a:pt x="171" y="87"/>
                        <a:pt x="171" y="87"/>
                      </a:cubicBezTo>
                      <a:cubicBezTo>
                        <a:pt x="171" y="87"/>
                        <a:pt x="171" y="87"/>
                        <a:pt x="171" y="87"/>
                      </a:cubicBezTo>
                      <a:cubicBezTo>
                        <a:pt x="171" y="87"/>
                        <a:pt x="171" y="87"/>
                        <a:pt x="171" y="87"/>
                      </a:cubicBezTo>
                      <a:cubicBezTo>
                        <a:pt x="171" y="88"/>
                        <a:pt x="171" y="88"/>
                        <a:pt x="171" y="88"/>
                      </a:cubicBezTo>
                      <a:cubicBezTo>
                        <a:pt x="171" y="88"/>
                        <a:pt x="171" y="88"/>
                        <a:pt x="171" y="88"/>
                      </a:cubicBezTo>
                      <a:cubicBezTo>
                        <a:pt x="171" y="89"/>
                        <a:pt x="171" y="89"/>
                        <a:pt x="171" y="89"/>
                      </a:cubicBezTo>
                      <a:cubicBezTo>
                        <a:pt x="171" y="89"/>
                        <a:pt x="171" y="89"/>
                        <a:pt x="171" y="89"/>
                      </a:cubicBezTo>
                      <a:cubicBezTo>
                        <a:pt x="170" y="89"/>
                        <a:pt x="170" y="89"/>
                        <a:pt x="170" y="89"/>
                      </a:cubicBezTo>
                      <a:cubicBezTo>
                        <a:pt x="170" y="89"/>
                        <a:pt x="170" y="89"/>
                        <a:pt x="170" y="89"/>
                      </a:cubicBezTo>
                      <a:cubicBezTo>
                        <a:pt x="170" y="89"/>
                        <a:pt x="170" y="89"/>
                        <a:pt x="170" y="89"/>
                      </a:cubicBezTo>
                      <a:cubicBezTo>
                        <a:pt x="171" y="90"/>
                        <a:pt x="171" y="90"/>
                        <a:pt x="171" y="90"/>
                      </a:cubicBezTo>
                      <a:cubicBezTo>
                        <a:pt x="171" y="90"/>
                        <a:pt x="171" y="90"/>
                        <a:pt x="171" y="90"/>
                      </a:cubicBezTo>
                      <a:cubicBezTo>
                        <a:pt x="171" y="90"/>
                        <a:pt x="171" y="90"/>
                        <a:pt x="171" y="90"/>
                      </a:cubicBezTo>
                      <a:cubicBezTo>
                        <a:pt x="171" y="90"/>
                        <a:pt x="171" y="90"/>
                        <a:pt x="171" y="90"/>
                      </a:cubicBezTo>
                      <a:cubicBezTo>
                        <a:pt x="172" y="90"/>
                        <a:pt x="172" y="90"/>
                        <a:pt x="172" y="90"/>
                      </a:cubicBezTo>
                      <a:cubicBezTo>
                        <a:pt x="172" y="90"/>
                        <a:pt x="172" y="90"/>
                        <a:pt x="172" y="90"/>
                      </a:cubicBezTo>
                      <a:cubicBezTo>
                        <a:pt x="173" y="91"/>
                        <a:pt x="173" y="91"/>
                        <a:pt x="173" y="91"/>
                      </a:cubicBezTo>
                      <a:cubicBezTo>
                        <a:pt x="173" y="91"/>
                        <a:pt x="173" y="91"/>
                        <a:pt x="173" y="91"/>
                      </a:cubicBezTo>
                      <a:cubicBezTo>
                        <a:pt x="173" y="92"/>
                        <a:pt x="173" y="92"/>
                        <a:pt x="173" y="92"/>
                      </a:cubicBezTo>
                      <a:cubicBezTo>
                        <a:pt x="173" y="92"/>
                        <a:pt x="173" y="92"/>
                        <a:pt x="173" y="92"/>
                      </a:cubicBezTo>
                      <a:cubicBezTo>
                        <a:pt x="174" y="92"/>
                        <a:pt x="174" y="92"/>
                        <a:pt x="174" y="92"/>
                      </a:cubicBezTo>
                      <a:cubicBezTo>
                        <a:pt x="174" y="91"/>
                        <a:pt x="174" y="91"/>
                        <a:pt x="174" y="91"/>
                      </a:cubicBezTo>
                      <a:cubicBezTo>
                        <a:pt x="175" y="90"/>
                        <a:pt x="175" y="90"/>
                        <a:pt x="175" y="90"/>
                      </a:cubicBezTo>
                      <a:cubicBezTo>
                        <a:pt x="175" y="90"/>
                        <a:pt x="175" y="90"/>
                        <a:pt x="175" y="90"/>
                      </a:cubicBezTo>
                      <a:cubicBezTo>
                        <a:pt x="175" y="91"/>
                        <a:pt x="175" y="91"/>
                        <a:pt x="175" y="91"/>
                      </a:cubicBezTo>
                      <a:cubicBezTo>
                        <a:pt x="175" y="91"/>
                        <a:pt x="175" y="91"/>
                        <a:pt x="175" y="91"/>
                      </a:cubicBezTo>
                      <a:cubicBezTo>
                        <a:pt x="176" y="91"/>
                        <a:pt x="176" y="91"/>
                        <a:pt x="176" y="91"/>
                      </a:cubicBezTo>
                      <a:cubicBezTo>
                        <a:pt x="176" y="91"/>
                        <a:pt x="176" y="91"/>
                        <a:pt x="176" y="91"/>
                      </a:cubicBezTo>
                      <a:cubicBezTo>
                        <a:pt x="177" y="92"/>
                        <a:pt x="177" y="92"/>
                        <a:pt x="177" y="92"/>
                      </a:cubicBezTo>
                      <a:cubicBezTo>
                        <a:pt x="177" y="92"/>
                        <a:pt x="177" y="92"/>
                        <a:pt x="177" y="92"/>
                      </a:cubicBezTo>
                      <a:cubicBezTo>
                        <a:pt x="177" y="93"/>
                        <a:pt x="177" y="93"/>
                        <a:pt x="177" y="93"/>
                      </a:cubicBezTo>
                      <a:cubicBezTo>
                        <a:pt x="177" y="93"/>
                        <a:pt x="177" y="93"/>
                        <a:pt x="177" y="93"/>
                      </a:cubicBezTo>
                      <a:cubicBezTo>
                        <a:pt x="177" y="94"/>
                        <a:pt x="177" y="94"/>
                        <a:pt x="177" y="94"/>
                      </a:cubicBezTo>
                      <a:cubicBezTo>
                        <a:pt x="177" y="95"/>
                        <a:pt x="177" y="95"/>
                        <a:pt x="177" y="95"/>
                      </a:cubicBezTo>
                      <a:cubicBezTo>
                        <a:pt x="177" y="96"/>
                        <a:pt x="177" y="96"/>
                        <a:pt x="177" y="96"/>
                      </a:cubicBezTo>
                      <a:cubicBezTo>
                        <a:pt x="176" y="97"/>
                        <a:pt x="176" y="97"/>
                        <a:pt x="176" y="97"/>
                      </a:cubicBezTo>
                      <a:cubicBezTo>
                        <a:pt x="176" y="98"/>
                        <a:pt x="176" y="98"/>
                        <a:pt x="176" y="98"/>
                      </a:cubicBezTo>
                      <a:cubicBezTo>
                        <a:pt x="176" y="98"/>
                        <a:pt x="176" y="98"/>
                        <a:pt x="176" y="98"/>
                      </a:cubicBezTo>
                      <a:cubicBezTo>
                        <a:pt x="176" y="99"/>
                        <a:pt x="176" y="99"/>
                        <a:pt x="176" y="99"/>
                      </a:cubicBezTo>
                      <a:cubicBezTo>
                        <a:pt x="175" y="98"/>
                        <a:pt x="175" y="98"/>
                        <a:pt x="175" y="98"/>
                      </a:cubicBezTo>
                      <a:cubicBezTo>
                        <a:pt x="175" y="98"/>
                        <a:pt x="175" y="98"/>
                        <a:pt x="175" y="98"/>
                      </a:cubicBezTo>
                      <a:cubicBezTo>
                        <a:pt x="174" y="98"/>
                        <a:pt x="174" y="98"/>
                        <a:pt x="174" y="98"/>
                      </a:cubicBezTo>
                      <a:cubicBezTo>
                        <a:pt x="173" y="97"/>
                        <a:pt x="173" y="97"/>
                        <a:pt x="173" y="97"/>
                      </a:cubicBezTo>
                      <a:cubicBezTo>
                        <a:pt x="173" y="97"/>
                        <a:pt x="173" y="97"/>
                        <a:pt x="173" y="97"/>
                      </a:cubicBezTo>
                      <a:cubicBezTo>
                        <a:pt x="173" y="97"/>
                        <a:pt x="173" y="97"/>
                        <a:pt x="173" y="97"/>
                      </a:cubicBezTo>
                      <a:cubicBezTo>
                        <a:pt x="172" y="97"/>
                        <a:pt x="172" y="97"/>
                        <a:pt x="172" y="97"/>
                      </a:cubicBezTo>
                      <a:cubicBezTo>
                        <a:pt x="172" y="96"/>
                        <a:pt x="172" y="96"/>
                        <a:pt x="172" y="96"/>
                      </a:cubicBezTo>
                      <a:cubicBezTo>
                        <a:pt x="172" y="96"/>
                        <a:pt x="172" y="96"/>
                        <a:pt x="172" y="96"/>
                      </a:cubicBezTo>
                      <a:cubicBezTo>
                        <a:pt x="171" y="95"/>
                        <a:pt x="171" y="95"/>
                        <a:pt x="171" y="95"/>
                      </a:cubicBezTo>
                      <a:cubicBezTo>
                        <a:pt x="171" y="95"/>
                        <a:pt x="171" y="95"/>
                        <a:pt x="171" y="95"/>
                      </a:cubicBezTo>
                      <a:cubicBezTo>
                        <a:pt x="171" y="95"/>
                        <a:pt x="171" y="95"/>
                        <a:pt x="171" y="95"/>
                      </a:cubicBezTo>
                      <a:cubicBezTo>
                        <a:pt x="170" y="95"/>
                        <a:pt x="170" y="95"/>
                        <a:pt x="170" y="95"/>
                      </a:cubicBezTo>
                      <a:cubicBezTo>
                        <a:pt x="170" y="95"/>
                        <a:pt x="170" y="95"/>
                        <a:pt x="170" y="95"/>
                      </a:cubicBezTo>
                      <a:cubicBezTo>
                        <a:pt x="169" y="95"/>
                        <a:pt x="169" y="95"/>
                        <a:pt x="169" y="95"/>
                      </a:cubicBezTo>
                      <a:cubicBezTo>
                        <a:pt x="168" y="95"/>
                        <a:pt x="168" y="95"/>
                        <a:pt x="168" y="95"/>
                      </a:cubicBezTo>
                      <a:cubicBezTo>
                        <a:pt x="168" y="95"/>
                        <a:pt x="168" y="95"/>
                        <a:pt x="168" y="95"/>
                      </a:cubicBezTo>
                      <a:cubicBezTo>
                        <a:pt x="168" y="96"/>
                        <a:pt x="168" y="96"/>
                        <a:pt x="168" y="96"/>
                      </a:cubicBezTo>
                      <a:cubicBezTo>
                        <a:pt x="168" y="96"/>
                        <a:pt x="168" y="96"/>
                        <a:pt x="168" y="96"/>
                      </a:cubicBezTo>
                      <a:cubicBezTo>
                        <a:pt x="167" y="95"/>
                        <a:pt x="167" y="95"/>
                        <a:pt x="167" y="95"/>
                      </a:cubicBezTo>
                      <a:cubicBezTo>
                        <a:pt x="167" y="95"/>
                        <a:pt x="167" y="95"/>
                        <a:pt x="167" y="95"/>
                      </a:cubicBezTo>
                      <a:cubicBezTo>
                        <a:pt x="166" y="96"/>
                        <a:pt x="166" y="96"/>
                        <a:pt x="166" y="96"/>
                      </a:cubicBezTo>
                      <a:cubicBezTo>
                        <a:pt x="166" y="96"/>
                        <a:pt x="166" y="96"/>
                        <a:pt x="166" y="96"/>
                      </a:cubicBezTo>
                      <a:cubicBezTo>
                        <a:pt x="167" y="96"/>
                        <a:pt x="167" y="96"/>
                        <a:pt x="167" y="96"/>
                      </a:cubicBezTo>
                      <a:cubicBezTo>
                        <a:pt x="168" y="96"/>
                        <a:pt x="168" y="96"/>
                        <a:pt x="168" y="96"/>
                      </a:cubicBezTo>
                      <a:cubicBezTo>
                        <a:pt x="168" y="96"/>
                        <a:pt x="168" y="96"/>
                        <a:pt x="168" y="96"/>
                      </a:cubicBezTo>
                      <a:cubicBezTo>
                        <a:pt x="168" y="96"/>
                        <a:pt x="168" y="96"/>
                        <a:pt x="168" y="96"/>
                      </a:cubicBezTo>
                      <a:cubicBezTo>
                        <a:pt x="167" y="97"/>
                        <a:pt x="167" y="97"/>
                        <a:pt x="167" y="97"/>
                      </a:cubicBezTo>
                      <a:cubicBezTo>
                        <a:pt x="166" y="98"/>
                        <a:pt x="166" y="98"/>
                        <a:pt x="166" y="98"/>
                      </a:cubicBezTo>
                      <a:cubicBezTo>
                        <a:pt x="165" y="98"/>
                        <a:pt x="165" y="98"/>
                        <a:pt x="165" y="98"/>
                      </a:cubicBezTo>
                      <a:cubicBezTo>
                        <a:pt x="165" y="98"/>
                        <a:pt x="165" y="98"/>
                        <a:pt x="165" y="98"/>
                      </a:cubicBezTo>
                      <a:cubicBezTo>
                        <a:pt x="165" y="97"/>
                        <a:pt x="165" y="97"/>
                        <a:pt x="165" y="97"/>
                      </a:cubicBezTo>
                      <a:cubicBezTo>
                        <a:pt x="165" y="97"/>
                        <a:pt x="165" y="97"/>
                        <a:pt x="165" y="97"/>
                      </a:cubicBezTo>
                      <a:cubicBezTo>
                        <a:pt x="164" y="97"/>
                        <a:pt x="164" y="97"/>
                        <a:pt x="164" y="97"/>
                      </a:cubicBezTo>
                      <a:cubicBezTo>
                        <a:pt x="164" y="97"/>
                        <a:pt x="164" y="97"/>
                        <a:pt x="164" y="97"/>
                      </a:cubicBezTo>
                      <a:cubicBezTo>
                        <a:pt x="164" y="98"/>
                        <a:pt x="164" y="98"/>
                        <a:pt x="164" y="98"/>
                      </a:cubicBezTo>
                      <a:cubicBezTo>
                        <a:pt x="164" y="98"/>
                        <a:pt x="164" y="98"/>
                        <a:pt x="164" y="98"/>
                      </a:cubicBezTo>
                      <a:cubicBezTo>
                        <a:pt x="164" y="98"/>
                        <a:pt x="164" y="98"/>
                        <a:pt x="164" y="98"/>
                      </a:cubicBezTo>
                      <a:cubicBezTo>
                        <a:pt x="164" y="99"/>
                        <a:pt x="164" y="99"/>
                        <a:pt x="164" y="99"/>
                      </a:cubicBezTo>
                      <a:cubicBezTo>
                        <a:pt x="164" y="99"/>
                        <a:pt x="164" y="99"/>
                        <a:pt x="164" y="99"/>
                      </a:cubicBezTo>
                      <a:cubicBezTo>
                        <a:pt x="164" y="100"/>
                        <a:pt x="164" y="100"/>
                        <a:pt x="164" y="100"/>
                      </a:cubicBezTo>
                      <a:cubicBezTo>
                        <a:pt x="164" y="100"/>
                        <a:pt x="164" y="100"/>
                        <a:pt x="164" y="100"/>
                      </a:cubicBezTo>
                      <a:cubicBezTo>
                        <a:pt x="164" y="100"/>
                        <a:pt x="164" y="100"/>
                        <a:pt x="164" y="100"/>
                      </a:cubicBezTo>
                      <a:cubicBezTo>
                        <a:pt x="164" y="101"/>
                        <a:pt x="164" y="101"/>
                        <a:pt x="164" y="101"/>
                      </a:cubicBezTo>
                      <a:cubicBezTo>
                        <a:pt x="163" y="100"/>
                        <a:pt x="163" y="100"/>
                        <a:pt x="163" y="100"/>
                      </a:cubicBezTo>
                      <a:cubicBezTo>
                        <a:pt x="162" y="100"/>
                        <a:pt x="162" y="100"/>
                        <a:pt x="162" y="100"/>
                      </a:cubicBezTo>
                      <a:cubicBezTo>
                        <a:pt x="162" y="101"/>
                        <a:pt x="162" y="101"/>
                        <a:pt x="162" y="101"/>
                      </a:cubicBezTo>
                      <a:cubicBezTo>
                        <a:pt x="163" y="101"/>
                        <a:pt x="163" y="101"/>
                        <a:pt x="163" y="101"/>
                      </a:cubicBezTo>
                      <a:cubicBezTo>
                        <a:pt x="163" y="101"/>
                        <a:pt x="163" y="101"/>
                        <a:pt x="163" y="101"/>
                      </a:cubicBezTo>
                      <a:cubicBezTo>
                        <a:pt x="164" y="101"/>
                        <a:pt x="164" y="101"/>
                        <a:pt x="164" y="101"/>
                      </a:cubicBezTo>
                      <a:cubicBezTo>
                        <a:pt x="165" y="101"/>
                        <a:pt x="165" y="101"/>
                        <a:pt x="165" y="101"/>
                      </a:cubicBezTo>
                      <a:cubicBezTo>
                        <a:pt x="164" y="102"/>
                        <a:pt x="164" y="102"/>
                        <a:pt x="164" y="102"/>
                      </a:cubicBezTo>
                      <a:cubicBezTo>
                        <a:pt x="165" y="103"/>
                        <a:pt x="165" y="103"/>
                        <a:pt x="165" y="103"/>
                      </a:cubicBezTo>
                      <a:cubicBezTo>
                        <a:pt x="165" y="103"/>
                        <a:pt x="165" y="103"/>
                        <a:pt x="165" y="103"/>
                      </a:cubicBezTo>
                      <a:cubicBezTo>
                        <a:pt x="165" y="102"/>
                        <a:pt x="165" y="102"/>
                        <a:pt x="165" y="102"/>
                      </a:cubicBezTo>
                      <a:cubicBezTo>
                        <a:pt x="166" y="102"/>
                        <a:pt x="166" y="102"/>
                        <a:pt x="166" y="102"/>
                      </a:cubicBezTo>
                      <a:cubicBezTo>
                        <a:pt x="167" y="102"/>
                        <a:pt x="167" y="102"/>
                        <a:pt x="167" y="102"/>
                      </a:cubicBezTo>
                      <a:cubicBezTo>
                        <a:pt x="167" y="103"/>
                        <a:pt x="167" y="103"/>
                        <a:pt x="167" y="103"/>
                      </a:cubicBezTo>
                      <a:cubicBezTo>
                        <a:pt x="168" y="103"/>
                        <a:pt x="168" y="103"/>
                        <a:pt x="168" y="103"/>
                      </a:cubicBezTo>
                      <a:cubicBezTo>
                        <a:pt x="169" y="103"/>
                        <a:pt x="169" y="103"/>
                        <a:pt x="169" y="103"/>
                      </a:cubicBezTo>
                      <a:cubicBezTo>
                        <a:pt x="170" y="103"/>
                        <a:pt x="170" y="103"/>
                        <a:pt x="170" y="103"/>
                      </a:cubicBezTo>
                      <a:cubicBezTo>
                        <a:pt x="170" y="102"/>
                        <a:pt x="170" y="102"/>
                        <a:pt x="170" y="102"/>
                      </a:cubicBezTo>
                      <a:cubicBezTo>
                        <a:pt x="170" y="103"/>
                        <a:pt x="170" y="103"/>
                        <a:pt x="170" y="103"/>
                      </a:cubicBezTo>
                      <a:cubicBezTo>
                        <a:pt x="170" y="103"/>
                        <a:pt x="170" y="103"/>
                        <a:pt x="170" y="103"/>
                      </a:cubicBezTo>
                      <a:cubicBezTo>
                        <a:pt x="170" y="104"/>
                        <a:pt x="170" y="104"/>
                        <a:pt x="170" y="104"/>
                      </a:cubicBezTo>
                      <a:cubicBezTo>
                        <a:pt x="170" y="104"/>
                        <a:pt x="170" y="104"/>
                        <a:pt x="170" y="104"/>
                      </a:cubicBezTo>
                      <a:cubicBezTo>
                        <a:pt x="170" y="105"/>
                        <a:pt x="170" y="105"/>
                        <a:pt x="170" y="105"/>
                      </a:cubicBezTo>
                      <a:cubicBezTo>
                        <a:pt x="170" y="105"/>
                        <a:pt x="170" y="105"/>
                        <a:pt x="170" y="105"/>
                      </a:cubicBezTo>
                      <a:cubicBezTo>
                        <a:pt x="169" y="105"/>
                        <a:pt x="169" y="105"/>
                        <a:pt x="169" y="105"/>
                      </a:cubicBezTo>
                      <a:cubicBezTo>
                        <a:pt x="169" y="104"/>
                        <a:pt x="169" y="104"/>
                        <a:pt x="169" y="104"/>
                      </a:cubicBezTo>
                      <a:cubicBezTo>
                        <a:pt x="168" y="105"/>
                        <a:pt x="168" y="105"/>
                        <a:pt x="168" y="105"/>
                      </a:cubicBezTo>
                      <a:cubicBezTo>
                        <a:pt x="168" y="105"/>
                        <a:pt x="168" y="105"/>
                        <a:pt x="168" y="105"/>
                      </a:cubicBezTo>
                      <a:cubicBezTo>
                        <a:pt x="167" y="105"/>
                        <a:pt x="167" y="105"/>
                        <a:pt x="167" y="105"/>
                      </a:cubicBezTo>
                      <a:cubicBezTo>
                        <a:pt x="166" y="105"/>
                        <a:pt x="166" y="105"/>
                        <a:pt x="166" y="105"/>
                      </a:cubicBezTo>
                      <a:cubicBezTo>
                        <a:pt x="165" y="105"/>
                        <a:pt x="165" y="105"/>
                        <a:pt x="165" y="105"/>
                      </a:cubicBezTo>
                      <a:cubicBezTo>
                        <a:pt x="164" y="105"/>
                        <a:pt x="164" y="105"/>
                        <a:pt x="164" y="105"/>
                      </a:cubicBezTo>
                      <a:cubicBezTo>
                        <a:pt x="164" y="104"/>
                        <a:pt x="164" y="104"/>
                        <a:pt x="164" y="104"/>
                      </a:cubicBezTo>
                      <a:cubicBezTo>
                        <a:pt x="164" y="105"/>
                        <a:pt x="164" y="105"/>
                        <a:pt x="164" y="105"/>
                      </a:cubicBezTo>
                      <a:cubicBezTo>
                        <a:pt x="164" y="105"/>
                        <a:pt x="164" y="105"/>
                        <a:pt x="164" y="105"/>
                      </a:cubicBezTo>
                      <a:cubicBezTo>
                        <a:pt x="164" y="105"/>
                        <a:pt x="164" y="105"/>
                        <a:pt x="164" y="105"/>
                      </a:cubicBezTo>
                      <a:cubicBezTo>
                        <a:pt x="165" y="105"/>
                        <a:pt x="165" y="105"/>
                        <a:pt x="165" y="105"/>
                      </a:cubicBezTo>
                      <a:cubicBezTo>
                        <a:pt x="166" y="105"/>
                        <a:pt x="166" y="105"/>
                        <a:pt x="166" y="105"/>
                      </a:cubicBezTo>
                      <a:cubicBezTo>
                        <a:pt x="167" y="105"/>
                        <a:pt x="167" y="105"/>
                        <a:pt x="167" y="105"/>
                      </a:cubicBezTo>
                      <a:cubicBezTo>
                        <a:pt x="168" y="106"/>
                        <a:pt x="168" y="106"/>
                        <a:pt x="168" y="106"/>
                      </a:cubicBezTo>
                      <a:cubicBezTo>
                        <a:pt x="168" y="106"/>
                        <a:pt x="168" y="106"/>
                        <a:pt x="168" y="106"/>
                      </a:cubicBezTo>
                      <a:cubicBezTo>
                        <a:pt x="169" y="106"/>
                        <a:pt x="169" y="106"/>
                        <a:pt x="169" y="106"/>
                      </a:cubicBezTo>
                      <a:cubicBezTo>
                        <a:pt x="170" y="106"/>
                        <a:pt x="170" y="106"/>
                        <a:pt x="170" y="106"/>
                      </a:cubicBezTo>
                      <a:cubicBezTo>
                        <a:pt x="170" y="107"/>
                        <a:pt x="170" y="107"/>
                        <a:pt x="170" y="107"/>
                      </a:cubicBezTo>
                      <a:cubicBezTo>
                        <a:pt x="171" y="107"/>
                        <a:pt x="171" y="107"/>
                        <a:pt x="171" y="107"/>
                      </a:cubicBezTo>
                      <a:cubicBezTo>
                        <a:pt x="171" y="108"/>
                        <a:pt x="171" y="108"/>
                        <a:pt x="171" y="108"/>
                      </a:cubicBezTo>
                      <a:cubicBezTo>
                        <a:pt x="171" y="108"/>
                        <a:pt x="171" y="108"/>
                        <a:pt x="171" y="108"/>
                      </a:cubicBezTo>
                      <a:cubicBezTo>
                        <a:pt x="171" y="108"/>
                        <a:pt x="171" y="108"/>
                        <a:pt x="171" y="108"/>
                      </a:cubicBezTo>
                      <a:cubicBezTo>
                        <a:pt x="171" y="108"/>
                        <a:pt x="171" y="108"/>
                        <a:pt x="171" y="108"/>
                      </a:cubicBezTo>
                      <a:cubicBezTo>
                        <a:pt x="170" y="108"/>
                        <a:pt x="170" y="108"/>
                        <a:pt x="170" y="108"/>
                      </a:cubicBezTo>
                      <a:cubicBezTo>
                        <a:pt x="170" y="108"/>
                        <a:pt x="170" y="108"/>
                        <a:pt x="170" y="108"/>
                      </a:cubicBezTo>
                      <a:cubicBezTo>
                        <a:pt x="170" y="109"/>
                        <a:pt x="170" y="109"/>
                        <a:pt x="170" y="109"/>
                      </a:cubicBezTo>
                      <a:cubicBezTo>
                        <a:pt x="170" y="110"/>
                        <a:pt x="170" y="110"/>
                        <a:pt x="170" y="110"/>
                      </a:cubicBezTo>
                      <a:cubicBezTo>
                        <a:pt x="171" y="111"/>
                        <a:pt x="171" y="111"/>
                        <a:pt x="171" y="111"/>
                      </a:cubicBezTo>
                      <a:cubicBezTo>
                        <a:pt x="170" y="111"/>
                        <a:pt x="170" y="111"/>
                        <a:pt x="170" y="111"/>
                      </a:cubicBezTo>
                      <a:cubicBezTo>
                        <a:pt x="171" y="112"/>
                        <a:pt x="171" y="112"/>
                        <a:pt x="171" y="112"/>
                      </a:cubicBezTo>
                      <a:cubicBezTo>
                        <a:pt x="170" y="112"/>
                        <a:pt x="170" y="112"/>
                        <a:pt x="170" y="112"/>
                      </a:cubicBezTo>
                      <a:cubicBezTo>
                        <a:pt x="170" y="113"/>
                        <a:pt x="170" y="113"/>
                        <a:pt x="170" y="113"/>
                      </a:cubicBezTo>
                      <a:cubicBezTo>
                        <a:pt x="170" y="114"/>
                        <a:pt x="170" y="114"/>
                        <a:pt x="170" y="114"/>
                      </a:cubicBezTo>
                      <a:cubicBezTo>
                        <a:pt x="169" y="114"/>
                        <a:pt x="169" y="114"/>
                        <a:pt x="169" y="114"/>
                      </a:cubicBezTo>
                      <a:cubicBezTo>
                        <a:pt x="169" y="115"/>
                        <a:pt x="169" y="115"/>
                        <a:pt x="169" y="115"/>
                      </a:cubicBezTo>
                      <a:cubicBezTo>
                        <a:pt x="168" y="114"/>
                        <a:pt x="168" y="114"/>
                        <a:pt x="168" y="114"/>
                      </a:cubicBezTo>
                      <a:cubicBezTo>
                        <a:pt x="168" y="113"/>
                        <a:pt x="168" y="113"/>
                        <a:pt x="168" y="113"/>
                      </a:cubicBezTo>
                      <a:cubicBezTo>
                        <a:pt x="168" y="113"/>
                        <a:pt x="168" y="113"/>
                        <a:pt x="168" y="113"/>
                      </a:cubicBezTo>
                      <a:cubicBezTo>
                        <a:pt x="168" y="113"/>
                        <a:pt x="168" y="113"/>
                        <a:pt x="168" y="113"/>
                      </a:cubicBezTo>
                      <a:cubicBezTo>
                        <a:pt x="168" y="113"/>
                        <a:pt x="168" y="113"/>
                        <a:pt x="168" y="113"/>
                      </a:cubicBezTo>
                      <a:cubicBezTo>
                        <a:pt x="167" y="113"/>
                        <a:pt x="167" y="113"/>
                        <a:pt x="167" y="113"/>
                      </a:cubicBezTo>
                      <a:cubicBezTo>
                        <a:pt x="167" y="113"/>
                        <a:pt x="167" y="113"/>
                        <a:pt x="167" y="113"/>
                      </a:cubicBezTo>
                      <a:cubicBezTo>
                        <a:pt x="166" y="111"/>
                        <a:pt x="166" y="111"/>
                        <a:pt x="166" y="111"/>
                      </a:cubicBezTo>
                      <a:cubicBezTo>
                        <a:pt x="165" y="111"/>
                        <a:pt x="165" y="111"/>
                        <a:pt x="165" y="111"/>
                      </a:cubicBezTo>
                      <a:cubicBezTo>
                        <a:pt x="164" y="110"/>
                        <a:pt x="164" y="110"/>
                        <a:pt x="164" y="110"/>
                      </a:cubicBezTo>
                      <a:cubicBezTo>
                        <a:pt x="164" y="110"/>
                        <a:pt x="164" y="110"/>
                        <a:pt x="164" y="110"/>
                      </a:cubicBezTo>
                      <a:cubicBezTo>
                        <a:pt x="164" y="109"/>
                        <a:pt x="164" y="109"/>
                        <a:pt x="164" y="109"/>
                      </a:cubicBezTo>
                      <a:cubicBezTo>
                        <a:pt x="163" y="108"/>
                        <a:pt x="163" y="108"/>
                        <a:pt x="163" y="108"/>
                      </a:cubicBezTo>
                      <a:cubicBezTo>
                        <a:pt x="162" y="108"/>
                        <a:pt x="162" y="108"/>
                        <a:pt x="162" y="108"/>
                      </a:cubicBezTo>
                      <a:cubicBezTo>
                        <a:pt x="162" y="108"/>
                        <a:pt x="162" y="108"/>
                        <a:pt x="162" y="108"/>
                      </a:cubicBezTo>
                      <a:cubicBezTo>
                        <a:pt x="162" y="108"/>
                        <a:pt x="162" y="108"/>
                        <a:pt x="162" y="108"/>
                      </a:cubicBezTo>
                      <a:cubicBezTo>
                        <a:pt x="162" y="108"/>
                        <a:pt x="162" y="108"/>
                        <a:pt x="162" y="108"/>
                      </a:cubicBezTo>
                      <a:cubicBezTo>
                        <a:pt x="163" y="109"/>
                        <a:pt x="163" y="109"/>
                        <a:pt x="163" y="109"/>
                      </a:cubicBezTo>
                      <a:cubicBezTo>
                        <a:pt x="163" y="110"/>
                        <a:pt x="163" y="110"/>
                        <a:pt x="163" y="110"/>
                      </a:cubicBezTo>
                      <a:cubicBezTo>
                        <a:pt x="163" y="110"/>
                        <a:pt x="163" y="110"/>
                        <a:pt x="163" y="110"/>
                      </a:cubicBezTo>
                      <a:cubicBezTo>
                        <a:pt x="162" y="110"/>
                        <a:pt x="162" y="110"/>
                        <a:pt x="162" y="110"/>
                      </a:cubicBezTo>
                      <a:cubicBezTo>
                        <a:pt x="161" y="109"/>
                        <a:pt x="161" y="109"/>
                        <a:pt x="161" y="109"/>
                      </a:cubicBezTo>
                      <a:cubicBezTo>
                        <a:pt x="161" y="109"/>
                        <a:pt x="161" y="109"/>
                        <a:pt x="161" y="109"/>
                      </a:cubicBezTo>
                      <a:cubicBezTo>
                        <a:pt x="160" y="108"/>
                        <a:pt x="160" y="108"/>
                        <a:pt x="160" y="108"/>
                      </a:cubicBezTo>
                      <a:cubicBezTo>
                        <a:pt x="160" y="109"/>
                        <a:pt x="160" y="109"/>
                        <a:pt x="160" y="109"/>
                      </a:cubicBezTo>
                      <a:cubicBezTo>
                        <a:pt x="160" y="109"/>
                        <a:pt x="160" y="109"/>
                        <a:pt x="160" y="109"/>
                      </a:cubicBezTo>
                      <a:cubicBezTo>
                        <a:pt x="161" y="110"/>
                        <a:pt x="161" y="110"/>
                        <a:pt x="161" y="110"/>
                      </a:cubicBezTo>
                      <a:cubicBezTo>
                        <a:pt x="162" y="111"/>
                        <a:pt x="162" y="111"/>
                        <a:pt x="162" y="111"/>
                      </a:cubicBezTo>
                      <a:cubicBezTo>
                        <a:pt x="164" y="111"/>
                        <a:pt x="164" y="111"/>
                        <a:pt x="164" y="111"/>
                      </a:cubicBezTo>
                      <a:cubicBezTo>
                        <a:pt x="165" y="111"/>
                        <a:pt x="165" y="111"/>
                        <a:pt x="165" y="111"/>
                      </a:cubicBezTo>
                      <a:cubicBezTo>
                        <a:pt x="167" y="113"/>
                        <a:pt x="167" y="113"/>
                        <a:pt x="167" y="113"/>
                      </a:cubicBezTo>
                      <a:cubicBezTo>
                        <a:pt x="167" y="114"/>
                        <a:pt x="167" y="114"/>
                        <a:pt x="167" y="114"/>
                      </a:cubicBezTo>
                      <a:cubicBezTo>
                        <a:pt x="166" y="114"/>
                        <a:pt x="166" y="114"/>
                        <a:pt x="166" y="114"/>
                      </a:cubicBezTo>
                      <a:cubicBezTo>
                        <a:pt x="166" y="114"/>
                        <a:pt x="166" y="114"/>
                        <a:pt x="166" y="114"/>
                      </a:cubicBezTo>
                      <a:cubicBezTo>
                        <a:pt x="166" y="114"/>
                        <a:pt x="166" y="114"/>
                        <a:pt x="166" y="114"/>
                      </a:cubicBezTo>
                      <a:cubicBezTo>
                        <a:pt x="165" y="114"/>
                        <a:pt x="165" y="114"/>
                        <a:pt x="165" y="114"/>
                      </a:cubicBezTo>
                      <a:cubicBezTo>
                        <a:pt x="164" y="114"/>
                        <a:pt x="164" y="114"/>
                        <a:pt x="164" y="114"/>
                      </a:cubicBezTo>
                      <a:cubicBezTo>
                        <a:pt x="163" y="115"/>
                        <a:pt x="163" y="115"/>
                        <a:pt x="163" y="115"/>
                      </a:cubicBezTo>
                      <a:cubicBezTo>
                        <a:pt x="163" y="115"/>
                        <a:pt x="163" y="115"/>
                        <a:pt x="163" y="115"/>
                      </a:cubicBezTo>
                      <a:cubicBezTo>
                        <a:pt x="162" y="114"/>
                        <a:pt x="162" y="114"/>
                        <a:pt x="162" y="114"/>
                      </a:cubicBezTo>
                      <a:cubicBezTo>
                        <a:pt x="162" y="114"/>
                        <a:pt x="162" y="114"/>
                        <a:pt x="162" y="114"/>
                      </a:cubicBezTo>
                      <a:cubicBezTo>
                        <a:pt x="162" y="113"/>
                        <a:pt x="162" y="113"/>
                        <a:pt x="162" y="113"/>
                      </a:cubicBezTo>
                      <a:cubicBezTo>
                        <a:pt x="162" y="113"/>
                        <a:pt x="162" y="113"/>
                        <a:pt x="162" y="113"/>
                      </a:cubicBezTo>
                      <a:cubicBezTo>
                        <a:pt x="161" y="113"/>
                        <a:pt x="161" y="113"/>
                        <a:pt x="161" y="113"/>
                      </a:cubicBezTo>
                      <a:cubicBezTo>
                        <a:pt x="161" y="113"/>
                        <a:pt x="161" y="113"/>
                        <a:pt x="161" y="113"/>
                      </a:cubicBezTo>
                      <a:cubicBezTo>
                        <a:pt x="161" y="114"/>
                        <a:pt x="161" y="114"/>
                        <a:pt x="161" y="114"/>
                      </a:cubicBezTo>
                      <a:cubicBezTo>
                        <a:pt x="162" y="115"/>
                        <a:pt x="162" y="115"/>
                        <a:pt x="162" y="115"/>
                      </a:cubicBezTo>
                      <a:cubicBezTo>
                        <a:pt x="162" y="115"/>
                        <a:pt x="162" y="115"/>
                        <a:pt x="162" y="115"/>
                      </a:cubicBezTo>
                      <a:cubicBezTo>
                        <a:pt x="163" y="115"/>
                        <a:pt x="163" y="115"/>
                        <a:pt x="163" y="115"/>
                      </a:cubicBezTo>
                      <a:cubicBezTo>
                        <a:pt x="164" y="115"/>
                        <a:pt x="164" y="115"/>
                        <a:pt x="164" y="115"/>
                      </a:cubicBezTo>
                      <a:cubicBezTo>
                        <a:pt x="164" y="114"/>
                        <a:pt x="164" y="114"/>
                        <a:pt x="164" y="114"/>
                      </a:cubicBezTo>
                      <a:cubicBezTo>
                        <a:pt x="165" y="114"/>
                        <a:pt x="165" y="114"/>
                        <a:pt x="165" y="114"/>
                      </a:cubicBezTo>
                      <a:cubicBezTo>
                        <a:pt x="166" y="115"/>
                        <a:pt x="166" y="115"/>
                        <a:pt x="166" y="115"/>
                      </a:cubicBezTo>
                      <a:cubicBezTo>
                        <a:pt x="166" y="115"/>
                        <a:pt x="166" y="115"/>
                        <a:pt x="166" y="115"/>
                      </a:cubicBezTo>
                      <a:cubicBezTo>
                        <a:pt x="166" y="115"/>
                        <a:pt x="166" y="115"/>
                        <a:pt x="166" y="115"/>
                      </a:cubicBezTo>
                      <a:cubicBezTo>
                        <a:pt x="166" y="117"/>
                        <a:pt x="166" y="117"/>
                        <a:pt x="166" y="117"/>
                      </a:cubicBezTo>
                      <a:cubicBezTo>
                        <a:pt x="165" y="117"/>
                        <a:pt x="165" y="117"/>
                        <a:pt x="165" y="117"/>
                      </a:cubicBezTo>
                      <a:cubicBezTo>
                        <a:pt x="165" y="117"/>
                        <a:pt x="165" y="117"/>
                        <a:pt x="165" y="117"/>
                      </a:cubicBezTo>
                      <a:cubicBezTo>
                        <a:pt x="165" y="118"/>
                        <a:pt x="165" y="118"/>
                        <a:pt x="165" y="118"/>
                      </a:cubicBezTo>
                      <a:cubicBezTo>
                        <a:pt x="165" y="118"/>
                        <a:pt x="165" y="118"/>
                        <a:pt x="165" y="118"/>
                      </a:cubicBezTo>
                      <a:cubicBezTo>
                        <a:pt x="166" y="118"/>
                        <a:pt x="166" y="118"/>
                        <a:pt x="166" y="118"/>
                      </a:cubicBezTo>
                      <a:cubicBezTo>
                        <a:pt x="167" y="118"/>
                        <a:pt x="167" y="118"/>
                        <a:pt x="167" y="118"/>
                      </a:cubicBezTo>
                      <a:cubicBezTo>
                        <a:pt x="167" y="119"/>
                        <a:pt x="167" y="119"/>
                        <a:pt x="167" y="119"/>
                      </a:cubicBezTo>
                      <a:cubicBezTo>
                        <a:pt x="168" y="119"/>
                        <a:pt x="168" y="119"/>
                        <a:pt x="168" y="119"/>
                      </a:cubicBezTo>
                      <a:cubicBezTo>
                        <a:pt x="169" y="119"/>
                        <a:pt x="169" y="119"/>
                        <a:pt x="169" y="119"/>
                      </a:cubicBezTo>
                      <a:cubicBezTo>
                        <a:pt x="169" y="119"/>
                        <a:pt x="169" y="119"/>
                        <a:pt x="169" y="119"/>
                      </a:cubicBezTo>
                      <a:cubicBezTo>
                        <a:pt x="170" y="119"/>
                        <a:pt x="170" y="119"/>
                        <a:pt x="170" y="119"/>
                      </a:cubicBezTo>
                      <a:cubicBezTo>
                        <a:pt x="170" y="119"/>
                        <a:pt x="170" y="119"/>
                        <a:pt x="170" y="119"/>
                      </a:cubicBezTo>
                      <a:cubicBezTo>
                        <a:pt x="170" y="120"/>
                        <a:pt x="170" y="120"/>
                        <a:pt x="170" y="120"/>
                      </a:cubicBezTo>
                      <a:cubicBezTo>
                        <a:pt x="170" y="120"/>
                        <a:pt x="170" y="120"/>
                        <a:pt x="170" y="120"/>
                      </a:cubicBezTo>
                      <a:cubicBezTo>
                        <a:pt x="170" y="121"/>
                        <a:pt x="170" y="121"/>
                        <a:pt x="170" y="121"/>
                      </a:cubicBezTo>
                      <a:cubicBezTo>
                        <a:pt x="170" y="121"/>
                        <a:pt x="170" y="121"/>
                        <a:pt x="170" y="121"/>
                      </a:cubicBezTo>
                      <a:cubicBezTo>
                        <a:pt x="169" y="123"/>
                        <a:pt x="169" y="123"/>
                        <a:pt x="169" y="123"/>
                      </a:cubicBezTo>
                      <a:cubicBezTo>
                        <a:pt x="168" y="123"/>
                        <a:pt x="168" y="123"/>
                        <a:pt x="168" y="123"/>
                      </a:cubicBezTo>
                      <a:cubicBezTo>
                        <a:pt x="168" y="123"/>
                        <a:pt x="168" y="123"/>
                        <a:pt x="168" y="123"/>
                      </a:cubicBezTo>
                      <a:cubicBezTo>
                        <a:pt x="168" y="122"/>
                        <a:pt x="168" y="122"/>
                        <a:pt x="168" y="122"/>
                      </a:cubicBezTo>
                      <a:cubicBezTo>
                        <a:pt x="167" y="122"/>
                        <a:pt x="167" y="122"/>
                        <a:pt x="167" y="122"/>
                      </a:cubicBezTo>
                      <a:cubicBezTo>
                        <a:pt x="167" y="121"/>
                        <a:pt x="167" y="121"/>
                        <a:pt x="167" y="121"/>
                      </a:cubicBezTo>
                      <a:cubicBezTo>
                        <a:pt x="167" y="121"/>
                        <a:pt x="167" y="121"/>
                        <a:pt x="167" y="121"/>
                      </a:cubicBezTo>
                      <a:cubicBezTo>
                        <a:pt x="166" y="120"/>
                        <a:pt x="166" y="120"/>
                        <a:pt x="166" y="120"/>
                      </a:cubicBezTo>
                      <a:cubicBezTo>
                        <a:pt x="165" y="120"/>
                        <a:pt x="165" y="120"/>
                        <a:pt x="165" y="120"/>
                      </a:cubicBezTo>
                      <a:cubicBezTo>
                        <a:pt x="164" y="120"/>
                        <a:pt x="164" y="120"/>
                        <a:pt x="164" y="120"/>
                      </a:cubicBezTo>
                      <a:cubicBezTo>
                        <a:pt x="164" y="119"/>
                        <a:pt x="164" y="119"/>
                        <a:pt x="164" y="119"/>
                      </a:cubicBezTo>
                      <a:cubicBezTo>
                        <a:pt x="163" y="120"/>
                        <a:pt x="163" y="120"/>
                        <a:pt x="163" y="120"/>
                      </a:cubicBezTo>
                      <a:cubicBezTo>
                        <a:pt x="162" y="120"/>
                        <a:pt x="162" y="120"/>
                        <a:pt x="162" y="120"/>
                      </a:cubicBezTo>
                      <a:cubicBezTo>
                        <a:pt x="162" y="120"/>
                        <a:pt x="162" y="120"/>
                        <a:pt x="162" y="120"/>
                      </a:cubicBezTo>
                      <a:cubicBezTo>
                        <a:pt x="162" y="119"/>
                        <a:pt x="162" y="119"/>
                        <a:pt x="162" y="119"/>
                      </a:cubicBezTo>
                      <a:cubicBezTo>
                        <a:pt x="161" y="118"/>
                        <a:pt x="161" y="118"/>
                        <a:pt x="161" y="118"/>
                      </a:cubicBezTo>
                      <a:cubicBezTo>
                        <a:pt x="161" y="118"/>
                        <a:pt x="161" y="118"/>
                        <a:pt x="161" y="118"/>
                      </a:cubicBezTo>
                      <a:cubicBezTo>
                        <a:pt x="161" y="119"/>
                        <a:pt x="161" y="119"/>
                        <a:pt x="161" y="119"/>
                      </a:cubicBezTo>
                      <a:cubicBezTo>
                        <a:pt x="161" y="119"/>
                        <a:pt x="161" y="119"/>
                        <a:pt x="161" y="119"/>
                      </a:cubicBezTo>
                      <a:cubicBezTo>
                        <a:pt x="161" y="120"/>
                        <a:pt x="161" y="120"/>
                        <a:pt x="161" y="120"/>
                      </a:cubicBezTo>
                      <a:cubicBezTo>
                        <a:pt x="161" y="121"/>
                        <a:pt x="161" y="121"/>
                        <a:pt x="161" y="121"/>
                      </a:cubicBezTo>
                      <a:cubicBezTo>
                        <a:pt x="160" y="121"/>
                        <a:pt x="160" y="121"/>
                        <a:pt x="160" y="121"/>
                      </a:cubicBezTo>
                      <a:cubicBezTo>
                        <a:pt x="160" y="121"/>
                        <a:pt x="160" y="121"/>
                        <a:pt x="160" y="121"/>
                      </a:cubicBezTo>
                      <a:cubicBezTo>
                        <a:pt x="159" y="121"/>
                        <a:pt x="159" y="121"/>
                        <a:pt x="159" y="121"/>
                      </a:cubicBezTo>
                      <a:cubicBezTo>
                        <a:pt x="160" y="121"/>
                        <a:pt x="160" y="121"/>
                        <a:pt x="160" y="121"/>
                      </a:cubicBezTo>
                      <a:cubicBezTo>
                        <a:pt x="160" y="122"/>
                        <a:pt x="160" y="122"/>
                        <a:pt x="160" y="122"/>
                      </a:cubicBezTo>
                      <a:cubicBezTo>
                        <a:pt x="160" y="122"/>
                        <a:pt x="160" y="122"/>
                        <a:pt x="160" y="122"/>
                      </a:cubicBezTo>
                      <a:cubicBezTo>
                        <a:pt x="159" y="123"/>
                        <a:pt x="159" y="123"/>
                        <a:pt x="159" y="123"/>
                      </a:cubicBezTo>
                      <a:cubicBezTo>
                        <a:pt x="159" y="123"/>
                        <a:pt x="159" y="123"/>
                        <a:pt x="159" y="123"/>
                      </a:cubicBezTo>
                      <a:cubicBezTo>
                        <a:pt x="159" y="124"/>
                        <a:pt x="159" y="124"/>
                        <a:pt x="159" y="124"/>
                      </a:cubicBezTo>
                      <a:cubicBezTo>
                        <a:pt x="159" y="124"/>
                        <a:pt x="159" y="124"/>
                        <a:pt x="159" y="124"/>
                      </a:cubicBezTo>
                      <a:cubicBezTo>
                        <a:pt x="160" y="124"/>
                        <a:pt x="160" y="124"/>
                        <a:pt x="160" y="124"/>
                      </a:cubicBezTo>
                      <a:cubicBezTo>
                        <a:pt x="160" y="125"/>
                        <a:pt x="160" y="125"/>
                        <a:pt x="160" y="125"/>
                      </a:cubicBezTo>
                      <a:cubicBezTo>
                        <a:pt x="160" y="125"/>
                        <a:pt x="160" y="125"/>
                        <a:pt x="160" y="125"/>
                      </a:cubicBezTo>
                      <a:cubicBezTo>
                        <a:pt x="161" y="126"/>
                        <a:pt x="161" y="126"/>
                        <a:pt x="161" y="126"/>
                      </a:cubicBezTo>
                      <a:cubicBezTo>
                        <a:pt x="160" y="127"/>
                        <a:pt x="160" y="127"/>
                        <a:pt x="160" y="127"/>
                      </a:cubicBezTo>
                      <a:cubicBezTo>
                        <a:pt x="160" y="128"/>
                        <a:pt x="160" y="128"/>
                        <a:pt x="160" y="128"/>
                      </a:cubicBezTo>
                      <a:cubicBezTo>
                        <a:pt x="161" y="127"/>
                        <a:pt x="161" y="127"/>
                        <a:pt x="161" y="127"/>
                      </a:cubicBezTo>
                      <a:cubicBezTo>
                        <a:pt x="161" y="126"/>
                        <a:pt x="161" y="126"/>
                        <a:pt x="161" y="126"/>
                      </a:cubicBezTo>
                      <a:cubicBezTo>
                        <a:pt x="161" y="126"/>
                        <a:pt x="161" y="126"/>
                        <a:pt x="161" y="126"/>
                      </a:cubicBezTo>
                      <a:cubicBezTo>
                        <a:pt x="161" y="125"/>
                        <a:pt x="161" y="125"/>
                        <a:pt x="161" y="125"/>
                      </a:cubicBezTo>
                      <a:cubicBezTo>
                        <a:pt x="161" y="125"/>
                        <a:pt x="161" y="125"/>
                        <a:pt x="161" y="125"/>
                      </a:cubicBezTo>
                      <a:cubicBezTo>
                        <a:pt x="161" y="124"/>
                        <a:pt x="161" y="124"/>
                        <a:pt x="161" y="124"/>
                      </a:cubicBezTo>
                      <a:cubicBezTo>
                        <a:pt x="161" y="124"/>
                        <a:pt x="161" y="124"/>
                        <a:pt x="161" y="124"/>
                      </a:cubicBezTo>
                      <a:cubicBezTo>
                        <a:pt x="162" y="125"/>
                        <a:pt x="162" y="125"/>
                        <a:pt x="162" y="125"/>
                      </a:cubicBezTo>
                      <a:cubicBezTo>
                        <a:pt x="162" y="125"/>
                        <a:pt x="162" y="125"/>
                        <a:pt x="162" y="125"/>
                      </a:cubicBezTo>
                      <a:cubicBezTo>
                        <a:pt x="162" y="126"/>
                        <a:pt x="162" y="126"/>
                        <a:pt x="162" y="126"/>
                      </a:cubicBezTo>
                      <a:cubicBezTo>
                        <a:pt x="163" y="126"/>
                        <a:pt x="163" y="126"/>
                        <a:pt x="163" y="126"/>
                      </a:cubicBezTo>
                      <a:cubicBezTo>
                        <a:pt x="163" y="126"/>
                        <a:pt x="163" y="126"/>
                        <a:pt x="163" y="126"/>
                      </a:cubicBezTo>
                      <a:cubicBezTo>
                        <a:pt x="164" y="126"/>
                        <a:pt x="164" y="126"/>
                        <a:pt x="164" y="126"/>
                      </a:cubicBezTo>
                      <a:cubicBezTo>
                        <a:pt x="164" y="126"/>
                        <a:pt x="164" y="126"/>
                        <a:pt x="164" y="126"/>
                      </a:cubicBezTo>
                      <a:cubicBezTo>
                        <a:pt x="164" y="126"/>
                        <a:pt x="164" y="126"/>
                        <a:pt x="164" y="126"/>
                      </a:cubicBezTo>
                      <a:cubicBezTo>
                        <a:pt x="165" y="126"/>
                        <a:pt x="165" y="126"/>
                        <a:pt x="165" y="126"/>
                      </a:cubicBezTo>
                      <a:cubicBezTo>
                        <a:pt x="166" y="126"/>
                        <a:pt x="166" y="126"/>
                        <a:pt x="166" y="126"/>
                      </a:cubicBezTo>
                      <a:cubicBezTo>
                        <a:pt x="166" y="126"/>
                        <a:pt x="166" y="126"/>
                        <a:pt x="166" y="126"/>
                      </a:cubicBezTo>
                      <a:cubicBezTo>
                        <a:pt x="166" y="127"/>
                        <a:pt x="166" y="127"/>
                        <a:pt x="166" y="127"/>
                      </a:cubicBezTo>
                      <a:cubicBezTo>
                        <a:pt x="165" y="128"/>
                        <a:pt x="165" y="128"/>
                        <a:pt x="165" y="128"/>
                      </a:cubicBezTo>
                      <a:cubicBezTo>
                        <a:pt x="165" y="128"/>
                        <a:pt x="165" y="128"/>
                        <a:pt x="165" y="128"/>
                      </a:cubicBezTo>
                      <a:cubicBezTo>
                        <a:pt x="165" y="129"/>
                        <a:pt x="165" y="129"/>
                        <a:pt x="165" y="129"/>
                      </a:cubicBezTo>
                      <a:cubicBezTo>
                        <a:pt x="165" y="130"/>
                        <a:pt x="165" y="130"/>
                        <a:pt x="165" y="130"/>
                      </a:cubicBezTo>
                      <a:cubicBezTo>
                        <a:pt x="165" y="130"/>
                        <a:pt x="165" y="130"/>
                        <a:pt x="165" y="130"/>
                      </a:cubicBezTo>
                      <a:cubicBezTo>
                        <a:pt x="164" y="130"/>
                        <a:pt x="164" y="130"/>
                        <a:pt x="164" y="130"/>
                      </a:cubicBezTo>
                      <a:cubicBezTo>
                        <a:pt x="163" y="130"/>
                        <a:pt x="163" y="130"/>
                        <a:pt x="163" y="130"/>
                      </a:cubicBezTo>
                      <a:cubicBezTo>
                        <a:pt x="162" y="130"/>
                        <a:pt x="162" y="130"/>
                        <a:pt x="162" y="130"/>
                      </a:cubicBezTo>
                      <a:cubicBezTo>
                        <a:pt x="162" y="130"/>
                        <a:pt x="162" y="130"/>
                        <a:pt x="162" y="130"/>
                      </a:cubicBezTo>
                      <a:cubicBezTo>
                        <a:pt x="161" y="130"/>
                        <a:pt x="161" y="130"/>
                        <a:pt x="161" y="130"/>
                      </a:cubicBezTo>
                      <a:cubicBezTo>
                        <a:pt x="161" y="130"/>
                        <a:pt x="161" y="130"/>
                        <a:pt x="161" y="130"/>
                      </a:cubicBezTo>
                      <a:cubicBezTo>
                        <a:pt x="161" y="131"/>
                        <a:pt x="161" y="131"/>
                        <a:pt x="161" y="131"/>
                      </a:cubicBezTo>
                      <a:cubicBezTo>
                        <a:pt x="160" y="131"/>
                        <a:pt x="160" y="131"/>
                        <a:pt x="160" y="131"/>
                      </a:cubicBezTo>
                      <a:cubicBezTo>
                        <a:pt x="159" y="131"/>
                        <a:pt x="159" y="131"/>
                        <a:pt x="159" y="131"/>
                      </a:cubicBezTo>
                      <a:cubicBezTo>
                        <a:pt x="159" y="131"/>
                        <a:pt x="159" y="131"/>
                        <a:pt x="159" y="131"/>
                      </a:cubicBezTo>
                      <a:cubicBezTo>
                        <a:pt x="159" y="132"/>
                        <a:pt x="159" y="132"/>
                        <a:pt x="159" y="132"/>
                      </a:cubicBezTo>
                      <a:cubicBezTo>
                        <a:pt x="159" y="132"/>
                        <a:pt x="159" y="132"/>
                        <a:pt x="159" y="132"/>
                      </a:cubicBezTo>
                      <a:cubicBezTo>
                        <a:pt x="158" y="132"/>
                        <a:pt x="158" y="132"/>
                        <a:pt x="158" y="132"/>
                      </a:cubicBezTo>
                      <a:cubicBezTo>
                        <a:pt x="157" y="132"/>
                        <a:pt x="157" y="132"/>
                        <a:pt x="157" y="132"/>
                      </a:cubicBezTo>
                      <a:cubicBezTo>
                        <a:pt x="157" y="132"/>
                        <a:pt x="157" y="132"/>
                        <a:pt x="157" y="132"/>
                      </a:cubicBezTo>
                      <a:cubicBezTo>
                        <a:pt x="155" y="131"/>
                        <a:pt x="155" y="131"/>
                        <a:pt x="155" y="131"/>
                      </a:cubicBezTo>
                      <a:cubicBezTo>
                        <a:pt x="155" y="130"/>
                        <a:pt x="155" y="130"/>
                        <a:pt x="155" y="130"/>
                      </a:cubicBezTo>
                      <a:cubicBezTo>
                        <a:pt x="153" y="129"/>
                        <a:pt x="153" y="129"/>
                        <a:pt x="153" y="129"/>
                      </a:cubicBezTo>
                      <a:cubicBezTo>
                        <a:pt x="152" y="128"/>
                        <a:pt x="152" y="128"/>
                        <a:pt x="152" y="128"/>
                      </a:cubicBezTo>
                      <a:cubicBezTo>
                        <a:pt x="152" y="128"/>
                        <a:pt x="152" y="128"/>
                        <a:pt x="152" y="128"/>
                      </a:cubicBezTo>
                      <a:cubicBezTo>
                        <a:pt x="153" y="127"/>
                        <a:pt x="153" y="127"/>
                        <a:pt x="153" y="127"/>
                      </a:cubicBezTo>
                      <a:cubicBezTo>
                        <a:pt x="153" y="127"/>
                        <a:pt x="153" y="127"/>
                        <a:pt x="153" y="127"/>
                      </a:cubicBezTo>
                      <a:cubicBezTo>
                        <a:pt x="153" y="127"/>
                        <a:pt x="153" y="127"/>
                        <a:pt x="153" y="127"/>
                      </a:cubicBezTo>
                      <a:cubicBezTo>
                        <a:pt x="154" y="128"/>
                        <a:pt x="154" y="128"/>
                        <a:pt x="154" y="128"/>
                      </a:cubicBezTo>
                      <a:cubicBezTo>
                        <a:pt x="155" y="128"/>
                        <a:pt x="155" y="128"/>
                        <a:pt x="155" y="128"/>
                      </a:cubicBezTo>
                      <a:cubicBezTo>
                        <a:pt x="156" y="129"/>
                        <a:pt x="156" y="129"/>
                        <a:pt x="156" y="129"/>
                      </a:cubicBezTo>
                      <a:cubicBezTo>
                        <a:pt x="157" y="129"/>
                        <a:pt x="157" y="129"/>
                        <a:pt x="157" y="129"/>
                      </a:cubicBezTo>
                      <a:cubicBezTo>
                        <a:pt x="158" y="129"/>
                        <a:pt x="158" y="129"/>
                        <a:pt x="158" y="129"/>
                      </a:cubicBezTo>
                      <a:cubicBezTo>
                        <a:pt x="158" y="128"/>
                        <a:pt x="158" y="128"/>
                        <a:pt x="158" y="128"/>
                      </a:cubicBezTo>
                      <a:cubicBezTo>
                        <a:pt x="158" y="128"/>
                        <a:pt x="158" y="128"/>
                        <a:pt x="158" y="128"/>
                      </a:cubicBezTo>
                      <a:cubicBezTo>
                        <a:pt x="157" y="128"/>
                        <a:pt x="157" y="128"/>
                        <a:pt x="157" y="128"/>
                      </a:cubicBezTo>
                      <a:cubicBezTo>
                        <a:pt x="157" y="128"/>
                        <a:pt x="157" y="128"/>
                        <a:pt x="157" y="128"/>
                      </a:cubicBezTo>
                      <a:cubicBezTo>
                        <a:pt x="156" y="128"/>
                        <a:pt x="156" y="128"/>
                        <a:pt x="156" y="128"/>
                      </a:cubicBezTo>
                      <a:cubicBezTo>
                        <a:pt x="155" y="127"/>
                        <a:pt x="155" y="127"/>
                        <a:pt x="155" y="127"/>
                      </a:cubicBezTo>
                      <a:cubicBezTo>
                        <a:pt x="153" y="127"/>
                        <a:pt x="153" y="127"/>
                        <a:pt x="153" y="127"/>
                      </a:cubicBezTo>
                      <a:cubicBezTo>
                        <a:pt x="153" y="127"/>
                        <a:pt x="153" y="127"/>
                        <a:pt x="153" y="127"/>
                      </a:cubicBezTo>
                      <a:cubicBezTo>
                        <a:pt x="152" y="126"/>
                        <a:pt x="152" y="126"/>
                        <a:pt x="152" y="126"/>
                      </a:cubicBezTo>
                      <a:cubicBezTo>
                        <a:pt x="152" y="126"/>
                        <a:pt x="152" y="126"/>
                        <a:pt x="152" y="126"/>
                      </a:cubicBezTo>
                      <a:cubicBezTo>
                        <a:pt x="152" y="126"/>
                        <a:pt x="152" y="126"/>
                        <a:pt x="152" y="126"/>
                      </a:cubicBezTo>
                      <a:cubicBezTo>
                        <a:pt x="152" y="126"/>
                        <a:pt x="152" y="126"/>
                        <a:pt x="152" y="126"/>
                      </a:cubicBezTo>
                      <a:cubicBezTo>
                        <a:pt x="151" y="126"/>
                        <a:pt x="151" y="126"/>
                        <a:pt x="151" y="126"/>
                      </a:cubicBezTo>
                      <a:cubicBezTo>
                        <a:pt x="151" y="127"/>
                        <a:pt x="151" y="127"/>
                        <a:pt x="151" y="127"/>
                      </a:cubicBezTo>
                      <a:cubicBezTo>
                        <a:pt x="151" y="128"/>
                        <a:pt x="151" y="128"/>
                        <a:pt x="151" y="128"/>
                      </a:cubicBezTo>
                      <a:cubicBezTo>
                        <a:pt x="151" y="129"/>
                        <a:pt x="151" y="129"/>
                        <a:pt x="151" y="129"/>
                      </a:cubicBezTo>
                      <a:cubicBezTo>
                        <a:pt x="151" y="129"/>
                        <a:pt x="151" y="129"/>
                        <a:pt x="151" y="129"/>
                      </a:cubicBezTo>
                      <a:cubicBezTo>
                        <a:pt x="151" y="129"/>
                        <a:pt x="151" y="129"/>
                        <a:pt x="151" y="129"/>
                      </a:cubicBezTo>
                      <a:cubicBezTo>
                        <a:pt x="149" y="127"/>
                        <a:pt x="149" y="127"/>
                        <a:pt x="149" y="127"/>
                      </a:cubicBezTo>
                      <a:cubicBezTo>
                        <a:pt x="148" y="126"/>
                        <a:pt x="148" y="126"/>
                        <a:pt x="148" y="126"/>
                      </a:cubicBezTo>
                      <a:cubicBezTo>
                        <a:pt x="148" y="125"/>
                        <a:pt x="148" y="125"/>
                        <a:pt x="148" y="125"/>
                      </a:cubicBezTo>
                      <a:cubicBezTo>
                        <a:pt x="148" y="125"/>
                        <a:pt x="148" y="125"/>
                        <a:pt x="148" y="125"/>
                      </a:cubicBezTo>
                      <a:cubicBezTo>
                        <a:pt x="147" y="125"/>
                        <a:pt x="147" y="125"/>
                        <a:pt x="147" y="125"/>
                      </a:cubicBezTo>
                      <a:cubicBezTo>
                        <a:pt x="147" y="125"/>
                        <a:pt x="147" y="125"/>
                        <a:pt x="147" y="125"/>
                      </a:cubicBezTo>
                      <a:cubicBezTo>
                        <a:pt x="147" y="125"/>
                        <a:pt x="147" y="125"/>
                        <a:pt x="147" y="125"/>
                      </a:cubicBezTo>
                      <a:cubicBezTo>
                        <a:pt x="147" y="125"/>
                        <a:pt x="147" y="125"/>
                        <a:pt x="147" y="125"/>
                      </a:cubicBezTo>
                      <a:cubicBezTo>
                        <a:pt x="148" y="126"/>
                        <a:pt x="148" y="126"/>
                        <a:pt x="148" y="126"/>
                      </a:cubicBezTo>
                      <a:cubicBezTo>
                        <a:pt x="149" y="127"/>
                        <a:pt x="149" y="127"/>
                        <a:pt x="149" y="127"/>
                      </a:cubicBezTo>
                      <a:cubicBezTo>
                        <a:pt x="149" y="128"/>
                        <a:pt x="149" y="128"/>
                        <a:pt x="149" y="128"/>
                      </a:cubicBezTo>
                      <a:cubicBezTo>
                        <a:pt x="149" y="128"/>
                        <a:pt x="149" y="128"/>
                        <a:pt x="149" y="128"/>
                      </a:cubicBezTo>
                      <a:cubicBezTo>
                        <a:pt x="150" y="129"/>
                        <a:pt x="150" y="129"/>
                        <a:pt x="150" y="129"/>
                      </a:cubicBezTo>
                      <a:cubicBezTo>
                        <a:pt x="149" y="129"/>
                        <a:pt x="149" y="129"/>
                        <a:pt x="149" y="129"/>
                      </a:cubicBezTo>
                      <a:cubicBezTo>
                        <a:pt x="149" y="129"/>
                        <a:pt x="149" y="129"/>
                        <a:pt x="149" y="129"/>
                      </a:cubicBezTo>
                      <a:cubicBezTo>
                        <a:pt x="148" y="129"/>
                        <a:pt x="148" y="129"/>
                        <a:pt x="148" y="129"/>
                      </a:cubicBezTo>
                      <a:cubicBezTo>
                        <a:pt x="148" y="130"/>
                        <a:pt x="148" y="130"/>
                        <a:pt x="148" y="130"/>
                      </a:cubicBezTo>
                      <a:cubicBezTo>
                        <a:pt x="147" y="130"/>
                        <a:pt x="147" y="130"/>
                        <a:pt x="147" y="130"/>
                      </a:cubicBezTo>
                      <a:cubicBezTo>
                        <a:pt x="147" y="130"/>
                        <a:pt x="147" y="130"/>
                        <a:pt x="147" y="130"/>
                      </a:cubicBezTo>
                      <a:cubicBezTo>
                        <a:pt x="146" y="131"/>
                        <a:pt x="146" y="131"/>
                        <a:pt x="146" y="131"/>
                      </a:cubicBezTo>
                      <a:cubicBezTo>
                        <a:pt x="145" y="131"/>
                        <a:pt x="145" y="131"/>
                        <a:pt x="145" y="131"/>
                      </a:cubicBezTo>
                      <a:cubicBezTo>
                        <a:pt x="145" y="131"/>
                        <a:pt x="145" y="131"/>
                        <a:pt x="145" y="131"/>
                      </a:cubicBezTo>
                      <a:cubicBezTo>
                        <a:pt x="144" y="130"/>
                        <a:pt x="144" y="130"/>
                        <a:pt x="144" y="130"/>
                      </a:cubicBezTo>
                      <a:cubicBezTo>
                        <a:pt x="144" y="130"/>
                        <a:pt x="144" y="130"/>
                        <a:pt x="144" y="130"/>
                      </a:cubicBezTo>
                      <a:cubicBezTo>
                        <a:pt x="143" y="130"/>
                        <a:pt x="143" y="130"/>
                        <a:pt x="143" y="130"/>
                      </a:cubicBezTo>
                      <a:cubicBezTo>
                        <a:pt x="143" y="130"/>
                        <a:pt x="143" y="130"/>
                        <a:pt x="143" y="130"/>
                      </a:cubicBezTo>
                      <a:cubicBezTo>
                        <a:pt x="142" y="129"/>
                        <a:pt x="142" y="129"/>
                        <a:pt x="142" y="129"/>
                      </a:cubicBezTo>
                      <a:cubicBezTo>
                        <a:pt x="141" y="129"/>
                        <a:pt x="141" y="129"/>
                        <a:pt x="141" y="129"/>
                      </a:cubicBezTo>
                      <a:cubicBezTo>
                        <a:pt x="141" y="128"/>
                        <a:pt x="141" y="128"/>
                        <a:pt x="141" y="128"/>
                      </a:cubicBezTo>
                      <a:cubicBezTo>
                        <a:pt x="141" y="128"/>
                        <a:pt x="141" y="128"/>
                        <a:pt x="141" y="128"/>
                      </a:cubicBezTo>
                      <a:cubicBezTo>
                        <a:pt x="141" y="128"/>
                        <a:pt x="141" y="128"/>
                        <a:pt x="141" y="128"/>
                      </a:cubicBezTo>
                      <a:cubicBezTo>
                        <a:pt x="141" y="128"/>
                        <a:pt x="141" y="128"/>
                        <a:pt x="141" y="128"/>
                      </a:cubicBezTo>
                      <a:cubicBezTo>
                        <a:pt x="141" y="129"/>
                        <a:pt x="141" y="129"/>
                        <a:pt x="141" y="129"/>
                      </a:cubicBezTo>
                      <a:cubicBezTo>
                        <a:pt x="141" y="129"/>
                        <a:pt x="141" y="129"/>
                        <a:pt x="141" y="129"/>
                      </a:cubicBezTo>
                      <a:cubicBezTo>
                        <a:pt x="142" y="130"/>
                        <a:pt x="142" y="130"/>
                        <a:pt x="142" y="130"/>
                      </a:cubicBezTo>
                      <a:cubicBezTo>
                        <a:pt x="142" y="130"/>
                        <a:pt x="142" y="130"/>
                        <a:pt x="142" y="130"/>
                      </a:cubicBezTo>
                      <a:cubicBezTo>
                        <a:pt x="143" y="131"/>
                        <a:pt x="143" y="131"/>
                        <a:pt x="143" y="131"/>
                      </a:cubicBezTo>
                      <a:cubicBezTo>
                        <a:pt x="143" y="131"/>
                        <a:pt x="143" y="131"/>
                        <a:pt x="143" y="131"/>
                      </a:cubicBezTo>
                      <a:cubicBezTo>
                        <a:pt x="143" y="132"/>
                        <a:pt x="143" y="132"/>
                        <a:pt x="143" y="132"/>
                      </a:cubicBezTo>
                      <a:cubicBezTo>
                        <a:pt x="141" y="132"/>
                        <a:pt x="141" y="132"/>
                        <a:pt x="141" y="132"/>
                      </a:cubicBezTo>
                      <a:cubicBezTo>
                        <a:pt x="140" y="131"/>
                        <a:pt x="140" y="131"/>
                        <a:pt x="140" y="131"/>
                      </a:cubicBezTo>
                      <a:cubicBezTo>
                        <a:pt x="139" y="132"/>
                        <a:pt x="139" y="132"/>
                        <a:pt x="139" y="132"/>
                      </a:cubicBezTo>
                      <a:cubicBezTo>
                        <a:pt x="139" y="132"/>
                        <a:pt x="139" y="132"/>
                        <a:pt x="139" y="132"/>
                      </a:cubicBezTo>
                      <a:cubicBezTo>
                        <a:pt x="139" y="132"/>
                        <a:pt x="139" y="132"/>
                        <a:pt x="139" y="132"/>
                      </a:cubicBezTo>
                      <a:cubicBezTo>
                        <a:pt x="139" y="132"/>
                        <a:pt x="139" y="132"/>
                        <a:pt x="139" y="132"/>
                      </a:cubicBezTo>
                      <a:cubicBezTo>
                        <a:pt x="140" y="133"/>
                        <a:pt x="140" y="133"/>
                        <a:pt x="140" y="133"/>
                      </a:cubicBezTo>
                      <a:cubicBezTo>
                        <a:pt x="140" y="133"/>
                        <a:pt x="140" y="133"/>
                        <a:pt x="140" y="133"/>
                      </a:cubicBezTo>
                      <a:cubicBezTo>
                        <a:pt x="140" y="133"/>
                        <a:pt x="140" y="133"/>
                        <a:pt x="140" y="133"/>
                      </a:cubicBezTo>
                      <a:cubicBezTo>
                        <a:pt x="140" y="132"/>
                        <a:pt x="140" y="132"/>
                        <a:pt x="140" y="132"/>
                      </a:cubicBezTo>
                      <a:cubicBezTo>
                        <a:pt x="141" y="132"/>
                        <a:pt x="141" y="132"/>
                        <a:pt x="141" y="132"/>
                      </a:cubicBezTo>
                      <a:cubicBezTo>
                        <a:pt x="141" y="132"/>
                        <a:pt x="142" y="132"/>
                        <a:pt x="142" y="132"/>
                      </a:cubicBezTo>
                      <a:cubicBezTo>
                        <a:pt x="142" y="132"/>
                        <a:pt x="143" y="133"/>
                        <a:pt x="143" y="133"/>
                      </a:cubicBezTo>
                      <a:cubicBezTo>
                        <a:pt x="143" y="132"/>
                        <a:pt x="143" y="132"/>
                        <a:pt x="143" y="132"/>
                      </a:cubicBezTo>
                      <a:cubicBezTo>
                        <a:pt x="143" y="132"/>
                        <a:pt x="143" y="132"/>
                        <a:pt x="143" y="132"/>
                      </a:cubicBezTo>
                      <a:cubicBezTo>
                        <a:pt x="144" y="132"/>
                        <a:pt x="144" y="132"/>
                        <a:pt x="144" y="132"/>
                      </a:cubicBezTo>
                      <a:cubicBezTo>
                        <a:pt x="145" y="132"/>
                        <a:pt x="145" y="132"/>
                        <a:pt x="145" y="132"/>
                      </a:cubicBezTo>
                      <a:cubicBezTo>
                        <a:pt x="146" y="132"/>
                        <a:pt x="146" y="132"/>
                        <a:pt x="146" y="132"/>
                      </a:cubicBezTo>
                      <a:cubicBezTo>
                        <a:pt x="146" y="132"/>
                        <a:pt x="146" y="132"/>
                        <a:pt x="146" y="132"/>
                      </a:cubicBezTo>
                      <a:cubicBezTo>
                        <a:pt x="147" y="132"/>
                        <a:pt x="147" y="132"/>
                        <a:pt x="147" y="132"/>
                      </a:cubicBezTo>
                      <a:cubicBezTo>
                        <a:pt x="148" y="132"/>
                        <a:pt x="148" y="132"/>
                        <a:pt x="148" y="132"/>
                      </a:cubicBezTo>
                      <a:cubicBezTo>
                        <a:pt x="148" y="133"/>
                        <a:pt x="148" y="133"/>
                        <a:pt x="148" y="133"/>
                      </a:cubicBezTo>
                      <a:cubicBezTo>
                        <a:pt x="148" y="133"/>
                        <a:pt x="148" y="133"/>
                        <a:pt x="148" y="133"/>
                      </a:cubicBezTo>
                      <a:cubicBezTo>
                        <a:pt x="148" y="134"/>
                        <a:pt x="148" y="134"/>
                        <a:pt x="148" y="134"/>
                      </a:cubicBezTo>
                      <a:cubicBezTo>
                        <a:pt x="148" y="134"/>
                        <a:pt x="148" y="134"/>
                        <a:pt x="148" y="134"/>
                      </a:cubicBezTo>
                      <a:cubicBezTo>
                        <a:pt x="147" y="135"/>
                        <a:pt x="147" y="135"/>
                        <a:pt x="147" y="135"/>
                      </a:cubicBezTo>
                      <a:cubicBezTo>
                        <a:pt x="147" y="134"/>
                        <a:pt x="147" y="134"/>
                        <a:pt x="147" y="134"/>
                      </a:cubicBezTo>
                      <a:cubicBezTo>
                        <a:pt x="146" y="135"/>
                        <a:pt x="146" y="135"/>
                        <a:pt x="146" y="135"/>
                      </a:cubicBezTo>
                      <a:cubicBezTo>
                        <a:pt x="145" y="135"/>
                        <a:pt x="145" y="135"/>
                        <a:pt x="145" y="135"/>
                      </a:cubicBezTo>
                      <a:cubicBezTo>
                        <a:pt x="144" y="135"/>
                        <a:pt x="144" y="135"/>
                        <a:pt x="144" y="135"/>
                      </a:cubicBezTo>
                      <a:cubicBezTo>
                        <a:pt x="144" y="135"/>
                        <a:pt x="144" y="135"/>
                        <a:pt x="144" y="135"/>
                      </a:cubicBezTo>
                      <a:cubicBezTo>
                        <a:pt x="143" y="134"/>
                        <a:pt x="143" y="134"/>
                        <a:pt x="143" y="134"/>
                      </a:cubicBezTo>
                      <a:cubicBezTo>
                        <a:pt x="142" y="134"/>
                        <a:pt x="142" y="134"/>
                        <a:pt x="142" y="134"/>
                      </a:cubicBezTo>
                      <a:cubicBezTo>
                        <a:pt x="142" y="134"/>
                        <a:pt x="142" y="134"/>
                        <a:pt x="142" y="134"/>
                      </a:cubicBezTo>
                      <a:cubicBezTo>
                        <a:pt x="142" y="135"/>
                        <a:pt x="142" y="135"/>
                        <a:pt x="142" y="135"/>
                      </a:cubicBezTo>
                      <a:cubicBezTo>
                        <a:pt x="141" y="135"/>
                        <a:pt x="141" y="135"/>
                        <a:pt x="141" y="135"/>
                      </a:cubicBezTo>
                      <a:cubicBezTo>
                        <a:pt x="141" y="135"/>
                        <a:pt x="141" y="135"/>
                        <a:pt x="141" y="135"/>
                      </a:cubicBezTo>
                      <a:cubicBezTo>
                        <a:pt x="140" y="135"/>
                        <a:pt x="140" y="135"/>
                        <a:pt x="140" y="135"/>
                      </a:cubicBezTo>
                      <a:cubicBezTo>
                        <a:pt x="140" y="135"/>
                        <a:pt x="140" y="135"/>
                        <a:pt x="140" y="135"/>
                      </a:cubicBezTo>
                      <a:cubicBezTo>
                        <a:pt x="141" y="135"/>
                        <a:pt x="141" y="135"/>
                        <a:pt x="141" y="135"/>
                      </a:cubicBezTo>
                      <a:cubicBezTo>
                        <a:pt x="142" y="135"/>
                        <a:pt x="142" y="135"/>
                        <a:pt x="142" y="135"/>
                      </a:cubicBezTo>
                      <a:cubicBezTo>
                        <a:pt x="142" y="135"/>
                        <a:pt x="142" y="135"/>
                        <a:pt x="142" y="135"/>
                      </a:cubicBezTo>
                      <a:cubicBezTo>
                        <a:pt x="143" y="135"/>
                        <a:pt x="143" y="135"/>
                        <a:pt x="143" y="135"/>
                      </a:cubicBezTo>
                      <a:cubicBezTo>
                        <a:pt x="143" y="135"/>
                        <a:pt x="143" y="135"/>
                        <a:pt x="143" y="135"/>
                      </a:cubicBezTo>
                      <a:cubicBezTo>
                        <a:pt x="143" y="136"/>
                        <a:pt x="143" y="136"/>
                        <a:pt x="143" y="136"/>
                      </a:cubicBezTo>
                      <a:cubicBezTo>
                        <a:pt x="142" y="136"/>
                        <a:pt x="142" y="136"/>
                        <a:pt x="142" y="136"/>
                      </a:cubicBezTo>
                      <a:cubicBezTo>
                        <a:pt x="141" y="136"/>
                        <a:pt x="141" y="136"/>
                        <a:pt x="141" y="136"/>
                      </a:cubicBezTo>
                      <a:cubicBezTo>
                        <a:pt x="141" y="136"/>
                        <a:pt x="141" y="136"/>
                        <a:pt x="141" y="136"/>
                      </a:cubicBezTo>
                      <a:cubicBezTo>
                        <a:pt x="141" y="136"/>
                        <a:pt x="141" y="136"/>
                        <a:pt x="141" y="136"/>
                      </a:cubicBezTo>
                      <a:cubicBezTo>
                        <a:pt x="142" y="136"/>
                        <a:pt x="142" y="136"/>
                        <a:pt x="142" y="136"/>
                      </a:cubicBezTo>
                      <a:cubicBezTo>
                        <a:pt x="143" y="136"/>
                        <a:pt x="143" y="136"/>
                        <a:pt x="143" y="136"/>
                      </a:cubicBezTo>
                      <a:cubicBezTo>
                        <a:pt x="143" y="136"/>
                        <a:pt x="143" y="136"/>
                        <a:pt x="143" y="136"/>
                      </a:cubicBezTo>
                      <a:cubicBezTo>
                        <a:pt x="143" y="136"/>
                        <a:pt x="143" y="136"/>
                        <a:pt x="143" y="136"/>
                      </a:cubicBezTo>
                      <a:cubicBezTo>
                        <a:pt x="143" y="137"/>
                        <a:pt x="143" y="137"/>
                        <a:pt x="143" y="137"/>
                      </a:cubicBezTo>
                      <a:cubicBezTo>
                        <a:pt x="144" y="137"/>
                        <a:pt x="144" y="137"/>
                        <a:pt x="144" y="137"/>
                      </a:cubicBezTo>
                      <a:cubicBezTo>
                        <a:pt x="144" y="136"/>
                        <a:pt x="144" y="136"/>
                        <a:pt x="144" y="136"/>
                      </a:cubicBezTo>
                      <a:cubicBezTo>
                        <a:pt x="145" y="136"/>
                        <a:pt x="145" y="136"/>
                        <a:pt x="145" y="136"/>
                      </a:cubicBezTo>
                      <a:cubicBezTo>
                        <a:pt x="145" y="136"/>
                        <a:pt x="145" y="136"/>
                        <a:pt x="145" y="136"/>
                      </a:cubicBezTo>
                      <a:cubicBezTo>
                        <a:pt x="146" y="135"/>
                        <a:pt x="146" y="135"/>
                        <a:pt x="146" y="135"/>
                      </a:cubicBezTo>
                      <a:cubicBezTo>
                        <a:pt x="146" y="135"/>
                        <a:pt x="146" y="135"/>
                        <a:pt x="146" y="135"/>
                      </a:cubicBezTo>
                      <a:cubicBezTo>
                        <a:pt x="147" y="136"/>
                        <a:pt x="147" y="136"/>
                        <a:pt x="147" y="136"/>
                      </a:cubicBezTo>
                      <a:cubicBezTo>
                        <a:pt x="148" y="136"/>
                        <a:pt x="148" y="136"/>
                        <a:pt x="148" y="136"/>
                      </a:cubicBezTo>
                      <a:cubicBezTo>
                        <a:pt x="148" y="136"/>
                        <a:pt x="148" y="136"/>
                        <a:pt x="148" y="136"/>
                      </a:cubicBezTo>
                      <a:cubicBezTo>
                        <a:pt x="148" y="137"/>
                        <a:pt x="148" y="137"/>
                        <a:pt x="148" y="137"/>
                      </a:cubicBezTo>
                      <a:cubicBezTo>
                        <a:pt x="149" y="137"/>
                        <a:pt x="149" y="137"/>
                        <a:pt x="149" y="137"/>
                      </a:cubicBezTo>
                      <a:cubicBezTo>
                        <a:pt x="148" y="138"/>
                        <a:pt x="148" y="138"/>
                        <a:pt x="148" y="138"/>
                      </a:cubicBezTo>
                      <a:cubicBezTo>
                        <a:pt x="148" y="139"/>
                        <a:pt x="148" y="139"/>
                        <a:pt x="148" y="139"/>
                      </a:cubicBezTo>
                      <a:cubicBezTo>
                        <a:pt x="147" y="139"/>
                        <a:pt x="147" y="139"/>
                        <a:pt x="147" y="139"/>
                      </a:cubicBezTo>
                      <a:cubicBezTo>
                        <a:pt x="146" y="139"/>
                        <a:pt x="146" y="139"/>
                        <a:pt x="146" y="139"/>
                      </a:cubicBezTo>
                      <a:cubicBezTo>
                        <a:pt x="146" y="139"/>
                        <a:pt x="146" y="139"/>
                        <a:pt x="146" y="139"/>
                      </a:cubicBezTo>
                      <a:cubicBezTo>
                        <a:pt x="144" y="139"/>
                        <a:pt x="144" y="139"/>
                        <a:pt x="144" y="139"/>
                      </a:cubicBezTo>
                      <a:cubicBezTo>
                        <a:pt x="144" y="139"/>
                        <a:pt x="144" y="139"/>
                        <a:pt x="144" y="139"/>
                      </a:cubicBezTo>
                      <a:cubicBezTo>
                        <a:pt x="143" y="139"/>
                        <a:pt x="143" y="139"/>
                        <a:pt x="143" y="139"/>
                      </a:cubicBezTo>
                      <a:cubicBezTo>
                        <a:pt x="143" y="139"/>
                        <a:pt x="143" y="139"/>
                        <a:pt x="143" y="139"/>
                      </a:cubicBezTo>
                      <a:cubicBezTo>
                        <a:pt x="144" y="139"/>
                        <a:pt x="144" y="139"/>
                        <a:pt x="144" y="139"/>
                      </a:cubicBezTo>
                      <a:cubicBezTo>
                        <a:pt x="145" y="139"/>
                        <a:pt x="145" y="139"/>
                        <a:pt x="145" y="139"/>
                      </a:cubicBezTo>
                      <a:cubicBezTo>
                        <a:pt x="146" y="140"/>
                        <a:pt x="146" y="140"/>
                        <a:pt x="146" y="140"/>
                      </a:cubicBezTo>
                      <a:cubicBezTo>
                        <a:pt x="147" y="140"/>
                        <a:pt x="147" y="140"/>
                        <a:pt x="147" y="140"/>
                      </a:cubicBezTo>
                      <a:cubicBezTo>
                        <a:pt x="147" y="140"/>
                        <a:pt x="147" y="140"/>
                        <a:pt x="147" y="140"/>
                      </a:cubicBezTo>
                      <a:cubicBezTo>
                        <a:pt x="147" y="140"/>
                        <a:pt x="147" y="140"/>
                        <a:pt x="147" y="140"/>
                      </a:cubicBezTo>
                      <a:cubicBezTo>
                        <a:pt x="148" y="140"/>
                        <a:pt x="148" y="140"/>
                        <a:pt x="148" y="140"/>
                      </a:cubicBezTo>
                      <a:cubicBezTo>
                        <a:pt x="149" y="140"/>
                        <a:pt x="149" y="140"/>
                        <a:pt x="149" y="140"/>
                      </a:cubicBezTo>
                      <a:cubicBezTo>
                        <a:pt x="150" y="140"/>
                        <a:pt x="150" y="140"/>
                        <a:pt x="150" y="140"/>
                      </a:cubicBezTo>
                      <a:cubicBezTo>
                        <a:pt x="150" y="140"/>
                        <a:pt x="150" y="140"/>
                        <a:pt x="150" y="140"/>
                      </a:cubicBezTo>
                      <a:cubicBezTo>
                        <a:pt x="151" y="141"/>
                        <a:pt x="151" y="141"/>
                        <a:pt x="151" y="141"/>
                      </a:cubicBezTo>
                      <a:cubicBezTo>
                        <a:pt x="152" y="142"/>
                        <a:pt x="152" y="142"/>
                        <a:pt x="152" y="142"/>
                      </a:cubicBezTo>
                      <a:cubicBezTo>
                        <a:pt x="152" y="142"/>
                        <a:pt x="152" y="142"/>
                        <a:pt x="152" y="142"/>
                      </a:cubicBezTo>
                      <a:cubicBezTo>
                        <a:pt x="152" y="142"/>
                        <a:pt x="152" y="142"/>
                        <a:pt x="152" y="142"/>
                      </a:cubicBezTo>
                      <a:cubicBezTo>
                        <a:pt x="153" y="142"/>
                        <a:pt x="153" y="142"/>
                        <a:pt x="153" y="142"/>
                      </a:cubicBezTo>
                      <a:cubicBezTo>
                        <a:pt x="153" y="142"/>
                        <a:pt x="153" y="142"/>
                        <a:pt x="153" y="142"/>
                      </a:cubicBezTo>
                      <a:cubicBezTo>
                        <a:pt x="154" y="143"/>
                        <a:pt x="154" y="143"/>
                        <a:pt x="154" y="143"/>
                      </a:cubicBezTo>
                      <a:cubicBezTo>
                        <a:pt x="154" y="143"/>
                        <a:pt x="154" y="143"/>
                        <a:pt x="154" y="143"/>
                      </a:cubicBezTo>
                      <a:cubicBezTo>
                        <a:pt x="154" y="144"/>
                        <a:pt x="154" y="144"/>
                        <a:pt x="154" y="144"/>
                      </a:cubicBezTo>
                      <a:cubicBezTo>
                        <a:pt x="155" y="144"/>
                        <a:pt x="155" y="144"/>
                        <a:pt x="155" y="144"/>
                      </a:cubicBezTo>
                      <a:cubicBezTo>
                        <a:pt x="155" y="144"/>
                        <a:pt x="155" y="144"/>
                        <a:pt x="155" y="144"/>
                      </a:cubicBezTo>
                      <a:cubicBezTo>
                        <a:pt x="155" y="144"/>
                        <a:pt x="155" y="144"/>
                        <a:pt x="155" y="144"/>
                      </a:cubicBezTo>
                      <a:cubicBezTo>
                        <a:pt x="156" y="145"/>
                        <a:pt x="156" y="145"/>
                        <a:pt x="156" y="145"/>
                      </a:cubicBezTo>
                      <a:cubicBezTo>
                        <a:pt x="156" y="145"/>
                        <a:pt x="156" y="145"/>
                        <a:pt x="156" y="145"/>
                      </a:cubicBezTo>
                      <a:cubicBezTo>
                        <a:pt x="155" y="146"/>
                        <a:pt x="155" y="146"/>
                        <a:pt x="155" y="146"/>
                      </a:cubicBezTo>
                      <a:cubicBezTo>
                        <a:pt x="155" y="146"/>
                        <a:pt x="155" y="146"/>
                        <a:pt x="155" y="146"/>
                      </a:cubicBezTo>
                      <a:cubicBezTo>
                        <a:pt x="154" y="147"/>
                        <a:pt x="154" y="147"/>
                        <a:pt x="154" y="147"/>
                      </a:cubicBezTo>
                      <a:cubicBezTo>
                        <a:pt x="154" y="147"/>
                        <a:pt x="154" y="147"/>
                        <a:pt x="154" y="147"/>
                      </a:cubicBezTo>
                      <a:cubicBezTo>
                        <a:pt x="154" y="147"/>
                        <a:pt x="154" y="147"/>
                        <a:pt x="154" y="147"/>
                      </a:cubicBezTo>
                      <a:cubicBezTo>
                        <a:pt x="155" y="147"/>
                        <a:pt x="155" y="147"/>
                        <a:pt x="155" y="147"/>
                      </a:cubicBezTo>
                      <a:cubicBezTo>
                        <a:pt x="156" y="146"/>
                        <a:pt x="156" y="146"/>
                        <a:pt x="156" y="146"/>
                      </a:cubicBezTo>
                      <a:cubicBezTo>
                        <a:pt x="156" y="146"/>
                        <a:pt x="156" y="146"/>
                        <a:pt x="156" y="146"/>
                      </a:cubicBezTo>
                      <a:cubicBezTo>
                        <a:pt x="156" y="146"/>
                        <a:pt x="156" y="146"/>
                        <a:pt x="156" y="146"/>
                      </a:cubicBezTo>
                      <a:cubicBezTo>
                        <a:pt x="156" y="147"/>
                        <a:pt x="156" y="147"/>
                        <a:pt x="156" y="147"/>
                      </a:cubicBezTo>
                      <a:cubicBezTo>
                        <a:pt x="156" y="147"/>
                        <a:pt x="156" y="147"/>
                        <a:pt x="156" y="147"/>
                      </a:cubicBezTo>
                      <a:cubicBezTo>
                        <a:pt x="156" y="147"/>
                        <a:pt x="156" y="147"/>
                        <a:pt x="156" y="147"/>
                      </a:cubicBezTo>
                      <a:cubicBezTo>
                        <a:pt x="156" y="147"/>
                        <a:pt x="156" y="147"/>
                        <a:pt x="156" y="147"/>
                      </a:cubicBezTo>
                      <a:cubicBezTo>
                        <a:pt x="157" y="146"/>
                        <a:pt x="157" y="146"/>
                        <a:pt x="157" y="146"/>
                      </a:cubicBezTo>
                      <a:cubicBezTo>
                        <a:pt x="157" y="146"/>
                        <a:pt x="157" y="146"/>
                        <a:pt x="157" y="146"/>
                      </a:cubicBezTo>
                      <a:cubicBezTo>
                        <a:pt x="158" y="147"/>
                        <a:pt x="158" y="147"/>
                        <a:pt x="158" y="147"/>
                      </a:cubicBezTo>
                      <a:cubicBezTo>
                        <a:pt x="157" y="147"/>
                        <a:pt x="157" y="147"/>
                        <a:pt x="157" y="147"/>
                      </a:cubicBezTo>
                      <a:cubicBezTo>
                        <a:pt x="157" y="148"/>
                        <a:pt x="157" y="148"/>
                        <a:pt x="157" y="148"/>
                      </a:cubicBezTo>
                      <a:cubicBezTo>
                        <a:pt x="156" y="148"/>
                        <a:pt x="156" y="148"/>
                        <a:pt x="156" y="148"/>
                      </a:cubicBezTo>
                      <a:cubicBezTo>
                        <a:pt x="156" y="149"/>
                        <a:pt x="156" y="149"/>
                        <a:pt x="156" y="149"/>
                      </a:cubicBezTo>
                      <a:cubicBezTo>
                        <a:pt x="156" y="149"/>
                        <a:pt x="156" y="149"/>
                        <a:pt x="156" y="149"/>
                      </a:cubicBezTo>
                      <a:cubicBezTo>
                        <a:pt x="156" y="150"/>
                        <a:pt x="156" y="150"/>
                        <a:pt x="156" y="150"/>
                      </a:cubicBezTo>
                      <a:cubicBezTo>
                        <a:pt x="156" y="150"/>
                        <a:pt x="156" y="150"/>
                        <a:pt x="156" y="150"/>
                      </a:cubicBezTo>
                      <a:cubicBezTo>
                        <a:pt x="156" y="151"/>
                        <a:pt x="156" y="151"/>
                        <a:pt x="156" y="151"/>
                      </a:cubicBezTo>
                      <a:cubicBezTo>
                        <a:pt x="156" y="151"/>
                        <a:pt x="156" y="151"/>
                        <a:pt x="156" y="151"/>
                      </a:cubicBezTo>
                      <a:cubicBezTo>
                        <a:pt x="156" y="151"/>
                        <a:pt x="156" y="151"/>
                        <a:pt x="156" y="151"/>
                      </a:cubicBezTo>
                      <a:cubicBezTo>
                        <a:pt x="156" y="150"/>
                        <a:pt x="156" y="150"/>
                        <a:pt x="156" y="150"/>
                      </a:cubicBezTo>
                      <a:cubicBezTo>
                        <a:pt x="157" y="149"/>
                        <a:pt x="157" y="149"/>
                        <a:pt x="157" y="149"/>
                      </a:cubicBezTo>
                      <a:cubicBezTo>
                        <a:pt x="158" y="149"/>
                        <a:pt x="158" y="149"/>
                        <a:pt x="158" y="149"/>
                      </a:cubicBezTo>
                      <a:cubicBezTo>
                        <a:pt x="158" y="149"/>
                        <a:pt x="158" y="149"/>
                        <a:pt x="158" y="149"/>
                      </a:cubicBezTo>
                      <a:cubicBezTo>
                        <a:pt x="158" y="149"/>
                        <a:pt x="158" y="149"/>
                        <a:pt x="158" y="149"/>
                      </a:cubicBezTo>
                      <a:cubicBezTo>
                        <a:pt x="158" y="150"/>
                        <a:pt x="158" y="150"/>
                        <a:pt x="158" y="150"/>
                      </a:cubicBezTo>
                      <a:cubicBezTo>
                        <a:pt x="157" y="151"/>
                        <a:pt x="157" y="151"/>
                        <a:pt x="157" y="151"/>
                      </a:cubicBezTo>
                      <a:cubicBezTo>
                        <a:pt x="157" y="151"/>
                        <a:pt x="157" y="151"/>
                        <a:pt x="157" y="151"/>
                      </a:cubicBezTo>
                      <a:cubicBezTo>
                        <a:pt x="158" y="151"/>
                        <a:pt x="158" y="151"/>
                        <a:pt x="158" y="151"/>
                      </a:cubicBezTo>
                      <a:cubicBezTo>
                        <a:pt x="158" y="151"/>
                        <a:pt x="158" y="151"/>
                        <a:pt x="158" y="151"/>
                      </a:cubicBezTo>
                      <a:cubicBezTo>
                        <a:pt x="158" y="152"/>
                        <a:pt x="158" y="152"/>
                        <a:pt x="158" y="152"/>
                      </a:cubicBezTo>
                      <a:cubicBezTo>
                        <a:pt x="158" y="152"/>
                        <a:pt x="158" y="152"/>
                        <a:pt x="158" y="152"/>
                      </a:cubicBezTo>
                      <a:cubicBezTo>
                        <a:pt x="157" y="152"/>
                        <a:pt x="157" y="152"/>
                        <a:pt x="157" y="152"/>
                      </a:cubicBezTo>
                      <a:cubicBezTo>
                        <a:pt x="157" y="153"/>
                        <a:pt x="157" y="153"/>
                        <a:pt x="157" y="153"/>
                      </a:cubicBezTo>
                      <a:cubicBezTo>
                        <a:pt x="157" y="153"/>
                        <a:pt x="157" y="153"/>
                        <a:pt x="157" y="153"/>
                      </a:cubicBezTo>
                      <a:cubicBezTo>
                        <a:pt x="158" y="153"/>
                        <a:pt x="158" y="153"/>
                        <a:pt x="158" y="153"/>
                      </a:cubicBezTo>
                      <a:cubicBezTo>
                        <a:pt x="158" y="153"/>
                        <a:pt x="158" y="153"/>
                        <a:pt x="158" y="153"/>
                      </a:cubicBezTo>
                      <a:cubicBezTo>
                        <a:pt x="158" y="153"/>
                        <a:pt x="158" y="153"/>
                        <a:pt x="158" y="153"/>
                      </a:cubicBezTo>
                      <a:cubicBezTo>
                        <a:pt x="157" y="154"/>
                        <a:pt x="157" y="154"/>
                        <a:pt x="157" y="154"/>
                      </a:cubicBezTo>
                      <a:cubicBezTo>
                        <a:pt x="158" y="154"/>
                        <a:pt x="158" y="154"/>
                        <a:pt x="158" y="154"/>
                      </a:cubicBezTo>
                      <a:cubicBezTo>
                        <a:pt x="158" y="154"/>
                        <a:pt x="158" y="154"/>
                        <a:pt x="158" y="154"/>
                      </a:cubicBezTo>
                      <a:cubicBezTo>
                        <a:pt x="158" y="155"/>
                        <a:pt x="158" y="155"/>
                        <a:pt x="158" y="155"/>
                      </a:cubicBezTo>
                      <a:cubicBezTo>
                        <a:pt x="158" y="155"/>
                        <a:pt x="158" y="155"/>
                        <a:pt x="158" y="155"/>
                      </a:cubicBezTo>
                      <a:cubicBezTo>
                        <a:pt x="158" y="156"/>
                        <a:pt x="158" y="156"/>
                        <a:pt x="158" y="156"/>
                      </a:cubicBezTo>
                      <a:cubicBezTo>
                        <a:pt x="158" y="157"/>
                        <a:pt x="158" y="157"/>
                        <a:pt x="158" y="157"/>
                      </a:cubicBezTo>
                      <a:cubicBezTo>
                        <a:pt x="158" y="158"/>
                        <a:pt x="158" y="158"/>
                        <a:pt x="158" y="158"/>
                      </a:cubicBezTo>
                      <a:cubicBezTo>
                        <a:pt x="158" y="158"/>
                        <a:pt x="158" y="158"/>
                        <a:pt x="158" y="158"/>
                      </a:cubicBezTo>
                      <a:cubicBezTo>
                        <a:pt x="157" y="159"/>
                        <a:pt x="157" y="159"/>
                        <a:pt x="157" y="159"/>
                      </a:cubicBezTo>
                      <a:cubicBezTo>
                        <a:pt x="157" y="159"/>
                        <a:pt x="157" y="159"/>
                        <a:pt x="157" y="159"/>
                      </a:cubicBezTo>
                      <a:cubicBezTo>
                        <a:pt x="156" y="159"/>
                        <a:pt x="156" y="159"/>
                        <a:pt x="156" y="159"/>
                      </a:cubicBezTo>
                      <a:cubicBezTo>
                        <a:pt x="156" y="159"/>
                        <a:pt x="156" y="159"/>
                        <a:pt x="156" y="159"/>
                      </a:cubicBezTo>
                      <a:cubicBezTo>
                        <a:pt x="156" y="158"/>
                        <a:pt x="156" y="158"/>
                        <a:pt x="156" y="158"/>
                      </a:cubicBezTo>
                      <a:cubicBezTo>
                        <a:pt x="156" y="158"/>
                        <a:pt x="156" y="158"/>
                        <a:pt x="156" y="158"/>
                      </a:cubicBezTo>
                      <a:cubicBezTo>
                        <a:pt x="156" y="157"/>
                        <a:pt x="156" y="157"/>
                        <a:pt x="156" y="157"/>
                      </a:cubicBezTo>
                      <a:cubicBezTo>
                        <a:pt x="155" y="158"/>
                        <a:pt x="155" y="158"/>
                        <a:pt x="155" y="158"/>
                      </a:cubicBezTo>
                      <a:cubicBezTo>
                        <a:pt x="155" y="158"/>
                        <a:pt x="155" y="158"/>
                        <a:pt x="155" y="158"/>
                      </a:cubicBezTo>
                      <a:cubicBezTo>
                        <a:pt x="155" y="158"/>
                        <a:pt x="155" y="158"/>
                        <a:pt x="155" y="158"/>
                      </a:cubicBezTo>
                      <a:cubicBezTo>
                        <a:pt x="155" y="157"/>
                        <a:pt x="155" y="157"/>
                        <a:pt x="155" y="157"/>
                      </a:cubicBezTo>
                      <a:cubicBezTo>
                        <a:pt x="155" y="157"/>
                        <a:pt x="155" y="157"/>
                        <a:pt x="155" y="157"/>
                      </a:cubicBezTo>
                      <a:cubicBezTo>
                        <a:pt x="155" y="156"/>
                        <a:pt x="155" y="156"/>
                        <a:pt x="155" y="156"/>
                      </a:cubicBezTo>
                      <a:cubicBezTo>
                        <a:pt x="155" y="155"/>
                        <a:pt x="155" y="155"/>
                        <a:pt x="155" y="155"/>
                      </a:cubicBezTo>
                      <a:cubicBezTo>
                        <a:pt x="155" y="154"/>
                        <a:pt x="155" y="154"/>
                        <a:pt x="155" y="154"/>
                      </a:cubicBezTo>
                      <a:cubicBezTo>
                        <a:pt x="155" y="154"/>
                        <a:pt x="155" y="154"/>
                        <a:pt x="155" y="154"/>
                      </a:cubicBezTo>
                      <a:cubicBezTo>
                        <a:pt x="154" y="154"/>
                        <a:pt x="154" y="154"/>
                        <a:pt x="154" y="154"/>
                      </a:cubicBezTo>
                      <a:cubicBezTo>
                        <a:pt x="154" y="155"/>
                        <a:pt x="154" y="155"/>
                        <a:pt x="154" y="155"/>
                      </a:cubicBezTo>
                      <a:cubicBezTo>
                        <a:pt x="154" y="155"/>
                        <a:pt x="154" y="155"/>
                        <a:pt x="154" y="155"/>
                      </a:cubicBezTo>
                      <a:cubicBezTo>
                        <a:pt x="154" y="156"/>
                        <a:pt x="154" y="156"/>
                        <a:pt x="154" y="156"/>
                      </a:cubicBezTo>
                      <a:cubicBezTo>
                        <a:pt x="154" y="157"/>
                        <a:pt x="154" y="157"/>
                        <a:pt x="154" y="157"/>
                      </a:cubicBezTo>
                      <a:cubicBezTo>
                        <a:pt x="154" y="158"/>
                        <a:pt x="154" y="158"/>
                        <a:pt x="154" y="158"/>
                      </a:cubicBezTo>
                      <a:cubicBezTo>
                        <a:pt x="154" y="158"/>
                        <a:pt x="154" y="158"/>
                        <a:pt x="154" y="158"/>
                      </a:cubicBezTo>
                      <a:cubicBezTo>
                        <a:pt x="153" y="158"/>
                        <a:pt x="153" y="158"/>
                        <a:pt x="153" y="158"/>
                      </a:cubicBezTo>
                      <a:cubicBezTo>
                        <a:pt x="152" y="158"/>
                        <a:pt x="152" y="158"/>
                        <a:pt x="152" y="158"/>
                      </a:cubicBezTo>
                      <a:cubicBezTo>
                        <a:pt x="152" y="158"/>
                        <a:pt x="152" y="158"/>
                        <a:pt x="152" y="158"/>
                      </a:cubicBezTo>
                      <a:cubicBezTo>
                        <a:pt x="151" y="158"/>
                        <a:pt x="151" y="158"/>
                        <a:pt x="151" y="158"/>
                      </a:cubicBezTo>
                      <a:cubicBezTo>
                        <a:pt x="150" y="157"/>
                        <a:pt x="150" y="157"/>
                        <a:pt x="150" y="157"/>
                      </a:cubicBezTo>
                      <a:cubicBezTo>
                        <a:pt x="149" y="156"/>
                        <a:pt x="149" y="156"/>
                        <a:pt x="149" y="156"/>
                      </a:cubicBezTo>
                      <a:cubicBezTo>
                        <a:pt x="149" y="155"/>
                        <a:pt x="149" y="155"/>
                        <a:pt x="149" y="155"/>
                      </a:cubicBezTo>
                      <a:cubicBezTo>
                        <a:pt x="148" y="155"/>
                        <a:pt x="148" y="155"/>
                        <a:pt x="148" y="155"/>
                      </a:cubicBezTo>
                      <a:cubicBezTo>
                        <a:pt x="148" y="153"/>
                        <a:pt x="148" y="153"/>
                        <a:pt x="148" y="153"/>
                      </a:cubicBezTo>
                      <a:cubicBezTo>
                        <a:pt x="148" y="153"/>
                        <a:pt x="148" y="153"/>
                        <a:pt x="148" y="153"/>
                      </a:cubicBezTo>
                      <a:cubicBezTo>
                        <a:pt x="147" y="152"/>
                        <a:pt x="147" y="152"/>
                        <a:pt x="147" y="152"/>
                      </a:cubicBezTo>
                      <a:cubicBezTo>
                        <a:pt x="147" y="151"/>
                        <a:pt x="147" y="151"/>
                        <a:pt x="147" y="151"/>
                      </a:cubicBezTo>
                      <a:cubicBezTo>
                        <a:pt x="147" y="150"/>
                        <a:pt x="147" y="150"/>
                        <a:pt x="147" y="150"/>
                      </a:cubicBezTo>
                      <a:cubicBezTo>
                        <a:pt x="147" y="150"/>
                        <a:pt x="147" y="150"/>
                        <a:pt x="147" y="150"/>
                      </a:cubicBezTo>
                      <a:cubicBezTo>
                        <a:pt x="147" y="149"/>
                        <a:pt x="147" y="149"/>
                        <a:pt x="147" y="149"/>
                      </a:cubicBezTo>
                      <a:cubicBezTo>
                        <a:pt x="147" y="149"/>
                        <a:pt x="147" y="149"/>
                        <a:pt x="147" y="149"/>
                      </a:cubicBezTo>
                      <a:cubicBezTo>
                        <a:pt x="146" y="150"/>
                        <a:pt x="146" y="150"/>
                        <a:pt x="146" y="150"/>
                      </a:cubicBezTo>
                      <a:cubicBezTo>
                        <a:pt x="146" y="150"/>
                        <a:pt x="146" y="150"/>
                        <a:pt x="146" y="150"/>
                      </a:cubicBezTo>
                      <a:cubicBezTo>
                        <a:pt x="145" y="150"/>
                        <a:pt x="145" y="150"/>
                        <a:pt x="145" y="150"/>
                      </a:cubicBezTo>
                      <a:cubicBezTo>
                        <a:pt x="144" y="148"/>
                        <a:pt x="144" y="148"/>
                        <a:pt x="144" y="148"/>
                      </a:cubicBezTo>
                      <a:cubicBezTo>
                        <a:pt x="143" y="147"/>
                        <a:pt x="143" y="147"/>
                        <a:pt x="143" y="147"/>
                      </a:cubicBezTo>
                      <a:cubicBezTo>
                        <a:pt x="143" y="147"/>
                        <a:pt x="143" y="147"/>
                        <a:pt x="143" y="147"/>
                      </a:cubicBezTo>
                      <a:cubicBezTo>
                        <a:pt x="142" y="147"/>
                        <a:pt x="142" y="147"/>
                        <a:pt x="142" y="147"/>
                      </a:cubicBezTo>
                      <a:cubicBezTo>
                        <a:pt x="142" y="147"/>
                        <a:pt x="142" y="147"/>
                        <a:pt x="142" y="147"/>
                      </a:cubicBezTo>
                      <a:cubicBezTo>
                        <a:pt x="141" y="147"/>
                        <a:pt x="141" y="147"/>
                        <a:pt x="141" y="147"/>
                      </a:cubicBezTo>
                      <a:cubicBezTo>
                        <a:pt x="140" y="147"/>
                        <a:pt x="140" y="147"/>
                        <a:pt x="140" y="147"/>
                      </a:cubicBezTo>
                      <a:cubicBezTo>
                        <a:pt x="140" y="147"/>
                        <a:pt x="140" y="147"/>
                        <a:pt x="140" y="147"/>
                      </a:cubicBezTo>
                      <a:cubicBezTo>
                        <a:pt x="140" y="147"/>
                        <a:pt x="140" y="147"/>
                        <a:pt x="140" y="147"/>
                      </a:cubicBezTo>
                      <a:cubicBezTo>
                        <a:pt x="139" y="146"/>
                        <a:pt x="139" y="146"/>
                        <a:pt x="139" y="146"/>
                      </a:cubicBezTo>
                      <a:cubicBezTo>
                        <a:pt x="139" y="146"/>
                        <a:pt x="139" y="146"/>
                        <a:pt x="139" y="146"/>
                      </a:cubicBezTo>
                      <a:cubicBezTo>
                        <a:pt x="138" y="145"/>
                        <a:pt x="138" y="145"/>
                        <a:pt x="138" y="145"/>
                      </a:cubicBezTo>
                      <a:cubicBezTo>
                        <a:pt x="138" y="145"/>
                        <a:pt x="138" y="145"/>
                        <a:pt x="138" y="145"/>
                      </a:cubicBezTo>
                      <a:cubicBezTo>
                        <a:pt x="137" y="144"/>
                        <a:pt x="137" y="144"/>
                        <a:pt x="137" y="144"/>
                      </a:cubicBezTo>
                      <a:cubicBezTo>
                        <a:pt x="137" y="143"/>
                        <a:pt x="137" y="143"/>
                        <a:pt x="137" y="143"/>
                      </a:cubicBezTo>
                      <a:cubicBezTo>
                        <a:pt x="137" y="143"/>
                        <a:pt x="137" y="143"/>
                        <a:pt x="137" y="143"/>
                      </a:cubicBezTo>
                      <a:cubicBezTo>
                        <a:pt x="136" y="143"/>
                        <a:pt x="136" y="143"/>
                        <a:pt x="136" y="143"/>
                      </a:cubicBezTo>
                      <a:cubicBezTo>
                        <a:pt x="136" y="144"/>
                        <a:pt x="136" y="144"/>
                        <a:pt x="136" y="144"/>
                      </a:cubicBezTo>
                      <a:cubicBezTo>
                        <a:pt x="136" y="144"/>
                        <a:pt x="136" y="144"/>
                        <a:pt x="136" y="144"/>
                      </a:cubicBezTo>
                      <a:cubicBezTo>
                        <a:pt x="136" y="145"/>
                        <a:pt x="136" y="145"/>
                        <a:pt x="136" y="145"/>
                      </a:cubicBezTo>
                      <a:cubicBezTo>
                        <a:pt x="135" y="145"/>
                        <a:pt x="135" y="145"/>
                        <a:pt x="135" y="145"/>
                      </a:cubicBezTo>
                      <a:cubicBezTo>
                        <a:pt x="136" y="145"/>
                        <a:pt x="136" y="145"/>
                        <a:pt x="136" y="145"/>
                      </a:cubicBezTo>
                      <a:cubicBezTo>
                        <a:pt x="136" y="145"/>
                        <a:pt x="136" y="145"/>
                        <a:pt x="136" y="145"/>
                      </a:cubicBezTo>
                      <a:cubicBezTo>
                        <a:pt x="137" y="146"/>
                        <a:pt x="137" y="146"/>
                        <a:pt x="137" y="146"/>
                      </a:cubicBezTo>
                      <a:cubicBezTo>
                        <a:pt x="138" y="147"/>
                        <a:pt x="138" y="147"/>
                        <a:pt x="138" y="147"/>
                      </a:cubicBezTo>
                      <a:cubicBezTo>
                        <a:pt x="137" y="147"/>
                        <a:pt x="137" y="147"/>
                        <a:pt x="137" y="147"/>
                      </a:cubicBezTo>
                      <a:cubicBezTo>
                        <a:pt x="136" y="147"/>
                        <a:pt x="136" y="147"/>
                        <a:pt x="136" y="147"/>
                      </a:cubicBezTo>
                      <a:cubicBezTo>
                        <a:pt x="136" y="147"/>
                        <a:pt x="136" y="147"/>
                        <a:pt x="136" y="147"/>
                      </a:cubicBezTo>
                      <a:cubicBezTo>
                        <a:pt x="135" y="148"/>
                        <a:pt x="135" y="148"/>
                        <a:pt x="135" y="148"/>
                      </a:cubicBezTo>
                      <a:cubicBezTo>
                        <a:pt x="135" y="147"/>
                        <a:pt x="135" y="147"/>
                        <a:pt x="135" y="147"/>
                      </a:cubicBezTo>
                      <a:cubicBezTo>
                        <a:pt x="135" y="148"/>
                        <a:pt x="135" y="148"/>
                        <a:pt x="135" y="148"/>
                      </a:cubicBezTo>
                      <a:cubicBezTo>
                        <a:pt x="135" y="148"/>
                        <a:pt x="135" y="148"/>
                        <a:pt x="135" y="148"/>
                      </a:cubicBezTo>
                      <a:cubicBezTo>
                        <a:pt x="136" y="148"/>
                        <a:pt x="136" y="148"/>
                        <a:pt x="136" y="148"/>
                      </a:cubicBezTo>
                      <a:cubicBezTo>
                        <a:pt x="137" y="147"/>
                        <a:pt x="137" y="147"/>
                        <a:pt x="137" y="147"/>
                      </a:cubicBezTo>
                      <a:cubicBezTo>
                        <a:pt x="137" y="147"/>
                        <a:pt x="137" y="147"/>
                        <a:pt x="137" y="147"/>
                      </a:cubicBezTo>
                      <a:cubicBezTo>
                        <a:pt x="138" y="147"/>
                        <a:pt x="138" y="147"/>
                        <a:pt x="138" y="147"/>
                      </a:cubicBezTo>
                      <a:cubicBezTo>
                        <a:pt x="139" y="147"/>
                        <a:pt x="139" y="147"/>
                        <a:pt x="139" y="147"/>
                      </a:cubicBezTo>
                      <a:cubicBezTo>
                        <a:pt x="139" y="148"/>
                        <a:pt x="139" y="148"/>
                        <a:pt x="139" y="148"/>
                      </a:cubicBezTo>
                      <a:cubicBezTo>
                        <a:pt x="139" y="148"/>
                        <a:pt x="139" y="148"/>
                        <a:pt x="139" y="148"/>
                      </a:cubicBezTo>
                      <a:cubicBezTo>
                        <a:pt x="140" y="148"/>
                        <a:pt x="140" y="148"/>
                        <a:pt x="140" y="148"/>
                      </a:cubicBezTo>
                      <a:cubicBezTo>
                        <a:pt x="140" y="148"/>
                        <a:pt x="140" y="148"/>
                        <a:pt x="140" y="148"/>
                      </a:cubicBezTo>
                      <a:cubicBezTo>
                        <a:pt x="142" y="148"/>
                        <a:pt x="142" y="148"/>
                        <a:pt x="142" y="148"/>
                      </a:cubicBezTo>
                      <a:cubicBezTo>
                        <a:pt x="143" y="149"/>
                        <a:pt x="143" y="149"/>
                        <a:pt x="143" y="149"/>
                      </a:cubicBezTo>
                      <a:cubicBezTo>
                        <a:pt x="144" y="149"/>
                        <a:pt x="144" y="149"/>
                        <a:pt x="144" y="149"/>
                      </a:cubicBezTo>
                      <a:cubicBezTo>
                        <a:pt x="144" y="149"/>
                        <a:pt x="144" y="149"/>
                        <a:pt x="144" y="149"/>
                      </a:cubicBezTo>
                      <a:cubicBezTo>
                        <a:pt x="144" y="150"/>
                        <a:pt x="144" y="150"/>
                        <a:pt x="144" y="150"/>
                      </a:cubicBezTo>
                      <a:cubicBezTo>
                        <a:pt x="144" y="151"/>
                        <a:pt x="144" y="151"/>
                        <a:pt x="144" y="151"/>
                      </a:cubicBezTo>
                      <a:cubicBezTo>
                        <a:pt x="143" y="151"/>
                        <a:pt x="143" y="151"/>
                        <a:pt x="143" y="151"/>
                      </a:cubicBezTo>
                      <a:cubicBezTo>
                        <a:pt x="143" y="152"/>
                        <a:pt x="143" y="152"/>
                        <a:pt x="143" y="152"/>
                      </a:cubicBezTo>
                      <a:cubicBezTo>
                        <a:pt x="142" y="152"/>
                        <a:pt x="142" y="152"/>
                        <a:pt x="142" y="152"/>
                      </a:cubicBezTo>
                      <a:cubicBezTo>
                        <a:pt x="142" y="152"/>
                        <a:pt x="142" y="152"/>
                        <a:pt x="142" y="152"/>
                      </a:cubicBezTo>
                      <a:cubicBezTo>
                        <a:pt x="139" y="153"/>
                        <a:pt x="139" y="153"/>
                        <a:pt x="139" y="153"/>
                      </a:cubicBezTo>
                      <a:cubicBezTo>
                        <a:pt x="138" y="153"/>
                        <a:pt x="138" y="153"/>
                        <a:pt x="138" y="153"/>
                      </a:cubicBezTo>
                      <a:cubicBezTo>
                        <a:pt x="137" y="153"/>
                        <a:pt x="137" y="153"/>
                        <a:pt x="137" y="153"/>
                      </a:cubicBezTo>
                      <a:cubicBezTo>
                        <a:pt x="137" y="153"/>
                        <a:pt x="137" y="153"/>
                        <a:pt x="137" y="153"/>
                      </a:cubicBezTo>
                      <a:cubicBezTo>
                        <a:pt x="136" y="152"/>
                        <a:pt x="136" y="152"/>
                        <a:pt x="136" y="152"/>
                      </a:cubicBezTo>
                      <a:cubicBezTo>
                        <a:pt x="136" y="152"/>
                        <a:pt x="136" y="152"/>
                        <a:pt x="136" y="152"/>
                      </a:cubicBezTo>
                      <a:cubicBezTo>
                        <a:pt x="136" y="151"/>
                        <a:pt x="136" y="151"/>
                        <a:pt x="136" y="151"/>
                      </a:cubicBezTo>
                      <a:cubicBezTo>
                        <a:pt x="135" y="151"/>
                        <a:pt x="135" y="151"/>
                        <a:pt x="135" y="151"/>
                      </a:cubicBezTo>
                      <a:cubicBezTo>
                        <a:pt x="135" y="152"/>
                        <a:pt x="135" y="152"/>
                        <a:pt x="135" y="152"/>
                      </a:cubicBezTo>
                      <a:cubicBezTo>
                        <a:pt x="136" y="152"/>
                        <a:pt x="136" y="152"/>
                        <a:pt x="136" y="152"/>
                      </a:cubicBezTo>
                      <a:cubicBezTo>
                        <a:pt x="136" y="153"/>
                        <a:pt x="136" y="153"/>
                        <a:pt x="136" y="153"/>
                      </a:cubicBezTo>
                      <a:cubicBezTo>
                        <a:pt x="136" y="153"/>
                        <a:pt x="136" y="153"/>
                        <a:pt x="136" y="153"/>
                      </a:cubicBezTo>
                      <a:cubicBezTo>
                        <a:pt x="135" y="153"/>
                        <a:pt x="135" y="153"/>
                        <a:pt x="135" y="153"/>
                      </a:cubicBezTo>
                      <a:cubicBezTo>
                        <a:pt x="135" y="153"/>
                        <a:pt x="135" y="153"/>
                        <a:pt x="135" y="153"/>
                      </a:cubicBezTo>
                      <a:cubicBezTo>
                        <a:pt x="134" y="152"/>
                        <a:pt x="134" y="152"/>
                        <a:pt x="134" y="152"/>
                      </a:cubicBezTo>
                      <a:cubicBezTo>
                        <a:pt x="134" y="153"/>
                        <a:pt x="134" y="153"/>
                        <a:pt x="134" y="153"/>
                      </a:cubicBezTo>
                      <a:cubicBezTo>
                        <a:pt x="134" y="153"/>
                        <a:pt x="134" y="153"/>
                        <a:pt x="134" y="153"/>
                      </a:cubicBezTo>
                      <a:cubicBezTo>
                        <a:pt x="135" y="153"/>
                        <a:pt x="135" y="153"/>
                        <a:pt x="135" y="153"/>
                      </a:cubicBezTo>
                      <a:cubicBezTo>
                        <a:pt x="135" y="154"/>
                        <a:pt x="135" y="154"/>
                        <a:pt x="135" y="154"/>
                      </a:cubicBezTo>
                      <a:cubicBezTo>
                        <a:pt x="135" y="154"/>
                        <a:pt x="135" y="154"/>
                        <a:pt x="135" y="154"/>
                      </a:cubicBezTo>
                      <a:cubicBezTo>
                        <a:pt x="135" y="155"/>
                        <a:pt x="135" y="155"/>
                        <a:pt x="135" y="155"/>
                      </a:cubicBezTo>
                      <a:cubicBezTo>
                        <a:pt x="134" y="155"/>
                        <a:pt x="134" y="155"/>
                        <a:pt x="134" y="155"/>
                      </a:cubicBezTo>
                      <a:cubicBezTo>
                        <a:pt x="134" y="155"/>
                        <a:pt x="134" y="155"/>
                        <a:pt x="134" y="155"/>
                      </a:cubicBezTo>
                      <a:cubicBezTo>
                        <a:pt x="134" y="155"/>
                        <a:pt x="134" y="155"/>
                        <a:pt x="134" y="155"/>
                      </a:cubicBezTo>
                      <a:cubicBezTo>
                        <a:pt x="134" y="156"/>
                        <a:pt x="134" y="156"/>
                        <a:pt x="134" y="156"/>
                      </a:cubicBezTo>
                      <a:cubicBezTo>
                        <a:pt x="133" y="156"/>
                        <a:pt x="133" y="156"/>
                        <a:pt x="133" y="156"/>
                      </a:cubicBezTo>
                      <a:cubicBezTo>
                        <a:pt x="131" y="157"/>
                        <a:pt x="131" y="157"/>
                        <a:pt x="131" y="157"/>
                      </a:cubicBezTo>
                      <a:cubicBezTo>
                        <a:pt x="131" y="157"/>
                        <a:pt x="131" y="157"/>
                        <a:pt x="131" y="157"/>
                      </a:cubicBezTo>
                      <a:cubicBezTo>
                        <a:pt x="130" y="157"/>
                        <a:pt x="130" y="157"/>
                        <a:pt x="130" y="157"/>
                      </a:cubicBezTo>
                      <a:cubicBezTo>
                        <a:pt x="129" y="157"/>
                        <a:pt x="129" y="157"/>
                        <a:pt x="129" y="157"/>
                      </a:cubicBezTo>
                      <a:cubicBezTo>
                        <a:pt x="129" y="158"/>
                        <a:pt x="129" y="158"/>
                        <a:pt x="129" y="158"/>
                      </a:cubicBezTo>
                      <a:cubicBezTo>
                        <a:pt x="129" y="158"/>
                        <a:pt x="129" y="158"/>
                        <a:pt x="129" y="158"/>
                      </a:cubicBezTo>
                      <a:cubicBezTo>
                        <a:pt x="131" y="157"/>
                        <a:pt x="131" y="157"/>
                        <a:pt x="131" y="157"/>
                      </a:cubicBezTo>
                      <a:cubicBezTo>
                        <a:pt x="132" y="157"/>
                        <a:pt x="132" y="157"/>
                        <a:pt x="132" y="157"/>
                      </a:cubicBezTo>
                      <a:cubicBezTo>
                        <a:pt x="133" y="157"/>
                        <a:pt x="133" y="157"/>
                        <a:pt x="133" y="157"/>
                      </a:cubicBezTo>
                      <a:cubicBezTo>
                        <a:pt x="133" y="157"/>
                        <a:pt x="133" y="157"/>
                        <a:pt x="133" y="157"/>
                      </a:cubicBezTo>
                      <a:cubicBezTo>
                        <a:pt x="133" y="158"/>
                        <a:pt x="133" y="158"/>
                        <a:pt x="133" y="158"/>
                      </a:cubicBezTo>
                      <a:cubicBezTo>
                        <a:pt x="134" y="158"/>
                        <a:pt x="134" y="158"/>
                        <a:pt x="134" y="158"/>
                      </a:cubicBezTo>
                      <a:cubicBezTo>
                        <a:pt x="135" y="158"/>
                        <a:pt x="135" y="158"/>
                        <a:pt x="135" y="158"/>
                      </a:cubicBezTo>
                      <a:cubicBezTo>
                        <a:pt x="136" y="158"/>
                        <a:pt x="136" y="158"/>
                        <a:pt x="136" y="158"/>
                      </a:cubicBezTo>
                      <a:cubicBezTo>
                        <a:pt x="137" y="158"/>
                        <a:pt x="137" y="158"/>
                        <a:pt x="137" y="158"/>
                      </a:cubicBezTo>
                      <a:cubicBezTo>
                        <a:pt x="138" y="158"/>
                        <a:pt x="138" y="158"/>
                        <a:pt x="138" y="158"/>
                      </a:cubicBezTo>
                      <a:cubicBezTo>
                        <a:pt x="139" y="158"/>
                        <a:pt x="139" y="158"/>
                        <a:pt x="139" y="158"/>
                      </a:cubicBezTo>
                      <a:cubicBezTo>
                        <a:pt x="139" y="158"/>
                        <a:pt x="139" y="158"/>
                        <a:pt x="139" y="158"/>
                      </a:cubicBezTo>
                      <a:cubicBezTo>
                        <a:pt x="140" y="158"/>
                        <a:pt x="140" y="158"/>
                        <a:pt x="140" y="158"/>
                      </a:cubicBezTo>
                      <a:cubicBezTo>
                        <a:pt x="140" y="158"/>
                        <a:pt x="140" y="158"/>
                        <a:pt x="140" y="158"/>
                      </a:cubicBezTo>
                      <a:cubicBezTo>
                        <a:pt x="140" y="159"/>
                        <a:pt x="140" y="159"/>
                        <a:pt x="140" y="159"/>
                      </a:cubicBezTo>
                      <a:cubicBezTo>
                        <a:pt x="140" y="159"/>
                        <a:pt x="140" y="159"/>
                        <a:pt x="140" y="159"/>
                      </a:cubicBezTo>
                      <a:cubicBezTo>
                        <a:pt x="139" y="159"/>
                        <a:pt x="139" y="159"/>
                        <a:pt x="139" y="159"/>
                      </a:cubicBezTo>
                      <a:cubicBezTo>
                        <a:pt x="138" y="159"/>
                        <a:pt x="138" y="159"/>
                        <a:pt x="138" y="159"/>
                      </a:cubicBezTo>
                      <a:cubicBezTo>
                        <a:pt x="138" y="159"/>
                        <a:pt x="138" y="159"/>
                        <a:pt x="138" y="159"/>
                      </a:cubicBezTo>
                      <a:cubicBezTo>
                        <a:pt x="137" y="160"/>
                        <a:pt x="137" y="160"/>
                        <a:pt x="137" y="160"/>
                      </a:cubicBezTo>
                      <a:cubicBezTo>
                        <a:pt x="136" y="160"/>
                        <a:pt x="136" y="160"/>
                        <a:pt x="136" y="160"/>
                      </a:cubicBezTo>
                      <a:cubicBezTo>
                        <a:pt x="135" y="160"/>
                        <a:pt x="135" y="160"/>
                        <a:pt x="135" y="160"/>
                      </a:cubicBezTo>
                      <a:cubicBezTo>
                        <a:pt x="134" y="160"/>
                        <a:pt x="134" y="160"/>
                        <a:pt x="134" y="160"/>
                      </a:cubicBezTo>
                      <a:cubicBezTo>
                        <a:pt x="134" y="159"/>
                        <a:pt x="134" y="159"/>
                        <a:pt x="134" y="159"/>
                      </a:cubicBezTo>
                      <a:cubicBezTo>
                        <a:pt x="133" y="160"/>
                        <a:pt x="133" y="160"/>
                        <a:pt x="133" y="160"/>
                      </a:cubicBezTo>
                      <a:cubicBezTo>
                        <a:pt x="132" y="160"/>
                        <a:pt x="132" y="160"/>
                        <a:pt x="132" y="160"/>
                      </a:cubicBezTo>
                      <a:cubicBezTo>
                        <a:pt x="133" y="160"/>
                        <a:pt x="133" y="160"/>
                        <a:pt x="133" y="160"/>
                      </a:cubicBezTo>
                      <a:cubicBezTo>
                        <a:pt x="133" y="160"/>
                        <a:pt x="133" y="160"/>
                        <a:pt x="133" y="160"/>
                      </a:cubicBezTo>
                      <a:cubicBezTo>
                        <a:pt x="134" y="160"/>
                        <a:pt x="134" y="160"/>
                        <a:pt x="134" y="160"/>
                      </a:cubicBezTo>
                      <a:cubicBezTo>
                        <a:pt x="136" y="160"/>
                        <a:pt x="136" y="160"/>
                        <a:pt x="136" y="160"/>
                      </a:cubicBezTo>
                      <a:cubicBezTo>
                        <a:pt x="136" y="161"/>
                        <a:pt x="136" y="161"/>
                        <a:pt x="136" y="161"/>
                      </a:cubicBezTo>
                      <a:cubicBezTo>
                        <a:pt x="136" y="161"/>
                        <a:pt x="136" y="161"/>
                        <a:pt x="136" y="161"/>
                      </a:cubicBezTo>
                      <a:cubicBezTo>
                        <a:pt x="137" y="161"/>
                        <a:pt x="137" y="161"/>
                        <a:pt x="137" y="161"/>
                      </a:cubicBezTo>
                      <a:cubicBezTo>
                        <a:pt x="138" y="160"/>
                        <a:pt x="138" y="160"/>
                        <a:pt x="138" y="160"/>
                      </a:cubicBezTo>
                      <a:cubicBezTo>
                        <a:pt x="138" y="160"/>
                        <a:pt x="138" y="160"/>
                        <a:pt x="139" y="160"/>
                      </a:cubicBezTo>
                      <a:cubicBezTo>
                        <a:pt x="139" y="160"/>
                        <a:pt x="139" y="160"/>
                        <a:pt x="139" y="160"/>
                      </a:cubicBezTo>
                      <a:cubicBezTo>
                        <a:pt x="140" y="160"/>
                        <a:pt x="140" y="160"/>
                        <a:pt x="140" y="160"/>
                      </a:cubicBezTo>
                      <a:cubicBezTo>
                        <a:pt x="140" y="160"/>
                        <a:pt x="140" y="160"/>
                        <a:pt x="140" y="160"/>
                      </a:cubicBezTo>
                      <a:cubicBezTo>
                        <a:pt x="141" y="160"/>
                        <a:pt x="141" y="160"/>
                        <a:pt x="141" y="160"/>
                      </a:cubicBezTo>
                      <a:cubicBezTo>
                        <a:pt x="142" y="160"/>
                        <a:pt x="142" y="160"/>
                        <a:pt x="142" y="160"/>
                      </a:cubicBezTo>
                      <a:cubicBezTo>
                        <a:pt x="142" y="159"/>
                        <a:pt x="142" y="159"/>
                        <a:pt x="142" y="159"/>
                      </a:cubicBezTo>
                      <a:cubicBezTo>
                        <a:pt x="144" y="159"/>
                        <a:pt x="144" y="159"/>
                        <a:pt x="144" y="159"/>
                      </a:cubicBezTo>
                      <a:cubicBezTo>
                        <a:pt x="144" y="158"/>
                        <a:pt x="144" y="158"/>
                        <a:pt x="144" y="158"/>
                      </a:cubicBezTo>
                      <a:cubicBezTo>
                        <a:pt x="144" y="158"/>
                        <a:pt x="144" y="158"/>
                        <a:pt x="144" y="158"/>
                      </a:cubicBezTo>
                      <a:cubicBezTo>
                        <a:pt x="144" y="159"/>
                        <a:pt x="144" y="159"/>
                        <a:pt x="144" y="159"/>
                      </a:cubicBezTo>
                      <a:cubicBezTo>
                        <a:pt x="144" y="159"/>
                        <a:pt x="144" y="159"/>
                        <a:pt x="144" y="159"/>
                      </a:cubicBezTo>
                      <a:cubicBezTo>
                        <a:pt x="145" y="159"/>
                        <a:pt x="145" y="159"/>
                        <a:pt x="145" y="159"/>
                      </a:cubicBezTo>
                      <a:cubicBezTo>
                        <a:pt x="145" y="159"/>
                        <a:pt x="145" y="159"/>
                        <a:pt x="145" y="159"/>
                      </a:cubicBezTo>
                      <a:cubicBezTo>
                        <a:pt x="146" y="159"/>
                        <a:pt x="146" y="159"/>
                        <a:pt x="146" y="159"/>
                      </a:cubicBezTo>
                      <a:cubicBezTo>
                        <a:pt x="147" y="160"/>
                        <a:pt x="147" y="160"/>
                        <a:pt x="147" y="160"/>
                      </a:cubicBezTo>
                      <a:cubicBezTo>
                        <a:pt x="148" y="160"/>
                        <a:pt x="148" y="160"/>
                        <a:pt x="148" y="160"/>
                      </a:cubicBezTo>
                      <a:cubicBezTo>
                        <a:pt x="149" y="160"/>
                        <a:pt x="149" y="160"/>
                        <a:pt x="149" y="160"/>
                      </a:cubicBezTo>
                      <a:cubicBezTo>
                        <a:pt x="151" y="161"/>
                        <a:pt x="151" y="161"/>
                        <a:pt x="151" y="161"/>
                      </a:cubicBezTo>
                      <a:cubicBezTo>
                        <a:pt x="151" y="161"/>
                        <a:pt x="151" y="161"/>
                        <a:pt x="151" y="161"/>
                      </a:cubicBezTo>
                      <a:cubicBezTo>
                        <a:pt x="152" y="161"/>
                        <a:pt x="152" y="161"/>
                        <a:pt x="152" y="161"/>
                      </a:cubicBezTo>
                      <a:cubicBezTo>
                        <a:pt x="153" y="161"/>
                        <a:pt x="153" y="161"/>
                        <a:pt x="153" y="161"/>
                      </a:cubicBezTo>
                      <a:cubicBezTo>
                        <a:pt x="154" y="161"/>
                        <a:pt x="154" y="161"/>
                        <a:pt x="154" y="161"/>
                      </a:cubicBezTo>
                      <a:cubicBezTo>
                        <a:pt x="155" y="161"/>
                        <a:pt x="155" y="161"/>
                        <a:pt x="155" y="161"/>
                      </a:cubicBezTo>
                      <a:cubicBezTo>
                        <a:pt x="155" y="161"/>
                        <a:pt x="155" y="161"/>
                        <a:pt x="155" y="161"/>
                      </a:cubicBezTo>
                      <a:cubicBezTo>
                        <a:pt x="155" y="162"/>
                        <a:pt x="155" y="162"/>
                        <a:pt x="155" y="162"/>
                      </a:cubicBezTo>
                      <a:cubicBezTo>
                        <a:pt x="154" y="162"/>
                        <a:pt x="154" y="162"/>
                        <a:pt x="154" y="162"/>
                      </a:cubicBezTo>
                      <a:cubicBezTo>
                        <a:pt x="153" y="162"/>
                        <a:pt x="153" y="162"/>
                        <a:pt x="153" y="162"/>
                      </a:cubicBezTo>
                      <a:cubicBezTo>
                        <a:pt x="152" y="162"/>
                        <a:pt x="152" y="162"/>
                        <a:pt x="152" y="162"/>
                      </a:cubicBezTo>
                      <a:cubicBezTo>
                        <a:pt x="152" y="163"/>
                        <a:pt x="152" y="163"/>
                        <a:pt x="152" y="163"/>
                      </a:cubicBezTo>
                      <a:cubicBezTo>
                        <a:pt x="152" y="163"/>
                        <a:pt x="152" y="163"/>
                        <a:pt x="152" y="163"/>
                      </a:cubicBezTo>
                      <a:cubicBezTo>
                        <a:pt x="152" y="163"/>
                        <a:pt x="152" y="163"/>
                        <a:pt x="152" y="163"/>
                      </a:cubicBezTo>
                      <a:cubicBezTo>
                        <a:pt x="152" y="164"/>
                        <a:pt x="152" y="164"/>
                        <a:pt x="152" y="164"/>
                      </a:cubicBezTo>
                      <a:cubicBezTo>
                        <a:pt x="152" y="164"/>
                        <a:pt x="152" y="164"/>
                        <a:pt x="152" y="164"/>
                      </a:cubicBezTo>
                      <a:cubicBezTo>
                        <a:pt x="151" y="164"/>
                        <a:pt x="151" y="164"/>
                        <a:pt x="151" y="164"/>
                      </a:cubicBezTo>
                      <a:cubicBezTo>
                        <a:pt x="151" y="163"/>
                        <a:pt x="151" y="163"/>
                        <a:pt x="151" y="163"/>
                      </a:cubicBezTo>
                      <a:cubicBezTo>
                        <a:pt x="151" y="163"/>
                        <a:pt x="151" y="163"/>
                        <a:pt x="151" y="163"/>
                      </a:cubicBezTo>
                      <a:cubicBezTo>
                        <a:pt x="150" y="164"/>
                        <a:pt x="150" y="164"/>
                        <a:pt x="150" y="164"/>
                      </a:cubicBezTo>
                      <a:cubicBezTo>
                        <a:pt x="150" y="164"/>
                        <a:pt x="150" y="164"/>
                        <a:pt x="150" y="164"/>
                      </a:cubicBezTo>
                      <a:cubicBezTo>
                        <a:pt x="150" y="164"/>
                        <a:pt x="150" y="164"/>
                        <a:pt x="150" y="164"/>
                      </a:cubicBezTo>
                      <a:cubicBezTo>
                        <a:pt x="149" y="164"/>
                        <a:pt x="149" y="164"/>
                        <a:pt x="149" y="164"/>
                      </a:cubicBezTo>
                      <a:cubicBezTo>
                        <a:pt x="149" y="164"/>
                        <a:pt x="149" y="164"/>
                        <a:pt x="149" y="164"/>
                      </a:cubicBezTo>
                      <a:cubicBezTo>
                        <a:pt x="149" y="165"/>
                        <a:pt x="149" y="165"/>
                        <a:pt x="149" y="165"/>
                      </a:cubicBezTo>
                      <a:cubicBezTo>
                        <a:pt x="149" y="165"/>
                        <a:pt x="149" y="165"/>
                        <a:pt x="149" y="165"/>
                      </a:cubicBezTo>
                      <a:cubicBezTo>
                        <a:pt x="149" y="165"/>
                        <a:pt x="149" y="165"/>
                        <a:pt x="149" y="165"/>
                      </a:cubicBezTo>
                      <a:cubicBezTo>
                        <a:pt x="149" y="166"/>
                        <a:pt x="149" y="166"/>
                        <a:pt x="149" y="166"/>
                      </a:cubicBezTo>
                      <a:cubicBezTo>
                        <a:pt x="148" y="166"/>
                        <a:pt x="148" y="166"/>
                        <a:pt x="148" y="166"/>
                      </a:cubicBezTo>
                      <a:cubicBezTo>
                        <a:pt x="148" y="165"/>
                        <a:pt x="148" y="165"/>
                        <a:pt x="148" y="165"/>
                      </a:cubicBezTo>
                      <a:cubicBezTo>
                        <a:pt x="147" y="165"/>
                        <a:pt x="147" y="165"/>
                        <a:pt x="147" y="165"/>
                      </a:cubicBezTo>
                      <a:cubicBezTo>
                        <a:pt x="147" y="165"/>
                        <a:pt x="147" y="165"/>
                        <a:pt x="147" y="165"/>
                      </a:cubicBezTo>
                      <a:cubicBezTo>
                        <a:pt x="147" y="166"/>
                        <a:pt x="147" y="166"/>
                        <a:pt x="147" y="166"/>
                      </a:cubicBezTo>
                      <a:cubicBezTo>
                        <a:pt x="147" y="166"/>
                        <a:pt x="147" y="166"/>
                        <a:pt x="147" y="166"/>
                      </a:cubicBezTo>
                      <a:cubicBezTo>
                        <a:pt x="147" y="166"/>
                        <a:pt x="147" y="166"/>
                        <a:pt x="147" y="166"/>
                      </a:cubicBezTo>
                      <a:cubicBezTo>
                        <a:pt x="146" y="167"/>
                        <a:pt x="146" y="167"/>
                        <a:pt x="146" y="167"/>
                      </a:cubicBezTo>
                      <a:cubicBezTo>
                        <a:pt x="146" y="167"/>
                        <a:pt x="146" y="167"/>
                        <a:pt x="146" y="167"/>
                      </a:cubicBezTo>
                      <a:cubicBezTo>
                        <a:pt x="145" y="167"/>
                        <a:pt x="145" y="167"/>
                        <a:pt x="145" y="167"/>
                      </a:cubicBezTo>
                      <a:cubicBezTo>
                        <a:pt x="145" y="166"/>
                        <a:pt x="145" y="166"/>
                        <a:pt x="145" y="166"/>
                      </a:cubicBezTo>
                      <a:cubicBezTo>
                        <a:pt x="145" y="166"/>
                        <a:pt x="145" y="166"/>
                        <a:pt x="145" y="166"/>
                      </a:cubicBezTo>
                      <a:cubicBezTo>
                        <a:pt x="145" y="167"/>
                        <a:pt x="145" y="167"/>
                        <a:pt x="145" y="167"/>
                      </a:cubicBezTo>
                      <a:cubicBezTo>
                        <a:pt x="145" y="168"/>
                        <a:pt x="145" y="168"/>
                        <a:pt x="145" y="168"/>
                      </a:cubicBezTo>
                      <a:cubicBezTo>
                        <a:pt x="145" y="168"/>
                        <a:pt x="145" y="168"/>
                        <a:pt x="145" y="168"/>
                      </a:cubicBezTo>
                      <a:cubicBezTo>
                        <a:pt x="144" y="168"/>
                        <a:pt x="144" y="168"/>
                        <a:pt x="144" y="168"/>
                      </a:cubicBezTo>
                      <a:cubicBezTo>
                        <a:pt x="144" y="168"/>
                        <a:pt x="144" y="168"/>
                        <a:pt x="144" y="168"/>
                      </a:cubicBezTo>
                      <a:cubicBezTo>
                        <a:pt x="143" y="168"/>
                        <a:pt x="143" y="168"/>
                        <a:pt x="143" y="168"/>
                      </a:cubicBezTo>
                      <a:cubicBezTo>
                        <a:pt x="143" y="168"/>
                        <a:pt x="143" y="168"/>
                        <a:pt x="143" y="168"/>
                      </a:cubicBezTo>
                      <a:cubicBezTo>
                        <a:pt x="144" y="168"/>
                        <a:pt x="144" y="168"/>
                        <a:pt x="144" y="168"/>
                      </a:cubicBezTo>
                      <a:cubicBezTo>
                        <a:pt x="144" y="169"/>
                        <a:pt x="144" y="169"/>
                        <a:pt x="144" y="169"/>
                      </a:cubicBezTo>
                      <a:cubicBezTo>
                        <a:pt x="143" y="169"/>
                        <a:pt x="143" y="169"/>
                        <a:pt x="143" y="169"/>
                      </a:cubicBezTo>
                      <a:cubicBezTo>
                        <a:pt x="142" y="169"/>
                        <a:pt x="142" y="169"/>
                        <a:pt x="142" y="169"/>
                      </a:cubicBezTo>
                      <a:cubicBezTo>
                        <a:pt x="142" y="169"/>
                        <a:pt x="142" y="169"/>
                        <a:pt x="142" y="169"/>
                      </a:cubicBezTo>
                      <a:cubicBezTo>
                        <a:pt x="141" y="169"/>
                        <a:pt x="141" y="169"/>
                        <a:pt x="141" y="169"/>
                      </a:cubicBezTo>
                      <a:cubicBezTo>
                        <a:pt x="141" y="169"/>
                        <a:pt x="141" y="169"/>
                        <a:pt x="141" y="169"/>
                      </a:cubicBezTo>
                      <a:cubicBezTo>
                        <a:pt x="141" y="169"/>
                        <a:pt x="141" y="169"/>
                        <a:pt x="141" y="169"/>
                      </a:cubicBezTo>
                      <a:cubicBezTo>
                        <a:pt x="141" y="170"/>
                        <a:pt x="141" y="170"/>
                        <a:pt x="141" y="170"/>
                      </a:cubicBezTo>
                      <a:cubicBezTo>
                        <a:pt x="141" y="170"/>
                        <a:pt x="141" y="170"/>
                        <a:pt x="141" y="170"/>
                      </a:cubicBezTo>
                      <a:cubicBezTo>
                        <a:pt x="141" y="170"/>
                        <a:pt x="141" y="170"/>
                        <a:pt x="141" y="170"/>
                      </a:cubicBezTo>
                      <a:cubicBezTo>
                        <a:pt x="140" y="171"/>
                        <a:pt x="140" y="171"/>
                        <a:pt x="140" y="171"/>
                      </a:cubicBezTo>
                      <a:cubicBezTo>
                        <a:pt x="140" y="171"/>
                        <a:pt x="140" y="171"/>
                        <a:pt x="140" y="171"/>
                      </a:cubicBezTo>
                      <a:cubicBezTo>
                        <a:pt x="139" y="171"/>
                        <a:pt x="139" y="171"/>
                        <a:pt x="139" y="171"/>
                      </a:cubicBezTo>
                      <a:cubicBezTo>
                        <a:pt x="138" y="171"/>
                        <a:pt x="138" y="171"/>
                        <a:pt x="138" y="171"/>
                      </a:cubicBezTo>
                      <a:cubicBezTo>
                        <a:pt x="138" y="172"/>
                        <a:pt x="138" y="172"/>
                        <a:pt x="138" y="172"/>
                      </a:cubicBezTo>
                      <a:cubicBezTo>
                        <a:pt x="138" y="172"/>
                        <a:pt x="138" y="172"/>
                        <a:pt x="138" y="172"/>
                      </a:cubicBezTo>
                      <a:cubicBezTo>
                        <a:pt x="137" y="172"/>
                        <a:pt x="137" y="172"/>
                        <a:pt x="137" y="172"/>
                      </a:cubicBezTo>
                      <a:cubicBezTo>
                        <a:pt x="137" y="172"/>
                        <a:pt x="137" y="172"/>
                        <a:pt x="137" y="172"/>
                      </a:cubicBezTo>
                      <a:cubicBezTo>
                        <a:pt x="136" y="172"/>
                        <a:pt x="136" y="172"/>
                        <a:pt x="136" y="172"/>
                      </a:cubicBezTo>
                      <a:cubicBezTo>
                        <a:pt x="135" y="172"/>
                        <a:pt x="135" y="172"/>
                        <a:pt x="135" y="172"/>
                      </a:cubicBezTo>
                      <a:cubicBezTo>
                        <a:pt x="135" y="172"/>
                        <a:pt x="135" y="172"/>
                        <a:pt x="135" y="172"/>
                      </a:cubicBezTo>
                      <a:cubicBezTo>
                        <a:pt x="135" y="173"/>
                        <a:pt x="135" y="173"/>
                        <a:pt x="135" y="173"/>
                      </a:cubicBezTo>
                      <a:cubicBezTo>
                        <a:pt x="134" y="173"/>
                        <a:pt x="134" y="173"/>
                        <a:pt x="134" y="173"/>
                      </a:cubicBezTo>
                      <a:cubicBezTo>
                        <a:pt x="134" y="173"/>
                        <a:pt x="134" y="173"/>
                        <a:pt x="134" y="173"/>
                      </a:cubicBezTo>
                      <a:cubicBezTo>
                        <a:pt x="133" y="172"/>
                        <a:pt x="133" y="172"/>
                        <a:pt x="133" y="172"/>
                      </a:cubicBezTo>
                      <a:cubicBezTo>
                        <a:pt x="133" y="172"/>
                        <a:pt x="133" y="172"/>
                        <a:pt x="133" y="172"/>
                      </a:cubicBezTo>
                      <a:cubicBezTo>
                        <a:pt x="133" y="173"/>
                        <a:pt x="133" y="173"/>
                        <a:pt x="133" y="173"/>
                      </a:cubicBezTo>
                      <a:cubicBezTo>
                        <a:pt x="132" y="173"/>
                        <a:pt x="132" y="173"/>
                        <a:pt x="132" y="173"/>
                      </a:cubicBezTo>
                      <a:cubicBezTo>
                        <a:pt x="132" y="172"/>
                        <a:pt x="132" y="172"/>
                        <a:pt x="132" y="172"/>
                      </a:cubicBezTo>
                      <a:cubicBezTo>
                        <a:pt x="132" y="172"/>
                        <a:pt x="132" y="172"/>
                        <a:pt x="132" y="172"/>
                      </a:cubicBezTo>
                      <a:cubicBezTo>
                        <a:pt x="131" y="173"/>
                        <a:pt x="131" y="173"/>
                        <a:pt x="131" y="173"/>
                      </a:cubicBezTo>
                      <a:cubicBezTo>
                        <a:pt x="131" y="173"/>
                        <a:pt x="131" y="173"/>
                        <a:pt x="131" y="173"/>
                      </a:cubicBezTo>
                      <a:cubicBezTo>
                        <a:pt x="130" y="173"/>
                        <a:pt x="130" y="173"/>
                        <a:pt x="130" y="173"/>
                      </a:cubicBezTo>
                      <a:cubicBezTo>
                        <a:pt x="130" y="173"/>
                        <a:pt x="130" y="173"/>
                        <a:pt x="130" y="173"/>
                      </a:cubicBezTo>
                      <a:cubicBezTo>
                        <a:pt x="130" y="173"/>
                        <a:pt x="130" y="173"/>
                        <a:pt x="130" y="173"/>
                      </a:cubicBezTo>
                      <a:cubicBezTo>
                        <a:pt x="130" y="173"/>
                        <a:pt x="130" y="173"/>
                        <a:pt x="130" y="173"/>
                      </a:cubicBezTo>
                      <a:cubicBezTo>
                        <a:pt x="130" y="173"/>
                        <a:pt x="130" y="173"/>
                        <a:pt x="130" y="173"/>
                      </a:cubicBezTo>
                      <a:cubicBezTo>
                        <a:pt x="129" y="173"/>
                        <a:pt x="129" y="173"/>
                        <a:pt x="129" y="173"/>
                      </a:cubicBezTo>
                      <a:cubicBezTo>
                        <a:pt x="129" y="173"/>
                        <a:pt x="129" y="173"/>
                        <a:pt x="129" y="173"/>
                      </a:cubicBezTo>
                      <a:cubicBezTo>
                        <a:pt x="129" y="174"/>
                        <a:pt x="129" y="174"/>
                        <a:pt x="129" y="174"/>
                      </a:cubicBezTo>
                      <a:cubicBezTo>
                        <a:pt x="128" y="174"/>
                        <a:pt x="128" y="174"/>
                        <a:pt x="128" y="174"/>
                      </a:cubicBezTo>
                      <a:cubicBezTo>
                        <a:pt x="128" y="174"/>
                        <a:pt x="128" y="174"/>
                        <a:pt x="128" y="174"/>
                      </a:cubicBezTo>
                      <a:cubicBezTo>
                        <a:pt x="128" y="174"/>
                        <a:pt x="128" y="174"/>
                        <a:pt x="128" y="174"/>
                      </a:cubicBezTo>
                      <a:cubicBezTo>
                        <a:pt x="127" y="174"/>
                        <a:pt x="127" y="174"/>
                        <a:pt x="127" y="174"/>
                      </a:cubicBezTo>
                      <a:cubicBezTo>
                        <a:pt x="127" y="175"/>
                        <a:pt x="127" y="175"/>
                        <a:pt x="127" y="175"/>
                      </a:cubicBezTo>
                      <a:cubicBezTo>
                        <a:pt x="127" y="174"/>
                        <a:pt x="127" y="174"/>
                        <a:pt x="127" y="174"/>
                      </a:cubicBezTo>
                      <a:cubicBezTo>
                        <a:pt x="127" y="174"/>
                        <a:pt x="127" y="174"/>
                        <a:pt x="127" y="174"/>
                      </a:cubicBezTo>
                      <a:cubicBezTo>
                        <a:pt x="126" y="174"/>
                        <a:pt x="126" y="174"/>
                        <a:pt x="126" y="174"/>
                      </a:cubicBezTo>
                      <a:cubicBezTo>
                        <a:pt x="126" y="175"/>
                        <a:pt x="126" y="175"/>
                        <a:pt x="126" y="175"/>
                      </a:cubicBezTo>
                      <a:cubicBezTo>
                        <a:pt x="126" y="175"/>
                        <a:pt x="126" y="175"/>
                        <a:pt x="126" y="175"/>
                      </a:cubicBezTo>
                      <a:cubicBezTo>
                        <a:pt x="125" y="175"/>
                        <a:pt x="125" y="175"/>
                        <a:pt x="125" y="175"/>
                      </a:cubicBezTo>
                      <a:cubicBezTo>
                        <a:pt x="125" y="176"/>
                        <a:pt x="125" y="176"/>
                        <a:pt x="125" y="176"/>
                      </a:cubicBezTo>
                      <a:cubicBezTo>
                        <a:pt x="125" y="175"/>
                        <a:pt x="125" y="175"/>
                        <a:pt x="125" y="175"/>
                      </a:cubicBezTo>
                      <a:cubicBezTo>
                        <a:pt x="124" y="174"/>
                        <a:pt x="124" y="174"/>
                        <a:pt x="124" y="174"/>
                      </a:cubicBezTo>
                      <a:cubicBezTo>
                        <a:pt x="123" y="174"/>
                        <a:pt x="123" y="174"/>
                        <a:pt x="123" y="174"/>
                      </a:cubicBezTo>
                      <a:cubicBezTo>
                        <a:pt x="123" y="174"/>
                        <a:pt x="123" y="174"/>
                        <a:pt x="123" y="174"/>
                      </a:cubicBezTo>
                      <a:cubicBezTo>
                        <a:pt x="123" y="175"/>
                        <a:pt x="123" y="175"/>
                        <a:pt x="123" y="175"/>
                      </a:cubicBezTo>
                      <a:cubicBezTo>
                        <a:pt x="123" y="175"/>
                        <a:pt x="123" y="175"/>
                        <a:pt x="123" y="175"/>
                      </a:cubicBezTo>
                      <a:cubicBezTo>
                        <a:pt x="122" y="175"/>
                        <a:pt x="122" y="175"/>
                        <a:pt x="122" y="175"/>
                      </a:cubicBezTo>
                      <a:cubicBezTo>
                        <a:pt x="122" y="175"/>
                        <a:pt x="122" y="175"/>
                        <a:pt x="122" y="175"/>
                      </a:cubicBezTo>
                      <a:cubicBezTo>
                        <a:pt x="121" y="175"/>
                        <a:pt x="121" y="175"/>
                        <a:pt x="121" y="175"/>
                      </a:cubicBezTo>
                      <a:cubicBezTo>
                        <a:pt x="121" y="175"/>
                        <a:pt x="121" y="175"/>
                        <a:pt x="121" y="175"/>
                      </a:cubicBezTo>
                      <a:cubicBezTo>
                        <a:pt x="121" y="176"/>
                        <a:pt x="121" y="176"/>
                        <a:pt x="121" y="176"/>
                      </a:cubicBezTo>
                      <a:cubicBezTo>
                        <a:pt x="120" y="176"/>
                        <a:pt x="120" y="176"/>
                        <a:pt x="120" y="176"/>
                      </a:cubicBezTo>
                      <a:cubicBezTo>
                        <a:pt x="119" y="176"/>
                        <a:pt x="119" y="176"/>
                        <a:pt x="119" y="176"/>
                      </a:cubicBezTo>
                      <a:cubicBezTo>
                        <a:pt x="119" y="175"/>
                        <a:pt x="119" y="175"/>
                        <a:pt x="119" y="175"/>
                      </a:cubicBezTo>
                      <a:cubicBezTo>
                        <a:pt x="118" y="175"/>
                        <a:pt x="118" y="175"/>
                        <a:pt x="118" y="175"/>
                      </a:cubicBezTo>
                      <a:cubicBezTo>
                        <a:pt x="118" y="176"/>
                        <a:pt x="118" y="176"/>
                        <a:pt x="118" y="176"/>
                      </a:cubicBezTo>
                      <a:cubicBezTo>
                        <a:pt x="118" y="176"/>
                        <a:pt x="118" y="176"/>
                        <a:pt x="118" y="176"/>
                      </a:cubicBezTo>
                      <a:cubicBezTo>
                        <a:pt x="117" y="176"/>
                        <a:pt x="117" y="176"/>
                        <a:pt x="117" y="176"/>
                      </a:cubicBezTo>
                      <a:cubicBezTo>
                        <a:pt x="117" y="175"/>
                        <a:pt x="117" y="175"/>
                        <a:pt x="117" y="175"/>
                      </a:cubicBezTo>
                      <a:cubicBezTo>
                        <a:pt x="116" y="175"/>
                        <a:pt x="116" y="175"/>
                        <a:pt x="116" y="175"/>
                      </a:cubicBezTo>
                      <a:cubicBezTo>
                        <a:pt x="117" y="174"/>
                        <a:pt x="117" y="174"/>
                        <a:pt x="117" y="174"/>
                      </a:cubicBezTo>
                      <a:cubicBezTo>
                        <a:pt x="116" y="174"/>
                        <a:pt x="116" y="174"/>
                        <a:pt x="116" y="174"/>
                      </a:cubicBezTo>
                      <a:cubicBezTo>
                        <a:pt x="116" y="174"/>
                        <a:pt x="116" y="174"/>
                        <a:pt x="116" y="174"/>
                      </a:cubicBezTo>
                      <a:cubicBezTo>
                        <a:pt x="115" y="173"/>
                        <a:pt x="115" y="173"/>
                        <a:pt x="115" y="173"/>
                      </a:cubicBezTo>
                      <a:cubicBezTo>
                        <a:pt x="115" y="172"/>
                        <a:pt x="115" y="172"/>
                        <a:pt x="115" y="172"/>
                      </a:cubicBezTo>
                      <a:cubicBezTo>
                        <a:pt x="115" y="172"/>
                        <a:pt x="115" y="172"/>
                        <a:pt x="115" y="172"/>
                      </a:cubicBezTo>
                      <a:cubicBezTo>
                        <a:pt x="115" y="171"/>
                        <a:pt x="115" y="171"/>
                        <a:pt x="115" y="171"/>
                      </a:cubicBezTo>
                      <a:cubicBezTo>
                        <a:pt x="114" y="171"/>
                        <a:pt x="114" y="171"/>
                        <a:pt x="114" y="171"/>
                      </a:cubicBezTo>
                      <a:cubicBezTo>
                        <a:pt x="114" y="171"/>
                        <a:pt x="114" y="171"/>
                        <a:pt x="114" y="171"/>
                      </a:cubicBezTo>
                      <a:cubicBezTo>
                        <a:pt x="114" y="171"/>
                        <a:pt x="114" y="171"/>
                        <a:pt x="114" y="171"/>
                      </a:cubicBezTo>
                      <a:cubicBezTo>
                        <a:pt x="114" y="172"/>
                        <a:pt x="114" y="172"/>
                        <a:pt x="114" y="172"/>
                      </a:cubicBezTo>
                      <a:cubicBezTo>
                        <a:pt x="114" y="172"/>
                        <a:pt x="114" y="172"/>
                        <a:pt x="114" y="172"/>
                      </a:cubicBezTo>
                      <a:cubicBezTo>
                        <a:pt x="115" y="173"/>
                        <a:pt x="115" y="173"/>
                        <a:pt x="115" y="173"/>
                      </a:cubicBezTo>
                      <a:cubicBezTo>
                        <a:pt x="115" y="173"/>
                        <a:pt x="115" y="173"/>
                        <a:pt x="115" y="173"/>
                      </a:cubicBezTo>
                      <a:cubicBezTo>
                        <a:pt x="115" y="174"/>
                        <a:pt x="115" y="174"/>
                        <a:pt x="115" y="174"/>
                      </a:cubicBezTo>
                      <a:cubicBezTo>
                        <a:pt x="115" y="175"/>
                        <a:pt x="115" y="175"/>
                        <a:pt x="115" y="175"/>
                      </a:cubicBezTo>
                      <a:cubicBezTo>
                        <a:pt x="115" y="175"/>
                        <a:pt x="115" y="175"/>
                        <a:pt x="115" y="175"/>
                      </a:cubicBezTo>
                      <a:cubicBezTo>
                        <a:pt x="115" y="175"/>
                        <a:pt x="115" y="175"/>
                        <a:pt x="115" y="175"/>
                      </a:cubicBezTo>
                      <a:cubicBezTo>
                        <a:pt x="116" y="176"/>
                        <a:pt x="116" y="176"/>
                        <a:pt x="116" y="176"/>
                      </a:cubicBezTo>
                      <a:cubicBezTo>
                        <a:pt x="115" y="177"/>
                        <a:pt x="115" y="177"/>
                        <a:pt x="115" y="177"/>
                      </a:cubicBezTo>
                      <a:cubicBezTo>
                        <a:pt x="115" y="177"/>
                        <a:pt x="115" y="177"/>
                        <a:pt x="115" y="177"/>
                      </a:cubicBezTo>
                      <a:cubicBezTo>
                        <a:pt x="114" y="178"/>
                        <a:pt x="114" y="178"/>
                        <a:pt x="114" y="178"/>
                      </a:cubicBezTo>
                      <a:cubicBezTo>
                        <a:pt x="114" y="177"/>
                        <a:pt x="114" y="177"/>
                        <a:pt x="114" y="177"/>
                      </a:cubicBezTo>
                      <a:cubicBezTo>
                        <a:pt x="114" y="177"/>
                        <a:pt x="114" y="177"/>
                        <a:pt x="114" y="177"/>
                      </a:cubicBezTo>
                      <a:cubicBezTo>
                        <a:pt x="113" y="178"/>
                        <a:pt x="113" y="178"/>
                        <a:pt x="113" y="178"/>
                      </a:cubicBezTo>
                      <a:cubicBezTo>
                        <a:pt x="112" y="179"/>
                        <a:pt x="112" y="179"/>
                        <a:pt x="112" y="179"/>
                      </a:cubicBezTo>
                      <a:cubicBezTo>
                        <a:pt x="112" y="179"/>
                        <a:pt x="112" y="179"/>
                        <a:pt x="112" y="179"/>
                      </a:cubicBezTo>
                      <a:cubicBezTo>
                        <a:pt x="111" y="179"/>
                        <a:pt x="111" y="179"/>
                        <a:pt x="111" y="179"/>
                      </a:cubicBezTo>
                      <a:cubicBezTo>
                        <a:pt x="111" y="179"/>
                        <a:pt x="111" y="179"/>
                        <a:pt x="111" y="179"/>
                      </a:cubicBezTo>
                      <a:cubicBezTo>
                        <a:pt x="111" y="179"/>
                        <a:pt x="111" y="179"/>
                        <a:pt x="111" y="179"/>
                      </a:cubicBezTo>
                      <a:cubicBezTo>
                        <a:pt x="111" y="180"/>
                        <a:pt x="111" y="180"/>
                        <a:pt x="111" y="180"/>
                      </a:cubicBezTo>
                      <a:cubicBezTo>
                        <a:pt x="111" y="180"/>
                        <a:pt x="111" y="180"/>
                        <a:pt x="111" y="180"/>
                      </a:cubicBezTo>
                      <a:cubicBezTo>
                        <a:pt x="110" y="180"/>
                        <a:pt x="110" y="180"/>
                        <a:pt x="110" y="180"/>
                      </a:cubicBezTo>
                      <a:cubicBezTo>
                        <a:pt x="110" y="181"/>
                        <a:pt x="110" y="181"/>
                        <a:pt x="110" y="181"/>
                      </a:cubicBezTo>
                      <a:cubicBezTo>
                        <a:pt x="110" y="181"/>
                        <a:pt x="110" y="181"/>
                        <a:pt x="110" y="181"/>
                      </a:cubicBezTo>
                      <a:cubicBezTo>
                        <a:pt x="110" y="181"/>
                        <a:pt x="110" y="181"/>
                        <a:pt x="110" y="181"/>
                      </a:cubicBezTo>
                      <a:cubicBezTo>
                        <a:pt x="109" y="181"/>
                        <a:pt x="109" y="181"/>
                        <a:pt x="109" y="181"/>
                      </a:cubicBezTo>
                      <a:cubicBezTo>
                        <a:pt x="109" y="181"/>
                        <a:pt x="109" y="181"/>
                        <a:pt x="109" y="181"/>
                      </a:cubicBezTo>
                      <a:cubicBezTo>
                        <a:pt x="109" y="181"/>
                        <a:pt x="109" y="181"/>
                        <a:pt x="109" y="181"/>
                      </a:cubicBezTo>
                      <a:cubicBezTo>
                        <a:pt x="109" y="182"/>
                        <a:pt x="109" y="182"/>
                        <a:pt x="109" y="182"/>
                      </a:cubicBezTo>
                      <a:cubicBezTo>
                        <a:pt x="109" y="182"/>
                        <a:pt x="109" y="182"/>
                        <a:pt x="109" y="182"/>
                      </a:cubicBezTo>
                      <a:cubicBezTo>
                        <a:pt x="109" y="182"/>
                        <a:pt x="109" y="182"/>
                        <a:pt x="109" y="182"/>
                      </a:cubicBezTo>
                      <a:cubicBezTo>
                        <a:pt x="109" y="182"/>
                        <a:pt x="109" y="182"/>
                        <a:pt x="109" y="182"/>
                      </a:cubicBezTo>
                      <a:cubicBezTo>
                        <a:pt x="108" y="182"/>
                        <a:pt x="108" y="182"/>
                        <a:pt x="108" y="182"/>
                      </a:cubicBezTo>
                      <a:cubicBezTo>
                        <a:pt x="108" y="182"/>
                        <a:pt x="108" y="182"/>
                        <a:pt x="108" y="182"/>
                      </a:cubicBezTo>
                      <a:cubicBezTo>
                        <a:pt x="108" y="182"/>
                        <a:pt x="108" y="182"/>
                        <a:pt x="108" y="182"/>
                      </a:cubicBezTo>
                      <a:cubicBezTo>
                        <a:pt x="108" y="183"/>
                        <a:pt x="108" y="183"/>
                        <a:pt x="108" y="183"/>
                      </a:cubicBezTo>
                      <a:cubicBezTo>
                        <a:pt x="108" y="183"/>
                        <a:pt x="108" y="183"/>
                        <a:pt x="108" y="183"/>
                      </a:cubicBezTo>
                      <a:cubicBezTo>
                        <a:pt x="107" y="183"/>
                        <a:pt x="107" y="183"/>
                        <a:pt x="107" y="183"/>
                      </a:cubicBezTo>
                      <a:cubicBezTo>
                        <a:pt x="106" y="184"/>
                        <a:pt x="106" y="184"/>
                        <a:pt x="106" y="184"/>
                      </a:cubicBezTo>
                      <a:cubicBezTo>
                        <a:pt x="106" y="185"/>
                        <a:pt x="106" y="185"/>
                        <a:pt x="106" y="185"/>
                      </a:cubicBezTo>
                      <a:cubicBezTo>
                        <a:pt x="106" y="186"/>
                        <a:pt x="106" y="186"/>
                        <a:pt x="106" y="186"/>
                      </a:cubicBezTo>
                      <a:cubicBezTo>
                        <a:pt x="106" y="186"/>
                        <a:pt x="106" y="186"/>
                        <a:pt x="106" y="186"/>
                      </a:cubicBezTo>
                      <a:cubicBezTo>
                        <a:pt x="105" y="187"/>
                        <a:pt x="105" y="187"/>
                        <a:pt x="105" y="187"/>
                      </a:cubicBezTo>
                      <a:cubicBezTo>
                        <a:pt x="105" y="187"/>
                        <a:pt x="105" y="187"/>
                        <a:pt x="105" y="187"/>
                      </a:cubicBezTo>
                      <a:cubicBezTo>
                        <a:pt x="104" y="187"/>
                        <a:pt x="104" y="187"/>
                        <a:pt x="104" y="187"/>
                      </a:cubicBezTo>
                      <a:cubicBezTo>
                        <a:pt x="104" y="187"/>
                        <a:pt x="104" y="187"/>
                        <a:pt x="104" y="187"/>
                      </a:cubicBezTo>
                      <a:cubicBezTo>
                        <a:pt x="104" y="186"/>
                        <a:pt x="104" y="186"/>
                        <a:pt x="104" y="186"/>
                      </a:cubicBezTo>
                      <a:cubicBezTo>
                        <a:pt x="104" y="187"/>
                        <a:pt x="104" y="187"/>
                        <a:pt x="104" y="187"/>
                      </a:cubicBezTo>
                      <a:cubicBezTo>
                        <a:pt x="104" y="187"/>
                        <a:pt x="104" y="187"/>
                        <a:pt x="104" y="187"/>
                      </a:cubicBezTo>
                      <a:cubicBezTo>
                        <a:pt x="104" y="187"/>
                        <a:pt x="104" y="187"/>
                        <a:pt x="104" y="187"/>
                      </a:cubicBezTo>
                      <a:cubicBezTo>
                        <a:pt x="104" y="188"/>
                        <a:pt x="104" y="188"/>
                        <a:pt x="104" y="188"/>
                      </a:cubicBezTo>
                      <a:cubicBezTo>
                        <a:pt x="104" y="188"/>
                        <a:pt x="104" y="188"/>
                        <a:pt x="104" y="188"/>
                      </a:cubicBezTo>
                      <a:cubicBezTo>
                        <a:pt x="102" y="189"/>
                        <a:pt x="102" y="189"/>
                        <a:pt x="102" y="189"/>
                      </a:cubicBezTo>
                      <a:cubicBezTo>
                        <a:pt x="102" y="189"/>
                        <a:pt x="102" y="189"/>
                        <a:pt x="102" y="189"/>
                      </a:cubicBezTo>
                      <a:cubicBezTo>
                        <a:pt x="102" y="189"/>
                        <a:pt x="102" y="189"/>
                        <a:pt x="102" y="189"/>
                      </a:cubicBezTo>
                      <a:cubicBezTo>
                        <a:pt x="102" y="189"/>
                        <a:pt x="102" y="189"/>
                        <a:pt x="102" y="189"/>
                      </a:cubicBezTo>
                      <a:cubicBezTo>
                        <a:pt x="101" y="188"/>
                        <a:pt x="101" y="188"/>
                        <a:pt x="101" y="188"/>
                      </a:cubicBezTo>
                      <a:cubicBezTo>
                        <a:pt x="101" y="188"/>
                        <a:pt x="101" y="188"/>
                        <a:pt x="101" y="188"/>
                      </a:cubicBezTo>
                      <a:cubicBezTo>
                        <a:pt x="101" y="189"/>
                        <a:pt x="101" y="189"/>
                        <a:pt x="101" y="189"/>
                      </a:cubicBezTo>
                      <a:cubicBezTo>
                        <a:pt x="100" y="189"/>
                        <a:pt x="100" y="189"/>
                        <a:pt x="100" y="189"/>
                      </a:cubicBezTo>
                      <a:cubicBezTo>
                        <a:pt x="100" y="188"/>
                        <a:pt x="100" y="188"/>
                        <a:pt x="100" y="188"/>
                      </a:cubicBezTo>
                      <a:cubicBezTo>
                        <a:pt x="99" y="188"/>
                        <a:pt x="99" y="188"/>
                        <a:pt x="99" y="188"/>
                      </a:cubicBezTo>
                      <a:cubicBezTo>
                        <a:pt x="99" y="188"/>
                        <a:pt x="99" y="188"/>
                        <a:pt x="99" y="188"/>
                      </a:cubicBezTo>
                      <a:cubicBezTo>
                        <a:pt x="99" y="188"/>
                        <a:pt x="99" y="188"/>
                        <a:pt x="99" y="188"/>
                      </a:cubicBezTo>
                      <a:cubicBezTo>
                        <a:pt x="99" y="189"/>
                        <a:pt x="99" y="189"/>
                        <a:pt x="99" y="189"/>
                      </a:cubicBezTo>
                      <a:cubicBezTo>
                        <a:pt x="99" y="189"/>
                        <a:pt x="99" y="189"/>
                        <a:pt x="99" y="189"/>
                      </a:cubicBezTo>
                      <a:cubicBezTo>
                        <a:pt x="100" y="189"/>
                        <a:pt x="100" y="189"/>
                        <a:pt x="100" y="189"/>
                      </a:cubicBezTo>
                      <a:cubicBezTo>
                        <a:pt x="100" y="190"/>
                        <a:pt x="100" y="190"/>
                        <a:pt x="100" y="190"/>
                      </a:cubicBezTo>
                      <a:cubicBezTo>
                        <a:pt x="99" y="190"/>
                        <a:pt x="99" y="190"/>
                        <a:pt x="99" y="190"/>
                      </a:cubicBezTo>
                      <a:cubicBezTo>
                        <a:pt x="99" y="190"/>
                        <a:pt x="99" y="190"/>
                        <a:pt x="99" y="190"/>
                      </a:cubicBezTo>
                      <a:cubicBezTo>
                        <a:pt x="98" y="191"/>
                        <a:pt x="98" y="191"/>
                        <a:pt x="98" y="191"/>
                      </a:cubicBezTo>
                      <a:cubicBezTo>
                        <a:pt x="97" y="192"/>
                        <a:pt x="97" y="192"/>
                        <a:pt x="97" y="192"/>
                      </a:cubicBezTo>
                      <a:cubicBezTo>
                        <a:pt x="96" y="192"/>
                        <a:pt x="96" y="192"/>
                        <a:pt x="96" y="192"/>
                      </a:cubicBezTo>
                      <a:cubicBezTo>
                        <a:pt x="96" y="191"/>
                        <a:pt x="96" y="191"/>
                        <a:pt x="96" y="191"/>
                      </a:cubicBezTo>
                      <a:cubicBezTo>
                        <a:pt x="96" y="191"/>
                        <a:pt x="96" y="191"/>
                        <a:pt x="96" y="191"/>
                      </a:cubicBezTo>
                      <a:cubicBezTo>
                        <a:pt x="96" y="191"/>
                        <a:pt x="96" y="191"/>
                        <a:pt x="96" y="191"/>
                      </a:cubicBezTo>
                      <a:cubicBezTo>
                        <a:pt x="96" y="190"/>
                        <a:pt x="96" y="190"/>
                        <a:pt x="96" y="190"/>
                      </a:cubicBezTo>
                      <a:cubicBezTo>
                        <a:pt x="96" y="190"/>
                        <a:pt x="96" y="190"/>
                        <a:pt x="96" y="190"/>
                      </a:cubicBezTo>
                      <a:cubicBezTo>
                        <a:pt x="95" y="191"/>
                        <a:pt x="95" y="191"/>
                        <a:pt x="95" y="191"/>
                      </a:cubicBezTo>
                      <a:cubicBezTo>
                        <a:pt x="95" y="191"/>
                        <a:pt x="95" y="191"/>
                        <a:pt x="95" y="191"/>
                      </a:cubicBezTo>
                      <a:cubicBezTo>
                        <a:pt x="95" y="192"/>
                        <a:pt x="95" y="192"/>
                        <a:pt x="95" y="192"/>
                      </a:cubicBezTo>
                      <a:cubicBezTo>
                        <a:pt x="95" y="192"/>
                        <a:pt x="95" y="192"/>
                        <a:pt x="95" y="192"/>
                      </a:cubicBezTo>
                      <a:cubicBezTo>
                        <a:pt x="94" y="192"/>
                        <a:pt x="94" y="192"/>
                        <a:pt x="94" y="192"/>
                      </a:cubicBezTo>
                      <a:cubicBezTo>
                        <a:pt x="93" y="192"/>
                        <a:pt x="93" y="192"/>
                        <a:pt x="93" y="192"/>
                      </a:cubicBezTo>
                      <a:cubicBezTo>
                        <a:pt x="93" y="191"/>
                        <a:pt x="93" y="191"/>
                        <a:pt x="93" y="191"/>
                      </a:cubicBezTo>
                      <a:cubicBezTo>
                        <a:pt x="93" y="191"/>
                        <a:pt x="93" y="191"/>
                        <a:pt x="93" y="191"/>
                      </a:cubicBezTo>
                      <a:cubicBezTo>
                        <a:pt x="93" y="190"/>
                        <a:pt x="93" y="190"/>
                        <a:pt x="93" y="190"/>
                      </a:cubicBezTo>
                      <a:cubicBezTo>
                        <a:pt x="93" y="190"/>
                        <a:pt x="93" y="190"/>
                        <a:pt x="93" y="190"/>
                      </a:cubicBezTo>
                      <a:cubicBezTo>
                        <a:pt x="93" y="190"/>
                        <a:pt x="93" y="190"/>
                        <a:pt x="93" y="190"/>
                      </a:cubicBezTo>
                      <a:cubicBezTo>
                        <a:pt x="93" y="190"/>
                        <a:pt x="93" y="190"/>
                        <a:pt x="93" y="190"/>
                      </a:cubicBezTo>
                      <a:cubicBezTo>
                        <a:pt x="92" y="191"/>
                        <a:pt x="92" y="191"/>
                        <a:pt x="92" y="191"/>
                      </a:cubicBezTo>
                      <a:cubicBezTo>
                        <a:pt x="92" y="192"/>
                        <a:pt x="92" y="192"/>
                        <a:pt x="92" y="192"/>
                      </a:cubicBezTo>
                      <a:cubicBezTo>
                        <a:pt x="92" y="192"/>
                        <a:pt x="92" y="192"/>
                        <a:pt x="92" y="192"/>
                      </a:cubicBezTo>
                      <a:cubicBezTo>
                        <a:pt x="92" y="192"/>
                        <a:pt x="92" y="192"/>
                        <a:pt x="92" y="192"/>
                      </a:cubicBezTo>
                      <a:cubicBezTo>
                        <a:pt x="91" y="191"/>
                        <a:pt x="91" y="191"/>
                        <a:pt x="91" y="191"/>
                      </a:cubicBezTo>
                      <a:cubicBezTo>
                        <a:pt x="91" y="190"/>
                        <a:pt x="91" y="190"/>
                        <a:pt x="91" y="190"/>
                      </a:cubicBezTo>
                      <a:cubicBezTo>
                        <a:pt x="91" y="189"/>
                        <a:pt x="91" y="189"/>
                        <a:pt x="91" y="189"/>
                      </a:cubicBezTo>
                      <a:cubicBezTo>
                        <a:pt x="92" y="189"/>
                        <a:pt x="92" y="189"/>
                        <a:pt x="92" y="189"/>
                      </a:cubicBezTo>
                      <a:cubicBezTo>
                        <a:pt x="92" y="188"/>
                        <a:pt x="92" y="188"/>
                        <a:pt x="92" y="188"/>
                      </a:cubicBezTo>
                      <a:cubicBezTo>
                        <a:pt x="92" y="188"/>
                        <a:pt x="92" y="188"/>
                        <a:pt x="92" y="188"/>
                      </a:cubicBezTo>
                      <a:cubicBezTo>
                        <a:pt x="91" y="188"/>
                        <a:pt x="91" y="188"/>
                        <a:pt x="91" y="188"/>
                      </a:cubicBezTo>
                      <a:cubicBezTo>
                        <a:pt x="91" y="187"/>
                        <a:pt x="91" y="187"/>
                        <a:pt x="91" y="187"/>
                      </a:cubicBezTo>
                      <a:cubicBezTo>
                        <a:pt x="91" y="187"/>
                        <a:pt x="91" y="187"/>
                        <a:pt x="91" y="187"/>
                      </a:cubicBezTo>
                      <a:cubicBezTo>
                        <a:pt x="90" y="187"/>
                        <a:pt x="90" y="187"/>
                        <a:pt x="90" y="187"/>
                      </a:cubicBezTo>
                      <a:cubicBezTo>
                        <a:pt x="90" y="187"/>
                        <a:pt x="90" y="187"/>
                        <a:pt x="90" y="187"/>
                      </a:cubicBezTo>
                      <a:cubicBezTo>
                        <a:pt x="90" y="188"/>
                        <a:pt x="90" y="188"/>
                        <a:pt x="90" y="188"/>
                      </a:cubicBezTo>
                      <a:cubicBezTo>
                        <a:pt x="90" y="188"/>
                        <a:pt x="90" y="188"/>
                        <a:pt x="90" y="188"/>
                      </a:cubicBezTo>
                      <a:cubicBezTo>
                        <a:pt x="90" y="189"/>
                        <a:pt x="90" y="189"/>
                        <a:pt x="90" y="189"/>
                      </a:cubicBezTo>
                      <a:cubicBezTo>
                        <a:pt x="90" y="189"/>
                        <a:pt x="90" y="189"/>
                        <a:pt x="90" y="189"/>
                      </a:cubicBezTo>
                      <a:cubicBezTo>
                        <a:pt x="90" y="190"/>
                        <a:pt x="90" y="190"/>
                        <a:pt x="90" y="190"/>
                      </a:cubicBezTo>
                      <a:cubicBezTo>
                        <a:pt x="90" y="190"/>
                        <a:pt x="90" y="190"/>
                        <a:pt x="90" y="190"/>
                      </a:cubicBezTo>
                      <a:cubicBezTo>
                        <a:pt x="89" y="191"/>
                        <a:pt x="89" y="191"/>
                        <a:pt x="89" y="191"/>
                      </a:cubicBezTo>
                      <a:cubicBezTo>
                        <a:pt x="88" y="191"/>
                        <a:pt x="88" y="191"/>
                        <a:pt x="88" y="191"/>
                      </a:cubicBezTo>
                      <a:cubicBezTo>
                        <a:pt x="88" y="190"/>
                        <a:pt x="88" y="190"/>
                        <a:pt x="88" y="190"/>
                      </a:cubicBezTo>
                      <a:cubicBezTo>
                        <a:pt x="88" y="190"/>
                        <a:pt x="88" y="190"/>
                        <a:pt x="88" y="190"/>
                      </a:cubicBezTo>
                      <a:cubicBezTo>
                        <a:pt x="88" y="190"/>
                        <a:pt x="88" y="190"/>
                        <a:pt x="88" y="190"/>
                      </a:cubicBezTo>
                      <a:cubicBezTo>
                        <a:pt x="88" y="191"/>
                        <a:pt x="88" y="191"/>
                        <a:pt x="88" y="191"/>
                      </a:cubicBezTo>
                      <a:cubicBezTo>
                        <a:pt x="88" y="192"/>
                        <a:pt x="88" y="192"/>
                        <a:pt x="88" y="192"/>
                      </a:cubicBezTo>
                      <a:cubicBezTo>
                        <a:pt x="89" y="192"/>
                        <a:pt x="89" y="192"/>
                        <a:pt x="89" y="192"/>
                      </a:cubicBezTo>
                      <a:cubicBezTo>
                        <a:pt x="89" y="193"/>
                        <a:pt x="89" y="193"/>
                        <a:pt x="89" y="193"/>
                      </a:cubicBezTo>
                      <a:cubicBezTo>
                        <a:pt x="88" y="193"/>
                        <a:pt x="88" y="193"/>
                        <a:pt x="88" y="193"/>
                      </a:cubicBezTo>
                      <a:cubicBezTo>
                        <a:pt x="88" y="193"/>
                        <a:pt x="88" y="193"/>
                        <a:pt x="88" y="193"/>
                      </a:cubicBezTo>
                      <a:cubicBezTo>
                        <a:pt x="88" y="194"/>
                        <a:pt x="88" y="194"/>
                        <a:pt x="88" y="194"/>
                      </a:cubicBezTo>
                      <a:cubicBezTo>
                        <a:pt x="87" y="194"/>
                        <a:pt x="87" y="194"/>
                        <a:pt x="87" y="194"/>
                      </a:cubicBezTo>
                      <a:cubicBezTo>
                        <a:pt x="87" y="193"/>
                        <a:pt x="87" y="193"/>
                        <a:pt x="87" y="193"/>
                      </a:cubicBezTo>
                      <a:cubicBezTo>
                        <a:pt x="86" y="193"/>
                        <a:pt x="86" y="193"/>
                        <a:pt x="86" y="193"/>
                      </a:cubicBezTo>
                      <a:cubicBezTo>
                        <a:pt x="86" y="194"/>
                        <a:pt x="86" y="194"/>
                        <a:pt x="86" y="194"/>
                      </a:cubicBezTo>
                      <a:cubicBezTo>
                        <a:pt x="85" y="194"/>
                        <a:pt x="85" y="194"/>
                        <a:pt x="85" y="194"/>
                      </a:cubicBezTo>
                      <a:cubicBezTo>
                        <a:pt x="85" y="194"/>
                        <a:pt x="85" y="194"/>
                        <a:pt x="85" y="194"/>
                      </a:cubicBezTo>
                      <a:cubicBezTo>
                        <a:pt x="84" y="193"/>
                        <a:pt x="84" y="193"/>
                        <a:pt x="84" y="193"/>
                      </a:cubicBezTo>
                      <a:cubicBezTo>
                        <a:pt x="84" y="193"/>
                        <a:pt x="84" y="193"/>
                        <a:pt x="84" y="193"/>
                      </a:cubicBezTo>
                      <a:cubicBezTo>
                        <a:pt x="84" y="193"/>
                        <a:pt x="84" y="193"/>
                        <a:pt x="84" y="193"/>
                      </a:cubicBezTo>
                      <a:cubicBezTo>
                        <a:pt x="84" y="193"/>
                        <a:pt x="84" y="193"/>
                        <a:pt x="84" y="193"/>
                      </a:cubicBezTo>
                      <a:cubicBezTo>
                        <a:pt x="84" y="193"/>
                        <a:pt x="84" y="193"/>
                        <a:pt x="84" y="193"/>
                      </a:cubicBezTo>
                      <a:cubicBezTo>
                        <a:pt x="83" y="194"/>
                        <a:pt x="83" y="194"/>
                        <a:pt x="83" y="194"/>
                      </a:cubicBezTo>
                      <a:cubicBezTo>
                        <a:pt x="83" y="194"/>
                        <a:pt x="83" y="194"/>
                        <a:pt x="83" y="194"/>
                      </a:cubicBezTo>
                      <a:cubicBezTo>
                        <a:pt x="82" y="193"/>
                        <a:pt x="82" y="193"/>
                        <a:pt x="82" y="193"/>
                      </a:cubicBezTo>
                      <a:cubicBezTo>
                        <a:pt x="82" y="193"/>
                        <a:pt x="82" y="193"/>
                        <a:pt x="82" y="193"/>
                      </a:cubicBezTo>
                      <a:cubicBezTo>
                        <a:pt x="82" y="193"/>
                        <a:pt x="82" y="193"/>
                        <a:pt x="82" y="193"/>
                      </a:cubicBezTo>
                      <a:cubicBezTo>
                        <a:pt x="82" y="193"/>
                        <a:pt x="82" y="193"/>
                        <a:pt x="82" y="193"/>
                      </a:cubicBezTo>
                      <a:cubicBezTo>
                        <a:pt x="81" y="193"/>
                        <a:pt x="81" y="193"/>
                        <a:pt x="81" y="193"/>
                      </a:cubicBezTo>
                      <a:cubicBezTo>
                        <a:pt x="81" y="194"/>
                        <a:pt x="81" y="194"/>
                        <a:pt x="81" y="194"/>
                      </a:cubicBezTo>
                      <a:cubicBezTo>
                        <a:pt x="81" y="194"/>
                        <a:pt x="81" y="194"/>
                        <a:pt x="81" y="194"/>
                      </a:cubicBezTo>
                      <a:cubicBezTo>
                        <a:pt x="81" y="194"/>
                        <a:pt x="81" y="194"/>
                        <a:pt x="81" y="194"/>
                      </a:cubicBezTo>
                      <a:cubicBezTo>
                        <a:pt x="81" y="195"/>
                        <a:pt x="81" y="195"/>
                        <a:pt x="81" y="195"/>
                      </a:cubicBezTo>
                      <a:cubicBezTo>
                        <a:pt x="81" y="196"/>
                        <a:pt x="81" y="196"/>
                        <a:pt x="81" y="196"/>
                      </a:cubicBezTo>
                      <a:cubicBezTo>
                        <a:pt x="80" y="197"/>
                        <a:pt x="80" y="197"/>
                        <a:pt x="80" y="197"/>
                      </a:cubicBezTo>
                      <a:cubicBezTo>
                        <a:pt x="79" y="197"/>
                        <a:pt x="79" y="197"/>
                        <a:pt x="79" y="197"/>
                      </a:cubicBezTo>
                      <a:cubicBezTo>
                        <a:pt x="79" y="197"/>
                        <a:pt x="79" y="197"/>
                        <a:pt x="79" y="197"/>
                      </a:cubicBezTo>
                      <a:cubicBezTo>
                        <a:pt x="78" y="196"/>
                        <a:pt x="78" y="196"/>
                        <a:pt x="78" y="196"/>
                      </a:cubicBezTo>
                      <a:cubicBezTo>
                        <a:pt x="78" y="196"/>
                        <a:pt x="78" y="196"/>
                        <a:pt x="78" y="196"/>
                      </a:cubicBezTo>
                      <a:cubicBezTo>
                        <a:pt x="78" y="196"/>
                        <a:pt x="78" y="196"/>
                        <a:pt x="78" y="196"/>
                      </a:cubicBezTo>
                      <a:cubicBezTo>
                        <a:pt x="78" y="196"/>
                        <a:pt x="78" y="196"/>
                        <a:pt x="78" y="196"/>
                      </a:cubicBezTo>
                      <a:cubicBezTo>
                        <a:pt x="77" y="196"/>
                        <a:pt x="77" y="196"/>
                        <a:pt x="77" y="196"/>
                      </a:cubicBezTo>
                      <a:cubicBezTo>
                        <a:pt x="77" y="196"/>
                        <a:pt x="77" y="196"/>
                        <a:pt x="77" y="196"/>
                      </a:cubicBezTo>
                      <a:cubicBezTo>
                        <a:pt x="76" y="196"/>
                        <a:pt x="76" y="196"/>
                        <a:pt x="76" y="196"/>
                      </a:cubicBezTo>
                      <a:cubicBezTo>
                        <a:pt x="76" y="196"/>
                        <a:pt x="76" y="196"/>
                        <a:pt x="76" y="196"/>
                      </a:cubicBezTo>
                      <a:cubicBezTo>
                        <a:pt x="76" y="196"/>
                        <a:pt x="76" y="196"/>
                        <a:pt x="76" y="196"/>
                      </a:cubicBezTo>
                      <a:cubicBezTo>
                        <a:pt x="76" y="197"/>
                        <a:pt x="76" y="197"/>
                        <a:pt x="76" y="197"/>
                      </a:cubicBezTo>
                      <a:cubicBezTo>
                        <a:pt x="76" y="197"/>
                        <a:pt x="76" y="197"/>
                        <a:pt x="76" y="197"/>
                      </a:cubicBezTo>
                      <a:cubicBezTo>
                        <a:pt x="76" y="198"/>
                        <a:pt x="76" y="198"/>
                        <a:pt x="76" y="198"/>
                      </a:cubicBezTo>
                      <a:cubicBezTo>
                        <a:pt x="76" y="198"/>
                        <a:pt x="76" y="198"/>
                        <a:pt x="76" y="198"/>
                      </a:cubicBezTo>
                      <a:cubicBezTo>
                        <a:pt x="77" y="199"/>
                        <a:pt x="77" y="199"/>
                        <a:pt x="77" y="199"/>
                      </a:cubicBezTo>
                      <a:cubicBezTo>
                        <a:pt x="77" y="200"/>
                        <a:pt x="77" y="200"/>
                        <a:pt x="77" y="200"/>
                      </a:cubicBezTo>
                      <a:cubicBezTo>
                        <a:pt x="77" y="201"/>
                        <a:pt x="77" y="201"/>
                        <a:pt x="77" y="201"/>
                      </a:cubicBezTo>
                      <a:cubicBezTo>
                        <a:pt x="77" y="202"/>
                        <a:pt x="77" y="202"/>
                        <a:pt x="77" y="202"/>
                      </a:cubicBezTo>
                      <a:cubicBezTo>
                        <a:pt x="76" y="201"/>
                        <a:pt x="76" y="201"/>
                        <a:pt x="76" y="201"/>
                      </a:cubicBezTo>
                      <a:cubicBezTo>
                        <a:pt x="76" y="201"/>
                        <a:pt x="76" y="201"/>
                        <a:pt x="76" y="201"/>
                      </a:cubicBezTo>
                      <a:cubicBezTo>
                        <a:pt x="76" y="202"/>
                        <a:pt x="76" y="202"/>
                        <a:pt x="76" y="202"/>
                      </a:cubicBezTo>
                      <a:cubicBezTo>
                        <a:pt x="75" y="202"/>
                        <a:pt x="75" y="202"/>
                        <a:pt x="75" y="202"/>
                      </a:cubicBezTo>
                      <a:cubicBezTo>
                        <a:pt x="74" y="201"/>
                        <a:pt x="74" y="201"/>
                        <a:pt x="74" y="201"/>
                      </a:cubicBezTo>
                      <a:cubicBezTo>
                        <a:pt x="73" y="202"/>
                        <a:pt x="73" y="202"/>
                        <a:pt x="73" y="202"/>
                      </a:cubicBezTo>
                      <a:cubicBezTo>
                        <a:pt x="73" y="202"/>
                        <a:pt x="73" y="202"/>
                        <a:pt x="73" y="202"/>
                      </a:cubicBezTo>
                      <a:cubicBezTo>
                        <a:pt x="73" y="202"/>
                        <a:pt x="73" y="202"/>
                        <a:pt x="73" y="202"/>
                      </a:cubicBezTo>
                      <a:cubicBezTo>
                        <a:pt x="74" y="203"/>
                        <a:pt x="74" y="203"/>
                        <a:pt x="74" y="203"/>
                      </a:cubicBezTo>
                      <a:cubicBezTo>
                        <a:pt x="75" y="203"/>
                        <a:pt x="75" y="203"/>
                        <a:pt x="75" y="203"/>
                      </a:cubicBezTo>
                      <a:cubicBezTo>
                        <a:pt x="75" y="203"/>
                        <a:pt x="75" y="203"/>
                        <a:pt x="75" y="203"/>
                      </a:cubicBezTo>
                      <a:cubicBezTo>
                        <a:pt x="76" y="203"/>
                        <a:pt x="76" y="203"/>
                        <a:pt x="76" y="203"/>
                      </a:cubicBezTo>
                      <a:cubicBezTo>
                        <a:pt x="76" y="203"/>
                        <a:pt x="76" y="203"/>
                        <a:pt x="76" y="203"/>
                      </a:cubicBezTo>
                      <a:cubicBezTo>
                        <a:pt x="77" y="203"/>
                        <a:pt x="77" y="203"/>
                        <a:pt x="77" y="203"/>
                      </a:cubicBezTo>
                      <a:cubicBezTo>
                        <a:pt x="77" y="204"/>
                        <a:pt x="77" y="204"/>
                        <a:pt x="77" y="204"/>
                      </a:cubicBezTo>
                      <a:cubicBezTo>
                        <a:pt x="76" y="204"/>
                        <a:pt x="76" y="204"/>
                        <a:pt x="76" y="204"/>
                      </a:cubicBezTo>
                      <a:cubicBezTo>
                        <a:pt x="76" y="204"/>
                        <a:pt x="76" y="204"/>
                        <a:pt x="76" y="204"/>
                      </a:cubicBezTo>
                      <a:cubicBezTo>
                        <a:pt x="75" y="204"/>
                        <a:pt x="75" y="204"/>
                        <a:pt x="75" y="204"/>
                      </a:cubicBezTo>
                      <a:cubicBezTo>
                        <a:pt x="75" y="205"/>
                        <a:pt x="75" y="205"/>
                        <a:pt x="75" y="205"/>
                      </a:cubicBezTo>
                      <a:cubicBezTo>
                        <a:pt x="76" y="205"/>
                        <a:pt x="76" y="205"/>
                        <a:pt x="76" y="205"/>
                      </a:cubicBezTo>
                      <a:cubicBezTo>
                        <a:pt x="76" y="205"/>
                        <a:pt x="76" y="205"/>
                        <a:pt x="76" y="205"/>
                      </a:cubicBezTo>
                      <a:cubicBezTo>
                        <a:pt x="76" y="206"/>
                        <a:pt x="76" y="206"/>
                        <a:pt x="76" y="206"/>
                      </a:cubicBezTo>
                      <a:cubicBezTo>
                        <a:pt x="76" y="207"/>
                        <a:pt x="76" y="207"/>
                        <a:pt x="76" y="207"/>
                      </a:cubicBezTo>
                      <a:cubicBezTo>
                        <a:pt x="76" y="207"/>
                        <a:pt x="76" y="207"/>
                        <a:pt x="76" y="207"/>
                      </a:cubicBezTo>
                      <a:cubicBezTo>
                        <a:pt x="75" y="207"/>
                        <a:pt x="75" y="207"/>
                        <a:pt x="75" y="207"/>
                      </a:cubicBezTo>
                      <a:cubicBezTo>
                        <a:pt x="75" y="207"/>
                        <a:pt x="75" y="207"/>
                        <a:pt x="75" y="207"/>
                      </a:cubicBezTo>
                      <a:cubicBezTo>
                        <a:pt x="74" y="206"/>
                        <a:pt x="74" y="206"/>
                        <a:pt x="74" y="206"/>
                      </a:cubicBezTo>
                      <a:cubicBezTo>
                        <a:pt x="74" y="206"/>
                        <a:pt x="74" y="206"/>
                        <a:pt x="74" y="206"/>
                      </a:cubicBezTo>
                      <a:cubicBezTo>
                        <a:pt x="73" y="206"/>
                        <a:pt x="73" y="206"/>
                        <a:pt x="73" y="206"/>
                      </a:cubicBezTo>
                      <a:cubicBezTo>
                        <a:pt x="73" y="205"/>
                        <a:pt x="73" y="205"/>
                        <a:pt x="73" y="205"/>
                      </a:cubicBezTo>
                      <a:cubicBezTo>
                        <a:pt x="72" y="205"/>
                        <a:pt x="72" y="205"/>
                        <a:pt x="72" y="205"/>
                      </a:cubicBezTo>
                      <a:cubicBezTo>
                        <a:pt x="72" y="206"/>
                        <a:pt x="72" y="206"/>
                        <a:pt x="72" y="206"/>
                      </a:cubicBezTo>
                      <a:cubicBezTo>
                        <a:pt x="72" y="206"/>
                        <a:pt x="72" y="206"/>
                        <a:pt x="72" y="206"/>
                      </a:cubicBezTo>
                      <a:cubicBezTo>
                        <a:pt x="73" y="206"/>
                        <a:pt x="73" y="206"/>
                        <a:pt x="73" y="206"/>
                      </a:cubicBezTo>
                      <a:cubicBezTo>
                        <a:pt x="73" y="206"/>
                        <a:pt x="73" y="206"/>
                        <a:pt x="73" y="206"/>
                      </a:cubicBezTo>
                      <a:cubicBezTo>
                        <a:pt x="74" y="207"/>
                        <a:pt x="74" y="207"/>
                        <a:pt x="74" y="207"/>
                      </a:cubicBezTo>
                      <a:cubicBezTo>
                        <a:pt x="75" y="207"/>
                        <a:pt x="75" y="207"/>
                        <a:pt x="75" y="207"/>
                      </a:cubicBezTo>
                      <a:cubicBezTo>
                        <a:pt x="75" y="207"/>
                        <a:pt x="75" y="207"/>
                        <a:pt x="75" y="207"/>
                      </a:cubicBezTo>
                      <a:cubicBezTo>
                        <a:pt x="75" y="207"/>
                        <a:pt x="75" y="207"/>
                        <a:pt x="75" y="207"/>
                      </a:cubicBezTo>
                      <a:cubicBezTo>
                        <a:pt x="75" y="208"/>
                        <a:pt x="75" y="208"/>
                        <a:pt x="75" y="208"/>
                      </a:cubicBezTo>
                      <a:cubicBezTo>
                        <a:pt x="74" y="208"/>
                        <a:pt x="74" y="208"/>
                        <a:pt x="74" y="208"/>
                      </a:cubicBezTo>
                      <a:cubicBezTo>
                        <a:pt x="74" y="208"/>
                        <a:pt x="74" y="208"/>
                        <a:pt x="74" y="208"/>
                      </a:cubicBezTo>
                      <a:cubicBezTo>
                        <a:pt x="73" y="209"/>
                        <a:pt x="73" y="209"/>
                        <a:pt x="73" y="209"/>
                      </a:cubicBezTo>
                      <a:cubicBezTo>
                        <a:pt x="73" y="208"/>
                        <a:pt x="73" y="208"/>
                        <a:pt x="73" y="208"/>
                      </a:cubicBezTo>
                      <a:cubicBezTo>
                        <a:pt x="72" y="208"/>
                        <a:pt x="72" y="208"/>
                        <a:pt x="72" y="208"/>
                      </a:cubicBezTo>
                      <a:cubicBezTo>
                        <a:pt x="72" y="207"/>
                        <a:pt x="72" y="207"/>
                        <a:pt x="72" y="207"/>
                      </a:cubicBezTo>
                      <a:cubicBezTo>
                        <a:pt x="71" y="207"/>
                        <a:pt x="71" y="207"/>
                        <a:pt x="71" y="207"/>
                      </a:cubicBezTo>
                      <a:cubicBezTo>
                        <a:pt x="71" y="208"/>
                        <a:pt x="71" y="208"/>
                        <a:pt x="71" y="208"/>
                      </a:cubicBezTo>
                      <a:cubicBezTo>
                        <a:pt x="71" y="208"/>
                        <a:pt x="71" y="208"/>
                        <a:pt x="71" y="208"/>
                      </a:cubicBezTo>
                      <a:cubicBezTo>
                        <a:pt x="71" y="209"/>
                        <a:pt x="71" y="209"/>
                        <a:pt x="71" y="209"/>
                      </a:cubicBezTo>
                      <a:cubicBezTo>
                        <a:pt x="71" y="209"/>
                        <a:pt x="71" y="209"/>
                        <a:pt x="71" y="209"/>
                      </a:cubicBezTo>
                      <a:cubicBezTo>
                        <a:pt x="72" y="209"/>
                        <a:pt x="72" y="209"/>
                        <a:pt x="72" y="209"/>
                      </a:cubicBezTo>
                      <a:cubicBezTo>
                        <a:pt x="72" y="210"/>
                        <a:pt x="72" y="210"/>
                        <a:pt x="72" y="210"/>
                      </a:cubicBezTo>
                      <a:cubicBezTo>
                        <a:pt x="72" y="210"/>
                        <a:pt x="72" y="210"/>
                        <a:pt x="72" y="210"/>
                      </a:cubicBezTo>
                      <a:cubicBezTo>
                        <a:pt x="72" y="210"/>
                        <a:pt x="72" y="210"/>
                        <a:pt x="72" y="210"/>
                      </a:cubicBezTo>
                      <a:cubicBezTo>
                        <a:pt x="71" y="210"/>
                        <a:pt x="71" y="210"/>
                        <a:pt x="71" y="210"/>
                      </a:cubicBezTo>
                      <a:cubicBezTo>
                        <a:pt x="71" y="210"/>
                        <a:pt x="71" y="210"/>
                        <a:pt x="71" y="210"/>
                      </a:cubicBezTo>
                      <a:cubicBezTo>
                        <a:pt x="70" y="209"/>
                        <a:pt x="70" y="209"/>
                        <a:pt x="70" y="209"/>
                      </a:cubicBezTo>
                      <a:cubicBezTo>
                        <a:pt x="70" y="209"/>
                        <a:pt x="70" y="209"/>
                        <a:pt x="70" y="209"/>
                      </a:cubicBezTo>
                      <a:cubicBezTo>
                        <a:pt x="69" y="209"/>
                        <a:pt x="69" y="209"/>
                        <a:pt x="69" y="209"/>
                      </a:cubicBezTo>
                      <a:cubicBezTo>
                        <a:pt x="70" y="210"/>
                        <a:pt x="70" y="210"/>
                        <a:pt x="70" y="210"/>
                      </a:cubicBezTo>
                      <a:cubicBezTo>
                        <a:pt x="70" y="210"/>
                        <a:pt x="70" y="210"/>
                        <a:pt x="70" y="210"/>
                      </a:cubicBezTo>
                      <a:cubicBezTo>
                        <a:pt x="71" y="210"/>
                        <a:pt x="71" y="210"/>
                        <a:pt x="71" y="210"/>
                      </a:cubicBezTo>
                      <a:cubicBezTo>
                        <a:pt x="71" y="211"/>
                        <a:pt x="71" y="211"/>
                        <a:pt x="71" y="211"/>
                      </a:cubicBezTo>
                      <a:cubicBezTo>
                        <a:pt x="71" y="211"/>
                        <a:pt x="71" y="211"/>
                        <a:pt x="71" y="211"/>
                      </a:cubicBezTo>
                      <a:cubicBezTo>
                        <a:pt x="71" y="211"/>
                        <a:pt x="71" y="211"/>
                        <a:pt x="71" y="211"/>
                      </a:cubicBezTo>
                      <a:cubicBezTo>
                        <a:pt x="70" y="211"/>
                        <a:pt x="70" y="211"/>
                        <a:pt x="70" y="211"/>
                      </a:cubicBezTo>
                      <a:cubicBezTo>
                        <a:pt x="70" y="211"/>
                        <a:pt x="70" y="211"/>
                        <a:pt x="70" y="211"/>
                      </a:cubicBezTo>
                      <a:cubicBezTo>
                        <a:pt x="69" y="210"/>
                        <a:pt x="69" y="210"/>
                        <a:pt x="69" y="210"/>
                      </a:cubicBezTo>
                      <a:cubicBezTo>
                        <a:pt x="69" y="210"/>
                        <a:pt x="69" y="210"/>
                        <a:pt x="69" y="210"/>
                      </a:cubicBezTo>
                      <a:cubicBezTo>
                        <a:pt x="69" y="210"/>
                        <a:pt x="69" y="210"/>
                        <a:pt x="69" y="210"/>
                      </a:cubicBezTo>
                      <a:cubicBezTo>
                        <a:pt x="68" y="210"/>
                        <a:pt x="68" y="210"/>
                        <a:pt x="68" y="210"/>
                      </a:cubicBezTo>
                      <a:cubicBezTo>
                        <a:pt x="68" y="211"/>
                        <a:pt x="68" y="211"/>
                        <a:pt x="68" y="211"/>
                      </a:cubicBezTo>
                      <a:cubicBezTo>
                        <a:pt x="69" y="211"/>
                        <a:pt x="69" y="211"/>
                        <a:pt x="69" y="211"/>
                      </a:cubicBezTo>
                      <a:cubicBezTo>
                        <a:pt x="69" y="212"/>
                        <a:pt x="69" y="212"/>
                        <a:pt x="69" y="212"/>
                      </a:cubicBezTo>
                      <a:cubicBezTo>
                        <a:pt x="69" y="212"/>
                        <a:pt x="69" y="212"/>
                        <a:pt x="69" y="212"/>
                      </a:cubicBezTo>
                      <a:cubicBezTo>
                        <a:pt x="69" y="212"/>
                        <a:pt x="69" y="212"/>
                        <a:pt x="69" y="212"/>
                      </a:cubicBezTo>
                      <a:cubicBezTo>
                        <a:pt x="70" y="212"/>
                        <a:pt x="70" y="212"/>
                        <a:pt x="70" y="212"/>
                      </a:cubicBezTo>
                      <a:cubicBezTo>
                        <a:pt x="71" y="212"/>
                        <a:pt x="71" y="212"/>
                        <a:pt x="71" y="212"/>
                      </a:cubicBezTo>
                      <a:cubicBezTo>
                        <a:pt x="71" y="213"/>
                        <a:pt x="71" y="213"/>
                        <a:pt x="71" y="213"/>
                      </a:cubicBezTo>
                      <a:cubicBezTo>
                        <a:pt x="71" y="213"/>
                        <a:pt x="71" y="213"/>
                        <a:pt x="71" y="213"/>
                      </a:cubicBezTo>
                      <a:cubicBezTo>
                        <a:pt x="70" y="213"/>
                        <a:pt x="70" y="213"/>
                        <a:pt x="70" y="213"/>
                      </a:cubicBezTo>
                      <a:cubicBezTo>
                        <a:pt x="70" y="214"/>
                        <a:pt x="70" y="214"/>
                        <a:pt x="70" y="214"/>
                      </a:cubicBezTo>
                      <a:cubicBezTo>
                        <a:pt x="70" y="214"/>
                        <a:pt x="70" y="214"/>
                        <a:pt x="70" y="214"/>
                      </a:cubicBezTo>
                      <a:cubicBezTo>
                        <a:pt x="69" y="213"/>
                        <a:pt x="69" y="213"/>
                        <a:pt x="69" y="213"/>
                      </a:cubicBezTo>
                      <a:cubicBezTo>
                        <a:pt x="69" y="213"/>
                        <a:pt x="69" y="213"/>
                        <a:pt x="69" y="213"/>
                      </a:cubicBezTo>
                      <a:cubicBezTo>
                        <a:pt x="68" y="213"/>
                        <a:pt x="68" y="213"/>
                        <a:pt x="68" y="213"/>
                      </a:cubicBezTo>
                      <a:cubicBezTo>
                        <a:pt x="68" y="213"/>
                        <a:pt x="68" y="213"/>
                        <a:pt x="68" y="213"/>
                      </a:cubicBezTo>
                      <a:cubicBezTo>
                        <a:pt x="68" y="212"/>
                        <a:pt x="68" y="212"/>
                        <a:pt x="68" y="212"/>
                      </a:cubicBezTo>
                      <a:cubicBezTo>
                        <a:pt x="67" y="212"/>
                        <a:pt x="67" y="212"/>
                        <a:pt x="67" y="212"/>
                      </a:cubicBezTo>
                      <a:cubicBezTo>
                        <a:pt x="67" y="212"/>
                        <a:pt x="67" y="212"/>
                        <a:pt x="67" y="212"/>
                      </a:cubicBezTo>
                      <a:cubicBezTo>
                        <a:pt x="67" y="213"/>
                        <a:pt x="67" y="213"/>
                        <a:pt x="67" y="213"/>
                      </a:cubicBezTo>
                      <a:cubicBezTo>
                        <a:pt x="67" y="213"/>
                        <a:pt x="67" y="213"/>
                        <a:pt x="67" y="213"/>
                      </a:cubicBezTo>
                      <a:cubicBezTo>
                        <a:pt x="67" y="214"/>
                        <a:pt x="67" y="214"/>
                        <a:pt x="67" y="214"/>
                      </a:cubicBezTo>
                      <a:cubicBezTo>
                        <a:pt x="66" y="214"/>
                        <a:pt x="66" y="214"/>
                        <a:pt x="66" y="214"/>
                      </a:cubicBezTo>
                      <a:cubicBezTo>
                        <a:pt x="65" y="213"/>
                        <a:pt x="65" y="213"/>
                        <a:pt x="65" y="213"/>
                      </a:cubicBezTo>
                      <a:cubicBezTo>
                        <a:pt x="65" y="213"/>
                        <a:pt x="65" y="213"/>
                        <a:pt x="65" y="213"/>
                      </a:cubicBezTo>
                      <a:cubicBezTo>
                        <a:pt x="64" y="213"/>
                        <a:pt x="64" y="213"/>
                        <a:pt x="64" y="213"/>
                      </a:cubicBezTo>
                      <a:cubicBezTo>
                        <a:pt x="64" y="214"/>
                        <a:pt x="64" y="214"/>
                        <a:pt x="64" y="214"/>
                      </a:cubicBezTo>
                      <a:cubicBezTo>
                        <a:pt x="65" y="214"/>
                        <a:pt x="65" y="214"/>
                        <a:pt x="65" y="214"/>
                      </a:cubicBezTo>
                      <a:cubicBezTo>
                        <a:pt x="66" y="215"/>
                        <a:pt x="66" y="215"/>
                        <a:pt x="66" y="215"/>
                      </a:cubicBezTo>
                      <a:cubicBezTo>
                        <a:pt x="67" y="215"/>
                        <a:pt x="67" y="215"/>
                        <a:pt x="67" y="215"/>
                      </a:cubicBezTo>
                      <a:cubicBezTo>
                        <a:pt x="68" y="215"/>
                        <a:pt x="68" y="215"/>
                        <a:pt x="68" y="215"/>
                      </a:cubicBezTo>
                      <a:cubicBezTo>
                        <a:pt x="68" y="216"/>
                        <a:pt x="68" y="216"/>
                        <a:pt x="68" y="216"/>
                      </a:cubicBezTo>
                      <a:cubicBezTo>
                        <a:pt x="68" y="217"/>
                        <a:pt x="68" y="217"/>
                        <a:pt x="68" y="217"/>
                      </a:cubicBezTo>
                      <a:cubicBezTo>
                        <a:pt x="67" y="217"/>
                        <a:pt x="67" y="217"/>
                        <a:pt x="67" y="217"/>
                      </a:cubicBezTo>
                      <a:cubicBezTo>
                        <a:pt x="66" y="216"/>
                        <a:pt x="66" y="216"/>
                        <a:pt x="66" y="216"/>
                      </a:cubicBezTo>
                      <a:cubicBezTo>
                        <a:pt x="65" y="215"/>
                        <a:pt x="65" y="215"/>
                        <a:pt x="65" y="215"/>
                      </a:cubicBezTo>
                      <a:cubicBezTo>
                        <a:pt x="65" y="215"/>
                        <a:pt x="65" y="215"/>
                        <a:pt x="65" y="215"/>
                      </a:cubicBezTo>
                      <a:cubicBezTo>
                        <a:pt x="64" y="215"/>
                        <a:pt x="64" y="215"/>
                        <a:pt x="64" y="215"/>
                      </a:cubicBezTo>
                      <a:cubicBezTo>
                        <a:pt x="64" y="215"/>
                        <a:pt x="64" y="215"/>
                        <a:pt x="64" y="215"/>
                      </a:cubicBezTo>
                      <a:cubicBezTo>
                        <a:pt x="65" y="216"/>
                        <a:pt x="65" y="216"/>
                        <a:pt x="65" y="216"/>
                      </a:cubicBezTo>
                      <a:cubicBezTo>
                        <a:pt x="66" y="216"/>
                        <a:pt x="66" y="216"/>
                        <a:pt x="66" y="216"/>
                      </a:cubicBezTo>
                      <a:cubicBezTo>
                        <a:pt x="67" y="217"/>
                        <a:pt x="67" y="217"/>
                        <a:pt x="67" y="217"/>
                      </a:cubicBezTo>
                      <a:cubicBezTo>
                        <a:pt x="67" y="217"/>
                        <a:pt x="67" y="217"/>
                        <a:pt x="67" y="217"/>
                      </a:cubicBezTo>
                      <a:cubicBezTo>
                        <a:pt x="67" y="218"/>
                        <a:pt x="67" y="218"/>
                        <a:pt x="67" y="218"/>
                      </a:cubicBezTo>
                      <a:cubicBezTo>
                        <a:pt x="67" y="219"/>
                        <a:pt x="67" y="219"/>
                        <a:pt x="67" y="219"/>
                      </a:cubicBezTo>
                      <a:cubicBezTo>
                        <a:pt x="67" y="219"/>
                        <a:pt x="67" y="219"/>
                        <a:pt x="67" y="219"/>
                      </a:cubicBezTo>
                      <a:cubicBezTo>
                        <a:pt x="67" y="219"/>
                        <a:pt x="67" y="219"/>
                        <a:pt x="67" y="219"/>
                      </a:cubicBezTo>
                      <a:cubicBezTo>
                        <a:pt x="67" y="220"/>
                        <a:pt x="67" y="220"/>
                        <a:pt x="67" y="220"/>
                      </a:cubicBezTo>
                      <a:cubicBezTo>
                        <a:pt x="67" y="220"/>
                        <a:pt x="67" y="220"/>
                        <a:pt x="67" y="220"/>
                      </a:cubicBezTo>
                      <a:cubicBezTo>
                        <a:pt x="66" y="221"/>
                        <a:pt x="66" y="221"/>
                        <a:pt x="66" y="221"/>
                      </a:cubicBezTo>
                      <a:cubicBezTo>
                        <a:pt x="66" y="221"/>
                        <a:pt x="66" y="221"/>
                        <a:pt x="66" y="221"/>
                      </a:cubicBezTo>
                      <a:cubicBezTo>
                        <a:pt x="65" y="220"/>
                        <a:pt x="65" y="220"/>
                        <a:pt x="65" y="220"/>
                      </a:cubicBezTo>
                      <a:cubicBezTo>
                        <a:pt x="65" y="220"/>
                        <a:pt x="65" y="220"/>
                        <a:pt x="65" y="220"/>
                      </a:cubicBezTo>
                      <a:cubicBezTo>
                        <a:pt x="64" y="220"/>
                        <a:pt x="64" y="220"/>
                        <a:pt x="64" y="220"/>
                      </a:cubicBezTo>
                      <a:cubicBezTo>
                        <a:pt x="64" y="220"/>
                        <a:pt x="64" y="220"/>
                        <a:pt x="64" y="220"/>
                      </a:cubicBezTo>
                      <a:cubicBezTo>
                        <a:pt x="64" y="220"/>
                        <a:pt x="64" y="220"/>
                        <a:pt x="64" y="220"/>
                      </a:cubicBezTo>
                      <a:cubicBezTo>
                        <a:pt x="64" y="221"/>
                        <a:pt x="64" y="221"/>
                        <a:pt x="64" y="221"/>
                      </a:cubicBezTo>
                      <a:cubicBezTo>
                        <a:pt x="65" y="221"/>
                        <a:pt x="65" y="221"/>
                        <a:pt x="65" y="221"/>
                      </a:cubicBezTo>
                      <a:cubicBezTo>
                        <a:pt x="65" y="221"/>
                        <a:pt x="65" y="221"/>
                        <a:pt x="65" y="221"/>
                      </a:cubicBezTo>
                      <a:cubicBezTo>
                        <a:pt x="65" y="222"/>
                        <a:pt x="65" y="222"/>
                        <a:pt x="65" y="222"/>
                      </a:cubicBezTo>
                      <a:cubicBezTo>
                        <a:pt x="64" y="222"/>
                        <a:pt x="64" y="222"/>
                        <a:pt x="64" y="222"/>
                      </a:cubicBezTo>
                      <a:cubicBezTo>
                        <a:pt x="64" y="221"/>
                        <a:pt x="64" y="221"/>
                        <a:pt x="64" y="221"/>
                      </a:cubicBezTo>
                      <a:cubicBezTo>
                        <a:pt x="64" y="221"/>
                        <a:pt x="64" y="221"/>
                        <a:pt x="64" y="221"/>
                      </a:cubicBezTo>
                      <a:cubicBezTo>
                        <a:pt x="64" y="222"/>
                        <a:pt x="64" y="222"/>
                        <a:pt x="64" y="222"/>
                      </a:cubicBezTo>
                      <a:cubicBezTo>
                        <a:pt x="64" y="222"/>
                        <a:pt x="64" y="222"/>
                        <a:pt x="64" y="222"/>
                      </a:cubicBezTo>
                      <a:cubicBezTo>
                        <a:pt x="65" y="222"/>
                        <a:pt x="65" y="222"/>
                        <a:pt x="65" y="222"/>
                      </a:cubicBezTo>
                      <a:cubicBezTo>
                        <a:pt x="65" y="223"/>
                        <a:pt x="65" y="223"/>
                        <a:pt x="65" y="223"/>
                      </a:cubicBezTo>
                      <a:cubicBezTo>
                        <a:pt x="64" y="223"/>
                        <a:pt x="64" y="223"/>
                        <a:pt x="64" y="223"/>
                      </a:cubicBezTo>
                      <a:cubicBezTo>
                        <a:pt x="64" y="223"/>
                        <a:pt x="64" y="223"/>
                        <a:pt x="64" y="223"/>
                      </a:cubicBezTo>
                      <a:cubicBezTo>
                        <a:pt x="63" y="223"/>
                        <a:pt x="63" y="223"/>
                        <a:pt x="63" y="223"/>
                      </a:cubicBezTo>
                      <a:cubicBezTo>
                        <a:pt x="63" y="223"/>
                        <a:pt x="63" y="223"/>
                        <a:pt x="63" y="223"/>
                      </a:cubicBezTo>
                      <a:cubicBezTo>
                        <a:pt x="62" y="223"/>
                        <a:pt x="62" y="223"/>
                        <a:pt x="62" y="223"/>
                      </a:cubicBezTo>
                      <a:cubicBezTo>
                        <a:pt x="62" y="223"/>
                        <a:pt x="62" y="223"/>
                        <a:pt x="62" y="223"/>
                      </a:cubicBezTo>
                      <a:cubicBezTo>
                        <a:pt x="63" y="223"/>
                        <a:pt x="63" y="223"/>
                        <a:pt x="63" y="223"/>
                      </a:cubicBezTo>
                      <a:cubicBezTo>
                        <a:pt x="64" y="224"/>
                        <a:pt x="64" y="224"/>
                        <a:pt x="64" y="224"/>
                      </a:cubicBezTo>
                      <a:cubicBezTo>
                        <a:pt x="64" y="224"/>
                        <a:pt x="64" y="224"/>
                        <a:pt x="64" y="224"/>
                      </a:cubicBezTo>
                      <a:cubicBezTo>
                        <a:pt x="63" y="225"/>
                        <a:pt x="63" y="225"/>
                        <a:pt x="63" y="225"/>
                      </a:cubicBezTo>
                      <a:cubicBezTo>
                        <a:pt x="62" y="225"/>
                        <a:pt x="62" y="225"/>
                        <a:pt x="62" y="225"/>
                      </a:cubicBezTo>
                      <a:cubicBezTo>
                        <a:pt x="61" y="224"/>
                        <a:pt x="61" y="224"/>
                        <a:pt x="61" y="224"/>
                      </a:cubicBezTo>
                      <a:cubicBezTo>
                        <a:pt x="61" y="224"/>
                        <a:pt x="61" y="224"/>
                        <a:pt x="61" y="224"/>
                      </a:cubicBezTo>
                      <a:cubicBezTo>
                        <a:pt x="61" y="224"/>
                        <a:pt x="61" y="224"/>
                        <a:pt x="61" y="224"/>
                      </a:cubicBezTo>
                      <a:cubicBezTo>
                        <a:pt x="62" y="225"/>
                        <a:pt x="62" y="225"/>
                        <a:pt x="62" y="225"/>
                      </a:cubicBezTo>
                      <a:cubicBezTo>
                        <a:pt x="63" y="225"/>
                        <a:pt x="63" y="225"/>
                        <a:pt x="63" y="225"/>
                      </a:cubicBezTo>
                      <a:cubicBezTo>
                        <a:pt x="64" y="225"/>
                        <a:pt x="64" y="225"/>
                        <a:pt x="64" y="225"/>
                      </a:cubicBezTo>
                      <a:cubicBezTo>
                        <a:pt x="64" y="226"/>
                        <a:pt x="64" y="226"/>
                        <a:pt x="64" y="226"/>
                      </a:cubicBezTo>
                      <a:cubicBezTo>
                        <a:pt x="64" y="226"/>
                        <a:pt x="64" y="226"/>
                        <a:pt x="64" y="226"/>
                      </a:cubicBezTo>
                      <a:cubicBezTo>
                        <a:pt x="63" y="226"/>
                        <a:pt x="63" y="226"/>
                        <a:pt x="63" y="226"/>
                      </a:cubicBezTo>
                      <a:cubicBezTo>
                        <a:pt x="62" y="226"/>
                        <a:pt x="62" y="226"/>
                        <a:pt x="62" y="226"/>
                      </a:cubicBezTo>
                      <a:cubicBezTo>
                        <a:pt x="61" y="226"/>
                        <a:pt x="61" y="226"/>
                        <a:pt x="61" y="226"/>
                      </a:cubicBezTo>
                      <a:cubicBezTo>
                        <a:pt x="60" y="226"/>
                        <a:pt x="60" y="226"/>
                        <a:pt x="60" y="226"/>
                      </a:cubicBezTo>
                      <a:cubicBezTo>
                        <a:pt x="60" y="226"/>
                        <a:pt x="60" y="226"/>
                        <a:pt x="60" y="226"/>
                      </a:cubicBezTo>
                      <a:cubicBezTo>
                        <a:pt x="61" y="226"/>
                        <a:pt x="61" y="226"/>
                        <a:pt x="61" y="226"/>
                      </a:cubicBezTo>
                      <a:cubicBezTo>
                        <a:pt x="62" y="227"/>
                        <a:pt x="62" y="227"/>
                        <a:pt x="62" y="227"/>
                      </a:cubicBezTo>
                      <a:cubicBezTo>
                        <a:pt x="62" y="227"/>
                        <a:pt x="62" y="227"/>
                        <a:pt x="62" y="227"/>
                      </a:cubicBezTo>
                      <a:cubicBezTo>
                        <a:pt x="62" y="227"/>
                        <a:pt x="62" y="227"/>
                        <a:pt x="62" y="227"/>
                      </a:cubicBezTo>
                      <a:cubicBezTo>
                        <a:pt x="61" y="227"/>
                        <a:pt x="61" y="227"/>
                        <a:pt x="61" y="227"/>
                      </a:cubicBezTo>
                      <a:cubicBezTo>
                        <a:pt x="61" y="227"/>
                        <a:pt x="61" y="227"/>
                        <a:pt x="61" y="227"/>
                      </a:cubicBezTo>
                      <a:cubicBezTo>
                        <a:pt x="62" y="227"/>
                        <a:pt x="62" y="227"/>
                        <a:pt x="62" y="227"/>
                      </a:cubicBezTo>
                      <a:cubicBezTo>
                        <a:pt x="63" y="228"/>
                        <a:pt x="63" y="228"/>
                        <a:pt x="63" y="228"/>
                      </a:cubicBezTo>
                      <a:cubicBezTo>
                        <a:pt x="63" y="228"/>
                        <a:pt x="63" y="228"/>
                        <a:pt x="63" y="228"/>
                      </a:cubicBezTo>
                      <a:cubicBezTo>
                        <a:pt x="62" y="228"/>
                        <a:pt x="62" y="228"/>
                        <a:pt x="62" y="228"/>
                      </a:cubicBezTo>
                      <a:cubicBezTo>
                        <a:pt x="61" y="228"/>
                        <a:pt x="61" y="228"/>
                        <a:pt x="61" y="228"/>
                      </a:cubicBezTo>
                      <a:cubicBezTo>
                        <a:pt x="61" y="228"/>
                        <a:pt x="61" y="228"/>
                        <a:pt x="61" y="228"/>
                      </a:cubicBezTo>
                      <a:cubicBezTo>
                        <a:pt x="61" y="229"/>
                        <a:pt x="61" y="229"/>
                        <a:pt x="61" y="229"/>
                      </a:cubicBezTo>
                      <a:cubicBezTo>
                        <a:pt x="61" y="229"/>
                        <a:pt x="61" y="229"/>
                        <a:pt x="61" y="229"/>
                      </a:cubicBezTo>
                      <a:cubicBezTo>
                        <a:pt x="62" y="229"/>
                        <a:pt x="62" y="229"/>
                        <a:pt x="62" y="229"/>
                      </a:cubicBezTo>
                      <a:cubicBezTo>
                        <a:pt x="63" y="229"/>
                        <a:pt x="63" y="229"/>
                        <a:pt x="63" y="229"/>
                      </a:cubicBezTo>
                      <a:cubicBezTo>
                        <a:pt x="63" y="229"/>
                        <a:pt x="63" y="229"/>
                        <a:pt x="63" y="229"/>
                      </a:cubicBezTo>
                      <a:cubicBezTo>
                        <a:pt x="62" y="230"/>
                        <a:pt x="62" y="230"/>
                        <a:pt x="62" y="230"/>
                      </a:cubicBezTo>
                      <a:cubicBezTo>
                        <a:pt x="61" y="230"/>
                        <a:pt x="61" y="230"/>
                        <a:pt x="61" y="230"/>
                      </a:cubicBezTo>
                      <a:cubicBezTo>
                        <a:pt x="61" y="230"/>
                        <a:pt x="61" y="230"/>
                        <a:pt x="61" y="230"/>
                      </a:cubicBezTo>
                      <a:cubicBezTo>
                        <a:pt x="60" y="229"/>
                        <a:pt x="60" y="229"/>
                        <a:pt x="60" y="229"/>
                      </a:cubicBezTo>
                      <a:cubicBezTo>
                        <a:pt x="60" y="229"/>
                        <a:pt x="60" y="229"/>
                        <a:pt x="60" y="229"/>
                      </a:cubicBezTo>
                      <a:cubicBezTo>
                        <a:pt x="59" y="228"/>
                        <a:pt x="59" y="228"/>
                        <a:pt x="59" y="228"/>
                      </a:cubicBezTo>
                      <a:cubicBezTo>
                        <a:pt x="59" y="228"/>
                        <a:pt x="59" y="228"/>
                        <a:pt x="59" y="228"/>
                      </a:cubicBezTo>
                      <a:cubicBezTo>
                        <a:pt x="59" y="229"/>
                        <a:pt x="59" y="229"/>
                        <a:pt x="59" y="229"/>
                      </a:cubicBezTo>
                      <a:cubicBezTo>
                        <a:pt x="58" y="228"/>
                        <a:pt x="58" y="228"/>
                        <a:pt x="58" y="228"/>
                      </a:cubicBezTo>
                      <a:cubicBezTo>
                        <a:pt x="58" y="229"/>
                        <a:pt x="58" y="229"/>
                        <a:pt x="58" y="229"/>
                      </a:cubicBezTo>
                      <a:cubicBezTo>
                        <a:pt x="58" y="229"/>
                        <a:pt x="58" y="229"/>
                        <a:pt x="58" y="229"/>
                      </a:cubicBezTo>
                      <a:cubicBezTo>
                        <a:pt x="59" y="230"/>
                        <a:pt x="59" y="230"/>
                        <a:pt x="59" y="230"/>
                      </a:cubicBezTo>
                      <a:cubicBezTo>
                        <a:pt x="60" y="230"/>
                        <a:pt x="60" y="230"/>
                        <a:pt x="60" y="230"/>
                      </a:cubicBezTo>
                      <a:cubicBezTo>
                        <a:pt x="60" y="230"/>
                        <a:pt x="60" y="230"/>
                        <a:pt x="60" y="230"/>
                      </a:cubicBezTo>
                      <a:cubicBezTo>
                        <a:pt x="60" y="231"/>
                        <a:pt x="60" y="231"/>
                        <a:pt x="60" y="231"/>
                      </a:cubicBezTo>
                      <a:cubicBezTo>
                        <a:pt x="60" y="231"/>
                        <a:pt x="60" y="231"/>
                        <a:pt x="60" y="231"/>
                      </a:cubicBezTo>
                      <a:cubicBezTo>
                        <a:pt x="60" y="231"/>
                        <a:pt x="60" y="231"/>
                        <a:pt x="60" y="231"/>
                      </a:cubicBezTo>
                      <a:cubicBezTo>
                        <a:pt x="61" y="231"/>
                        <a:pt x="61" y="231"/>
                        <a:pt x="61" y="231"/>
                      </a:cubicBezTo>
                      <a:cubicBezTo>
                        <a:pt x="61" y="231"/>
                        <a:pt x="61" y="231"/>
                        <a:pt x="61" y="231"/>
                      </a:cubicBezTo>
                      <a:cubicBezTo>
                        <a:pt x="62" y="231"/>
                        <a:pt x="62" y="231"/>
                        <a:pt x="62" y="231"/>
                      </a:cubicBezTo>
                      <a:cubicBezTo>
                        <a:pt x="62" y="232"/>
                        <a:pt x="62" y="232"/>
                        <a:pt x="62" y="232"/>
                      </a:cubicBezTo>
                      <a:cubicBezTo>
                        <a:pt x="61" y="232"/>
                        <a:pt x="61" y="232"/>
                        <a:pt x="61" y="232"/>
                      </a:cubicBezTo>
                      <a:cubicBezTo>
                        <a:pt x="61" y="232"/>
                        <a:pt x="61" y="232"/>
                        <a:pt x="61" y="232"/>
                      </a:cubicBezTo>
                      <a:cubicBezTo>
                        <a:pt x="61" y="232"/>
                        <a:pt x="61" y="232"/>
                        <a:pt x="61" y="232"/>
                      </a:cubicBezTo>
                      <a:cubicBezTo>
                        <a:pt x="60" y="232"/>
                        <a:pt x="60" y="232"/>
                        <a:pt x="60" y="232"/>
                      </a:cubicBezTo>
                      <a:close/>
                      <a:moveTo>
                        <a:pt x="59" y="233"/>
                      </a:moveTo>
                      <a:cubicBezTo>
                        <a:pt x="58" y="232"/>
                        <a:pt x="58" y="232"/>
                        <a:pt x="58" y="232"/>
                      </a:cubicBezTo>
                      <a:cubicBezTo>
                        <a:pt x="57" y="232"/>
                        <a:pt x="57" y="232"/>
                        <a:pt x="57" y="232"/>
                      </a:cubicBezTo>
                      <a:cubicBezTo>
                        <a:pt x="57" y="232"/>
                        <a:pt x="57" y="232"/>
                        <a:pt x="57" y="232"/>
                      </a:cubicBezTo>
                      <a:cubicBezTo>
                        <a:pt x="58" y="233"/>
                        <a:pt x="58" y="233"/>
                        <a:pt x="58" y="233"/>
                      </a:cubicBezTo>
                      <a:cubicBezTo>
                        <a:pt x="59" y="233"/>
                        <a:pt x="59" y="233"/>
                        <a:pt x="59" y="233"/>
                      </a:cubicBezTo>
                      <a:cubicBezTo>
                        <a:pt x="59" y="233"/>
                        <a:pt x="59" y="233"/>
                        <a:pt x="59" y="233"/>
                      </a:cubicBezTo>
                      <a:close/>
                      <a:moveTo>
                        <a:pt x="134" y="157"/>
                      </a:moveTo>
                      <a:cubicBezTo>
                        <a:pt x="134" y="157"/>
                        <a:pt x="134" y="157"/>
                        <a:pt x="134" y="157"/>
                      </a:cubicBezTo>
                      <a:cubicBezTo>
                        <a:pt x="135" y="157"/>
                        <a:pt x="135" y="157"/>
                        <a:pt x="135" y="157"/>
                      </a:cubicBezTo>
                      <a:cubicBezTo>
                        <a:pt x="137" y="157"/>
                        <a:pt x="137" y="157"/>
                        <a:pt x="137" y="157"/>
                      </a:cubicBezTo>
                      <a:cubicBezTo>
                        <a:pt x="139" y="157"/>
                        <a:pt x="139" y="157"/>
                        <a:pt x="139" y="157"/>
                      </a:cubicBezTo>
                      <a:cubicBezTo>
                        <a:pt x="140" y="157"/>
                        <a:pt x="140" y="157"/>
                        <a:pt x="140" y="157"/>
                      </a:cubicBezTo>
                      <a:cubicBezTo>
                        <a:pt x="141" y="156"/>
                        <a:pt x="141" y="156"/>
                        <a:pt x="141" y="156"/>
                      </a:cubicBezTo>
                      <a:cubicBezTo>
                        <a:pt x="142" y="157"/>
                        <a:pt x="142" y="157"/>
                        <a:pt x="142" y="157"/>
                      </a:cubicBezTo>
                      <a:cubicBezTo>
                        <a:pt x="143" y="157"/>
                        <a:pt x="143" y="157"/>
                        <a:pt x="143" y="157"/>
                      </a:cubicBezTo>
                      <a:cubicBezTo>
                        <a:pt x="144" y="157"/>
                        <a:pt x="144" y="157"/>
                        <a:pt x="144" y="157"/>
                      </a:cubicBezTo>
                      <a:cubicBezTo>
                        <a:pt x="145" y="156"/>
                        <a:pt x="145" y="156"/>
                        <a:pt x="145" y="156"/>
                      </a:cubicBezTo>
                      <a:cubicBezTo>
                        <a:pt x="145" y="154"/>
                        <a:pt x="145" y="154"/>
                        <a:pt x="145" y="154"/>
                      </a:cubicBezTo>
                      <a:cubicBezTo>
                        <a:pt x="144" y="153"/>
                        <a:pt x="144" y="153"/>
                        <a:pt x="144" y="153"/>
                      </a:cubicBezTo>
                      <a:cubicBezTo>
                        <a:pt x="144" y="152"/>
                        <a:pt x="144" y="152"/>
                        <a:pt x="144" y="152"/>
                      </a:cubicBezTo>
                      <a:cubicBezTo>
                        <a:pt x="143" y="152"/>
                        <a:pt x="143" y="152"/>
                        <a:pt x="143" y="152"/>
                      </a:cubicBezTo>
                      <a:cubicBezTo>
                        <a:pt x="140" y="153"/>
                        <a:pt x="140" y="153"/>
                        <a:pt x="140" y="153"/>
                      </a:cubicBezTo>
                      <a:cubicBezTo>
                        <a:pt x="138" y="154"/>
                        <a:pt x="138" y="154"/>
                        <a:pt x="138" y="154"/>
                      </a:cubicBezTo>
                      <a:cubicBezTo>
                        <a:pt x="137" y="154"/>
                        <a:pt x="137" y="154"/>
                        <a:pt x="137" y="154"/>
                      </a:cubicBezTo>
                      <a:cubicBezTo>
                        <a:pt x="136" y="155"/>
                        <a:pt x="136" y="155"/>
                        <a:pt x="136" y="155"/>
                      </a:cubicBezTo>
                      <a:cubicBezTo>
                        <a:pt x="136" y="156"/>
                        <a:pt x="136" y="156"/>
                        <a:pt x="136" y="156"/>
                      </a:cubicBezTo>
                      <a:cubicBezTo>
                        <a:pt x="134" y="156"/>
                        <a:pt x="134" y="156"/>
                        <a:pt x="134" y="156"/>
                      </a:cubicBezTo>
                      <a:cubicBezTo>
                        <a:pt x="134" y="156"/>
                        <a:pt x="134" y="156"/>
                        <a:pt x="134" y="156"/>
                      </a:cubicBezTo>
                      <a:cubicBezTo>
                        <a:pt x="134" y="157"/>
                        <a:pt x="134" y="157"/>
                        <a:pt x="134" y="157"/>
                      </a:cubicBezTo>
                      <a:close/>
                      <a:moveTo>
                        <a:pt x="63" y="227"/>
                      </a:moveTo>
                      <a:cubicBezTo>
                        <a:pt x="63" y="227"/>
                        <a:pt x="63" y="227"/>
                        <a:pt x="63" y="227"/>
                      </a:cubicBezTo>
                      <a:cubicBezTo>
                        <a:pt x="64" y="227"/>
                        <a:pt x="64" y="227"/>
                        <a:pt x="64" y="227"/>
                      </a:cubicBezTo>
                      <a:cubicBezTo>
                        <a:pt x="63" y="227"/>
                        <a:pt x="63" y="227"/>
                        <a:pt x="63" y="227"/>
                      </a:cubicBezTo>
                      <a:cubicBezTo>
                        <a:pt x="63" y="227"/>
                        <a:pt x="63" y="227"/>
                        <a:pt x="63" y="227"/>
                      </a:cubicBezTo>
                      <a:cubicBezTo>
                        <a:pt x="63" y="227"/>
                        <a:pt x="63" y="227"/>
                        <a:pt x="63" y="227"/>
                      </a:cubicBezTo>
                      <a:close/>
                      <a:moveTo>
                        <a:pt x="67" y="218"/>
                      </a:moveTo>
                      <a:cubicBezTo>
                        <a:pt x="68" y="218"/>
                        <a:pt x="68" y="218"/>
                        <a:pt x="68" y="218"/>
                      </a:cubicBezTo>
                      <a:cubicBezTo>
                        <a:pt x="68" y="218"/>
                        <a:pt x="68" y="218"/>
                        <a:pt x="68" y="218"/>
                      </a:cubicBezTo>
                      <a:cubicBezTo>
                        <a:pt x="67" y="218"/>
                        <a:pt x="67" y="218"/>
                        <a:pt x="67" y="218"/>
                      </a:cubicBezTo>
                      <a:close/>
                      <a:moveTo>
                        <a:pt x="68" y="217"/>
                      </a:moveTo>
                      <a:cubicBezTo>
                        <a:pt x="68" y="218"/>
                        <a:pt x="68" y="218"/>
                        <a:pt x="68" y="218"/>
                      </a:cubicBezTo>
                      <a:cubicBezTo>
                        <a:pt x="68" y="217"/>
                        <a:pt x="68" y="217"/>
                        <a:pt x="68" y="217"/>
                      </a:cubicBezTo>
                      <a:cubicBezTo>
                        <a:pt x="68" y="217"/>
                        <a:pt x="68" y="217"/>
                        <a:pt x="68" y="217"/>
                      </a:cubicBezTo>
                      <a:cubicBezTo>
                        <a:pt x="68" y="217"/>
                        <a:pt x="68" y="217"/>
                        <a:pt x="68" y="217"/>
                      </a:cubicBezTo>
                      <a:close/>
                      <a:moveTo>
                        <a:pt x="68" y="216"/>
                      </a:moveTo>
                      <a:cubicBezTo>
                        <a:pt x="68" y="216"/>
                        <a:pt x="68" y="216"/>
                        <a:pt x="68" y="216"/>
                      </a:cubicBezTo>
                      <a:cubicBezTo>
                        <a:pt x="69" y="216"/>
                        <a:pt x="69" y="216"/>
                        <a:pt x="69" y="216"/>
                      </a:cubicBezTo>
                      <a:cubicBezTo>
                        <a:pt x="69" y="216"/>
                        <a:pt x="69" y="216"/>
                        <a:pt x="69" y="216"/>
                      </a:cubicBezTo>
                      <a:cubicBezTo>
                        <a:pt x="68" y="216"/>
                        <a:pt x="68" y="216"/>
                        <a:pt x="68" y="216"/>
                      </a:cubicBezTo>
                      <a:cubicBezTo>
                        <a:pt x="68" y="216"/>
                        <a:pt x="68" y="216"/>
                        <a:pt x="68" y="216"/>
                      </a:cubicBezTo>
                      <a:close/>
                      <a:moveTo>
                        <a:pt x="67" y="214"/>
                      </a:moveTo>
                      <a:cubicBezTo>
                        <a:pt x="68" y="214"/>
                        <a:pt x="68" y="214"/>
                        <a:pt x="68" y="214"/>
                      </a:cubicBezTo>
                      <a:cubicBezTo>
                        <a:pt x="68" y="214"/>
                        <a:pt x="68" y="214"/>
                        <a:pt x="68" y="214"/>
                      </a:cubicBezTo>
                      <a:cubicBezTo>
                        <a:pt x="69" y="215"/>
                        <a:pt x="69" y="215"/>
                        <a:pt x="69" y="215"/>
                      </a:cubicBezTo>
                      <a:cubicBezTo>
                        <a:pt x="70" y="215"/>
                        <a:pt x="70" y="215"/>
                        <a:pt x="70" y="215"/>
                      </a:cubicBezTo>
                      <a:cubicBezTo>
                        <a:pt x="70" y="214"/>
                        <a:pt x="70" y="214"/>
                        <a:pt x="70" y="214"/>
                      </a:cubicBezTo>
                      <a:cubicBezTo>
                        <a:pt x="69" y="214"/>
                        <a:pt x="69" y="214"/>
                        <a:pt x="69" y="214"/>
                      </a:cubicBezTo>
                      <a:cubicBezTo>
                        <a:pt x="68" y="214"/>
                        <a:pt x="68" y="214"/>
                        <a:pt x="68" y="214"/>
                      </a:cubicBezTo>
                      <a:cubicBezTo>
                        <a:pt x="68" y="214"/>
                        <a:pt x="68" y="214"/>
                        <a:pt x="68" y="214"/>
                      </a:cubicBezTo>
                      <a:cubicBezTo>
                        <a:pt x="67" y="214"/>
                        <a:pt x="67" y="214"/>
                        <a:pt x="67" y="214"/>
                      </a:cubicBezTo>
                      <a:close/>
                      <a:moveTo>
                        <a:pt x="72" y="213"/>
                      </a:moveTo>
                      <a:cubicBezTo>
                        <a:pt x="72" y="213"/>
                        <a:pt x="72" y="213"/>
                        <a:pt x="72" y="213"/>
                      </a:cubicBezTo>
                      <a:cubicBezTo>
                        <a:pt x="72" y="212"/>
                        <a:pt x="72" y="212"/>
                        <a:pt x="72" y="212"/>
                      </a:cubicBezTo>
                      <a:cubicBezTo>
                        <a:pt x="72" y="213"/>
                        <a:pt x="72" y="213"/>
                        <a:pt x="72" y="213"/>
                      </a:cubicBezTo>
                      <a:cubicBezTo>
                        <a:pt x="72" y="213"/>
                        <a:pt x="72" y="213"/>
                        <a:pt x="72" y="213"/>
                      </a:cubicBezTo>
                      <a:close/>
                      <a:moveTo>
                        <a:pt x="71" y="208"/>
                      </a:moveTo>
                      <a:cubicBezTo>
                        <a:pt x="71" y="208"/>
                        <a:pt x="71" y="208"/>
                        <a:pt x="71" y="208"/>
                      </a:cubicBezTo>
                      <a:cubicBezTo>
                        <a:pt x="72" y="209"/>
                        <a:pt x="72" y="209"/>
                        <a:pt x="72" y="209"/>
                      </a:cubicBezTo>
                      <a:cubicBezTo>
                        <a:pt x="73" y="209"/>
                        <a:pt x="73" y="209"/>
                        <a:pt x="73" y="209"/>
                      </a:cubicBezTo>
                      <a:cubicBezTo>
                        <a:pt x="73" y="210"/>
                        <a:pt x="73" y="210"/>
                        <a:pt x="73" y="210"/>
                      </a:cubicBezTo>
                      <a:cubicBezTo>
                        <a:pt x="73" y="209"/>
                        <a:pt x="73" y="209"/>
                        <a:pt x="73" y="209"/>
                      </a:cubicBezTo>
                      <a:cubicBezTo>
                        <a:pt x="73" y="209"/>
                        <a:pt x="73" y="209"/>
                        <a:pt x="73" y="209"/>
                      </a:cubicBezTo>
                      <a:cubicBezTo>
                        <a:pt x="72" y="208"/>
                        <a:pt x="72" y="208"/>
                        <a:pt x="72" y="208"/>
                      </a:cubicBezTo>
                      <a:cubicBezTo>
                        <a:pt x="71" y="208"/>
                        <a:pt x="71" y="208"/>
                        <a:pt x="71" y="208"/>
                      </a:cubicBezTo>
                      <a:cubicBezTo>
                        <a:pt x="71" y="208"/>
                        <a:pt x="71" y="208"/>
                        <a:pt x="71" y="208"/>
                      </a:cubicBezTo>
                      <a:close/>
                      <a:moveTo>
                        <a:pt x="77" y="198"/>
                      </a:moveTo>
                      <a:cubicBezTo>
                        <a:pt x="77" y="199"/>
                        <a:pt x="77" y="199"/>
                        <a:pt x="77" y="199"/>
                      </a:cubicBezTo>
                      <a:cubicBezTo>
                        <a:pt x="78" y="199"/>
                        <a:pt x="78" y="199"/>
                        <a:pt x="78" y="199"/>
                      </a:cubicBezTo>
                      <a:cubicBezTo>
                        <a:pt x="78" y="200"/>
                        <a:pt x="78" y="200"/>
                        <a:pt x="78" y="200"/>
                      </a:cubicBezTo>
                      <a:cubicBezTo>
                        <a:pt x="78" y="201"/>
                        <a:pt x="78" y="201"/>
                        <a:pt x="78" y="201"/>
                      </a:cubicBezTo>
                      <a:cubicBezTo>
                        <a:pt x="78" y="201"/>
                        <a:pt x="78" y="201"/>
                        <a:pt x="78" y="201"/>
                      </a:cubicBezTo>
                      <a:cubicBezTo>
                        <a:pt x="78" y="200"/>
                        <a:pt x="78" y="200"/>
                        <a:pt x="78" y="200"/>
                      </a:cubicBezTo>
                      <a:cubicBezTo>
                        <a:pt x="78" y="199"/>
                        <a:pt x="78" y="199"/>
                        <a:pt x="78" y="199"/>
                      </a:cubicBezTo>
                      <a:cubicBezTo>
                        <a:pt x="78" y="199"/>
                        <a:pt x="78" y="199"/>
                        <a:pt x="78" y="199"/>
                      </a:cubicBezTo>
                      <a:cubicBezTo>
                        <a:pt x="78" y="198"/>
                        <a:pt x="78" y="198"/>
                        <a:pt x="78" y="198"/>
                      </a:cubicBezTo>
                      <a:cubicBezTo>
                        <a:pt x="77" y="198"/>
                        <a:pt x="77" y="198"/>
                        <a:pt x="77" y="198"/>
                      </a:cubicBezTo>
                      <a:cubicBezTo>
                        <a:pt x="77" y="198"/>
                        <a:pt x="77" y="198"/>
                        <a:pt x="77" y="198"/>
                      </a:cubicBezTo>
                      <a:close/>
                      <a:moveTo>
                        <a:pt x="82" y="196"/>
                      </a:moveTo>
                      <a:cubicBezTo>
                        <a:pt x="82" y="196"/>
                        <a:pt x="82" y="196"/>
                        <a:pt x="82" y="196"/>
                      </a:cubicBezTo>
                      <a:cubicBezTo>
                        <a:pt x="82" y="196"/>
                        <a:pt x="82" y="196"/>
                        <a:pt x="82" y="196"/>
                      </a:cubicBezTo>
                      <a:cubicBezTo>
                        <a:pt x="82" y="196"/>
                        <a:pt x="82" y="196"/>
                        <a:pt x="82" y="196"/>
                      </a:cubicBezTo>
                      <a:cubicBezTo>
                        <a:pt x="82" y="195"/>
                        <a:pt x="82" y="195"/>
                        <a:pt x="82" y="195"/>
                      </a:cubicBezTo>
                      <a:cubicBezTo>
                        <a:pt x="82" y="196"/>
                        <a:pt x="82" y="196"/>
                        <a:pt x="82" y="196"/>
                      </a:cubicBezTo>
                      <a:close/>
                      <a:moveTo>
                        <a:pt x="83" y="195"/>
                      </a:moveTo>
                      <a:cubicBezTo>
                        <a:pt x="83" y="195"/>
                        <a:pt x="83" y="195"/>
                        <a:pt x="83" y="195"/>
                      </a:cubicBezTo>
                      <a:cubicBezTo>
                        <a:pt x="83" y="195"/>
                        <a:pt x="83" y="195"/>
                        <a:pt x="83" y="195"/>
                      </a:cubicBezTo>
                      <a:cubicBezTo>
                        <a:pt x="83" y="194"/>
                        <a:pt x="83" y="194"/>
                        <a:pt x="83" y="194"/>
                      </a:cubicBezTo>
                      <a:cubicBezTo>
                        <a:pt x="83" y="195"/>
                        <a:pt x="83" y="195"/>
                        <a:pt x="83" y="195"/>
                      </a:cubicBezTo>
                      <a:close/>
                      <a:moveTo>
                        <a:pt x="91" y="194"/>
                      </a:moveTo>
                      <a:cubicBezTo>
                        <a:pt x="91" y="193"/>
                        <a:pt x="91" y="193"/>
                        <a:pt x="91" y="193"/>
                      </a:cubicBezTo>
                      <a:cubicBezTo>
                        <a:pt x="92" y="194"/>
                        <a:pt x="92" y="194"/>
                        <a:pt x="92" y="194"/>
                      </a:cubicBezTo>
                      <a:cubicBezTo>
                        <a:pt x="92" y="193"/>
                        <a:pt x="92" y="193"/>
                        <a:pt x="92" y="193"/>
                      </a:cubicBezTo>
                      <a:cubicBezTo>
                        <a:pt x="91" y="192"/>
                        <a:pt x="91" y="192"/>
                        <a:pt x="91" y="192"/>
                      </a:cubicBezTo>
                      <a:cubicBezTo>
                        <a:pt x="91" y="192"/>
                        <a:pt x="91" y="192"/>
                        <a:pt x="91" y="192"/>
                      </a:cubicBezTo>
                      <a:cubicBezTo>
                        <a:pt x="91" y="191"/>
                        <a:pt x="91" y="191"/>
                        <a:pt x="91" y="191"/>
                      </a:cubicBezTo>
                      <a:cubicBezTo>
                        <a:pt x="90" y="191"/>
                        <a:pt x="90" y="191"/>
                        <a:pt x="90" y="191"/>
                      </a:cubicBezTo>
                      <a:cubicBezTo>
                        <a:pt x="90" y="192"/>
                        <a:pt x="90" y="192"/>
                        <a:pt x="90" y="192"/>
                      </a:cubicBezTo>
                      <a:cubicBezTo>
                        <a:pt x="90" y="193"/>
                        <a:pt x="90" y="193"/>
                        <a:pt x="90" y="193"/>
                      </a:cubicBezTo>
                      <a:cubicBezTo>
                        <a:pt x="89" y="193"/>
                        <a:pt x="89" y="193"/>
                        <a:pt x="89" y="193"/>
                      </a:cubicBezTo>
                      <a:cubicBezTo>
                        <a:pt x="90" y="193"/>
                        <a:pt x="90" y="193"/>
                        <a:pt x="90" y="193"/>
                      </a:cubicBezTo>
                      <a:cubicBezTo>
                        <a:pt x="90" y="194"/>
                        <a:pt x="90" y="194"/>
                        <a:pt x="90" y="194"/>
                      </a:cubicBezTo>
                      <a:cubicBezTo>
                        <a:pt x="91" y="194"/>
                        <a:pt x="91" y="194"/>
                        <a:pt x="91" y="194"/>
                      </a:cubicBezTo>
                      <a:close/>
                      <a:moveTo>
                        <a:pt x="94" y="194"/>
                      </a:moveTo>
                      <a:cubicBezTo>
                        <a:pt x="93" y="193"/>
                        <a:pt x="93" y="193"/>
                        <a:pt x="93" y="193"/>
                      </a:cubicBezTo>
                      <a:cubicBezTo>
                        <a:pt x="94" y="193"/>
                        <a:pt x="94" y="193"/>
                        <a:pt x="94" y="193"/>
                      </a:cubicBezTo>
                      <a:cubicBezTo>
                        <a:pt x="93" y="193"/>
                        <a:pt x="93" y="193"/>
                        <a:pt x="93" y="193"/>
                      </a:cubicBezTo>
                      <a:cubicBezTo>
                        <a:pt x="93" y="193"/>
                        <a:pt x="93" y="193"/>
                        <a:pt x="93" y="193"/>
                      </a:cubicBezTo>
                      <a:cubicBezTo>
                        <a:pt x="93" y="194"/>
                        <a:pt x="93" y="194"/>
                        <a:pt x="93" y="194"/>
                      </a:cubicBezTo>
                      <a:cubicBezTo>
                        <a:pt x="94" y="194"/>
                        <a:pt x="94" y="194"/>
                        <a:pt x="94" y="194"/>
                      </a:cubicBezTo>
                      <a:close/>
                      <a:moveTo>
                        <a:pt x="150" y="165"/>
                      </a:moveTo>
                      <a:cubicBezTo>
                        <a:pt x="150" y="165"/>
                        <a:pt x="150" y="165"/>
                        <a:pt x="150" y="165"/>
                      </a:cubicBezTo>
                      <a:cubicBezTo>
                        <a:pt x="151" y="165"/>
                        <a:pt x="151" y="165"/>
                        <a:pt x="151" y="165"/>
                      </a:cubicBezTo>
                      <a:cubicBezTo>
                        <a:pt x="151" y="164"/>
                        <a:pt x="151" y="164"/>
                        <a:pt x="151" y="164"/>
                      </a:cubicBezTo>
                      <a:cubicBezTo>
                        <a:pt x="150" y="165"/>
                        <a:pt x="150" y="165"/>
                        <a:pt x="150" y="165"/>
                      </a:cubicBezTo>
                      <a:cubicBezTo>
                        <a:pt x="150" y="165"/>
                        <a:pt x="150" y="165"/>
                        <a:pt x="150" y="165"/>
                      </a:cubicBezTo>
                      <a:close/>
                      <a:moveTo>
                        <a:pt x="140" y="158"/>
                      </a:moveTo>
                      <a:cubicBezTo>
                        <a:pt x="141" y="158"/>
                        <a:pt x="141" y="158"/>
                        <a:pt x="141" y="158"/>
                      </a:cubicBezTo>
                      <a:cubicBezTo>
                        <a:pt x="141" y="158"/>
                        <a:pt x="141" y="158"/>
                        <a:pt x="141" y="158"/>
                      </a:cubicBezTo>
                      <a:cubicBezTo>
                        <a:pt x="141" y="157"/>
                        <a:pt x="141" y="157"/>
                        <a:pt x="141" y="157"/>
                      </a:cubicBezTo>
                      <a:cubicBezTo>
                        <a:pt x="140" y="157"/>
                        <a:pt x="140" y="157"/>
                        <a:pt x="140" y="157"/>
                      </a:cubicBezTo>
                      <a:cubicBezTo>
                        <a:pt x="140" y="157"/>
                        <a:pt x="140" y="158"/>
                        <a:pt x="140" y="158"/>
                      </a:cubicBezTo>
                      <a:close/>
                      <a:moveTo>
                        <a:pt x="136" y="154"/>
                      </a:moveTo>
                      <a:cubicBezTo>
                        <a:pt x="136" y="154"/>
                        <a:pt x="136" y="154"/>
                        <a:pt x="136" y="154"/>
                      </a:cubicBezTo>
                      <a:cubicBezTo>
                        <a:pt x="137" y="154"/>
                        <a:pt x="137" y="154"/>
                        <a:pt x="137" y="154"/>
                      </a:cubicBezTo>
                      <a:cubicBezTo>
                        <a:pt x="137" y="154"/>
                        <a:pt x="137" y="154"/>
                        <a:pt x="137" y="154"/>
                      </a:cubicBezTo>
                      <a:cubicBezTo>
                        <a:pt x="136" y="154"/>
                        <a:pt x="136" y="154"/>
                        <a:pt x="136" y="154"/>
                      </a:cubicBezTo>
                      <a:cubicBezTo>
                        <a:pt x="136" y="154"/>
                        <a:pt x="136" y="154"/>
                        <a:pt x="136" y="154"/>
                      </a:cubicBezTo>
                      <a:close/>
                      <a:moveTo>
                        <a:pt x="144" y="152"/>
                      </a:moveTo>
                      <a:cubicBezTo>
                        <a:pt x="144" y="152"/>
                        <a:pt x="144" y="152"/>
                        <a:pt x="144" y="152"/>
                      </a:cubicBezTo>
                      <a:cubicBezTo>
                        <a:pt x="145" y="153"/>
                        <a:pt x="145" y="153"/>
                        <a:pt x="145" y="153"/>
                      </a:cubicBezTo>
                      <a:cubicBezTo>
                        <a:pt x="145" y="152"/>
                        <a:pt x="145" y="152"/>
                        <a:pt x="145" y="152"/>
                      </a:cubicBezTo>
                      <a:cubicBezTo>
                        <a:pt x="145" y="152"/>
                        <a:pt x="145" y="152"/>
                        <a:pt x="145" y="152"/>
                      </a:cubicBezTo>
                      <a:cubicBezTo>
                        <a:pt x="145" y="152"/>
                        <a:pt x="145" y="152"/>
                        <a:pt x="145" y="152"/>
                      </a:cubicBezTo>
                      <a:cubicBezTo>
                        <a:pt x="144" y="152"/>
                        <a:pt x="144" y="152"/>
                        <a:pt x="144" y="152"/>
                      </a:cubicBezTo>
                      <a:close/>
                      <a:moveTo>
                        <a:pt x="150" y="135"/>
                      </a:moveTo>
                      <a:cubicBezTo>
                        <a:pt x="150" y="136"/>
                        <a:pt x="150" y="136"/>
                        <a:pt x="150" y="136"/>
                      </a:cubicBezTo>
                      <a:cubicBezTo>
                        <a:pt x="150" y="136"/>
                        <a:pt x="150" y="136"/>
                        <a:pt x="150" y="136"/>
                      </a:cubicBezTo>
                      <a:cubicBezTo>
                        <a:pt x="150" y="137"/>
                        <a:pt x="150" y="137"/>
                        <a:pt x="150" y="137"/>
                      </a:cubicBezTo>
                      <a:cubicBezTo>
                        <a:pt x="151" y="138"/>
                        <a:pt x="151" y="138"/>
                        <a:pt x="151" y="138"/>
                      </a:cubicBezTo>
                      <a:cubicBezTo>
                        <a:pt x="151" y="139"/>
                        <a:pt x="151" y="139"/>
                        <a:pt x="151" y="139"/>
                      </a:cubicBezTo>
                      <a:cubicBezTo>
                        <a:pt x="153" y="139"/>
                        <a:pt x="153" y="139"/>
                        <a:pt x="153" y="139"/>
                      </a:cubicBezTo>
                      <a:cubicBezTo>
                        <a:pt x="154" y="140"/>
                        <a:pt x="154" y="140"/>
                        <a:pt x="154" y="140"/>
                      </a:cubicBezTo>
                      <a:cubicBezTo>
                        <a:pt x="154" y="141"/>
                        <a:pt x="154" y="141"/>
                        <a:pt x="154" y="141"/>
                      </a:cubicBezTo>
                      <a:cubicBezTo>
                        <a:pt x="155" y="141"/>
                        <a:pt x="155" y="141"/>
                        <a:pt x="155" y="141"/>
                      </a:cubicBezTo>
                      <a:cubicBezTo>
                        <a:pt x="156" y="141"/>
                        <a:pt x="156" y="141"/>
                        <a:pt x="156" y="141"/>
                      </a:cubicBezTo>
                      <a:cubicBezTo>
                        <a:pt x="156" y="142"/>
                        <a:pt x="156" y="142"/>
                        <a:pt x="156" y="142"/>
                      </a:cubicBezTo>
                      <a:cubicBezTo>
                        <a:pt x="157" y="142"/>
                        <a:pt x="157" y="142"/>
                        <a:pt x="157" y="142"/>
                      </a:cubicBezTo>
                      <a:cubicBezTo>
                        <a:pt x="157" y="142"/>
                        <a:pt x="157" y="142"/>
                        <a:pt x="157" y="142"/>
                      </a:cubicBezTo>
                      <a:cubicBezTo>
                        <a:pt x="157" y="141"/>
                        <a:pt x="157" y="141"/>
                        <a:pt x="157" y="141"/>
                      </a:cubicBezTo>
                      <a:cubicBezTo>
                        <a:pt x="158" y="141"/>
                        <a:pt x="158" y="141"/>
                        <a:pt x="158" y="141"/>
                      </a:cubicBezTo>
                      <a:cubicBezTo>
                        <a:pt x="157" y="140"/>
                        <a:pt x="157" y="140"/>
                        <a:pt x="157" y="140"/>
                      </a:cubicBezTo>
                      <a:cubicBezTo>
                        <a:pt x="156" y="140"/>
                        <a:pt x="156" y="140"/>
                        <a:pt x="156" y="140"/>
                      </a:cubicBezTo>
                      <a:cubicBezTo>
                        <a:pt x="156" y="140"/>
                        <a:pt x="156" y="140"/>
                        <a:pt x="156" y="140"/>
                      </a:cubicBezTo>
                      <a:cubicBezTo>
                        <a:pt x="155" y="139"/>
                        <a:pt x="155" y="139"/>
                        <a:pt x="155" y="139"/>
                      </a:cubicBezTo>
                      <a:cubicBezTo>
                        <a:pt x="156" y="139"/>
                        <a:pt x="156" y="139"/>
                        <a:pt x="156" y="139"/>
                      </a:cubicBezTo>
                      <a:cubicBezTo>
                        <a:pt x="156" y="139"/>
                        <a:pt x="156" y="139"/>
                        <a:pt x="156" y="139"/>
                      </a:cubicBezTo>
                      <a:cubicBezTo>
                        <a:pt x="156" y="139"/>
                        <a:pt x="156" y="139"/>
                        <a:pt x="156" y="139"/>
                      </a:cubicBezTo>
                      <a:cubicBezTo>
                        <a:pt x="157" y="139"/>
                        <a:pt x="157" y="139"/>
                        <a:pt x="157" y="139"/>
                      </a:cubicBezTo>
                      <a:cubicBezTo>
                        <a:pt x="158" y="139"/>
                        <a:pt x="158" y="139"/>
                        <a:pt x="158" y="139"/>
                      </a:cubicBezTo>
                      <a:cubicBezTo>
                        <a:pt x="158" y="140"/>
                        <a:pt x="158" y="140"/>
                        <a:pt x="158" y="140"/>
                      </a:cubicBezTo>
                      <a:cubicBezTo>
                        <a:pt x="159" y="139"/>
                        <a:pt x="159" y="139"/>
                        <a:pt x="159" y="139"/>
                      </a:cubicBezTo>
                      <a:cubicBezTo>
                        <a:pt x="158" y="139"/>
                        <a:pt x="158" y="139"/>
                        <a:pt x="158" y="139"/>
                      </a:cubicBezTo>
                      <a:cubicBezTo>
                        <a:pt x="156" y="138"/>
                        <a:pt x="156" y="138"/>
                        <a:pt x="156" y="138"/>
                      </a:cubicBezTo>
                      <a:cubicBezTo>
                        <a:pt x="155" y="136"/>
                        <a:pt x="155" y="136"/>
                        <a:pt x="155" y="136"/>
                      </a:cubicBezTo>
                      <a:cubicBezTo>
                        <a:pt x="155" y="136"/>
                        <a:pt x="155" y="136"/>
                        <a:pt x="155" y="136"/>
                      </a:cubicBezTo>
                      <a:cubicBezTo>
                        <a:pt x="154" y="136"/>
                        <a:pt x="154" y="136"/>
                        <a:pt x="154" y="136"/>
                      </a:cubicBezTo>
                      <a:cubicBezTo>
                        <a:pt x="153" y="135"/>
                        <a:pt x="153" y="135"/>
                        <a:pt x="153" y="135"/>
                      </a:cubicBezTo>
                      <a:cubicBezTo>
                        <a:pt x="152" y="136"/>
                        <a:pt x="152" y="136"/>
                        <a:pt x="152" y="136"/>
                      </a:cubicBezTo>
                      <a:cubicBezTo>
                        <a:pt x="152" y="135"/>
                        <a:pt x="152" y="135"/>
                        <a:pt x="152" y="135"/>
                      </a:cubicBezTo>
                      <a:cubicBezTo>
                        <a:pt x="151" y="135"/>
                        <a:pt x="151" y="135"/>
                        <a:pt x="151" y="135"/>
                      </a:cubicBezTo>
                      <a:cubicBezTo>
                        <a:pt x="150" y="135"/>
                        <a:pt x="150" y="135"/>
                        <a:pt x="150" y="135"/>
                      </a:cubicBezTo>
                      <a:close/>
                      <a:moveTo>
                        <a:pt x="148" y="136"/>
                      </a:moveTo>
                      <a:cubicBezTo>
                        <a:pt x="148" y="136"/>
                        <a:pt x="148" y="136"/>
                        <a:pt x="148" y="136"/>
                      </a:cubicBezTo>
                      <a:cubicBezTo>
                        <a:pt x="148" y="135"/>
                        <a:pt x="148" y="135"/>
                        <a:pt x="148" y="135"/>
                      </a:cubicBezTo>
                      <a:cubicBezTo>
                        <a:pt x="149" y="135"/>
                        <a:pt x="149" y="135"/>
                        <a:pt x="149" y="135"/>
                      </a:cubicBezTo>
                      <a:cubicBezTo>
                        <a:pt x="148" y="135"/>
                        <a:pt x="148" y="135"/>
                        <a:pt x="148" y="135"/>
                      </a:cubicBezTo>
                      <a:cubicBezTo>
                        <a:pt x="148" y="136"/>
                        <a:pt x="148" y="136"/>
                        <a:pt x="148" y="136"/>
                      </a:cubicBezTo>
                      <a:cubicBezTo>
                        <a:pt x="148" y="136"/>
                        <a:pt x="148" y="136"/>
                        <a:pt x="148" y="136"/>
                      </a:cubicBezTo>
                      <a:close/>
                      <a:moveTo>
                        <a:pt x="150" y="134"/>
                      </a:moveTo>
                      <a:cubicBezTo>
                        <a:pt x="151" y="135"/>
                        <a:pt x="151" y="135"/>
                        <a:pt x="151" y="135"/>
                      </a:cubicBezTo>
                      <a:cubicBezTo>
                        <a:pt x="152" y="135"/>
                        <a:pt x="152" y="135"/>
                        <a:pt x="152" y="135"/>
                      </a:cubicBezTo>
                      <a:cubicBezTo>
                        <a:pt x="153" y="135"/>
                        <a:pt x="153" y="135"/>
                        <a:pt x="153" y="135"/>
                      </a:cubicBezTo>
                      <a:cubicBezTo>
                        <a:pt x="154" y="135"/>
                        <a:pt x="154" y="135"/>
                        <a:pt x="154" y="135"/>
                      </a:cubicBezTo>
                      <a:cubicBezTo>
                        <a:pt x="155" y="136"/>
                        <a:pt x="155" y="136"/>
                        <a:pt x="155" y="136"/>
                      </a:cubicBezTo>
                      <a:cubicBezTo>
                        <a:pt x="156" y="136"/>
                        <a:pt x="156" y="136"/>
                        <a:pt x="156" y="136"/>
                      </a:cubicBezTo>
                      <a:cubicBezTo>
                        <a:pt x="156" y="136"/>
                        <a:pt x="156" y="136"/>
                        <a:pt x="156" y="136"/>
                      </a:cubicBezTo>
                      <a:cubicBezTo>
                        <a:pt x="156" y="137"/>
                        <a:pt x="156" y="137"/>
                        <a:pt x="156" y="137"/>
                      </a:cubicBezTo>
                      <a:cubicBezTo>
                        <a:pt x="157" y="137"/>
                        <a:pt x="157" y="137"/>
                        <a:pt x="157" y="137"/>
                      </a:cubicBezTo>
                      <a:cubicBezTo>
                        <a:pt x="158" y="137"/>
                        <a:pt x="158" y="137"/>
                        <a:pt x="158" y="137"/>
                      </a:cubicBezTo>
                      <a:cubicBezTo>
                        <a:pt x="158" y="137"/>
                        <a:pt x="158" y="137"/>
                        <a:pt x="158" y="137"/>
                      </a:cubicBezTo>
                      <a:cubicBezTo>
                        <a:pt x="159" y="137"/>
                        <a:pt x="159" y="137"/>
                        <a:pt x="159" y="137"/>
                      </a:cubicBezTo>
                      <a:cubicBezTo>
                        <a:pt x="159" y="136"/>
                        <a:pt x="159" y="136"/>
                        <a:pt x="159" y="136"/>
                      </a:cubicBezTo>
                      <a:cubicBezTo>
                        <a:pt x="159" y="136"/>
                        <a:pt x="159" y="136"/>
                        <a:pt x="159" y="136"/>
                      </a:cubicBezTo>
                      <a:cubicBezTo>
                        <a:pt x="159" y="135"/>
                        <a:pt x="159" y="135"/>
                        <a:pt x="159" y="135"/>
                      </a:cubicBezTo>
                      <a:cubicBezTo>
                        <a:pt x="160" y="135"/>
                        <a:pt x="160" y="135"/>
                        <a:pt x="160" y="135"/>
                      </a:cubicBezTo>
                      <a:cubicBezTo>
                        <a:pt x="158" y="135"/>
                        <a:pt x="158" y="135"/>
                        <a:pt x="158" y="135"/>
                      </a:cubicBezTo>
                      <a:cubicBezTo>
                        <a:pt x="158" y="134"/>
                        <a:pt x="158" y="134"/>
                        <a:pt x="158" y="134"/>
                      </a:cubicBezTo>
                      <a:cubicBezTo>
                        <a:pt x="156" y="134"/>
                        <a:pt x="156" y="134"/>
                        <a:pt x="156" y="134"/>
                      </a:cubicBezTo>
                      <a:cubicBezTo>
                        <a:pt x="155" y="134"/>
                        <a:pt x="155" y="134"/>
                        <a:pt x="155" y="134"/>
                      </a:cubicBezTo>
                      <a:cubicBezTo>
                        <a:pt x="154" y="134"/>
                        <a:pt x="154" y="134"/>
                        <a:pt x="154" y="134"/>
                      </a:cubicBezTo>
                      <a:cubicBezTo>
                        <a:pt x="153" y="134"/>
                        <a:pt x="153" y="134"/>
                        <a:pt x="153" y="134"/>
                      </a:cubicBezTo>
                      <a:cubicBezTo>
                        <a:pt x="151" y="134"/>
                        <a:pt x="151" y="134"/>
                        <a:pt x="151" y="134"/>
                      </a:cubicBezTo>
                      <a:cubicBezTo>
                        <a:pt x="150" y="134"/>
                        <a:pt x="150" y="134"/>
                        <a:pt x="150" y="134"/>
                      </a:cubicBezTo>
                      <a:cubicBezTo>
                        <a:pt x="150" y="134"/>
                        <a:pt x="150" y="134"/>
                        <a:pt x="150" y="134"/>
                      </a:cubicBezTo>
                      <a:close/>
                      <a:moveTo>
                        <a:pt x="146" y="131"/>
                      </a:moveTo>
                      <a:cubicBezTo>
                        <a:pt x="147" y="132"/>
                        <a:pt x="147" y="132"/>
                        <a:pt x="147" y="132"/>
                      </a:cubicBezTo>
                      <a:cubicBezTo>
                        <a:pt x="148" y="132"/>
                        <a:pt x="148" y="132"/>
                        <a:pt x="148" y="132"/>
                      </a:cubicBezTo>
                      <a:cubicBezTo>
                        <a:pt x="149" y="133"/>
                        <a:pt x="149" y="133"/>
                        <a:pt x="149" y="133"/>
                      </a:cubicBezTo>
                      <a:cubicBezTo>
                        <a:pt x="151" y="134"/>
                        <a:pt x="151" y="134"/>
                        <a:pt x="151" y="134"/>
                      </a:cubicBezTo>
                      <a:cubicBezTo>
                        <a:pt x="152" y="133"/>
                        <a:pt x="152" y="133"/>
                        <a:pt x="152" y="133"/>
                      </a:cubicBezTo>
                      <a:cubicBezTo>
                        <a:pt x="155" y="134"/>
                        <a:pt x="155" y="134"/>
                        <a:pt x="155" y="134"/>
                      </a:cubicBezTo>
                      <a:cubicBezTo>
                        <a:pt x="156" y="133"/>
                        <a:pt x="156" y="133"/>
                        <a:pt x="156" y="133"/>
                      </a:cubicBezTo>
                      <a:cubicBezTo>
                        <a:pt x="156" y="133"/>
                        <a:pt x="156" y="133"/>
                        <a:pt x="156" y="133"/>
                      </a:cubicBezTo>
                      <a:cubicBezTo>
                        <a:pt x="155" y="133"/>
                        <a:pt x="155" y="133"/>
                        <a:pt x="155" y="133"/>
                      </a:cubicBezTo>
                      <a:cubicBezTo>
                        <a:pt x="153" y="133"/>
                        <a:pt x="153" y="133"/>
                        <a:pt x="153" y="133"/>
                      </a:cubicBezTo>
                      <a:cubicBezTo>
                        <a:pt x="152" y="132"/>
                        <a:pt x="152" y="132"/>
                        <a:pt x="152" y="132"/>
                      </a:cubicBezTo>
                      <a:cubicBezTo>
                        <a:pt x="151" y="132"/>
                        <a:pt x="151" y="132"/>
                        <a:pt x="151" y="132"/>
                      </a:cubicBezTo>
                      <a:cubicBezTo>
                        <a:pt x="150" y="132"/>
                        <a:pt x="150" y="132"/>
                        <a:pt x="150" y="132"/>
                      </a:cubicBezTo>
                      <a:cubicBezTo>
                        <a:pt x="149" y="131"/>
                        <a:pt x="149" y="131"/>
                        <a:pt x="149" y="131"/>
                      </a:cubicBezTo>
                      <a:cubicBezTo>
                        <a:pt x="150" y="131"/>
                        <a:pt x="150" y="131"/>
                        <a:pt x="150" y="131"/>
                      </a:cubicBezTo>
                      <a:cubicBezTo>
                        <a:pt x="150" y="131"/>
                        <a:pt x="150" y="131"/>
                        <a:pt x="150" y="131"/>
                      </a:cubicBezTo>
                      <a:cubicBezTo>
                        <a:pt x="152" y="132"/>
                        <a:pt x="152" y="132"/>
                        <a:pt x="152" y="132"/>
                      </a:cubicBezTo>
                      <a:cubicBezTo>
                        <a:pt x="154" y="132"/>
                        <a:pt x="154" y="132"/>
                        <a:pt x="154" y="132"/>
                      </a:cubicBezTo>
                      <a:cubicBezTo>
                        <a:pt x="154" y="132"/>
                        <a:pt x="154" y="132"/>
                        <a:pt x="154" y="132"/>
                      </a:cubicBezTo>
                      <a:cubicBezTo>
                        <a:pt x="154" y="132"/>
                        <a:pt x="154" y="132"/>
                        <a:pt x="154" y="132"/>
                      </a:cubicBezTo>
                      <a:cubicBezTo>
                        <a:pt x="152" y="130"/>
                        <a:pt x="152" y="130"/>
                        <a:pt x="152" y="130"/>
                      </a:cubicBezTo>
                      <a:cubicBezTo>
                        <a:pt x="149" y="130"/>
                        <a:pt x="149" y="130"/>
                        <a:pt x="149" y="130"/>
                      </a:cubicBezTo>
                      <a:cubicBezTo>
                        <a:pt x="148" y="130"/>
                        <a:pt x="148" y="130"/>
                        <a:pt x="148" y="130"/>
                      </a:cubicBezTo>
                      <a:cubicBezTo>
                        <a:pt x="148" y="131"/>
                        <a:pt x="148" y="131"/>
                        <a:pt x="148" y="131"/>
                      </a:cubicBezTo>
                      <a:cubicBezTo>
                        <a:pt x="147" y="131"/>
                        <a:pt x="147" y="131"/>
                        <a:pt x="147" y="131"/>
                      </a:cubicBezTo>
                      <a:cubicBezTo>
                        <a:pt x="146" y="131"/>
                        <a:pt x="146" y="131"/>
                        <a:pt x="146" y="131"/>
                      </a:cubicBezTo>
                      <a:close/>
                      <a:moveTo>
                        <a:pt x="161" y="134"/>
                      </a:moveTo>
                      <a:cubicBezTo>
                        <a:pt x="161" y="134"/>
                        <a:pt x="161" y="134"/>
                        <a:pt x="161" y="134"/>
                      </a:cubicBezTo>
                      <a:cubicBezTo>
                        <a:pt x="162" y="133"/>
                        <a:pt x="162" y="133"/>
                        <a:pt x="162" y="133"/>
                      </a:cubicBezTo>
                      <a:cubicBezTo>
                        <a:pt x="162" y="133"/>
                        <a:pt x="162" y="133"/>
                        <a:pt x="162" y="133"/>
                      </a:cubicBezTo>
                      <a:cubicBezTo>
                        <a:pt x="161" y="133"/>
                        <a:pt x="161" y="133"/>
                        <a:pt x="161" y="133"/>
                      </a:cubicBezTo>
                      <a:cubicBezTo>
                        <a:pt x="161" y="134"/>
                        <a:pt x="161" y="134"/>
                        <a:pt x="161" y="134"/>
                      </a:cubicBezTo>
                      <a:close/>
                      <a:moveTo>
                        <a:pt x="162" y="121"/>
                      </a:moveTo>
                      <a:cubicBezTo>
                        <a:pt x="161" y="122"/>
                        <a:pt x="161" y="122"/>
                        <a:pt x="161" y="122"/>
                      </a:cubicBezTo>
                      <a:cubicBezTo>
                        <a:pt x="161" y="123"/>
                        <a:pt x="161" y="123"/>
                        <a:pt x="161" y="123"/>
                      </a:cubicBezTo>
                      <a:cubicBezTo>
                        <a:pt x="162" y="123"/>
                        <a:pt x="162" y="123"/>
                        <a:pt x="162" y="123"/>
                      </a:cubicBezTo>
                      <a:cubicBezTo>
                        <a:pt x="162" y="123"/>
                        <a:pt x="162" y="123"/>
                        <a:pt x="162" y="123"/>
                      </a:cubicBezTo>
                      <a:cubicBezTo>
                        <a:pt x="163" y="124"/>
                        <a:pt x="163" y="124"/>
                        <a:pt x="163" y="124"/>
                      </a:cubicBezTo>
                      <a:cubicBezTo>
                        <a:pt x="164" y="124"/>
                        <a:pt x="164" y="124"/>
                        <a:pt x="164" y="124"/>
                      </a:cubicBezTo>
                      <a:cubicBezTo>
                        <a:pt x="165" y="124"/>
                        <a:pt x="165" y="124"/>
                        <a:pt x="165" y="124"/>
                      </a:cubicBezTo>
                      <a:cubicBezTo>
                        <a:pt x="166" y="124"/>
                        <a:pt x="166" y="124"/>
                        <a:pt x="166" y="124"/>
                      </a:cubicBezTo>
                      <a:cubicBezTo>
                        <a:pt x="166" y="123"/>
                        <a:pt x="166" y="123"/>
                        <a:pt x="166" y="123"/>
                      </a:cubicBezTo>
                      <a:cubicBezTo>
                        <a:pt x="166" y="122"/>
                        <a:pt x="166" y="122"/>
                        <a:pt x="166" y="122"/>
                      </a:cubicBezTo>
                      <a:cubicBezTo>
                        <a:pt x="166" y="121"/>
                        <a:pt x="166" y="121"/>
                        <a:pt x="166" y="121"/>
                      </a:cubicBezTo>
                      <a:cubicBezTo>
                        <a:pt x="164" y="120"/>
                        <a:pt x="164" y="120"/>
                        <a:pt x="164" y="120"/>
                      </a:cubicBezTo>
                      <a:cubicBezTo>
                        <a:pt x="163" y="120"/>
                        <a:pt x="163" y="120"/>
                        <a:pt x="163" y="120"/>
                      </a:cubicBezTo>
                      <a:cubicBezTo>
                        <a:pt x="162" y="121"/>
                        <a:pt x="162" y="121"/>
                        <a:pt x="162" y="121"/>
                      </a:cubicBezTo>
                      <a:close/>
                      <a:moveTo>
                        <a:pt x="171" y="120"/>
                      </a:moveTo>
                      <a:cubicBezTo>
                        <a:pt x="171" y="120"/>
                        <a:pt x="171" y="120"/>
                        <a:pt x="171" y="120"/>
                      </a:cubicBezTo>
                      <a:cubicBezTo>
                        <a:pt x="172" y="119"/>
                        <a:pt x="172" y="119"/>
                        <a:pt x="172" y="119"/>
                      </a:cubicBezTo>
                      <a:cubicBezTo>
                        <a:pt x="172" y="119"/>
                        <a:pt x="172" y="119"/>
                        <a:pt x="172" y="119"/>
                      </a:cubicBezTo>
                      <a:cubicBezTo>
                        <a:pt x="171" y="119"/>
                        <a:pt x="171" y="119"/>
                        <a:pt x="171" y="119"/>
                      </a:cubicBezTo>
                      <a:cubicBezTo>
                        <a:pt x="171" y="119"/>
                        <a:pt x="171" y="119"/>
                        <a:pt x="171" y="119"/>
                      </a:cubicBezTo>
                      <a:cubicBezTo>
                        <a:pt x="171" y="120"/>
                        <a:pt x="171" y="120"/>
                        <a:pt x="171" y="120"/>
                      </a:cubicBezTo>
                      <a:close/>
                      <a:moveTo>
                        <a:pt x="167" y="115"/>
                      </a:moveTo>
                      <a:cubicBezTo>
                        <a:pt x="166" y="116"/>
                        <a:pt x="166" y="116"/>
                        <a:pt x="166" y="116"/>
                      </a:cubicBezTo>
                      <a:cubicBezTo>
                        <a:pt x="166" y="117"/>
                        <a:pt x="166" y="117"/>
                        <a:pt x="166" y="117"/>
                      </a:cubicBezTo>
                      <a:cubicBezTo>
                        <a:pt x="167" y="117"/>
                        <a:pt x="167" y="117"/>
                        <a:pt x="167" y="117"/>
                      </a:cubicBezTo>
                      <a:cubicBezTo>
                        <a:pt x="168" y="118"/>
                        <a:pt x="168" y="118"/>
                        <a:pt x="168" y="118"/>
                      </a:cubicBezTo>
                      <a:cubicBezTo>
                        <a:pt x="168" y="118"/>
                        <a:pt x="168" y="118"/>
                        <a:pt x="168" y="118"/>
                      </a:cubicBezTo>
                      <a:cubicBezTo>
                        <a:pt x="168" y="117"/>
                        <a:pt x="168" y="117"/>
                        <a:pt x="168" y="117"/>
                      </a:cubicBezTo>
                      <a:cubicBezTo>
                        <a:pt x="168" y="116"/>
                        <a:pt x="168" y="116"/>
                        <a:pt x="168" y="116"/>
                      </a:cubicBezTo>
                      <a:cubicBezTo>
                        <a:pt x="168" y="116"/>
                        <a:pt x="168" y="116"/>
                        <a:pt x="168" y="116"/>
                      </a:cubicBezTo>
                      <a:cubicBezTo>
                        <a:pt x="167" y="115"/>
                        <a:pt x="167" y="115"/>
                        <a:pt x="167" y="115"/>
                      </a:cubicBezTo>
                      <a:cubicBezTo>
                        <a:pt x="167" y="115"/>
                        <a:pt x="167" y="115"/>
                        <a:pt x="167" y="115"/>
                      </a:cubicBezTo>
                      <a:close/>
                      <a:moveTo>
                        <a:pt x="173" y="112"/>
                      </a:moveTo>
                      <a:cubicBezTo>
                        <a:pt x="173" y="114"/>
                        <a:pt x="173" y="114"/>
                        <a:pt x="173" y="114"/>
                      </a:cubicBezTo>
                      <a:cubicBezTo>
                        <a:pt x="172" y="114"/>
                        <a:pt x="172" y="114"/>
                        <a:pt x="172" y="114"/>
                      </a:cubicBezTo>
                      <a:cubicBezTo>
                        <a:pt x="173" y="115"/>
                        <a:pt x="173" y="115"/>
                        <a:pt x="173" y="115"/>
                      </a:cubicBezTo>
                      <a:cubicBezTo>
                        <a:pt x="173" y="116"/>
                        <a:pt x="173" y="116"/>
                        <a:pt x="173" y="116"/>
                      </a:cubicBezTo>
                      <a:cubicBezTo>
                        <a:pt x="174" y="116"/>
                        <a:pt x="174" y="116"/>
                        <a:pt x="174" y="116"/>
                      </a:cubicBezTo>
                      <a:cubicBezTo>
                        <a:pt x="175" y="116"/>
                        <a:pt x="175" y="116"/>
                        <a:pt x="175" y="116"/>
                      </a:cubicBezTo>
                      <a:cubicBezTo>
                        <a:pt x="176" y="115"/>
                        <a:pt x="176" y="115"/>
                        <a:pt x="176" y="115"/>
                      </a:cubicBezTo>
                      <a:cubicBezTo>
                        <a:pt x="176" y="116"/>
                        <a:pt x="176" y="116"/>
                        <a:pt x="176" y="116"/>
                      </a:cubicBezTo>
                      <a:cubicBezTo>
                        <a:pt x="177" y="116"/>
                        <a:pt x="177" y="116"/>
                        <a:pt x="177" y="116"/>
                      </a:cubicBezTo>
                      <a:cubicBezTo>
                        <a:pt x="177" y="115"/>
                        <a:pt x="177" y="115"/>
                        <a:pt x="177" y="115"/>
                      </a:cubicBezTo>
                      <a:cubicBezTo>
                        <a:pt x="177" y="115"/>
                        <a:pt x="177" y="115"/>
                        <a:pt x="177" y="115"/>
                      </a:cubicBezTo>
                      <a:cubicBezTo>
                        <a:pt x="177" y="114"/>
                        <a:pt x="177" y="114"/>
                        <a:pt x="177" y="114"/>
                      </a:cubicBezTo>
                      <a:cubicBezTo>
                        <a:pt x="177" y="114"/>
                        <a:pt x="177" y="114"/>
                        <a:pt x="177" y="114"/>
                      </a:cubicBezTo>
                      <a:cubicBezTo>
                        <a:pt x="177" y="114"/>
                        <a:pt x="177" y="114"/>
                        <a:pt x="177" y="114"/>
                      </a:cubicBezTo>
                      <a:cubicBezTo>
                        <a:pt x="177" y="115"/>
                        <a:pt x="177" y="115"/>
                        <a:pt x="177" y="115"/>
                      </a:cubicBezTo>
                      <a:cubicBezTo>
                        <a:pt x="176" y="114"/>
                        <a:pt x="176" y="114"/>
                        <a:pt x="176" y="114"/>
                      </a:cubicBezTo>
                      <a:cubicBezTo>
                        <a:pt x="175" y="113"/>
                        <a:pt x="175" y="113"/>
                        <a:pt x="175" y="113"/>
                      </a:cubicBezTo>
                      <a:cubicBezTo>
                        <a:pt x="176" y="113"/>
                        <a:pt x="176" y="113"/>
                        <a:pt x="176" y="113"/>
                      </a:cubicBezTo>
                      <a:cubicBezTo>
                        <a:pt x="175" y="112"/>
                        <a:pt x="175" y="112"/>
                        <a:pt x="175" y="112"/>
                      </a:cubicBezTo>
                      <a:cubicBezTo>
                        <a:pt x="175" y="112"/>
                        <a:pt x="175" y="112"/>
                        <a:pt x="175" y="112"/>
                      </a:cubicBezTo>
                      <a:cubicBezTo>
                        <a:pt x="176" y="112"/>
                        <a:pt x="176" y="112"/>
                        <a:pt x="176" y="112"/>
                      </a:cubicBezTo>
                      <a:cubicBezTo>
                        <a:pt x="176" y="111"/>
                        <a:pt x="176" y="111"/>
                        <a:pt x="176" y="111"/>
                      </a:cubicBezTo>
                      <a:cubicBezTo>
                        <a:pt x="175" y="111"/>
                        <a:pt x="175" y="111"/>
                        <a:pt x="175" y="111"/>
                      </a:cubicBezTo>
                      <a:cubicBezTo>
                        <a:pt x="174" y="112"/>
                        <a:pt x="174" y="112"/>
                        <a:pt x="174" y="112"/>
                      </a:cubicBezTo>
                      <a:cubicBezTo>
                        <a:pt x="174" y="111"/>
                        <a:pt x="174" y="111"/>
                        <a:pt x="174" y="111"/>
                      </a:cubicBezTo>
                      <a:cubicBezTo>
                        <a:pt x="173" y="112"/>
                        <a:pt x="173" y="112"/>
                        <a:pt x="173" y="112"/>
                      </a:cubicBezTo>
                      <a:cubicBezTo>
                        <a:pt x="173" y="112"/>
                        <a:pt x="173" y="112"/>
                        <a:pt x="173" y="112"/>
                      </a:cubicBezTo>
                      <a:close/>
                      <a:moveTo>
                        <a:pt x="174" y="98"/>
                      </a:moveTo>
                      <a:cubicBezTo>
                        <a:pt x="173" y="99"/>
                        <a:pt x="173" y="99"/>
                        <a:pt x="173" y="99"/>
                      </a:cubicBezTo>
                      <a:cubicBezTo>
                        <a:pt x="173" y="99"/>
                        <a:pt x="173" y="99"/>
                        <a:pt x="173" y="99"/>
                      </a:cubicBezTo>
                      <a:cubicBezTo>
                        <a:pt x="174" y="99"/>
                        <a:pt x="174" y="99"/>
                        <a:pt x="174" y="99"/>
                      </a:cubicBezTo>
                      <a:cubicBezTo>
                        <a:pt x="174" y="100"/>
                        <a:pt x="174" y="100"/>
                        <a:pt x="174" y="100"/>
                      </a:cubicBezTo>
                      <a:cubicBezTo>
                        <a:pt x="173" y="100"/>
                        <a:pt x="173" y="100"/>
                        <a:pt x="173" y="100"/>
                      </a:cubicBezTo>
                      <a:cubicBezTo>
                        <a:pt x="173" y="101"/>
                        <a:pt x="173" y="101"/>
                        <a:pt x="173" y="101"/>
                      </a:cubicBezTo>
                      <a:cubicBezTo>
                        <a:pt x="174" y="102"/>
                        <a:pt x="174" y="102"/>
                        <a:pt x="174" y="102"/>
                      </a:cubicBezTo>
                      <a:cubicBezTo>
                        <a:pt x="174" y="104"/>
                        <a:pt x="174" y="104"/>
                        <a:pt x="174" y="104"/>
                      </a:cubicBezTo>
                      <a:cubicBezTo>
                        <a:pt x="174" y="105"/>
                        <a:pt x="174" y="105"/>
                        <a:pt x="174" y="105"/>
                      </a:cubicBezTo>
                      <a:cubicBezTo>
                        <a:pt x="174" y="106"/>
                        <a:pt x="174" y="106"/>
                        <a:pt x="174" y="106"/>
                      </a:cubicBezTo>
                      <a:cubicBezTo>
                        <a:pt x="174" y="106"/>
                        <a:pt x="174" y="106"/>
                        <a:pt x="174" y="106"/>
                      </a:cubicBezTo>
                      <a:cubicBezTo>
                        <a:pt x="174" y="106"/>
                        <a:pt x="174" y="106"/>
                        <a:pt x="174" y="106"/>
                      </a:cubicBezTo>
                      <a:cubicBezTo>
                        <a:pt x="175" y="104"/>
                        <a:pt x="175" y="104"/>
                        <a:pt x="175" y="104"/>
                      </a:cubicBezTo>
                      <a:cubicBezTo>
                        <a:pt x="175" y="104"/>
                        <a:pt x="175" y="104"/>
                        <a:pt x="175" y="104"/>
                      </a:cubicBezTo>
                      <a:cubicBezTo>
                        <a:pt x="175" y="103"/>
                        <a:pt x="175" y="103"/>
                        <a:pt x="175" y="103"/>
                      </a:cubicBezTo>
                      <a:cubicBezTo>
                        <a:pt x="174" y="102"/>
                        <a:pt x="174" y="102"/>
                        <a:pt x="174" y="102"/>
                      </a:cubicBezTo>
                      <a:cubicBezTo>
                        <a:pt x="174" y="100"/>
                        <a:pt x="174" y="100"/>
                        <a:pt x="174" y="100"/>
                      </a:cubicBezTo>
                      <a:cubicBezTo>
                        <a:pt x="174" y="99"/>
                        <a:pt x="174" y="99"/>
                        <a:pt x="174" y="99"/>
                      </a:cubicBezTo>
                      <a:cubicBezTo>
                        <a:pt x="174" y="98"/>
                        <a:pt x="174" y="98"/>
                        <a:pt x="174" y="98"/>
                      </a:cubicBezTo>
                      <a:cubicBezTo>
                        <a:pt x="174" y="98"/>
                        <a:pt x="174" y="98"/>
                        <a:pt x="174" y="98"/>
                      </a:cubicBezTo>
                      <a:close/>
                      <a:moveTo>
                        <a:pt x="167" y="100"/>
                      </a:moveTo>
                      <a:cubicBezTo>
                        <a:pt x="166" y="101"/>
                        <a:pt x="166" y="101"/>
                        <a:pt x="166" y="101"/>
                      </a:cubicBezTo>
                      <a:cubicBezTo>
                        <a:pt x="167" y="101"/>
                        <a:pt x="167" y="101"/>
                        <a:pt x="167" y="101"/>
                      </a:cubicBezTo>
                      <a:cubicBezTo>
                        <a:pt x="168" y="101"/>
                        <a:pt x="168" y="101"/>
                        <a:pt x="168" y="101"/>
                      </a:cubicBezTo>
                      <a:cubicBezTo>
                        <a:pt x="168" y="100"/>
                        <a:pt x="168" y="100"/>
                        <a:pt x="168" y="100"/>
                      </a:cubicBezTo>
                      <a:cubicBezTo>
                        <a:pt x="168" y="100"/>
                        <a:pt x="168" y="100"/>
                        <a:pt x="168" y="100"/>
                      </a:cubicBezTo>
                      <a:cubicBezTo>
                        <a:pt x="167" y="100"/>
                        <a:pt x="167" y="100"/>
                        <a:pt x="167" y="100"/>
                      </a:cubicBezTo>
                      <a:cubicBezTo>
                        <a:pt x="167" y="100"/>
                        <a:pt x="167" y="100"/>
                        <a:pt x="167" y="100"/>
                      </a:cubicBezTo>
                      <a:close/>
                      <a:moveTo>
                        <a:pt x="166" y="99"/>
                      </a:moveTo>
                      <a:cubicBezTo>
                        <a:pt x="166" y="99"/>
                        <a:pt x="166" y="99"/>
                        <a:pt x="166" y="99"/>
                      </a:cubicBezTo>
                      <a:cubicBezTo>
                        <a:pt x="167" y="99"/>
                        <a:pt x="167" y="99"/>
                        <a:pt x="167" y="99"/>
                      </a:cubicBezTo>
                      <a:cubicBezTo>
                        <a:pt x="166" y="98"/>
                        <a:pt x="166" y="98"/>
                        <a:pt x="166" y="98"/>
                      </a:cubicBezTo>
                      <a:cubicBezTo>
                        <a:pt x="166" y="98"/>
                        <a:pt x="166" y="98"/>
                        <a:pt x="166" y="98"/>
                      </a:cubicBezTo>
                      <a:cubicBezTo>
                        <a:pt x="166" y="99"/>
                        <a:pt x="166" y="99"/>
                        <a:pt x="166" y="99"/>
                      </a:cubicBezTo>
                      <a:close/>
                      <a:moveTo>
                        <a:pt x="172" y="85"/>
                      </a:moveTo>
                      <a:cubicBezTo>
                        <a:pt x="172" y="86"/>
                        <a:pt x="172" y="86"/>
                        <a:pt x="172" y="86"/>
                      </a:cubicBezTo>
                      <a:cubicBezTo>
                        <a:pt x="173" y="86"/>
                        <a:pt x="173" y="86"/>
                        <a:pt x="173" y="86"/>
                      </a:cubicBezTo>
                      <a:cubicBezTo>
                        <a:pt x="174" y="86"/>
                        <a:pt x="174" y="86"/>
                        <a:pt x="174" y="86"/>
                      </a:cubicBezTo>
                      <a:cubicBezTo>
                        <a:pt x="174" y="85"/>
                        <a:pt x="174" y="85"/>
                        <a:pt x="174" y="85"/>
                      </a:cubicBezTo>
                      <a:cubicBezTo>
                        <a:pt x="173" y="85"/>
                        <a:pt x="173" y="85"/>
                        <a:pt x="173" y="85"/>
                      </a:cubicBezTo>
                      <a:cubicBezTo>
                        <a:pt x="172" y="84"/>
                        <a:pt x="172" y="84"/>
                        <a:pt x="172" y="84"/>
                      </a:cubicBezTo>
                      <a:cubicBezTo>
                        <a:pt x="172" y="84"/>
                        <a:pt x="172" y="84"/>
                        <a:pt x="172" y="84"/>
                      </a:cubicBezTo>
                      <a:cubicBezTo>
                        <a:pt x="172" y="85"/>
                        <a:pt x="172" y="85"/>
                        <a:pt x="172" y="85"/>
                      </a:cubicBezTo>
                      <a:close/>
                      <a:moveTo>
                        <a:pt x="178" y="88"/>
                      </a:moveTo>
                      <a:cubicBezTo>
                        <a:pt x="178" y="88"/>
                        <a:pt x="178" y="88"/>
                        <a:pt x="178" y="88"/>
                      </a:cubicBezTo>
                      <a:cubicBezTo>
                        <a:pt x="179" y="88"/>
                        <a:pt x="179" y="88"/>
                        <a:pt x="179" y="88"/>
                      </a:cubicBezTo>
                      <a:cubicBezTo>
                        <a:pt x="179" y="88"/>
                        <a:pt x="179" y="88"/>
                        <a:pt x="179" y="88"/>
                      </a:cubicBezTo>
                      <a:cubicBezTo>
                        <a:pt x="179" y="87"/>
                        <a:pt x="179" y="87"/>
                        <a:pt x="179" y="87"/>
                      </a:cubicBezTo>
                      <a:cubicBezTo>
                        <a:pt x="179" y="87"/>
                        <a:pt x="179" y="87"/>
                        <a:pt x="179" y="87"/>
                      </a:cubicBezTo>
                      <a:cubicBezTo>
                        <a:pt x="179" y="86"/>
                        <a:pt x="179" y="86"/>
                        <a:pt x="179" y="86"/>
                      </a:cubicBezTo>
                      <a:cubicBezTo>
                        <a:pt x="179" y="85"/>
                        <a:pt x="179" y="85"/>
                        <a:pt x="179" y="85"/>
                      </a:cubicBezTo>
                      <a:cubicBezTo>
                        <a:pt x="178" y="86"/>
                        <a:pt x="178" y="86"/>
                        <a:pt x="178" y="86"/>
                      </a:cubicBezTo>
                      <a:cubicBezTo>
                        <a:pt x="178" y="87"/>
                        <a:pt x="178" y="87"/>
                        <a:pt x="178" y="87"/>
                      </a:cubicBezTo>
                      <a:cubicBezTo>
                        <a:pt x="178" y="88"/>
                        <a:pt x="178" y="88"/>
                        <a:pt x="178" y="88"/>
                      </a:cubicBezTo>
                      <a:close/>
                      <a:moveTo>
                        <a:pt x="175" y="83"/>
                      </a:moveTo>
                      <a:cubicBezTo>
                        <a:pt x="175" y="83"/>
                        <a:pt x="175" y="83"/>
                        <a:pt x="175" y="83"/>
                      </a:cubicBezTo>
                      <a:cubicBezTo>
                        <a:pt x="176" y="83"/>
                        <a:pt x="176" y="83"/>
                        <a:pt x="176" y="83"/>
                      </a:cubicBezTo>
                      <a:cubicBezTo>
                        <a:pt x="176" y="82"/>
                        <a:pt x="176" y="82"/>
                        <a:pt x="176" y="82"/>
                      </a:cubicBezTo>
                      <a:cubicBezTo>
                        <a:pt x="176" y="81"/>
                        <a:pt x="176" y="81"/>
                        <a:pt x="176" y="81"/>
                      </a:cubicBezTo>
                      <a:cubicBezTo>
                        <a:pt x="176" y="82"/>
                        <a:pt x="176" y="82"/>
                        <a:pt x="176" y="82"/>
                      </a:cubicBezTo>
                      <a:cubicBezTo>
                        <a:pt x="175" y="83"/>
                        <a:pt x="175" y="83"/>
                        <a:pt x="175" y="83"/>
                      </a:cubicBezTo>
                      <a:close/>
                      <a:moveTo>
                        <a:pt x="176" y="80"/>
                      </a:moveTo>
                      <a:cubicBezTo>
                        <a:pt x="175" y="80"/>
                        <a:pt x="175" y="80"/>
                        <a:pt x="175" y="80"/>
                      </a:cubicBezTo>
                      <a:cubicBezTo>
                        <a:pt x="176" y="80"/>
                        <a:pt x="176" y="80"/>
                        <a:pt x="176" y="80"/>
                      </a:cubicBezTo>
                      <a:cubicBezTo>
                        <a:pt x="176" y="80"/>
                        <a:pt x="176" y="80"/>
                        <a:pt x="176" y="80"/>
                      </a:cubicBezTo>
                      <a:cubicBezTo>
                        <a:pt x="176" y="80"/>
                        <a:pt x="176" y="80"/>
                        <a:pt x="176" y="80"/>
                      </a:cubicBezTo>
                      <a:cubicBezTo>
                        <a:pt x="176" y="80"/>
                        <a:pt x="176" y="80"/>
                        <a:pt x="176" y="80"/>
                      </a:cubicBezTo>
                      <a:close/>
                      <a:moveTo>
                        <a:pt x="180" y="71"/>
                      </a:moveTo>
                      <a:cubicBezTo>
                        <a:pt x="180" y="71"/>
                        <a:pt x="180" y="71"/>
                        <a:pt x="180" y="71"/>
                      </a:cubicBezTo>
                      <a:cubicBezTo>
                        <a:pt x="180" y="72"/>
                        <a:pt x="180" y="72"/>
                        <a:pt x="180" y="72"/>
                      </a:cubicBezTo>
                      <a:cubicBezTo>
                        <a:pt x="181" y="71"/>
                        <a:pt x="181" y="71"/>
                        <a:pt x="181" y="71"/>
                      </a:cubicBezTo>
                      <a:cubicBezTo>
                        <a:pt x="181" y="70"/>
                        <a:pt x="181" y="70"/>
                        <a:pt x="181" y="70"/>
                      </a:cubicBezTo>
                      <a:cubicBezTo>
                        <a:pt x="181" y="69"/>
                        <a:pt x="181" y="69"/>
                        <a:pt x="181" y="69"/>
                      </a:cubicBezTo>
                      <a:cubicBezTo>
                        <a:pt x="182" y="68"/>
                        <a:pt x="182" y="68"/>
                        <a:pt x="182" y="68"/>
                      </a:cubicBezTo>
                      <a:cubicBezTo>
                        <a:pt x="181" y="68"/>
                        <a:pt x="181" y="68"/>
                        <a:pt x="181" y="68"/>
                      </a:cubicBezTo>
                      <a:cubicBezTo>
                        <a:pt x="181" y="69"/>
                        <a:pt x="181" y="69"/>
                        <a:pt x="181" y="69"/>
                      </a:cubicBezTo>
                      <a:cubicBezTo>
                        <a:pt x="180" y="69"/>
                        <a:pt x="180" y="69"/>
                        <a:pt x="180" y="69"/>
                      </a:cubicBezTo>
                      <a:cubicBezTo>
                        <a:pt x="180" y="71"/>
                        <a:pt x="180" y="71"/>
                        <a:pt x="180" y="71"/>
                      </a:cubicBezTo>
                      <a:close/>
                      <a:moveTo>
                        <a:pt x="177" y="58"/>
                      </a:moveTo>
                      <a:cubicBezTo>
                        <a:pt x="177" y="58"/>
                        <a:pt x="177" y="58"/>
                        <a:pt x="177" y="58"/>
                      </a:cubicBezTo>
                      <a:cubicBezTo>
                        <a:pt x="178" y="58"/>
                        <a:pt x="178" y="58"/>
                        <a:pt x="178" y="58"/>
                      </a:cubicBezTo>
                      <a:cubicBezTo>
                        <a:pt x="179" y="58"/>
                        <a:pt x="179" y="58"/>
                        <a:pt x="179" y="58"/>
                      </a:cubicBezTo>
                      <a:cubicBezTo>
                        <a:pt x="180" y="57"/>
                        <a:pt x="180" y="57"/>
                        <a:pt x="180" y="57"/>
                      </a:cubicBezTo>
                      <a:cubicBezTo>
                        <a:pt x="180" y="56"/>
                        <a:pt x="180" y="56"/>
                        <a:pt x="180" y="56"/>
                      </a:cubicBezTo>
                      <a:cubicBezTo>
                        <a:pt x="179" y="55"/>
                        <a:pt x="179" y="55"/>
                        <a:pt x="179" y="55"/>
                      </a:cubicBezTo>
                      <a:cubicBezTo>
                        <a:pt x="177" y="56"/>
                        <a:pt x="177" y="56"/>
                        <a:pt x="177" y="56"/>
                      </a:cubicBezTo>
                      <a:cubicBezTo>
                        <a:pt x="177" y="57"/>
                        <a:pt x="177" y="57"/>
                        <a:pt x="177" y="57"/>
                      </a:cubicBezTo>
                      <a:cubicBezTo>
                        <a:pt x="177" y="58"/>
                        <a:pt x="177" y="58"/>
                        <a:pt x="177" y="58"/>
                      </a:cubicBezTo>
                      <a:close/>
                      <a:moveTo>
                        <a:pt x="187" y="34"/>
                      </a:moveTo>
                      <a:cubicBezTo>
                        <a:pt x="187" y="34"/>
                        <a:pt x="187" y="34"/>
                        <a:pt x="187" y="34"/>
                      </a:cubicBezTo>
                      <a:cubicBezTo>
                        <a:pt x="187" y="33"/>
                        <a:pt x="187" y="33"/>
                        <a:pt x="187" y="33"/>
                      </a:cubicBezTo>
                      <a:cubicBezTo>
                        <a:pt x="187" y="31"/>
                        <a:pt x="187" y="31"/>
                        <a:pt x="187" y="31"/>
                      </a:cubicBezTo>
                      <a:cubicBezTo>
                        <a:pt x="187" y="31"/>
                        <a:pt x="187" y="31"/>
                        <a:pt x="187" y="31"/>
                      </a:cubicBezTo>
                      <a:cubicBezTo>
                        <a:pt x="187" y="30"/>
                        <a:pt x="187" y="30"/>
                        <a:pt x="187" y="30"/>
                      </a:cubicBezTo>
                      <a:cubicBezTo>
                        <a:pt x="186" y="30"/>
                        <a:pt x="186" y="30"/>
                        <a:pt x="186" y="30"/>
                      </a:cubicBezTo>
                      <a:cubicBezTo>
                        <a:pt x="186" y="31"/>
                        <a:pt x="186" y="31"/>
                        <a:pt x="186" y="31"/>
                      </a:cubicBezTo>
                      <a:cubicBezTo>
                        <a:pt x="187" y="31"/>
                        <a:pt x="187" y="31"/>
                        <a:pt x="187" y="31"/>
                      </a:cubicBezTo>
                      <a:cubicBezTo>
                        <a:pt x="187" y="32"/>
                        <a:pt x="187" y="32"/>
                        <a:pt x="187" y="32"/>
                      </a:cubicBezTo>
                      <a:cubicBezTo>
                        <a:pt x="186" y="33"/>
                        <a:pt x="186" y="33"/>
                        <a:pt x="186" y="33"/>
                      </a:cubicBezTo>
                      <a:cubicBezTo>
                        <a:pt x="187" y="34"/>
                        <a:pt x="187" y="34"/>
                        <a:pt x="187" y="34"/>
                      </a:cubicBezTo>
                      <a:close/>
                      <a:moveTo>
                        <a:pt x="184" y="37"/>
                      </a:moveTo>
                      <a:cubicBezTo>
                        <a:pt x="184" y="37"/>
                        <a:pt x="184" y="37"/>
                        <a:pt x="184" y="37"/>
                      </a:cubicBezTo>
                      <a:cubicBezTo>
                        <a:pt x="185" y="36"/>
                        <a:pt x="185" y="36"/>
                        <a:pt x="185" y="36"/>
                      </a:cubicBezTo>
                      <a:cubicBezTo>
                        <a:pt x="185" y="35"/>
                        <a:pt x="185" y="35"/>
                        <a:pt x="185" y="35"/>
                      </a:cubicBezTo>
                      <a:cubicBezTo>
                        <a:pt x="184" y="34"/>
                        <a:pt x="184" y="34"/>
                        <a:pt x="184" y="34"/>
                      </a:cubicBezTo>
                      <a:cubicBezTo>
                        <a:pt x="184" y="35"/>
                        <a:pt x="184" y="35"/>
                        <a:pt x="184" y="35"/>
                      </a:cubicBezTo>
                      <a:cubicBezTo>
                        <a:pt x="183" y="36"/>
                        <a:pt x="183" y="36"/>
                        <a:pt x="183" y="36"/>
                      </a:cubicBezTo>
                      <a:cubicBezTo>
                        <a:pt x="184" y="37"/>
                        <a:pt x="184" y="37"/>
                        <a:pt x="184" y="37"/>
                      </a:cubicBezTo>
                      <a:close/>
                      <a:moveTo>
                        <a:pt x="182" y="34"/>
                      </a:moveTo>
                      <a:cubicBezTo>
                        <a:pt x="183" y="35"/>
                        <a:pt x="183" y="35"/>
                        <a:pt x="183" y="35"/>
                      </a:cubicBezTo>
                      <a:cubicBezTo>
                        <a:pt x="183" y="34"/>
                        <a:pt x="183" y="34"/>
                        <a:pt x="183" y="34"/>
                      </a:cubicBezTo>
                      <a:cubicBezTo>
                        <a:pt x="183" y="33"/>
                        <a:pt x="183" y="33"/>
                        <a:pt x="183" y="33"/>
                      </a:cubicBezTo>
                      <a:cubicBezTo>
                        <a:pt x="184" y="33"/>
                        <a:pt x="184" y="33"/>
                        <a:pt x="184" y="33"/>
                      </a:cubicBezTo>
                      <a:cubicBezTo>
                        <a:pt x="184" y="32"/>
                        <a:pt x="184" y="32"/>
                        <a:pt x="184" y="32"/>
                      </a:cubicBezTo>
                      <a:cubicBezTo>
                        <a:pt x="183" y="32"/>
                        <a:pt x="183" y="32"/>
                        <a:pt x="183" y="32"/>
                      </a:cubicBezTo>
                      <a:cubicBezTo>
                        <a:pt x="183" y="32"/>
                        <a:pt x="183" y="32"/>
                        <a:pt x="183" y="32"/>
                      </a:cubicBezTo>
                      <a:cubicBezTo>
                        <a:pt x="182" y="33"/>
                        <a:pt x="182" y="33"/>
                        <a:pt x="182" y="33"/>
                      </a:cubicBezTo>
                      <a:cubicBezTo>
                        <a:pt x="182" y="33"/>
                        <a:pt x="182" y="33"/>
                        <a:pt x="182" y="33"/>
                      </a:cubicBezTo>
                      <a:cubicBezTo>
                        <a:pt x="182" y="34"/>
                        <a:pt x="182" y="34"/>
                        <a:pt x="182" y="34"/>
                      </a:cubicBezTo>
                      <a:close/>
                      <a:moveTo>
                        <a:pt x="132" y="3"/>
                      </a:moveTo>
                      <a:cubicBezTo>
                        <a:pt x="132" y="3"/>
                        <a:pt x="132" y="3"/>
                        <a:pt x="132" y="3"/>
                      </a:cubicBezTo>
                      <a:cubicBezTo>
                        <a:pt x="133" y="2"/>
                        <a:pt x="133" y="2"/>
                        <a:pt x="133" y="2"/>
                      </a:cubicBezTo>
                      <a:cubicBezTo>
                        <a:pt x="133" y="2"/>
                        <a:pt x="133" y="2"/>
                        <a:pt x="133" y="2"/>
                      </a:cubicBezTo>
                      <a:cubicBezTo>
                        <a:pt x="133" y="1"/>
                        <a:pt x="133" y="1"/>
                        <a:pt x="133" y="1"/>
                      </a:cubicBezTo>
                      <a:cubicBezTo>
                        <a:pt x="132" y="1"/>
                        <a:pt x="132" y="1"/>
                        <a:pt x="132" y="1"/>
                      </a:cubicBezTo>
                      <a:cubicBezTo>
                        <a:pt x="132" y="2"/>
                        <a:pt x="132" y="2"/>
                        <a:pt x="132" y="2"/>
                      </a:cubicBezTo>
                      <a:cubicBezTo>
                        <a:pt x="132" y="3"/>
                        <a:pt x="132" y="3"/>
                        <a:pt x="132" y="3"/>
                      </a:cubicBezTo>
                      <a:close/>
                      <a:moveTo>
                        <a:pt x="132" y="4"/>
                      </a:moveTo>
                      <a:cubicBezTo>
                        <a:pt x="132" y="4"/>
                        <a:pt x="132" y="4"/>
                        <a:pt x="132" y="4"/>
                      </a:cubicBezTo>
                      <a:cubicBezTo>
                        <a:pt x="133" y="4"/>
                        <a:pt x="133" y="4"/>
                        <a:pt x="133" y="4"/>
                      </a:cubicBezTo>
                      <a:cubicBezTo>
                        <a:pt x="134" y="4"/>
                        <a:pt x="134" y="4"/>
                        <a:pt x="134" y="4"/>
                      </a:cubicBezTo>
                      <a:cubicBezTo>
                        <a:pt x="134" y="3"/>
                        <a:pt x="134" y="3"/>
                        <a:pt x="134" y="3"/>
                      </a:cubicBezTo>
                      <a:cubicBezTo>
                        <a:pt x="133" y="3"/>
                        <a:pt x="133" y="3"/>
                        <a:pt x="133" y="3"/>
                      </a:cubicBezTo>
                      <a:cubicBezTo>
                        <a:pt x="132" y="3"/>
                        <a:pt x="132" y="3"/>
                        <a:pt x="132" y="3"/>
                      </a:cubicBezTo>
                      <a:cubicBezTo>
                        <a:pt x="132" y="4"/>
                        <a:pt x="132" y="4"/>
                        <a:pt x="132" y="4"/>
                      </a:cubicBezTo>
                      <a:close/>
                      <a:moveTo>
                        <a:pt x="128" y="4"/>
                      </a:moveTo>
                      <a:cubicBezTo>
                        <a:pt x="129" y="5"/>
                        <a:pt x="129" y="5"/>
                        <a:pt x="129" y="5"/>
                      </a:cubicBezTo>
                      <a:cubicBezTo>
                        <a:pt x="129" y="6"/>
                        <a:pt x="129" y="6"/>
                        <a:pt x="129" y="6"/>
                      </a:cubicBezTo>
                      <a:cubicBezTo>
                        <a:pt x="130" y="6"/>
                        <a:pt x="130" y="6"/>
                        <a:pt x="130" y="6"/>
                      </a:cubicBezTo>
                      <a:cubicBezTo>
                        <a:pt x="130" y="5"/>
                        <a:pt x="130" y="5"/>
                        <a:pt x="130" y="5"/>
                      </a:cubicBezTo>
                      <a:cubicBezTo>
                        <a:pt x="131" y="5"/>
                        <a:pt x="131" y="5"/>
                        <a:pt x="131" y="5"/>
                      </a:cubicBezTo>
                      <a:cubicBezTo>
                        <a:pt x="129" y="4"/>
                        <a:pt x="129" y="4"/>
                        <a:pt x="129" y="4"/>
                      </a:cubicBezTo>
                      <a:cubicBezTo>
                        <a:pt x="129" y="3"/>
                        <a:pt x="129" y="3"/>
                        <a:pt x="129" y="3"/>
                      </a:cubicBezTo>
                      <a:cubicBezTo>
                        <a:pt x="129" y="3"/>
                        <a:pt x="129" y="3"/>
                        <a:pt x="129" y="3"/>
                      </a:cubicBezTo>
                      <a:cubicBezTo>
                        <a:pt x="128" y="3"/>
                        <a:pt x="128" y="3"/>
                        <a:pt x="128" y="3"/>
                      </a:cubicBezTo>
                      <a:cubicBezTo>
                        <a:pt x="128" y="4"/>
                        <a:pt x="128" y="4"/>
                        <a:pt x="128" y="4"/>
                      </a:cubicBezTo>
                      <a:cubicBezTo>
                        <a:pt x="128" y="4"/>
                        <a:pt x="128" y="4"/>
                        <a:pt x="128" y="4"/>
                      </a:cubicBezTo>
                      <a:cubicBezTo>
                        <a:pt x="128" y="4"/>
                        <a:pt x="128" y="4"/>
                        <a:pt x="128" y="4"/>
                      </a:cubicBezTo>
                      <a:close/>
                      <a:moveTo>
                        <a:pt x="126" y="5"/>
                      </a:moveTo>
                      <a:cubicBezTo>
                        <a:pt x="126" y="6"/>
                        <a:pt x="126" y="6"/>
                        <a:pt x="126" y="6"/>
                      </a:cubicBezTo>
                      <a:cubicBezTo>
                        <a:pt x="126" y="6"/>
                        <a:pt x="126" y="6"/>
                        <a:pt x="126" y="6"/>
                      </a:cubicBezTo>
                      <a:cubicBezTo>
                        <a:pt x="127" y="6"/>
                        <a:pt x="127" y="6"/>
                        <a:pt x="127" y="6"/>
                      </a:cubicBezTo>
                      <a:cubicBezTo>
                        <a:pt x="127" y="5"/>
                        <a:pt x="127" y="5"/>
                        <a:pt x="127" y="5"/>
                      </a:cubicBezTo>
                      <a:cubicBezTo>
                        <a:pt x="126" y="5"/>
                        <a:pt x="126" y="5"/>
                        <a:pt x="126" y="5"/>
                      </a:cubicBezTo>
                      <a:cubicBezTo>
                        <a:pt x="126" y="5"/>
                        <a:pt x="126" y="5"/>
                        <a:pt x="126" y="5"/>
                      </a:cubicBezTo>
                      <a:close/>
                      <a:moveTo>
                        <a:pt x="111" y="8"/>
                      </a:moveTo>
                      <a:cubicBezTo>
                        <a:pt x="112" y="9"/>
                        <a:pt x="112" y="9"/>
                        <a:pt x="112" y="9"/>
                      </a:cubicBezTo>
                      <a:cubicBezTo>
                        <a:pt x="113" y="10"/>
                        <a:pt x="113" y="10"/>
                        <a:pt x="113" y="10"/>
                      </a:cubicBezTo>
                      <a:cubicBezTo>
                        <a:pt x="114" y="11"/>
                        <a:pt x="114" y="11"/>
                        <a:pt x="114" y="11"/>
                      </a:cubicBezTo>
                      <a:cubicBezTo>
                        <a:pt x="114" y="11"/>
                        <a:pt x="114" y="11"/>
                        <a:pt x="114" y="11"/>
                      </a:cubicBezTo>
                      <a:cubicBezTo>
                        <a:pt x="115" y="10"/>
                        <a:pt x="115" y="10"/>
                        <a:pt x="115" y="10"/>
                      </a:cubicBezTo>
                      <a:cubicBezTo>
                        <a:pt x="115" y="9"/>
                        <a:pt x="115" y="9"/>
                        <a:pt x="115" y="9"/>
                      </a:cubicBezTo>
                      <a:cubicBezTo>
                        <a:pt x="115" y="9"/>
                        <a:pt x="115" y="9"/>
                        <a:pt x="115" y="9"/>
                      </a:cubicBezTo>
                      <a:cubicBezTo>
                        <a:pt x="115" y="8"/>
                        <a:pt x="115" y="8"/>
                        <a:pt x="115" y="8"/>
                      </a:cubicBezTo>
                      <a:cubicBezTo>
                        <a:pt x="114" y="8"/>
                        <a:pt x="114" y="8"/>
                        <a:pt x="114" y="8"/>
                      </a:cubicBezTo>
                      <a:cubicBezTo>
                        <a:pt x="114" y="7"/>
                        <a:pt x="114" y="7"/>
                        <a:pt x="114" y="7"/>
                      </a:cubicBezTo>
                      <a:cubicBezTo>
                        <a:pt x="113" y="7"/>
                        <a:pt x="113" y="7"/>
                        <a:pt x="113" y="7"/>
                      </a:cubicBezTo>
                      <a:cubicBezTo>
                        <a:pt x="113" y="7"/>
                        <a:pt x="113" y="7"/>
                        <a:pt x="113" y="7"/>
                      </a:cubicBezTo>
                      <a:cubicBezTo>
                        <a:pt x="113" y="8"/>
                        <a:pt x="113" y="8"/>
                        <a:pt x="113" y="8"/>
                      </a:cubicBezTo>
                      <a:cubicBezTo>
                        <a:pt x="113" y="8"/>
                        <a:pt x="113" y="8"/>
                        <a:pt x="113" y="8"/>
                      </a:cubicBezTo>
                      <a:cubicBezTo>
                        <a:pt x="112" y="9"/>
                        <a:pt x="112" y="9"/>
                        <a:pt x="112" y="9"/>
                      </a:cubicBezTo>
                      <a:cubicBezTo>
                        <a:pt x="112" y="8"/>
                        <a:pt x="112" y="8"/>
                        <a:pt x="112" y="8"/>
                      </a:cubicBezTo>
                      <a:cubicBezTo>
                        <a:pt x="111" y="8"/>
                        <a:pt x="111" y="8"/>
                        <a:pt x="111" y="8"/>
                      </a:cubicBezTo>
                      <a:close/>
                      <a:moveTo>
                        <a:pt x="111" y="9"/>
                      </a:moveTo>
                      <a:cubicBezTo>
                        <a:pt x="111" y="10"/>
                        <a:pt x="111" y="10"/>
                        <a:pt x="111" y="10"/>
                      </a:cubicBezTo>
                      <a:cubicBezTo>
                        <a:pt x="112" y="11"/>
                        <a:pt x="112" y="11"/>
                        <a:pt x="112" y="11"/>
                      </a:cubicBezTo>
                      <a:cubicBezTo>
                        <a:pt x="112" y="9"/>
                        <a:pt x="112" y="9"/>
                        <a:pt x="112" y="9"/>
                      </a:cubicBezTo>
                      <a:cubicBezTo>
                        <a:pt x="111" y="9"/>
                        <a:pt x="111" y="9"/>
                        <a:pt x="111" y="9"/>
                      </a:cubicBezTo>
                      <a:cubicBezTo>
                        <a:pt x="111" y="9"/>
                        <a:pt x="111" y="9"/>
                        <a:pt x="111" y="9"/>
                      </a:cubicBezTo>
                      <a:close/>
                      <a:moveTo>
                        <a:pt x="106" y="9"/>
                      </a:moveTo>
                      <a:cubicBezTo>
                        <a:pt x="106" y="10"/>
                        <a:pt x="106" y="10"/>
                        <a:pt x="106" y="10"/>
                      </a:cubicBezTo>
                      <a:cubicBezTo>
                        <a:pt x="107" y="10"/>
                        <a:pt x="107" y="10"/>
                        <a:pt x="107" y="10"/>
                      </a:cubicBezTo>
                      <a:cubicBezTo>
                        <a:pt x="108" y="10"/>
                        <a:pt x="108" y="10"/>
                        <a:pt x="108" y="10"/>
                      </a:cubicBezTo>
                      <a:cubicBezTo>
                        <a:pt x="108" y="10"/>
                        <a:pt x="108" y="10"/>
                        <a:pt x="108" y="10"/>
                      </a:cubicBezTo>
                      <a:cubicBezTo>
                        <a:pt x="108" y="10"/>
                        <a:pt x="108" y="10"/>
                        <a:pt x="108" y="10"/>
                      </a:cubicBezTo>
                      <a:cubicBezTo>
                        <a:pt x="108" y="9"/>
                        <a:pt x="108" y="9"/>
                        <a:pt x="108" y="9"/>
                      </a:cubicBezTo>
                      <a:cubicBezTo>
                        <a:pt x="107" y="9"/>
                        <a:pt x="107" y="9"/>
                        <a:pt x="107" y="9"/>
                      </a:cubicBezTo>
                      <a:cubicBezTo>
                        <a:pt x="107" y="8"/>
                        <a:pt x="107" y="8"/>
                        <a:pt x="107" y="8"/>
                      </a:cubicBezTo>
                      <a:cubicBezTo>
                        <a:pt x="107" y="8"/>
                        <a:pt x="107" y="8"/>
                        <a:pt x="107" y="8"/>
                      </a:cubicBezTo>
                      <a:cubicBezTo>
                        <a:pt x="106" y="9"/>
                        <a:pt x="106" y="9"/>
                        <a:pt x="106" y="9"/>
                      </a:cubicBezTo>
                      <a:cubicBezTo>
                        <a:pt x="106" y="9"/>
                        <a:pt x="106" y="9"/>
                        <a:pt x="106" y="9"/>
                      </a:cubicBezTo>
                      <a:close/>
                      <a:moveTo>
                        <a:pt x="103" y="17"/>
                      </a:moveTo>
                      <a:cubicBezTo>
                        <a:pt x="103" y="17"/>
                        <a:pt x="103" y="17"/>
                        <a:pt x="103" y="17"/>
                      </a:cubicBezTo>
                      <a:cubicBezTo>
                        <a:pt x="104" y="17"/>
                        <a:pt x="104" y="17"/>
                        <a:pt x="104" y="17"/>
                      </a:cubicBezTo>
                      <a:cubicBezTo>
                        <a:pt x="104" y="16"/>
                        <a:pt x="104" y="16"/>
                        <a:pt x="104" y="16"/>
                      </a:cubicBezTo>
                      <a:cubicBezTo>
                        <a:pt x="104" y="16"/>
                        <a:pt x="104" y="16"/>
                        <a:pt x="104" y="16"/>
                      </a:cubicBezTo>
                      <a:cubicBezTo>
                        <a:pt x="103" y="15"/>
                        <a:pt x="103" y="15"/>
                        <a:pt x="103" y="15"/>
                      </a:cubicBezTo>
                      <a:cubicBezTo>
                        <a:pt x="103" y="14"/>
                        <a:pt x="103" y="14"/>
                        <a:pt x="103" y="14"/>
                      </a:cubicBezTo>
                      <a:cubicBezTo>
                        <a:pt x="102" y="14"/>
                        <a:pt x="102" y="14"/>
                        <a:pt x="102" y="14"/>
                      </a:cubicBezTo>
                      <a:cubicBezTo>
                        <a:pt x="102" y="15"/>
                        <a:pt x="102" y="15"/>
                        <a:pt x="102" y="15"/>
                      </a:cubicBezTo>
                      <a:cubicBezTo>
                        <a:pt x="103" y="15"/>
                        <a:pt x="103" y="15"/>
                        <a:pt x="103" y="15"/>
                      </a:cubicBezTo>
                      <a:cubicBezTo>
                        <a:pt x="103" y="17"/>
                        <a:pt x="103" y="17"/>
                        <a:pt x="103" y="17"/>
                      </a:cubicBezTo>
                      <a:cubicBezTo>
                        <a:pt x="103" y="17"/>
                        <a:pt x="103" y="17"/>
                        <a:pt x="103" y="17"/>
                      </a:cubicBezTo>
                      <a:close/>
                      <a:moveTo>
                        <a:pt x="104" y="25"/>
                      </a:moveTo>
                      <a:cubicBezTo>
                        <a:pt x="106" y="25"/>
                        <a:pt x="106" y="25"/>
                        <a:pt x="106" y="25"/>
                      </a:cubicBezTo>
                      <a:cubicBezTo>
                        <a:pt x="106" y="25"/>
                        <a:pt x="106" y="25"/>
                        <a:pt x="106" y="25"/>
                      </a:cubicBezTo>
                      <a:cubicBezTo>
                        <a:pt x="106" y="24"/>
                        <a:pt x="106" y="24"/>
                        <a:pt x="106" y="24"/>
                      </a:cubicBezTo>
                      <a:cubicBezTo>
                        <a:pt x="105" y="24"/>
                        <a:pt x="105" y="24"/>
                        <a:pt x="105" y="24"/>
                      </a:cubicBezTo>
                      <a:cubicBezTo>
                        <a:pt x="105" y="23"/>
                        <a:pt x="105" y="23"/>
                        <a:pt x="105" y="23"/>
                      </a:cubicBezTo>
                      <a:cubicBezTo>
                        <a:pt x="105" y="23"/>
                        <a:pt x="105" y="23"/>
                        <a:pt x="105" y="23"/>
                      </a:cubicBezTo>
                      <a:cubicBezTo>
                        <a:pt x="104" y="23"/>
                        <a:pt x="104" y="23"/>
                        <a:pt x="104" y="23"/>
                      </a:cubicBezTo>
                      <a:cubicBezTo>
                        <a:pt x="103" y="24"/>
                        <a:pt x="103" y="24"/>
                        <a:pt x="103" y="24"/>
                      </a:cubicBezTo>
                      <a:cubicBezTo>
                        <a:pt x="103" y="24"/>
                        <a:pt x="103" y="24"/>
                        <a:pt x="103" y="24"/>
                      </a:cubicBezTo>
                      <a:cubicBezTo>
                        <a:pt x="104" y="25"/>
                        <a:pt x="104" y="25"/>
                        <a:pt x="104" y="25"/>
                      </a:cubicBezTo>
                      <a:cubicBezTo>
                        <a:pt x="104" y="25"/>
                        <a:pt x="104" y="25"/>
                        <a:pt x="104" y="25"/>
                      </a:cubicBezTo>
                      <a:close/>
                      <a:moveTo>
                        <a:pt x="104" y="26"/>
                      </a:moveTo>
                      <a:cubicBezTo>
                        <a:pt x="104" y="27"/>
                        <a:pt x="104" y="27"/>
                        <a:pt x="104" y="27"/>
                      </a:cubicBezTo>
                      <a:cubicBezTo>
                        <a:pt x="104" y="28"/>
                        <a:pt x="104" y="28"/>
                        <a:pt x="104" y="28"/>
                      </a:cubicBezTo>
                      <a:cubicBezTo>
                        <a:pt x="104" y="28"/>
                        <a:pt x="104" y="28"/>
                        <a:pt x="104" y="28"/>
                      </a:cubicBezTo>
                      <a:cubicBezTo>
                        <a:pt x="106" y="29"/>
                        <a:pt x="106" y="29"/>
                        <a:pt x="106" y="29"/>
                      </a:cubicBezTo>
                      <a:cubicBezTo>
                        <a:pt x="106" y="29"/>
                        <a:pt x="106" y="29"/>
                        <a:pt x="106" y="29"/>
                      </a:cubicBezTo>
                      <a:cubicBezTo>
                        <a:pt x="106" y="27"/>
                        <a:pt x="106" y="27"/>
                        <a:pt x="106" y="27"/>
                      </a:cubicBezTo>
                      <a:cubicBezTo>
                        <a:pt x="106" y="26"/>
                        <a:pt x="106" y="26"/>
                        <a:pt x="106" y="26"/>
                      </a:cubicBezTo>
                      <a:cubicBezTo>
                        <a:pt x="105" y="26"/>
                        <a:pt x="105" y="26"/>
                        <a:pt x="105" y="26"/>
                      </a:cubicBezTo>
                      <a:cubicBezTo>
                        <a:pt x="104" y="26"/>
                        <a:pt x="104" y="26"/>
                        <a:pt x="104" y="26"/>
                      </a:cubicBezTo>
                      <a:close/>
                      <a:moveTo>
                        <a:pt x="91" y="18"/>
                      </a:moveTo>
                      <a:cubicBezTo>
                        <a:pt x="91" y="18"/>
                        <a:pt x="91" y="18"/>
                        <a:pt x="91" y="18"/>
                      </a:cubicBezTo>
                      <a:cubicBezTo>
                        <a:pt x="91" y="17"/>
                        <a:pt x="91" y="17"/>
                        <a:pt x="91" y="17"/>
                      </a:cubicBezTo>
                      <a:cubicBezTo>
                        <a:pt x="91" y="17"/>
                        <a:pt x="91" y="17"/>
                        <a:pt x="91" y="17"/>
                      </a:cubicBezTo>
                      <a:cubicBezTo>
                        <a:pt x="91" y="16"/>
                        <a:pt x="91" y="16"/>
                        <a:pt x="91" y="16"/>
                      </a:cubicBezTo>
                      <a:cubicBezTo>
                        <a:pt x="90" y="17"/>
                        <a:pt x="90" y="17"/>
                        <a:pt x="90" y="17"/>
                      </a:cubicBezTo>
                      <a:cubicBezTo>
                        <a:pt x="90" y="17"/>
                        <a:pt x="90" y="17"/>
                        <a:pt x="90" y="17"/>
                      </a:cubicBezTo>
                      <a:cubicBezTo>
                        <a:pt x="91" y="18"/>
                        <a:pt x="91" y="18"/>
                        <a:pt x="91" y="18"/>
                      </a:cubicBezTo>
                      <a:close/>
                      <a:moveTo>
                        <a:pt x="89" y="23"/>
                      </a:moveTo>
                      <a:cubicBezTo>
                        <a:pt x="90" y="24"/>
                        <a:pt x="90" y="24"/>
                        <a:pt x="90" y="24"/>
                      </a:cubicBezTo>
                      <a:cubicBezTo>
                        <a:pt x="90" y="23"/>
                        <a:pt x="90" y="23"/>
                        <a:pt x="90" y="23"/>
                      </a:cubicBezTo>
                      <a:cubicBezTo>
                        <a:pt x="90" y="22"/>
                        <a:pt x="90" y="22"/>
                        <a:pt x="90" y="22"/>
                      </a:cubicBezTo>
                      <a:cubicBezTo>
                        <a:pt x="89" y="21"/>
                        <a:pt x="89" y="21"/>
                        <a:pt x="89" y="21"/>
                      </a:cubicBezTo>
                      <a:cubicBezTo>
                        <a:pt x="89" y="19"/>
                        <a:pt x="89" y="19"/>
                        <a:pt x="89" y="19"/>
                      </a:cubicBezTo>
                      <a:cubicBezTo>
                        <a:pt x="89" y="18"/>
                        <a:pt x="89" y="18"/>
                        <a:pt x="89" y="18"/>
                      </a:cubicBezTo>
                      <a:cubicBezTo>
                        <a:pt x="89" y="17"/>
                        <a:pt x="89" y="17"/>
                        <a:pt x="89" y="17"/>
                      </a:cubicBezTo>
                      <a:cubicBezTo>
                        <a:pt x="89" y="16"/>
                        <a:pt x="89" y="16"/>
                        <a:pt x="89" y="16"/>
                      </a:cubicBezTo>
                      <a:cubicBezTo>
                        <a:pt x="89" y="15"/>
                        <a:pt x="89" y="15"/>
                        <a:pt x="89" y="15"/>
                      </a:cubicBezTo>
                      <a:cubicBezTo>
                        <a:pt x="88" y="14"/>
                        <a:pt x="88" y="14"/>
                        <a:pt x="88" y="14"/>
                      </a:cubicBezTo>
                      <a:cubicBezTo>
                        <a:pt x="87" y="15"/>
                        <a:pt x="87" y="15"/>
                        <a:pt x="87" y="15"/>
                      </a:cubicBezTo>
                      <a:cubicBezTo>
                        <a:pt x="87" y="17"/>
                        <a:pt x="87" y="17"/>
                        <a:pt x="87" y="17"/>
                      </a:cubicBezTo>
                      <a:cubicBezTo>
                        <a:pt x="87" y="18"/>
                        <a:pt x="87" y="18"/>
                        <a:pt x="87" y="18"/>
                      </a:cubicBezTo>
                      <a:cubicBezTo>
                        <a:pt x="87" y="19"/>
                        <a:pt x="87" y="19"/>
                        <a:pt x="87" y="19"/>
                      </a:cubicBezTo>
                      <a:cubicBezTo>
                        <a:pt x="88" y="21"/>
                        <a:pt x="88" y="21"/>
                        <a:pt x="88" y="21"/>
                      </a:cubicBezTo>
                      <a:cubicBezTo>
                        <a:pt x="88" y="22"/>
                        <a:pt x="88" y="22"/>
                        <a:pt x="88" y="22"/>
                      </a:cubicBezTo>
                      <a:cubicBezTo>
                        <a:pt x="89" y="23"/>
                        <a:pt x="89" y="23"/>
                        <a:pt x="89" y="23"/>
                      </a:cubicBezTo>
                      <a:close/>
                      <a:moveTo>
                        <a:pt x="37" y="30"/>
                      </a:moveTo>
                      <a:cubicBezTo>
                        <a:pt x="38" y="31"/>
                        <a:pt x="38" y="31"/>
                        <a:pt x="38" y="31"/>
                      </a:cubicBezTo>
                      <a:cubicBezTo>
                        <a:pt x="38" y="31"/>
                        <a:pt x="38" y="31"/>
                        <a:pt x="38" y="31"/>
                      </a:cubicBezTo>
                      <a:cubicBezTo>
                        <a:pt x="39" y="32"/>
                        <a:pt x="39" y="32"/>
                        <a:pt x="39" y="32"/>
                      </a:cubicBezTo>
                      <a:cubicBezTo>
                        <a:pt x="39" y="31"/>
                        <a:pt x="39" y="31"/>
                        <a:pt x="39" y="31"/>
                      </a:cubicBezTo>
                      <a:cubicBezTo>
                        <a:pt x="38" y="30"/>
                        <a:pt x="38" y="30"/>
                        <a:pt x="38" y="30"/>
                      </a:cubicBezTo>
                      <a:cubicBezTo>
                        <a:pt x="37" y="30"/>
                        <a:pt x="37" y="30"/>
                        <a:pt x="37" y="30"/>
                      </a:cubicBezTo>
                      <a:close/>
                      <a:moveTo>
                        <a:pt x="5" y="68"/>
                      </a:moveTo>
                      <a:cubicBezTo>
                        <a:pt x="5" y="69"/>
                        <a:pt x="5" y="69"/>
                        <a:pt x="5" y="69"/>
                      </a:cubicBezTo>
                      <a:cubicBezTo>
                        <a:pt x="7" y="69"/>
                        <a:pt x="7" y="69"/>
                        <a:pt x="7" y="69"/>
                      </a:cubicBezTo>
                      <a:cubicBezTo>
                        <a:pt x="8" y="69"/>
                        <a:pt x="8" y="69"/>
                        <a:pt x="8" y="69"/>
                      </a:cubicBezTo>
                      <a:cubicBezTo>
                        <a:pt x="8" y="69"/>
                        <a:pt x="8" y="69"/>
                        <a:pt x="8" y="69"/>
                      </a:cubicBezTo>
                      <a:cubicBezTo>
                        <a:pt x="8" y="68"/>
                        <a:pt x="8" y="68"/>
                        <a:pt x="8" y="68"/>
                      </a:cubicBezTo>
                      <a:cubicBezTo>
                        <a:pt x="7" y="68"/>
                        <a:pt x="7" y="68"/>
                        <a:pt x="7" y="68"/>
                      </a:cubicBezTo>
                      <a:cubicBezTo>
                        <a:pt x="7" y="68"/>
                        <a:pt x="7" y="68"/>
                        <a:pt x="7" y="68"/>
                      </a:cubicBezTo>
                      <a:cubicBezTo>
                        <a:pt x="6" y="68"/>
                        <a:pt x="6" y="68"/>
                        <a:pt x="6" y="68"/>
                      </a:cubicBezTo>
                      <a:cubicBezTo>
                        <a:pt x="5" y="68"/>
                        <a:pt x="5" y="68"/>
                        <a:pt x="5" y="68"/>
                      </a:cubicBezTo>
                      <a:cubicBezTo>
                        <a:pt x="5" y="68"/>
                        <a:pt x="5" y="68"/>
                        <a:pt x="5" y="68"/>
                      </a:cubicBezTo>
                      <a:close/>
                      <a:moveTo>
                        <a:pt x="0" y="68"/>
                      </a:moveTo>
                      <a:cubicBezTo>
                        <a:pt x="1" y="69"/>
                        <a:pt x="1" y="69"/>
                        <a:pt x="1" y="69"/>
                      </a:cubicBezTo>
                      <a:cubicBezTo>
                        <a:pt x="2" y="69"/>
                        <a:pt x="2" y="69"/>
                        <a:pt x="2" y="69"/>
                      </a:cubicBezTo>
                      <a:cubicBezTo>
                        <a:pt x="3" y="70"/>
                        <a:pt x="3" y="70"/>
                        <a:pt x="3" y="70"/>
                      </a:cubicBezTo>
                      <a:cubicBezTo>
                        <a:pt x="4" y="69"/>
                        <a:pt x="4" y="69"/>
                        <a:pt x="4" y="69"/>
                      </a:cubicBezTo>
                      <a:cubicBezTo>
                        <a:pt x="3" y="68"/>
                        <a:pt x="3" y="68"/>
                        <a:pt x="3" y="68"/>
                      </a:cubicBezTo>
                      <a:cubicBezTo>
                        <a:pt x="2" y="68"/>
                        <a:pt x="2" y="68"/>
                        <a:pt x="2" y="68"/>
                      </a:cubicBezTo>
                      <a:cubicBezTo>
                        <a:pt x="1" y="68"/>
                        <a:pt x="1" y="68"/>
                        <a:pt x="1" y="68"/>
                      </a:cubicBezTo>
                      <a:cubicBezTo>
                        <a:pt x="0" y="68"/>
                        <a:pt x="0" y="68"/>
                        <a:pt x="0" y="68"/>
                      </a:cubicBezTo>
                      <a:close/>
                      <a:moveTo>
                        <a:pt x="37" y="104"/>
                      </a:moveTo>
                      <a:cubicBezTo>
                        <a:pt x="37" y="105"/>
                        <a:pt x="37" y="105"/>
                        <a:pt x="37" y="105"/>
                      </a:cubicBezTo>
                      <a:cubicBezTo>
                        <a:pt x="37" y="105"/>
                        <a:pt x="37" y="105"/>
                        <a:pt x="37" y="105"/>
                      </a:cubicBezTo>
                      <a:cubicBezTo>
                        <a:pt x="38" y="104"/>
                        <a:pt x="38" y="104"/>
                        <a:pt x="38" y="104"/>
                      </a:cubicBezTo>
                      <a:cubicBezTo>
                        <a:pt x="37" y="104"/>
                        <a:pt x="37" y="104"/>
                        <a:pt x="37" y="104"/>
                      </a:cubicBezTo>
                      <a:cubicBezTo>
                        <a:pt x="37" y="104"/>
                        <a:pt x="37" y="104"/>
                        <a:pt x="37" y="104"/>
                      </a:cubicBezTo>
                      <a:close/>
                      <a:moveTo>
                        <a:pt x="37" y="108"/>
                      </a:moveTo>
                      <a:cubicBezTo>
                        <a:pt x="38" y="108"/>
                        <a:pt x="38" y="108"/>
                        <a:pt x="38" y="108"/>
                      </a:cubicBezTo>
                      <a:cubicBezTo>
                        <a:pt x="38" y="108"/>
                        <a:pt x="38" y="108"/>
                        <a:pt x="38" y="108"/>
                      </a:cubicBezTo>
                      <a:cubicBezTo>
                        <a:pt x="40" y="108"/>
                        <a:pt x="40" y="108"/>
                        <a:pt x="40" y="108"/>
                      </a:cubicBezTo>
                      <a:cubicBezTo>
                        <a:pt x="40" y="108"/>
                        <a:pt x="40" y="108"/>
                        <a:pt x="40" y="108"/>
                      </a:cubicBezTo>
                      <a:cubicBezTo>
                        <a:pt x="41" y="109"/>
                        <a:pt x="41" y="109"/>
                        <a:pt x="41" y="109"/>
                      </a:cubicBezTo>
                      <a:cubicBezTo>
                        <a:pt x="41" y="108"/>
                        <a:pt x="41" y="108"/>
                        <a:pt x="41" y="108"/>
                      </a:cubicBezTo>
                      <a:cubicBezTo>
                        <a:pt x="40" y="107"/>
                        <a:pt x="40" y="107"/>
                        <a:pt x="40" y="107"/>
                      </a:cubicBezTo>
                      <a:cubicBezTo>
                        <a:pt x="39" y="107"/>
                        <a:pt x="39" y="107"/>
                        <a:pt x="39" y="107"/>
                      </a:cubicBezTo>
                      <a:cubicBezTo>
                        <a:pt x="39" y="108"/>
                        <a:pt x="39" y="108"/>
                        <a:pt x="39" y="108"/>
                      </a:cubicBezTo>
                      <a:cubicBezTo>
                        <a:pt x="38" y="107"/>
                        <a:pt x="38" y="107"/>
                        <a:pt x="38" y="107"/>
                      </a:cubicBezTo>
                      <a:cubicBezTo>
                        <a:pt x="37" y="107"/>
                        <a:pt x="37" y="107"/>
                        <a:pt x="37" y="107"/>
                      </a:cubicBezTo>
                      <a:cubicBezTo>
                        <a:pt x="37" y="107"/>
                        <a:pt x="37" y="107"/>
                        <a:pt x="37" y="107"/>
                      </a:cubicBezTo>
                      <a:cubicBezTo>
                        <a:pt x="37" y="108"/>
                        <a:pt x="37" y="108"/>
                        <a:pt x="37" y="108"/>
                      </a:cubicBezTo>
                      <a:close/>
                      <a:moveTo>
                        <a:pt x="38" y="109"/>
                      </a:moveTo>
                      <a:cubicBezTo>
                        <a:pt x="38" y="109"/>
                        <a:pt x="38" y="109"/>
                        <a:pt x="38" y="109"/>
                      </a:cubicBezTo>
                      <a:cubicBezTo>
                        <a:pt x="39" y="109"/>
                        <a:pt x="39" y="109"/>
                        <a:pt x="39" y="109"/>
                      </a:cubicBezTo>
                      <a:cubicBezTo>
                        <a:pt x="39" y="109"/>
                        <a:pt x="39" y="109"/>
                        <a:pt x="39" y="109"/>
                      </a:cubicBezTo>
                      <a:cubicBezTo>
                        <a:pt x="38" y="109"/>
                        <a:pt x="38" y="109"/>
                        <a:pt x="38" y="109"/>
                      </a:cubicBezTo>
                      <a:close/>
                      <a:moveTo>
                        <a:pt x="38" y="115"/>
                      </a:moveTo>
                      <a:cubicBezTo>
                        <a:pt x="39" y="115"/>
                        <a:pt x="39" y="115"/>
                        <a:pt x="39" y="115"/>
                      </a:cubicBezTo>
                      <a:cubicBezTo>
                        <a:pt x="39" y="115"/>
                        <a:pt x="39" y="115"/>
                        <a:pt x="39" y="115"/>
                      </a:cubicBezTo>
                      <a:cubicBezTo>
                        <a:pt x="40" y="115"/>
                        <a:pt x="40" y="115"/>
                        <a:pt x="40" y="115"/>
                      </a:cubicBezTo>
                      <a:cubicBezTo>
                        <a:pt x="40" y="115"/>
                        <a:pt x="40" y="115"/>
                        <a:pt x="40" y="115"/>
                      </a:cubicBezTo>
                      <a:cubicBezTo>
                        <a:pt x="40" y="115"/>
                        <a:pt x="40" y="115"/>
                        <a:pt x="40" y="115"/>
                      </a:cubicBezTo>
                      <a:cubicBezTo>
                        <a:pt x="39" y="114"/>
                        <a:pt x="39" y="114"/>
                        <a:pt x="39" y="114"/>
                      </a:cubicBezTo>
                      <a:cubicBezTo>
                        <a:pt x="39" y="114"/>
                        <a:pt x="39" y="114"/>
                        <a:pt x="39" y="114"/>
                      </a:cubicBezTo>
                      <a:cubicBezTo>
                        <a:pt x="38" y="115"/>
                        <a:pt x="38" y="115"/>
                        <a:pt x="38" y="115"/>
                      </a:cubicBezTo>
                      <a:close/>
                      <a:moveTo>
                        <a:pt x="38" y="117"/>
                      </a:moveTo>
                      <a:cubicBezTo>
                        <a:pt x="38" y="117"/>
                        <a:pt x="38" y="117"/>
                        <a:pt x="38" y="117"/>
                      </a:cubicBezTo>
                      <a:cubicBezTo>
                        <a:pt x="38" y="117"/>
                        <a:pt x="38" y="117"/>
                        <a:pt x="38" y="117"/>
                      </a:cubicBezTo>
                      <a:cubicBezTo>
                        <a:pt x="39" y="117"/>
                        <a:pt x="39" y="117"/>
                        <a:pt x="39" y="117"/>
                      </a:cubicBezTo>
                      <a:cubicBezTo>
                        <a:pt x="38" y="117"/>
                        <a:pt x="38" y="117"/>
                        <a:pt x="38" y="117"/>
                      </a:cubicBezTo>
                      <a:cubicBezTo>
                        <a:pt x="38" y="116"/>
                        <a:pt x="38" y="116"/>
                        <a:pt x="38" y="116"/>
                      </a:cubicBezTo>
                      <a:cubicBezTo>
                        <a:pt x="38" y="117"/>
                        <a:pt x="38" y="117"/>
                        <a:pt x="38" y="117"/>
                      </a:cubicBezTo>
                      <a:close/>
                      <a:moveTo>
                        <a:pt x="39" y="120"/>
                      </a:moveTo>
                      <a:cubicBezTo>
                        <a:pt x="39" y="120"/>
                        <a:pt x="39" y="120"/>
                        <a:pt x="39" y="120"/>
                      </a:cubicBezTo>
                      <a:cubicBezTo>
                        <a:pt x="39" y="120"/>
                        <a:pt x="39" y="120"/>
                        <a:pt x="39" y="120"/>
                      </a:cubicBezTo>
                      <a:cubicBezTo>
                        <a:pt x="39" y="119"/>
                        <a:pt x="39" y="119"/>
                        <a:pt x="39" y="119"/>
                      </a:cubicBezTo>
                      <a:cubicBezTo>
                        <a:pt x="39" y="119"/>
                        <a:pt x="39" y="119"/>
                        <a:pt x="39" y="119"/>
                      </a:cubicBezTo>
                      <a:cubicBezTo>
                        <a:pt x="39" y="119"/>
                        <a:pt x="39" y="119"/>
                        <a:pt x="39" y="119"/>
                      </a:cubicBezTo>
                      <a:cubicBezTo>
                        <a:pt x="39" y="120"/>
                        <a:pt x="39" y="120"/>
                        <a:pt x="39" y="120"/>
                      </a:cubicBezTo>
                      <a:close/>
                      <a:moveTo>
                        <a:pt x="40" y="121"/>
                      </a:moveTo>
                      <a:cubicBezTo>
                        <a:pt x="40" y="121"/>
                        <a:pt x="40" y="121"/>
                        <a:pt x="40" y="121"/>
                      </a:cubicBezTo>
                      <a:cubicBezTo>
                        <a:pt x="40" y="121"/>
                        <a:pt x="40" y="121"/>
                        <a:pt x="40" y="121"/>
                      </a:cubicBezTo>
                      <a:cubicBezTo>
                        <a:pt x="40" y="121"/>
                        <a:pt x="40" y="121"/>
                        <a:pt x="40" y="121"/>
                      </a:cubicBezTo>
                      <a:cubicBezTo>
                        <a:pt x="40" y="121"/>
                        <a:pt x="40" y="121"/>
                        <a:pt x="40" y="121"/>
                      </a:cubicBezTo>
                      <a:close/>
                      <a:moveTo>
                        <a:pt x="37" y="122"/>
                      </a:moveTo>
                      <a:cubicBezTo>
                        <a:pt x="38" y="121"/>
                        <a:pt x="38" y="121"/>
                        <a:pt x="38" y="121"/>
                      </a:cubicBezTo>
                      <a:cubicBezTo>
                        <a:pt x="37" y="121"/>
                        <a:pt x="37" y="121"/>
                        <a:pt x="37" y="121"/>
                      </a:cubicBezTo>
                      <a:cubicBezTo>
                        <a:pt x="37" y="121"/>
                        <a:pt x="37" y="121"/>
                        <a:pt x="37" y="121"/>
                      </a:cubicBezTo>
                      <a:cubicBezTo>
                        <a:pt x="37" y="122"/>
                        <a:pt x="37" y="122"/>
                        <a:pt x="37" y="122"/>
                      </a:cubicBezTo>
                      <a:close/>
                      <a:moveTo>
                        <a:pt x="39" y="121"/>
                      </a:moveTo>
                      <a:cubicBezTo>
                        <a:pt x="39" y="121"/>
                        <a:pt x="39" y="121"/>
                        <a:pt x="39" y="121"/>
                      </a:cubicBezTo>
                      <a:cubicBezTo>
                        <a:pt x="39" y="121"/>
                        <a:pt x="39" y="121"/>
                        <a:pt x="39" y="121"/>
                      </a:cubicBezTo>
                      <a:cubicBezTo>
                        <a:pt x="39" y="121"/>
                        <a:pt x="39" y="121"/>
                        <a:pt x="39" y="121"/>
                      </a:cubicBezTo>
                      <a:cubicBezTo>
                        <a:pt x="39" y="121"/>
                        <a:pt x="39" y="121"/>
                        <a:pt x="39" y="121"/>
                      </a:cubicBezTo>
                      <a:close/>
                      <a:moveTo>
                        <a:pt x="38" y="122"/>
                      </a:moveTo>
                      <a:cubicBezTo>
                        <a:pt x="39" y="122"/>
                        <a:pt x="39" y="122"/>
                        <a:pt x="39" y="122"/>
                      </a:cubicBezTo>
                      <a:cubicBezTo>
                        <a:pt x="39" y="122"/>
                        <a:pt x="39" y="122"/>
                        <a:pt x="39" y="122"/>
                      </a:cubicBezTo>
                      <a:cubicBezTo>
                        <a:pt x="38" y="122"/>
                        <a:pt x="38" y="122"/>
                        <a:pt x="38" y="122"/>
                      </a:cubicBezTo>
                      <a:cubicBezTo>
                        <a:pt x="38" y="122"/>
                        <a:pt x="38" y="122"/>
                        <a:pt x="38" y="122"/>
                      </a:cubicBezTo>
                      <a:close/>
                      <a:moveTo>
                        <a:pt x="39" y="124"/>
                      </a:moveTo>
                      <a:cubicBezTo>
                        <a:pt x="39" y="124"/>
                        <a:pt x="39" y="124"/>
                        <a:pt x="39" y="124"/>
                      </a:cubicBezTo>
                      <a:cubicBezTo>
                        <a:pt x="39" y="124"/>
                        <a:pt x="39" y="124"/>
                        <a:pt x="39" y="124"/>
                      </a:cubicBezTo>
                      <a:cubicBezTo>
                        <a:pt x="38" y="124"/>
                        <a:pt x="38" y="124"/>
                        <a:pt x="38" y="124"/>
                      </a:cubicBezTo>
                      <a:cubicBezTo>
                        <a:pt x="38" y="124"/>
                        <a:pt x="38" y="124"/>
                        <a:pt x="38" y="124"/>
                      </a:cubicBezTo>
                      <a:cubicBezTo>
                        <a:pt x="39" y="124"/>
                        <a:pt x="39" y="124"/>
                        <a:pt x="39" y="124"/>
                      </a:cubicBezTo>
                      <a:close/>
                      <a:moveTo>
                        <a:pt x="40" y="125"/>
                      </a:moveTo>
                      <a:cubicBezTo>
                        <a:pt x="40" y="125"/>
                        <a:pt x="40" y="125"/>
                        <a:pt x="40" y="125"/>
                      </a:cubicBezTo>
                      <a:cubicBezTo>
                        <a:pt x="40" y="124"/>
                        <a:pt x="40" y="124"/>
                        <a:pt x="40" y="124"/>
                      </a:cubicBezTo>
                      <a:cubicBezTo>
                        <a:pt x="40" y="124"/>
                        <a:pt x="40" y="124"/>
                        <a:pt x="40" y="124"/>
                      </a:cubicBezTo>
                      <a:cubicBezTo>
                        <a:pt x="39" y="124"/>
                        <a:pt x="39" y="124"/>
                        <a:pt x="39" y="124"/>
                      </a:cubicBezTo>
                      <a:cubicBezTo>
                        <a:pt x="39" y="124"/>
                        <a:pt x="40" y="125"/>
                        <a:pt x="40" y="125"/>
                      </a:cubicBezTo>
                      <a:close/>
                      <a:moveTo>
                        <a:pt x="37" y="127"/>
                      </a:moveTo>
                      <a:cubicBezTo>
                        <a:pt x="37" y="126"/>
                        <a:pt x="37" y="126"/>
                        <a:pt x="37" y="126"/>
                      </a:cubicBezTo>
                      <a:cubicBezTo>
                        <a:pt x="38" y="126"/>
                        <a:pt x="38" y="126"/>
                        <a:pt x="38" y="126"/>
                      </a:cubicBezTo>
                      <a:cubicBezTo>
                        <a:pt x="38" y="126"/>
                        <a:pt x="38" y="126"/>
                        <a:pt x="38" y="126"/>
                      </a:cubicBezTo>
                      <a:cubicBezTo>
                        <a:pt x="37" y="126"/>
                        <a:pt x="37" y="126"/>
                        <a:pt x="37" y="126"/>
                      </a:cubicBezTo>
                      <a:cubicBezTo>
                        <a:pt x="36" y="126"/>
                        <a:pt x="36" y="126"/>
                        <a:pt x="36" y="126"/>
                      </a:cubicBezTo>
                      <a:cubicBezTo>
                        <a:pt x="37" y="127"/>
                        <a:pt x="37" y="127"/>
                        <a:pt x="37" y="127"/>
                      </a:cubicBezTo>
                      <a:close/>
                      <a:moveTo>
                        <a:pt x="38" y="128"/>
                      </a:moveTo>
                      <a:cubicBezTo>
                        <a:pt x="40" y="127"/>
                        <a:pt x="40" y="127"/>
                        <a:pt x="40" y="127"/>
                      </a:cubicBezTo>
                      <a:cubicBezTo>
                        <a:pt x="40" y="126"/>
                        <a:pt x="40" y="126"/>
                        <a:pt x="40" y="126"/>
                      </a:cubicBezTo>
                      <a:cubicBezTo>
                        <a:pt x="40" y="126"/>
                        <a:pt x="40" y="126"/>
                        <a:pt x="40" y="126"/>
                      </a:cubicBezTo>
                      <a:cubicBezTo>
                        <a:pt x="40" y="126"/>
                        <a:pt x="40" y="126"/>
                        <a:pt x="40" y="126"/>
                      </a:cubicBezTo>
                      <a:cubicBezTo>
                        <a:pt x="39" y="127"/>
                        <a:pt x="39" y="127"/>
                        <a:pt x="39" y="127"/>
                      </a:cubicBezTo>
                      <a:cubicBezTo>
                        <a:pt x="38" y="127"/>
                        <a:pt x="38" y="127"/>
                        <a:pt x="38" y="127"/>
                      </a:cubicBezTo>
                      <a:cubicBezTo>
                        <a:pt x="38" y="127"/>
                        <a:pt x="38" y="127"/>
                        <a:pt x="38" y="127"/>
                      </a:cubicBezTo>
                      <a:cubicBezTo>
                        <a:pt x="38" y="127"/>
                        <a:pt x="38" y="127"/>
                        <a:pt x="38" y="127"/>
                      </a:cubicBezTo>
                      <a:cubicBezTo>
                        <a:pt x="38" y="128"/>
                        <a:pt x="38" y="128"/>
                        <a:pt x="38" y="128"/>
                      </a:cubicBezTo>
                      <a:cubicBezTo>
                        <a:pt x="38" y="128"/>
                        <a:pt x="38" y="128"/>
                        <a:pt x="38" y="128"/>
                      </a:cubicBezTo>
                      <a:cubicBezTo>
                        <a:pt x="38" y="128"/>
                        <a:pt x="38" y="128"/>
                        <a:pt x="38" y="128"/>
                      </a:cubicBezTo>
                      <a:cubicBezTo>
                        <a:pt x="38" y="128"/>
                        <a:pt x="38" y="128"/>
                        <a:pt x="38" y="128"/>
                      </a:cubicBezTo>
                      <a:close/>
                      <a:moveTo>
                        <a:pt x="40" y="128"/>
                      </a:moveTo>
                      <a:cubicBezTo>
                        <a:pt x="40" y="128"/>
                        <a:pt x="40" y="128"/>
                        <a:pt x="40" y="128"/>
                      </a:cubicBezTo>
                      <a:cubicBezTo>
                        <a:pt x="40" y="128"/>
                        <a:pt x="40" y="128"/>
                        <a:pt x="40" y="128"/>
                      </a:cubicBezTo>
                      <a:cubicBezTo>
                        <a:pt x="40" y="127"/>
                        <a:pt x="40" y="127"/>
                        <a:pt x="40" y="127"/>
                      </a:cubicBezTo>
                      <a:cubicBezTo>
                        <a:pt x="40" y="128"/>
                        <a:pt x="40" y="128"/>
                        <a:pt x="40" y="128"/>
                      </a:cubicBezTo>
                      <a:close/>
                      <a:moveTo>
                        <a:pt x="39" y="129"/>
                      </a:moveTo>
                      <a:cubicBezTo>
                        <a:pt x="40" y="129"/>
                        <a:pt x="40" y="129"/>
                        <a:pt x="40" y="129"/>
                      </a:cubicBezTo>
                      <a:cubicBezTo>
                        <a:pt x="39" y="128"/>
                        <a:pt x="39" y="128"/>
                        <a:pt x="39" y="128"/>
                      </a:cubicBezTo>
                      <a:cubicBezTo>
                        <a:pt x="39" y="128"/>
                        <a:pt x="39" y="128"/>
                        <a:pt x="39" y="128"/>
                      </a:cubicBezTo>
                      <a:cubicBezTo>
                        <a:pt x="39" y="129"/>
                        <a:pt x="39" y="129"/>
                        <a:pt x="39" y="129"/>
                      </a:cubicBezTo>
                      <a:close/>
                      <a:moveTo>
                        <a:pt x="38" y="129"/>
                      </a:moveTo>
                      <a:cubicBezTo>
                        <a:pt x="38" y="129"/>
                        <a:pt x="38" y="129"/>
                        <a:pt x="38" y="129"/>
                      </a:cubicBezTo>
                      <a:cubicBezTo>
                        <a:pt x="38" y="129"/>
                        <a:pt x="38" y="129"/>
                        <a:pt x="38" y="129"/>
                      </a:cubicBezTo>
                      <a:cubicBezTo>
                        <a:pt x="37" y="129"/>
                        <a:pt x="37" y="129"/>
                        <a:pt x="37" y="129"/>
                      </a:cubicBezTo>
                      <a:cubicBezTo>
                        <a:pt x="37" y="129"/>
                        <a:pt x="37" y="129"/>
                        <a:pt x="37" y="129"/>
                      </a:cubicBezTo>
                      <a:cubicBezTo>
                        <a:pt x="38" y="129"/>
                        <a:pt x="38" y="129"/>
                        <a:pt x="38" y="129"/>
                      </a:cubicBezTo>
                      <a:close/>
                      <a:moveTo>
                        <a:pt x="36" y="132"/>
                      </a:moveTo>
                      <a:cubicBezTo>
                        <a:pt x="36" y="133"/>
                        <a:pt x="36" y="133"/>
                        <a:pt x="36" y="133"/>
                      </a:cubicBezTo>
                      <a:cubicBezTo>
                        <a:pt x="37" y="133"/>
                        <a:pt x="37" y="133"/>
                        <a:pt x="37" y="133"/>
                      </a:cubicBezTo>
                      <a:cubicBezTo>
                        <a:pt x="37" y="132"/>
                        <a:pt x="37" y="132"/>
                        <a:pt x="37" y="132"/>
                      </a:cubicBezTo>
                      <a:cubicBezTo>
                        <a:pt x="38" y="132"/>
                        <a:pt x="38" y="132"/>
                        <a:pt x="38" y="132"/>
                      </a:cubicBezTo>
                      <a:cubicBezTo>
                        <a:pt x="39" y="131"/>
                        <a:pt x="39" y="131"/>
                        <a:pt x="39" y="131"/>
                      </a:cubicBezTo>
                      <a:cubicBezTo>
                        <a:pt x="38" y="131"/>
                        <a:pt x="38" y="131"/>
                        <a:pt x="38" y="131"/>
                      </a:cubicBezTo>
                      <a:cubicBezTo>
                        <a:pt x="38" y="131"/>
                        <a:pt x="38" y="131"/>
                        <a:pt x="38" y="131"/>
                      </a:cubicBezTo>
                      <a:cubicBezTo>
                        <a:pt x="37" y="131"/>
                        <a:pt x="37" y="131"/>
                        <a:pt x="37" y="131"/>
                      </a:cubicBezTo>
                      <a:cubicBezTo>
                        <a:pt x="36" y="132"/>
                        <a:pt x="36" y="132"/>
                        <a:pt x="36" y="132"/>
                      </a:cubicBezTo>
                      <a:cubicBezTo>
                        <a:pt x="36" y="132"/>
                        <a:pt x="36" y="132"/>
                        <a:pt x="36" y="132"/>
                      </a:cubicBezTo>
                      <a:close/>
                      <a:moveTo>
                        <a:pt x="35" y="135"/>
                      </a:moveTo>
                      <a:cubicBezTo>
                        <a:pt x="36" y="135"/>
                        <a:pt x="36" y="135"/>
                        <a:pt x="36" y="135"/>
                      </a:cubicBezTo>
                      <a:cubicBezTo>
                        <a:pt x="36" y="136"/>
                        <a:pt x="36" y="136"/>
                        <a:pt x="36" y="136"/>
                      </a:cubicBezTo>
                      <a:cubicBezTo>
                        <a:pt x="36" y="135"/>
                        <a:pt x="36" y="135"/>
                        <a:pt x="36" y="135"/>
                      </a:cubicBezTo>
                      <a:cubicBezTo>
                        <a:pt x="36" y="135"/>
                        <a:pt x="36" y="135"/>
                        <a:pt x="36" y="135"/>
                      </a:cubicBezTo>
                      <a:cubicBezTo>
                        <a:pt x="35" y="135"/>
                        <a:pt x="35" y="135"/>
                        <a:pt x="35" y="135"/>
                      </a:cubicBezTo>
                      <a:close/>
                      <a:moveTo>
                        <a:pt x="56" y="234"/>
                      </a:moveTo>
                      <a:cubicBezTo>
                        <a:pt x="57" y="234"/>
                        <a:pt x="57" y="234"/>
                        <a:pt x="57" y="234"/>
                      </a:cubicBezTo>
                      <a:cubicBezTo>
                        <a:pt x="58" y="234"/>
                        <a:pt x="58" y="234"/>
                        <a:pt x="58" y="234"/>
                      </a:cubicBezTo>
                      <a:cubicBezTo>
                        <a:pt x="58" y="234"/>
                        <a:pt x="58" y="234"/>
                        <a:pt x="58" y="234"/>
                      </a:cubicBezTo>
                      <a:cubicBezTo>
                        <a:pt x="58" y="234"/>
                        <a:pt x="58" y="234"/>
                        <a:pt x="58" y="234"/>
                      </a:cubicBezTo>
                      <a:cubicBezTo>
                        <a:pt x="57" y="234"/>
                        <a:pt x="57" y="234"/>
                        <a:pt x="57" y="234"/>
                      </a:cubicBezTo>
                      <a:cubicBezTo>
                        <a:pt x="57" y="235"/>
                        <a:pt x="57" y="235"/>
                        <a:pt x="57" y="235"/>
                      </a:cubicBezTo>
                      <a:cubicBezTo>
                        <a:pt x="56" y="234"/>
                        <a:pt x="56" y="234"/>
                        <a:pt x="56" y="234"/>
                      </a:cubicBezTo>
                      <a:close/>
                      <a:moveTo>
                        <a:pt x="51" y="232"/>
                      </a:moveTo>
                      <a:cubicBezTo>
                        <a:pt x="52" y="232"/>
                        <a:pt x="52" y="232"/>
                        <a:pt x="52" y="232"/>
                      </a:cubicBezTo>
                      <a:cubicBezTo>
                        <a:pt x="52" y="231"/>
                        <a:pt x="52" y="231"/>
                        <a:pt x="52" y="231"/>
                      </a:cubicBezTo>
                      <a:cubicBezTo>
                        <a:pt x="52" y="231"/>
                        <a:pt x="52" y="231"/>
                        <a:pt x="52" y="231"/>
                      </a:cubicBezTo>
                      <a:cubicBezTo>
                        <a:pt x="52" y="230"/>
                        <a:pt x="52" y="230"/>
                        <a:pt x="52" y="230"/>
                      </a:cubicBezTo>
                      <a:cubicBezTo>
                        <a:pt x="52" y="230"/>
                        <a:pt x="52" y="230"/>
                        <a:pt x="52" y="230"/>
                      </a:cubicBezTo>
                      <a:cubicBezTo>
                        <a:pt x="52" y="231"/>
                        <a:pt x="52" y="231"/>
                        <a:pt x="52" y="231"/>
                      </a:cubicBezTo>
                      <a:cubicBezTo>
                        <a:pt x="51" y="231"/>
                        <a:pt x="51" y="231"/>
                        <a:pt x="51" y="231"/>
                      </a:cubicBezTo>
                      <a:cubicBezTo>
                        <a:pt x="51" y="232"/>
                        <a:pt x="51" y="232"/>
                        <a:pt x="51" y="232"/>
                      </a:cubicBezTo>
                      <a:close/>
                      <a:moveTo>
                        <a:pt x="48" y="226"/>
                      </a:moveTo>
                      <a:cubicBezTo>
                        <a:pt x="48" y="226"/>
                        <a:pt x="48" y="226"/>
                        <a:pt x="48" y="226"/>
                      </a:cubicBezTo>
                      <a:cubicBezTo>
                        <a:pt x="49" y="226"/>
                        <a:pt x="49" y="226"/>
                        <a:pt x="49" y="226"/>
                      </a:cubicBezTo>
                      <a:cubicBezTo>
                        <a:pt x="49" y="226"/>
                        <a:pt x="49" y="226"/>
                        <a:pt x="49" y="226"/>
                      </a:cubicBezTo>
                      <a:cubicBezTo>
                        <a:pt x="49" y="226"/>
                        <a:pt x="49" y="226"/>
                        <a:pt x="49" y="226"/>
                      </a:cubicBezTo>
                      <a:cubicBezTo>
                        <a:pt x="48" y="226"/>
                        <a:pt x="48" y="226"/>
                        <a:pt x="48" y="226"/>
                      </a:cubicBezTo>
                      <a:cubicBezTo>
                        <a:pt x="48" y="226"/>
                        <a:pt x="48" y="226"/>
                        <a:pt x="48" y="226"/>
                      </a:cubicBezTo>
                      <a:close/>
                      <a:moveTo>
                        <a:pt x="46" y="226"/>
                      </a:moveTo>
                      <a:cubicBezTo>
                        <a:pt x="46" y="226"/>
                        <a:pt x="46" y="226"/>
                        <a:pt x="46" y="226"/>
                      </a:cubicBezTo>
                      <a:cubicBezTo>
                        <a:pt x="47" y="226"/>
                        <a:pt x="47" y="226"/>
                        <a:pt x="47" y="226"/>
                      </a:cubicBezTo>
                      <a:cubicBezTo>
                        <a:pt x="47" y="226"/>
                        <a:pt x="47" y="226"/>
                        <a:pt x="47" y="226"/>
                      </a:cubicBezTo>
                      <a:cubicBezTo>
                        <a:pt x="46" y="226"/>
                        <a:pt x="46" y="226"/>
                        <a:pt x="46" y="226"/>
                      </a:cubicBezTo>
                      <a:cubicBezTo>
                        <a:pt x="46" y="226"/>
                        <a:pt x="46" y="226"/>
                        <a:pt x="46" y="226"/>
                      </a:cubicBezTo>
                      <a:close/>
                      <a:moveTo>
                        <a:pt x="41" y="226"/>
                      </a:moveTo>
                      <a:cubicBezTo>
                        <a:pt x="41" y="227"/>
                        <a:pt x="41" y="227"/>
                        <a:pt x="41" y="227"/>
                      </a:cubicBezTo>
                      <a:cubicBezTo>
                        <a:pt x="41" y="227"/>
                        <a:pt x="41" y="227"/>
                        <a:pt x="41" y="227"/>
                      </a:cubicBezTo>
                      <a:cubicBezTo>
                        <a:pt x="41" y="227"/>
                        <a:pt x="41" y="227"/>
                        <a:pt x="41" y="227"/>
                      </a:cubicBezTo>
                      <a:cubicBezTo>
                        <a:pt x="42" y="227"/>
                        <a:pt x="42" y="227"/>
                        <a:pt x="42" y="227"/>
                      </a:cubicBezTo>
                      <a:cubicBezTo>
                        <a:pt x="42" y="226"/>
                        <a:pt x="42" y="226"/>
                        <a:pt x="42" y="226"/>
                      </a:cubicBezTo>
                      <a:cubicBezTo>
                        <a:pt x="41" y="226"/>
                        <a:pt x="41" y="226"/>
                        <a:pt x="41" y="226"/>
                      </a:cubicBezTo>
                      <a:cubicBezTo>
                        <a:pt x="41" y="226"/>
                        <a:pt x="41" y="226"/>
                        <a:pt x="41" y="226"/>
                      </a:cubicBezTo>
                      <a:close/>
                      <a:moveTo>
                        <a:pt x="34" y="200"/>
                      </a:moveTo>
                      <a:cubicBezTo>
                        <a:pt x="35" y="200"/>
                        <a:pt x="35" y="200"/>
                        <a:pt x="35" y="200"/>
                      </a:cubicBezTo>
                      <a:cubicBezTo>
                        <a:pt x="35" y="199"/>
                        <a:pt x="35" y="199"/>
                        <a:pt x="35" y="199"/>
                      </a:cubicBezTo>
                      <a:cubicBezTo>
                        <a:pt x="36" y="199"/>
                        <a:pt x="36" y="199"/>
                        <a:pt x="36" y="199"/>
                      </a:cubicBezTo>
                      <a:cubicBezTo>
                        <a:pt x="36" y="199"/>
                        <a:pt x="36" y="199"/>
                        <a:pt x="36" y="199"/>
                      </a:cubicBezTo>
                      <a:cubicBezTo>
                        <a:pt x="35" y="199"/>
                        <a:pt x="35" y="199"/>
                        <a:pt x="35" y="199"/>
                      </a:cubicBezTo>
                      <a:cubicBezTo>
                        <a:pt x="34" y="200"/>
                        <a:pt x="34" y="200"/>
                        <a:pt x="34" y="200"/>
                      </a:cubicBezTo>
                      <a:close/>
                      <a:moveTo>
                        <a:pt x="34" y="199"/>
                      </a:moveTo>
                      <a:cubicBezTo>
                        <a:pt x="34" y="199"/>
                        <a:pt x="34" y="199"/>
                        <a:pt x="34" y="199"/>
                      </a:cubicBezTo>
                      <a:cubicBezTo>
                        <a:pt x="34" y="199"/>
                        <a:pt x="34" y="199"/>
                        <a:pt x="34" y="199"/>
                      </a:cubicBezTo>
                      <a:cubicBezTo>
                        <a:pt x="35" y="199"/>
                        <a:pt x="35" y="199"/>
                        <a:pt x="35" y="199"/>
                      </a:cubicBezTo>
                      <a:cubicBezTo>
                        <a:pt x="35" y="198"/>
                        <a:pt x="35" y="198"/>
                        <a:pt x="35" y="198"/>
                      </a:cubicBezTo>
                      <a:cubicBezTo>
                        <a:pt x="35" y="198"/>
                        <a:pt x="35" y="198"/>
                        <a:pt x="35" y="198"/>
                      </a:cubicBezTo>
                      <a:cubicBezTo>
                        <a:pt x="34" y="199"/>
                        <a:pt x="34" y="199"/>
                        <a:pt x="34" y="199"/>
                      </a:cubicBezTo>
                      <a:close/>
                      <a:moveTo>
                        <a:pt x="30" y="190"/>
                      </a:moveTo>
                      <a:cubicBezTo>
                        <a:pt x="30" y="191"/>
                        <a:pt x="30" y="191"/>
                        <a:pt x="30" y="191"/>
                      </a:cubicBezTo>
                      <a:cubicBezTo>
                        <a:pt x="30" y="191"/>
                        <a:pt x="30" y="191"/>
                        <a:pt x="30" y="191"/>
                      </a:cubicBezTo>
                      <a:cubicBezTo>
                        <a:pt x="31" y="191"/>
                        <a:pt x="31" y="191"/>
                        <a:pt x="31" y="191"/>
                      </a:cubicBezTo>
                      <a:cubicBezTo>
                        <a:pt x="31" y="190"/>
                        <a:pt x="31" y="190"/>
                        <a:pt x="31" y="190"/>
                      </a:cubicBezTo>
                      <a:cubicBezTo>
                        <a:pt x="30" y="190"/>
                        <a:pt x="30" y="190"/>
                        <a:pt x="30" y="190"/>
                      </a:cubicBezTo>
                      <a:cubicBezTo>
                        <a:pt x="30" y="190"/>
                        <a:pt x="30" y="190"/>
                        <a:pt x="30" y="190"/>
                      </a:cubicBezTo>
                      <a:close/>
                      <a:moveTo>
                        <a:pt x="30" y="189"/>
                      </a:moveTo>
                      <a:cubicBezTo>
                        <a:pt x="30" y="190"/>
                        <a:pt x="30" y="190"/>
                        <a:pt x="30" y="190"/>
                      </a:cubicBezTo>
                      <a:cubicBezTo>
                        <a:pt x="31" y="190"/>
                        <a:pt x="31" y="190"/>
                        <a:pt x="31" y="190"/>
                      </a:cubicBezTo>
                      <a:cubicBezTo>
                        <a:pt x="31" y="189"/>
                        <a:pt x="31" y="189"/>
                        <a:pt x="31" y="189"/>
                      </a:cubicBezTo>
                      <a:cubicBezTo>
                        <a:pt x="30" y="189"/>
                        <a:pt x="30" y="189"/>
                        <a:pt x="30" y="189"/>
                      </a:cubicBezTo>
                      <a:cubicBezTo>
                        <a:pt x="30" y="189"/>
                        <a:pt x="30" y="189"/>
                        <a:pt x="30" y="189"/>
                      </a:cubicBezTo>
                      <a:close/>
                      <a:moveTo>
                        <a:pt x="30" y="181"/>
                      </a:moveTo>
                      <a:cubicBezTo>
                        <a:pt x="31" y="181"/>
                        <a:pt x="31" y="181"/>
                        <a:pt x="31" y="181"/>
                      </a:cubicBezTo>
                      <a:cubicBezTo>
                        <a:pt x="31" y="181"/>
                        <a:pt x="31" y="181"/>
                        <a:pt x="31" y="181"/>
                      </a:cubicBezTo>
                      <a:cubicBezTo>
                        <a:pt x="31" y="180"/>
                        <a:pt x="31" y="180"/>
                        <a:pt x="31" y="180"/>
                      </a:cubicBezTo>
                      <a:cubicBezTo>
                        <a:pt x="30" y="181"/>
                        <a:pt x="30" y="181"/>
                        <a:pt x="30" y="181"/>
                      </a:cubicBezTo>
                      <a:close/>
                      <a:moveTo>
                        <a:pt x="31" y="180"/>
                      </a:moveTo>
                      <a:cubicBezTo>
                        <a:pt x="31" y="180"/>
                        <a:pt x="31" y="180"/>
                        <a:pt x="31" y="180"/>
                      </a:cubicBezTo>
                      <a:cubicBezTo>
                        <a:pt x="32" y="180"/>
                        <a:pt x="32" y="180"/>
                        <a:pt x="32" y="180"/>
                      </a:cubicBezTo>
                      <a:cubicBezTo>
                        <a:pt x="32" y="180"/>
                        <a:pt x="32" y="180"/>
                        <a:pt x="32" y="180"/>
                      </a:cubicBezTo>
                      <a:cubicBezTo>
                        <a:pt x="31" y="179"/>
                        <a:pt x="31" y="179"/>
                        <a:pt x="31" y="179"/>
                      </a:cubicBezTo>
                      <a:cubicBezTo>
                        <a:pt x="31" y="180"/>
                        <a:pt x="31" y="180"/>
                        <a:pt x="31" y="180"/>
                      </a:cubicBezTo>
                      <a:cubicBezTo>
                        <a:pt x="31" y="180"/>
                        <a:pt x="31" y="180"/>
                        <a:pt x="31" y="180"/>
                      </a:cubicBezTo>
                      <a:close/>
                      <a:moveTo>
                        <a:pt x="29" y="180"/>
                      </a:moveTo>
                      <a:cubicBezTo>
                        <a:pt x="29" y="180"/>
                        <a:pt x="29" y="180"/>
                        <a:pt x="29" y="180"/>
                      </a:cubicBezTo>
                      <a:cubicBezTo>
                        <a:pt x="30" y="180"/>
                        <a:pt x="30" y="180"/>
                        <a:pt x="30" y="180"/>
                      </a:cubicBezTo>
                      <a:cubicBezTo>
                        <a:pt x="29" y="179"/>
                        <a:pt x="29" y="179"/>
                        <a:pt x="29" y="179"/>
                      </a:cubicBezTo>
                      <a:cubicBezTo>
                        <a:pt x="29" y="179"/>
                        <a:pt x="29" y="179"/>
                        <a:pt x="29" y="179"/>
                      </a:cubicBezTo>
                      <a:cubicBezTo>
                        <a:pt x="29" y="180"/>
                        <a:pt x="29" y="180"/>
                        <a:pt x="29" y="180"/>
                      </a:cubicBezTo>
                      <a:close/>
                      <a:moveTo>
                        <a:pt x="31" y="172"/>
                      </a:moveTo>
                      <a:cubicBezTo>
                        <a:pt x="31" y="172"/>
                        <a:pt x="31" y="172"/>
                        <a:pt x="31" y="172"/>
                      </a:cubicBezTo>
                      <a:cubicBezTo>
                        <a:pt x="31" y="173"/>
                        <a:pt x="31" y="173"/>
                        <a:pt x="31" y="173"/>
                      </a:cubicBezTo>
                      <a:cubicBezTo>
                        <a:pt x="32" y="173"/>
                        <a:pt x="32" y="173"/>
                        <a:pt x="32" y="173"/>
                      </a:cubicBezTo>
                      <a:cubicBezTo>
                        <a:pt x="32" y="172"/>
                        <a:pt x="32" y="172"/>
                        <a:pt x="32" y="172"/>
                      </a:cubicBezTo>
                      <a:cubicBezTo>
                        <a:pt x="32" y="172"/>
                        <a:pt x="32" y="172"/>
                        <a:pt x="32" y="172"/>
                      </a:cubicBezTo>
                      <a:cubicBezTo>
                        <a:pt x="32" y="172"/>
                        <a:pt x="32" y="172"/>
                        <a:pt x="32" y="172"/>
                      </a:cubicBezTo>
                      <a:cubicBezTo>
                        <a:pt x="31" y="172"/>
                        <a:pt x="31" y="172"/>
                        <a:pt x="31" y="172"/>
                      </a:cubicBezTo>
                      <a:close/>
                      <a:moveTo>
                        <a:pt x="39" y="169"/>
                      </a:moveTo>
                      <a:cubicBezTo>
                        <a:pt x="40" y="169"/>
                        <a:pt x="40" y="169"/>
                        <a:pt x="40" y="169"/>
                      </a:cubicBezTo>
                      <a:cubicBezTo>
                        <a:pt x="41" y="169"/>
                        <a:pt x="41" y="169"/>
                        <a:pt x="41" y="169"/>
                      </a:cubicBezTo>
                      <a:cubicBezTo>
                        <a:pt x="41" y="169"/>
                        <a:pt x="41" y="169"/>
                        <a:pt x="41" y="169"/>
                      </a:cubicBezTo>
                      <a:cubicBezTo>
                        <a:pt x="40" y="169"/>
                        <a:pt x="40" y="169"/>
                        <a:pt x="40" y="169"/>
                      </a:cubicBezTo>
                      <a:cubicBezTo>
                        <a:pt x="39" y="169"/>
                        <a:pt x="39" y="169"/>
                        <a:pt x="39" y="169"/>
                      </a:cubicBezTo>
                      <a:cubicBezTo>
                        <a:pt x="39" y="169"/>
                        <a:pt x="39" y="169"/>
                        <a:pt x="39" y="169"/>
                      </a:cubicBezTo>
                      <a:close/>
                      <a:moveTo>
                        <a:pt x="36" y="165"/>
                      </a:moveTo>
                      <a:cubicBezTo>
                        <a:pt x="36" y="166"/>
                        <a:pt x="36" y="166"/>
                        <a:pt x="36" y="166"/>
                      </a:cubicBezTo>
                      <a:cubicBezTo>
                        <a:pt x="36" y="166"/>
                        <a:pt x="36" y="166"/>
                        <a:pt x="36" y="166"/>
                      </a:cubicBezTo>
                      <a:cubicBezTo>
                        <a:pt x="38" y="166"/>
                        <a:pt x="38" y="166"/>
                        <a:pt x="38" y="166"/>
                      </a:cubicBezTo>
                      <a:cubicBezTo>
                        <a:pt x="37" y="165"/>
                        <a:pt x="37" y="165"/>
                        <a:pt x="37" y="165"/>
                      </a:cubicBezTo>
                      <a:cubicBezTo>
                        <a:pt x="37" y="165"/>
                        <a:pt x="37" y="165"/>
                        <a:pt x="37" y="165"/>
                      </a:cubicBezTo>
                      <a:cubicBezTo>
                        <a:pt x="36" y="165"/>
                        <a:pt x="36" y="165"/>
                        <a:pt x="36" y="165"/>
                      </a:cubicBezTo>
                      <a:close/>
                      <a:moveTo>
                        <a:pt x="40" y="165"/>
                      </a:moveTo>
                      <a:cubicBezTo>
                        <a:pt x="40" y="165"/>
                        <a:pt x="40" y="165"/>
                        <a:pt x="40" y="165"/>
                      </a:cubicBezTo>
                      <a:cubicBezTo>
                        <a:pt x="41" y="165"/>
                        <a:pt x="41" y="165"/>
                        <a:pt x="41" y="165"/>
                      </a:cubicBezTo>
                      <a:cubicBezTo>
                        <a:pt x="41" y="165"/>
                        <a:pt x="41" y="165"/>
                        <a:pt x="41" y="165"/>
                      </a:cubicBezTo>
                      <a:cubicBezTo>
                        <a:pt x="41" y="165"/>
                        <a:pt x="41" y="165"/>
                        <a:pt x="41" y="165"/>
                      </a:cubicBezTo>
                      <a:cubicBezTo>
                        <a:pt x="40" y="165"/>
                        <a:pt x="40" y="165"/>
                        <a:pt x="40" y="165"/>
                      </a:cubicBezTo>
                      <a:close/>
                      <a:moveTo>
                        <a:pt x="38" y="164"/>
                      </a:moveTo>
                      <a:cubicBezTo>
                        <a:pt x="39" y="165"/>
                        <a:pt x="39" y="165"/>
                        <a:pt x="39" y="165"/>
                      </a:cubicBezTo>
                      <a:cubicBezTo>
                        <a:pt x="39" y="165"/>
                        <a:pt x="39" y="165"/>
                        <a:pt x="39" y="165"/>
                      </a:cubicBezTo>
                      <a:cubicBezTo>
                        <a:pt x="40" y="164"/>
                        <a:pt x="40" y="164"/>
                        <a:pt x="40" y="164"/>
                      </a:cubicBezTo>
                      <a:cubicBezTo>
                        <a:pt x="39" y="164"/>
                        <a:pt x="39" y="164"/>
                        <a:pt x="39" y="164"/>
                      </a:cubicBezTo>
                      <a:cubicBezTo>
                        <a:pt x="39" y="164"/>
                        <a:pt x="39" y="164"/>
                        <a:pt x="39" y="164"/>
                      </a:cubicBezTo>
                      <a:cubicBezTo>
                        <a:pt x="38" y="164"/>
                        <a:pt x="38" y="164"/>
                        <a:pt x="38" y="164"/>
                      </a:cubicBezTo>
                      <a:cubicBezTo>
                        <a:pt x="38" y="164"/>
                        <a:pt x="38" y="164"/>
                        <a:pt x="38" y="164"/>
                      </a:cubicBezTo>
                      <a:close/>
                      <a:moveTo>
                        <a:pt x="46" y="148"/>
                      </a:moveTo>
                      <a:cubicBezTo>
                        <a:pt x="46" y="148"/>
                        <a:pt x="46" y="148"/>
                        <a:pt x="46" y="148"/>
                      </a:cubicBezTo>
                      <a:cubicBezTo>
                        <a:pt x="47" y="149"/>
                        <a:pt x="47" y="149"/>
                        <a:pt x="47" y="149"/>
                      </a:cubicBezTo>
                      <a:cubicBezTo>
                        <a:pt x="47" y="148"/>
                        <a:pt x="47" y="148"/>
                        <a:pt x="47" y="148"/>
                      </a:cubicBezTo>
                      <a:cubicBezTo>
                        <a:pt x="46" y="148"/>
                        <a:pt x="46" y="148"/>
                        <a:pt x="46" y="148"/>
                      </a:cubicBezTo>
                      <a:cubicBezTo>
                        <a:pt x="46" y="148"/>
                        <a:pt x="46" y="148"/>
                        <a:pt x="46" y="148"/>
                      </a:cubicBezTo>
                      <a:close/>
                      <a:moveTo>
                        <a:pt x="45" y="145"/>
                      </a:moveTo>
                      <a:cubicBezTo>
                        <a:pt x="45" y="146"/>
                        <a:pt x="45" y="146"/>
                        <a:pt x="45" y="146"/>
                      </a:cubicBezTo>
                      <a:cubicBezTo>
                        <a:pt x="46" y="147"/>
                        <a:pt x="46" y="147"/>
                        <a:pt x="46" y="147"/>
                      </a:cubicBezTo>
                      <a:cubicBezTo>
                        <a:pt x="47" y="146"/>
                        <a:pt x="47" y="146"/>
                        <a:pt x="47" y="146"/>
                      </a:cubicBezTo>
                      <a:cubicBezTo>
                        <a:pt x="46" y="146"/>
                        <a:pt x="46" y="146"/>
                        <a:pt x="46" y="146"/>
                      </a:cubicBezTo>
                      <a:cubicBezTo>
                        <a:pt x="46" y="146"/>
                        <a:pt x="45" y="145"/>
                        <a:pt x="45" y="145"/>
                      </a:cubicBezTo>
                      <a:close/>
                      <a:moveTo>
                        <a:pt x="43" y="140"/>
                      </a:moveTo>
                      <a:cubicBezTo>
                        <a:pt x="43" y="140"/>
                        <a:pt x="43" y="140"/>
                        <a:pt x="43" y="140"/>
                      </a:cubicBezTo>
                      <a:cubicBezTo>
                        <a:pt x="44" y="139"/>
                        <a:pt x="44" y="139"/>
                        <a:pt x="44" y="139"/>
                      </a:cubicBezTo>
                      <a:cubicBezTo>
                        <a:pt x="45" y="139"/>
                        <a:pt x="45" y="139"/>
                        <a:pt x="45" y="139"/>
                      </a:cubicBezTo>
                      <a:cubicBezTo>
                        <a:pt x="45" y="139"/>
                        <a:pt x="45" y="139"/>
                        <a:pt x="45" y="139"/>
                      </a:cubicBezTo>
                      <a:cubicBezTo>
                        <a:pt x="44" y="138"/>
                        <a:pt x="44" y="138"/>
                        <a:pt x="44" y="138"/>
                      </a:cubicBezTo>
                      <a:cubicBezTo>
                        <a:pt x="44" y="138"/>
                        <a:pt x="44" y="138"/>
                        <a:pt x="44" y="138"/>
                      </a:cubicBezTo>
                      <a:cubicBezTo>
                        <a:pt x="43" y="139"/>
                        <a:pt x="43" y="139"/>
                        <a:pt x="43" y="139"/>
                      </a:cubicBezTo>
                      <a:cubicBezTo>
                        <a:pt x="43" y="139"/>
                        <a:pt x="43" y="139"/>
                        <a:pt x="43" y="139"/>
                      </a:cubicBezTo>
                      <a:cubicBezTo>
                        <a:pt x="43" y="140"/>
                        <a:pt x="43" y="140"/>
                        <a:pt x="43" y="140"/>
                      </a:cubicBezTo>
                      <a:close/>
                      <a:moveTo>
                        <a:pt x="43" y="143"/>
                      </a:moveTo>
                      <a:cubicBezTo>
                        <a:pt x="43" y="143"/>
                        <a:pt x="43" y="143"/>
                        <a:pt x="43" y="143"/>
                      </a:cubicBezTo>
                      <a:cubicBezTo>
                        <a:pt x="44" y="143"/>
                        <a:pt x="44" y="143"/>
                        <a:pt x="44" y="143"/>
                      </a:cubicBezTo>
                      <a:cubicBezTo>
                        <a:pt x="45" y="142"/>
                        <a:pt x="45" y="142"/>
                        <a:pt x="45" y="142"/>
                      </a:cubicBezTo>
                      <a:cubicBezTo>
                        <a:pt x="45" y="142"/>
                        <a:pt x="45" y="142"/>
                        <a:pt x="45" y="142"/>
                      </a:cubicBezTo>
                      <a:cubicBezTo>
                        <a:pt x="44" y="141"/>
                        <a:pt x="44" y="141"/>
                        <a:pt x="44" y="141"/>
                      </a:cubicBezTo>
                      <a:cubicBezTo>
                        <a:pt x="43" y="142"/>
                        <a:pt x="43" y="142"/>
                        <a:pt x="43" y="142"/>
                      </a:cubicBezTo>
                      <a:cubicBezTo>
                        <a:pt x="43" y="143"/>
                        <a:pt x="43" y="143"/>
                        <a:pt x="43" y="143"/>
                      </a:cubicBezTo>
                      <a:close/>
                      <a:moveTo>
                        <a:pt x="40" y="143"/>
                      </a:moveTo>
                      <a:cubicBezTo>
                        <a:pt x="41" y="144"/>
                        <a:pt x="41" y="144"/>
                        <a:pt x="41" y="144"/>
                      </a:cubicBezTo>
                      <a:cubicBezTo>
                        <a:pt x="41" y="143"/>
                        <a:pt x="41" y="143"/>
                        <a:pt x="41" y="143"/>
                      </a:cubicBezTo>
                      <a:cubicBezTo>
                        <a:pt x="41" y="142"/>
                        <a:pt x="41" y="142"/>
                        <a:pt x="41" y="142"/>
                      </a:cubicBezTo>
                      <a:cubicBezTo>
                        <a:pt x="42" y="141"/>
                        <a:pt x="42" y="141"/>
                        <a:pt x="42" y="141"/>
                      </a:cubicBezTo>
                      <a:cubicBezTo>
                        <a:pt x="40" y="142"/>
                        <a:pt x="40" y="142"/>
                        <a:pt x="40" y="142"/>
                      </a:cubicBezTo>
                      <a:cubicBezTo>
                        <a:pt x="40" y="142"/>
                        <a:pt x="40" y="142"/>
                        <a:pt x="40" y="142"/>
                      </a:cubicBezTo>
                      <a:cubicBezTo>
                        <a:pt x="40" y="143"/>
                        <a:pt x="40" y="143"/>
                        <a:pt x="40" y="143"/>
                      </a:cubicBezTo>
                      <a:close/>
                      <a:moveTo>
                        <a:pt x="34" y="147"/>
                      </a:moveTo>
                      <a:cubicBezTo>
                        <a:pt x="34" y="148"/>
                        <a:pt x="34" y="148"/>
                        <a:pt x="34" y="148"/>
                      </a:cubicBezTo>
                      <a:cubicBezTo>
                        <a:pt x="34" y="148"/>
                        <a:pt x="34" y="148"/>
                        <a:pt x="34" y="148"/>
                      </a:cubicBezTo>
                      <a:cubicBezTo>
                        <a:pt x="35" y="149"/>
                        <a:pt x="35" y="149"/>
                        <a:pt x="35" y="149"/>
                      </a:cubicBezTo>
                      <a:cubicBezTo>
                        <a:pt x="35" y="148"/>
                        <a:pt x="35" y="148"/>
                        <a:pt x="35" y="148"/>
                      </a:cubicBezTo>
                      <a:cubicBezTo>
                        <a:pt x="35" y="147"/>
                        <a:pt x="35" y="147"/>
                        <a:pt x="35" y="147"/>
                      </a:cubicBezTo>
                      <a:cubicBezTo>
                        <a:pt x="34" y="147"/>
                        <a:pt x="34" y="147"/>
                        <a:pt x="34" y="147"/>
                      </a:cubicBezTo>
                      <a:close/>
                      <a:moveTo>
                        <a:pt x="45" y="155"/>
                      </a:moveTo>
                      <a:cubicBezTo>
                        <a:pt x="45" y="156"/>
                        <a:pt x="45" y="156"/>
                        <a:pt x="45" y="156"/>
                      </a:cubicBezTo>
                      <a:cubicBezTo>
                        <a:pt x="46" y="156"/>
                        <a:pt x="46" y="156"/>
                        <a:pt x="46" y="156"/>
                      </a:cubicBezTo>
                      <a:cubicBezTo>
                        <a:pt x="46" y="156"/>
                        <a:pt x="46" y="156"/>
                        <a:pt x="46" y="156"/>
                      </a:cubicBezTo>
                      <a:cubicBezTo>
                        <a:pt x="46" y="157"/>
                        <a:pt x="46" y="157"/>
                        <a:pt x="46" y="157"/>
                      </a:cubicBezTo>
                      <a:cubicBezTo>
                        <a:pt x="46" y="157"/>
                        <a:pt x="46" y="157"/>
                        <a:pt x="46" y="157"/>
                      </a:cubicBezTo>
                      <a:cubicBezTo>
                        <a:pt x="47" y="157"/>
                        <a:pt x="47" y="157"/>
                        <a:pt x="47" y="157"/>
                      </a:cubicBezTo>
                      <a:cubicBezTo>
                        <a:pt x="47" y="156"/>
                        <a:pt x="47" y="156"/>
                        <a:pt x="47" y="156"/>
                      </a:cubicBezTo>
                      <a:cubicBezTo>
                        <a:pt x="48" y="155"/>
                        <a:pt x="48" y="155"/>
                        <a:pt x="48" y="155"/>
                      </a:cubicBezTo>
                      <a:cubicBezTo>
                        <a:pt x="47" y="155"/>
                        <a:pt x="47" y="155"/>
                        <a:pt x="47" y="155"/>
                      </a:cubicBezTo>
                      <a:cubicBezTo>
                        <a:pt x="47" y="155"/>
                        <a:pt x="47" y="155"/>
                        <a:pt x="47" y="155"/>
                      </a:cubicBezTo>
                      <a:cubicBezTo>
                        <a:pt x="46" y="155"/>
                        <a:pt x="46" y="155"/>
                        <a:pt x="46" y="155"/>
                      </a:cubicBezTo>
                      <a:cubicBezTo>
                        <a:pt x="45" y="155"/>
                        <a:pt x="45" y="155"/>
                        <a:pt x="45" y="155"/>
                      </a:cubicBezTo>
                      <a:close/>
                      <a:moveTo>
                        <a:pt x="34" y="158"/>
                      </a:moveTo>
                      <a:cubicBezTo>
                        <a:pt x="35" y="159"/>
                        <a:pt x="35" y="159"/>
                        <a:pt x="35" y="159"/>
                      </a:cubicBezTo>
                      <a:cubicBezTo>
                        <a:pt x="36" y="159"/>
                        <a:pt x="36" y="159"/>
                        <a:pt x="36" y="159"/>
                      </a:cubicBezTo>
                      <a:cubicBezTo>
                        <a:pt x="36" y="159"/>
                        <a:pt x="36" y="159"/>
                        <a:pt x="36" y="159"/>
                      </a:cubicBezTo>
                      <a:cubicBezTo>
                        <a:pt x="37" y="160"/>
                        <a:pt x="37" y="160"/>
                        <a:pt x="37" y="160"/>
                      </a:cubicBezTo>
                      <a:cubicBezTo>
                        <a:pt x="38" y="159"/>
                        <a:pt x="38" y="159"/>
                        <a:pt x="38" y="159"/>
                      </a:cubicBezTo>
                      <a:cubicBezTo>
                        <a:pt x="40" y="159"/>
                        <a:pt x="40" y="159"/>
                        <a:pt x="40" y="159"/>
                      </a:cubicBezTo>
                      <a:cubicBezTo>
                        <a:pt x="42" y="159"/>
                        <a:pt x="42" y="159"/>
                        <a:pt x="42" y="159"/>
                      </a:cubicBezTo>
                      <a:cubicBezTo>
                        <a:pt x="43" y="157"/>
                        <a:pt x="43" y="157"/>
                        <a:pt x="43" y="157"/>
                      </a:cubicBezTo>
                      <a:cubicBezTo>
                        <a:pt x="43" y="156"/>
                        <a:pt x="43" y="156"/>
                        <a:pt x="43" y="156"/>
                      </a:cubicBezTo>
                      <a:cubicBezTo>
                        <a:pt x="42" y="155"/>
                        <a:pt x="42" y="155"/>
                        <a:pt x="42" y="155"/>
                      </a:cubicBezTo>
                      <a:cubicBezTo>
                        <a:pt x="42" y="155"/>
                        <a:pt x="42" y="155"/>
                        <a:pt x="42" y="155"/>
                      </a:cubicBezTo>
                      <a:cubicBezTo>
                        <a:pt x="41" y="155"/>
                        <a:pt x="41" y="155"/>
                        <a:pt x="41" y="155"/>
                      </a:cubicBezTo>
                      <a:cubicBezTo>
                        <a:pt x="40" y="153"/>
                        <a:pt x="40" y="153"/>
                        <a:pt x="40" y="153"/>
                      </a:cubicBezTo>
                      <a:cubicBezTo>
                        <a:pt x="39" y="151"/>
                        <a:pt x="39" y="151"/>
                        <a:pt x="39" y="151"/>
                      </a:cubicBezTo>
                      <a:cubicBezTo>
                        <a:pt x="38" y="151"/>
                        <a:pt x="38" y="151"/>
                        <a:pt x="38" y="151"/>
                      </a:cubicBezTo>
                      <a:cubicBezTo>
                        <a:pt x="37" y="150"/>
                        <a:pt x="37" y="150"/>
                        <a:pt x="37" y="150"/>
                      </a:cubicBezTo>
                      <a:cubicBezTo>
                        <a:pt x="35" y="150"/>
                        <a:pt x="35" y="150"/>
                        <a:pt x="35" y="150"/>
                      </a:cubicBezTo>
                      <a:cubicBezTo>
                        <a:pt x="34" y="149"/>
                        <a:pt x="34" y="149"/>
                        <a:pt x="34" y="149"/>
                      </a:cubicBezTo>
                      <a:cubicBezTo>
                        <a:pt x="34" y="150"/>
                        <a:pt x="34" y="150"/>
                        <a:pt x="34" y="150"/>
                      </a:cubicBezTo>
                      <a:cubicBezTo>
                        <a:pt x="33" y="151"/>
                        <a:pt x="33" y="151"/>
                        <a:pt x="33" y="151"/>
                      </a:cubicBezTo>
                      <a:cubicBezTo>
                        <a:pt x="33" y="152"/>
                        <a:pt x="33" y="152"/>
                        <a:pt x="33" y="152"/>
                      </a:cubicBezTo>
                      <a:cubicBezTo>
                        <a:pt x="34" y="153"/>
                        <a:pt x="34" y="153"/>
                        <a:pt x="34" y="153"/>
                      </a:cubicBezTo>
                      <a:cubicBezTo>
                        <a:pt x="35" y="153"/>
                        <a:pt x="35" y="153"/>
                        <a:pt x="35" y="153"/>
                      </a:cubicBezTo>
                      <a:cubicBezTo>
                        <a:pt x="34" y="153"/>
                        <a:pt x="34" y="153"/>
                        <a:pt x="34" y="153"/>
                      </a:cubicBezTo>
                      <a:cubicBezTo>
                        <a:pt x="33" y="153"/>
                        <a:pt x="33" y="153"/>
                        <a:pt x="33" y="153"/>
                      </a:cubicBezTo>
                      <a:cubicBezTo>
                        <a:pt x="33" y="154"/>
                        <a:pt x="33" y="154"/>
                        <a:pt x="33" y="154"/>
                      </a:cubicBezTo>
                      <a:cubicBezTo>
                        <a:pt x="33" y="154"/>
                        <a:pt x="33" y="154"/>
                        <a:pt x="33" y="154"/>
                      </a:cubicBezTo>
                      <a:cubicBezTo>
                        <a:pt x="34" y="155"/>
                        <a:pt x="34" y="155"/>
                        <a:pt x="34" y="155"/>
                      </a:cubicBezTo>
                      <a:cubicBezTo>
                        <a:pt x="33" y="155"/>
                        <a:pt x="33" y="155"/>
                        <a:pt x="33" y="155"/>
                      </a:cubicBezTo>
                      <a:cubicBezTo>
                        <a:pt x="33" y="156"/>
                        <a:pt x="33" y="156"/>
                        <a:pt x="33" y="156"/>
                      </a:cubicBezTo>
                      <a:cubicBezTo>
                        <a:pt x="33" y="156"/>
                        <a:pt x="33" y="156"/>
                        <a:pt x="33" y="156"/>
                      </a:cubicBezTo>
                      <a:cubicBezTo>
                        <a:pt x="35" y="157"/>
                        <a:pt x="35" y="157"/>
                        <a:pt x="35" y="157"/>
                      </a:cubicBezTo>
                      <a:cubicBezTo>
                        <a:pt x="36" y="157"/>
                        <a:pt x="36" y="157"/>
                        <a:pt x="36" y="157"/>
                      </a:cubicBezTo>
                      <a:cubicBezTo>
                        <a:pt x="36" y="157"/>
                        <a:pt x="36" y="157"/>
                        <a:pt x="36" y="157"/>
                      </a:cubicBezTo>
                      <a:cubicBezTo>
                        <a:pt x="38" y="157"/>
                        <a:pt x="38" y="157"/>
                        <a:pt x="38" y="157"/>
                      </a:cubicBezTo>
                      <a:cubicBezTo>
                        <a:pt x="37" y="158"/>
                        <a:pt x="37" y="158"/>
                        <a:pt x="37" y="158"/>
                      </a:cubicBezTo>
                      <a:cubicBezTo>
                        <a:pt x="36" y="158"/>
                        <a:pt x="36" y="158"/>
                        <a:pt x="36" y="158"/>
                      </a:cubicBezTo>
                      <a:cubicBezTo>
                        <a:pt x="35" y="157"/>
                        <a:pt x="35" y="157"/>
                        <a:pt x="35" y="157"/>
                      </a:cubicBezTo>
                      <a:cubicBezTo>
                        <a:pt x="34" y="158"/>
                        <a:pt x="34" y="158"/>
                        <a:pt x="34" y="158"/>
                      </a:cubicBez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4" name="Freeform 169">
                  <a:extLst>
                    <a:ext uri="{FF2B5EF4-FFF2-40B4-BE49-F238E27FC236}">
                      <a16:creationId xmlns:a16="http://schemas.microsoft.com/office/drawing/2014/main" id="{DBB0E556-020D-D090-0F0A-1C9408FA4875}"/>
                    </a:ext>
                  </a:extLst>
                </p:cNvPr>
                <p:cNvSpPr>
                  <a:spLocks noEditPoints="1"/>
                </p:cNvSpPr>
                <p:nvPr/>
              </p:nvSpPr>
              <p:spPr bwMode="auto">
                <a:xfrm>
                  <a:off x="1268" y="1298"/>
                  <a:ext cx="984" cy="825"/>
                </a:xfrm>
                <a:custGeom>
                  <a:avLst/>
                  <a:gdLst>
                    <a:gd name="T0" fmla="*/ 304 w 416"/>
                    <a:gd name="T1" fmla="*/ 24 h 348"/>
                    <a:gd name="T2" fmla="*/ 304 w 416"/>
                    <a:gd name="T3" fmla="*/ 59 h 348"/>
                    <a:gd name="T4" fmla="*/ 304 w 416"/>
                    <a:gd name="T5" fmla="*/ 65 h 348"/>
                    <a:gd name="T6" fmla="*/ 324 w 416"/>
                    <a:gd name="T7" fmla="*/ 41 h 348"/>
                    <a:gd name="T8" fmla="*/ 325 w 416"/>
                    <a:gd name="T9" fmla="*/ 24 h 348"/>
                    <a:gd name="T10" fmla="*/ 351 w 416"/>
                    <a:gd name="T11" fmla="*/ 10 h 348"/>
                    <a:gd name="T12" fmla="*/ 409 w 416"/>
                    <a:gd name="T13" fmla="*/ 13 h 348"/>
                    <a:gd name="T14" fmla="*/ 356 w 416"/>
                    <a:gd name="T15" fmla="*/ 50 h 348"/>
                    <a:gd name="T16" fmla="*/ 320 w 416"/>
                    <a:gd name="T17" fmla="*/ 73 h 348"/>
                    <a:gd name="T18" fmla="*/ 332 w 416"/>
                    <a:gd name="T19" fmla="*/ 163 h 348"/>
                    <a:gd name="T20" fmla="*/ 291 w 416"/>
                    <a:gd name="T21" fmla="*/ 68 h 348"/>
                    <a:gd name="T22" fmla="*/ 260 w 416"/>
                    <a:gd name="T23" fmla="*/ 46 h 348"/>
                    <a:gd name="T24" fmla="*/ 217 w 416"/>
                    <a:gd name="T25" fmla="*/ 43 h 348"/>
                    <a:gd name="T26" fmla="*/ 284 w 416"/>
                    <a:gd name="T27" fmla="*/ 77 h 348"/>
                    <a:gd name="T28" fmla="*/ 295 w 416"/>
                    <a:gd name="T29" fmla="*/ 106 h 348"/>
                    <a:gd name="T30" fmla="*/ 179 w 416"/>
                    <a:gd name="T31" fmla="*/ 56 h 348"/>
                    <a:gd name="T32" fmla="*/ 258 w 416"/>
                    <a:gd name="T33" fmla="*/ 87 h 348"/>
                    <a:gd name="T34" fmla="*/ 240 w 416"/>
                    <a:gd name="T35" fmla="*/ 77 h 348"/>
                    <a:gd name="T36" fmla="*/ 231 w 416"/>
                    <a:gd name="T37" fmla="*/ 80 h 348"/>
                    <a:gd name="T38" fmla="*/ 218 w 416"/>
                    <a:gd name="T39" fmla="*/ 68 h 348"/>
                    <a:gd name="T40" fmla="*/ 157 w 416"/>
                    <a:gd name="T41" fmla="*/ 75 h 348"/>
                    <a:gd name="T42" fmla="*/ 224 w 416"/>
                    <a:gd name="T43" fmla="*/ 109 h 348"/>
                    <a:gd name="T44" fmla="*/ 239 w 416"/>
                    <a:gd name="T45" fmla="*/ 114 h 348"/>
                    <a:gd name="T46" fmla="*/ 299 w 416"/>
                    <a:gd name="T47" fmla="*/ 121 h 348"/>
                    <a:gd name="T48" fmla="*/ 287 w 416"/>
                    <a:gd name="T49" fmla="*/ 157 h 348"/>
                    <a:gd name="T50" fmla="*/ 206 w 416"/>
                    <a:gd name="T51" fmla="*/ 159 h 348"/>
                    <a:gd name="T52" fmla="*/ 203 w 416"/>
                    <a:gd name="T53" fmla="*/ 117 h 348"/>
                    <a:gd name="T54" fmla="*/ 175 w 416"/>
                    <a:gd name="T55" fmla="*/ 94 h 348"/>
                    <a:gd name="T56" fmla="*/ 153 w 416"/>
                    <a:gd name="T57" fmla="*/ 140 h 348"/>
                    <a:gd name="T58" fmla="*/ 197 w 416"/>
                    <a:gd name="T59" fmla="*/ 150 h 348"/>
                    <a:gd name="T60" fmla="*/ 299 w 416"/>
                    <a:gd name="T61" fmla="*/ 210 h 348"/>
                    <a:gd name="T62" fmla="*/ 303 w 416"/>
                    <a:gd name="T63" fmla="*/ 166 h 348"/>
                    <a:gd name="T64" fmla="*/ 261 w 416"/>
                    <a:gd name="T65" fmla="*/ 145 h 348"/>
                    <a:gd name="T66" fmla="*/ 279 w 416"/>
                    <a:gd name="T67" fmla="*/ 129 h 348"/>
                    <a:gd name="T68" fmla="*/ 310 w 416"/>
                    <a:gd name="T69" fmla="*/ 130 h 348"/>
                    <a:gd name="T70" fmla="*/ 320 w 416"/>
                    <a:gd name="T71" fmla="*/ 154 h 348"/>
                    <a:gd name="T72" fmla="*/ 329 w 416"/>
                    <a:gd name="T73" fmla="*/ 170 h 348"/>
                    <a:gd name="T74" fmla="*/ 345 w 416"/>
                    <a:gd name="T75" fmla="*/ 191 h 348"/>
                    <a:gd name="T76" fmla="*/ 331 w 416"/>
                    <a:gd name="T77" fmla="*/ 192 h 348"/>
                    <a:gd name="T78" fmla="*/ 322 w 416"/>
                    <a:gd name="T79" fmla="*/ 218 h 348"/>
                    <a:gd name="T80" fmla="*/ 261 w 416"/>
                    <a:gd name="T81" fmla="*/ 200 h 348"/>
                    <a:gd name="T82" fmla="*/ 305 w 416"/>
                    <a:gd name="T83" fmla="*/ 237 h 348"/>
                    <a:gd name="T84" fmla="*/ 247 w 416"/>
                    <a:gd name="T85" fmla="*/ 264 h 348"/>
                    <a:gd name="T86" fmla="*/ 329 w 416"/>
                    <a:gd name="T87" fmla="*/ 320 h 348"/>
                    <a:gd name="T88" fmla="*/ 352 w 416"/>
                    <a:gd name="T89" fmla="*/ 320 h 348"/>
                    <a:gd name="T90" fmla="*/ 343 w 416"/>
                    <a:gd name="T91" fmla="*/ 299 h 348"/>
                    <a:gd name="T92" fmla="*/ 38 w 416"/>
                    <a:gd name="T93" fmla="*/ 288 h 348"/>
                    <a:gd name="T94" fmla="*/ 22 w 416"/>
                    <a:gd name="T95" fmla="*/ 259 h 348"/>
                    <a:gd name="T96" fmla="*/ 71 w 416"/>
                    <a:gd name="T97" fmla="*/ 120 h 348"/>
                    <a:gd name="T98" fmla="*/ 30 w 416"/>
                    <a:gd name="T99" fmla="*/ 264 h 348"/>
                    <a:gd name="T100" fmla="*/ 73 w 416"/>
                    <a:gd name="T101" fmla="*/ 125 h 348"/>
                    <a:gd name="T102" fmla="*/ 121 w 416"/>
                    <a:gd name="T103" fmla="*/ 126 h 348"/>
                    <a:gd name="T104" fmla="*/ 183 w 416"/>
                    <a:gd name="T105" fmla="*/ 148 h 348"/>
                    <a:gd name="T106" fmla="*/ 217 w 416"/>
                    <a:gd name="T107" fmla="*/ 169 h 348"/>
                    <a:gd name="T108" fmla="*/ 243 w 416"/>
                    <a:gd name="T109" fmla="*/ 143 h 348"/>
                    <a:gd name="T110" fmla="*/ 278 w 416"/>
                    <a:gd name="T111" fmla="*/ 160 h 348"/>
                    <a:gd name="T112" fmla="*/ 234 w 416"/>
                    <a:gd name="T113" fmla="*/ 199 h 348"/>
                    <a:gd name="T114" fmla="*/ 193 w 416"/>
                    <a:gd name="T115" fmla="*/ 252 h 348"/>
                    <a:gd name="T116" fmla="*/ 266 w 416"/>
                    <a:gd name="T117" fmla="*/ 239 h 348"/>
                    <a:gd name="T118" fmla="*/ 317 w 416"/>
                    <a:gd name="T119" fmla="*/ 241 h 348"/>
                    <a:gd name="T120" fmla="*/ 337 w 416"/>
                    <a:gd name="T121" fmla="*/ 278 h 348"/>
                    <a:gd name="T122" fmla="*/ 296 w 416"/>
                    <a:gd name="T123" fmla="*/ 303 h 348"/>
                    <a:gd name="T124" fmla="*/ 303 w 416"/>
                    <a:gd name="T125" fmla="*/ 333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16" h="348">
                      <a:moveTo>
                        <a:pt x="301" y="61"/>
                      </a:moveTo>
                      <a:cubicBezTo>
                        <a:pt x="301" y="61"/>
                        <a:pt x="301" y="61"/>
                        <a:pt x="301" y="61"/>
                      </a:cubicBezTo>
                      <a:cubicBezTo>
                        <a:pt x="302" y="60"/>
                        <a:pt x="302" y="60"/>
                        <a:pt x="302" y="60"/>
                      </a:cubicBezTo>
                      <a:cubicBezTo>
                        <a:pt x="303" y="59"/>
                        <a:pt x="303" y="59"/>
                        <a:pt x="303" y="59"/>
                      </a:cubicBezTo>
                      <a:cubicBezTo>
                        <a:pt x="304" y="56"/>
                        <a:pt x="304" y="56"/>
                        <a:pt x="304" y="56"/>
                      </a:cubicBezTo>
                      <a:cubicBezTo>
                        <a:pt x="305" y="56"/>
                        <a:pt x="305" y="56"/>
                        <a:pt x="305" y="56"/>
                      </a:cubicBezTo>
                      <a:cubicBezTo>
                        <a:pt x="305" y="57"/>
                        <a:pt x="305" y="57"/>
                        <a:pt x="305" y="57"/>
                      </a:cubicBezTo>
                      <a:cubicBezTo>
                        <a:pt x="304" y="58"/>
                        <a:pt x="304" y="58"/>
                        <a:pt x="304" y="58"/>
                      </a:cubicBezTo>
                      <a:cubicBezTo>
                        <a:pt x="304" y="58"/>
                        <a:pt x="304" y="58"/>
                        <a:pt x="304" y="58"/>
                      </a:cubicBezTo>
                      <a:cubicBezTo>
                        <a:pt x="305" y="58"/>
                        <a:pt x="305" y="58"/>
                        <a:pt x="305" y="58"/>
                      </a:cubicBezTo>
                      <a:cubicBezTo>
                        <a:pt x="306" y="58"/>
                        <a:pt x="306" y="58"/>
                        <a:pt x="306" y="58"/>
                      </a:cubicBezTo>
                      <a:cubicBezTo>
                        <a:pt x="307" y="57"/>
                        <a:pt x="307" y="57"/>
                        <a:pt x="307" y="57"/>
                      </a:cubicBezTo>
                      <a:cubicBezTo>
                        <a:pt x="307" y="56"/>
                        <a:pt x="307" y="56"/>
                        <a:pt x="307" y="56"/>
                      </a:cubicBezTo>
                      <a:cubicBezTo>
                        <a:pt x="306" y="56"/>
                        <a:pt x="306" y="56"/>
                        <a:pt x="306" y="56"/>
                      </a:cubicBezTo>
                      <a:cubicBezTo>
                        <a:pt x="306" y="56"/>
                        <a:pt x="306" y="56"/>
                        <a:pt x="306" y="56"/>
                      </a:cubicBezTo>
                      <a:cubicBezTo>
                        <a:pt x="307" y="55"/>
                        <a:pt x="307" y="55"/>
                        <a:pt x="307" y="55"/>
                      </a:cubicBezTo>
                      <a:cubicBezTo>
                        <a:pt x="307" y="54"/>
                        <a:pt x="307" y="54"/>
                        <a:pt x="307" y="54"/>
                      </a:cubicBezTo>
                      <a:cubicBezTo>
                        <a:pt x="307" y="54"/>
                        <a:pt x="307" y="54"/>
                        <a:pt x="307" y="54"/>
                      </a:cubicBezTo>
                      <a:cubicBezTo>
                        <a:pt x="307" y="53"/>
                        <a:pt x="307" y="53"/>
                        <a:pt x="307" y="53"/>
                      </a:cubicBezTo>
                      <a:cubicBezTo>
                        <a:pt x="308" y="52"/>
                        <a:pt x="308" y="52"/>
                        <a:pt x="308" y="52"/>
                      </a:cubicBezTo>
                      <a:cubicBezTo>
                        <a:pt x="308" y="51"/>
                        <a:pt x="308" y="51"/>
                        <a:pt x="308" y="51"/>
                      </a:cubicBezTo>
                      <a:cubicBezTo>
                        <a:pt x="309" y="50"/>
                        <a:pt x="309" y="50"/>
                        <a:pt x="309" y="50"/>
                      </a:cubicBezTo>
                      <a:cubicBezTo>
                        <a:pt x="310" y="50"/>
                        <a:pt x="310" y="50"/>
                        <a:pt x="310" y="50"/>
                      </a:cubicBezTo>
                      <a:cubicBezTo>
                        <a:pt x="309" y="50"/>
                        <a:pt x="309" y="50"/>
                        <a:pt x="309" y="50"/>
                      </a:cubicBezTo>
                      <a:cubicBezTo>
                        <a:pt x="310" y="51"/>
                        <a:pt x="310" y="51"/>
                        <a:pt x="310" y="51"/>
                      </a:cubicBezTo>
                      <a:cubicBezTo>
                        <a:pt x="309" y="51"/>
                        <a:pt x="309" y="51"/>
                        <a:pt x="309" y="51"/>
                      </a:cubicBezTo>
                      <a:cubicBezTo>
                        <a:pt x="308" y="53"/>
                        <a:pt x="308" y="53"/>
                        <a:pt x="308" y="53"/>
                      </a:cubicBezTo>
                      <a:cubicBezTo>
                        <a:pt x="308" y="53"/>
                        <a:pt x="308" y="53"/>
                        <a:pt x="308" y="53"/>
                      </a:cubicBezTo>
                      <a:cubicBezTo>
                        <a:pt x="307" y="55"/>
                        <a:pt x="307" y="55"/>
                        <a:pt x="307" y="55"/>
                      </a:cubicBezTo>
                      <a:cubicBezTo>
                        <a:pt x="308" y="55"/>
                        <a:pt x="308" y="55"/>
                        <a:pt x="308" y="55"/>
                      </a:cubicBezTo>
                      <a:cubicBezTo>
                        <a:pt x="308" y="56"/>
                        <a:pt x="308" y="56"/>
                        <a:pt x="308" y="56"/>
                      </a:cubicBezTo>
                      <a:cubicBezTo>
                        <a:pt x="309" y="56"/>
                        <a:pt x="309" y="56"/>
                        <a:pt x="309" y="56"/>
                      </a:cubicBezTo>
                      <a:cubicBezTo>
                        <a:pt x="309" y="55"/>
                        <a:pt x="309" y="55"/>
                        <a:pt x="309" y="55"/>
                      </a:cubicBezTo>
                      <a:cubicBezTo>
                        <a:pt x="311" y="53"/>
                        <a:pt x="311" y="53"/>
                        <a:pt x="311" y="53"/>
                      </a:cubicBezTo>
                      <a:cubicBezTo>
                        <a:pt x="312" y="52"/>
                        <a:pt x="312" y="52"/>
                        <a:pt x="312" y="52"/>
                      </a:cubicBezTo>
                      <a:cubicBezTo>
                        <a:pt x="312" y="51"/>
                        <a:pt x="312" y="51"/>
                        <a:pt x="312" y="51"/>
                      </a:cubicBezTo>
                      <a:cubicBezTo>
                        <a:pt x="312" y="50"/>
                        <a:pt x="312" y="50"/>
                        <a:pt x="312" y="50"/>
                      </a:cubicBezTo>
                      <a:cubicBezTo>
                        <a:pt x="313" y="50"/>
                        <a:pt x="313" y="50"/>
                        <a:pt x="313" y="50"/>
                      </a:cubicBezTo>
                      <a:cubicBezTo>
                        <a:pt x="313" y="51"/>
                        <a:pt x="313" y="51"/>
                        <a:pt x="313" y="51"/>
                      </a:cubicBezTo>
                      <a:cubicBezTo>
                        <a:pt x="313" y="51"/>
                        <a:pt x="313" y="51"/>
                        <a:pt x="313" y="51"/>
                      </a:cubicBezTo>
                      <a:cubicBezTo>
                        <a:pt x="313" y="52"/>
                        <a:pt x="313" y="52"/>
                        <a:pt x="313" y="52"/>
                      </a:cubicBezTo>
                      <a:cubicBezTo>
                        <a:pt x="314" y="52"/>
                        <a:pt x="314" y="52"/>
                        <a:pt x="314" y="52"/>
                      </a:cubicBezTo>
                      <a:cubicBezTo>
                        <a:pt x="315" y="50"/>
                        <a:pt x="315" y="50"/>
                        <a:pt x="315" y="50"/>
                      </a:cubicBezTo>
                      <a:cubicBezTo>
                        <a:pt x="315" y="50"/>
                        <a:pt x="315" y="50"/>
                        <a:pt x="315" y="50"/>
                      </a:cubicBezTo>
                      <a:cubicBezTo>
                        <a:pt x="317" y="51"/>
                        <a:pt x="317" y="51"/>
                        <a:pt x="317" y="51"/>
                      </a:cubicBezTo>
                      <a:cubicBezTo>
                        <a:pt x="318" y="50"/>
                        <a:pt x="318" y="50"/>
                        <a:pt x="318" y="50"/>
                      </a:cubicBezTo>
                      <a:cubicBezTo>
                        <a:pt x="319" y="50"/>
                        <a:pt x="319" y="50"/>
                        <a:pt x="319" y="50"/>
                      </a:cubicBezTo>
                      <a:cubicBezTo>
                        <a:pt x="320" y="49"/>
                        <a:pt x="320" y="49"/>
                        <a:pt x="320" y="49"/>
                      </a:cubicBezTo>
                      <a:cubicBezTo>
                        <a:pt x="321" y="49"/>
                        <a:pt x="321" y="49"/>
                        <a:pt x="321" y="49"/>
                      </a:cubicBezTo>
                      <a:cubicBezTo>
                        <a:pt x="321" y="48"/>
                        <a:pt x="321" y="48"/>
                        <a:pt x="321" y="48"/>
                      </a:cubicBezTo>
                      <a:cubicBezTo>
                        <a:pt x="321" y="48"/>
                        <a:pt x="321" y="48"/>
                        <a:pt x="321" y="48"/>
                      </a:cubicBezTo>
                      <a:cubicBezTo>
                        <a:pt x="321" y="47"/>
                        <a:pt x="321" y="47"/>
                        <a:pt x="321" y="47"/>
                      </a:cubicBezTo>
                      <a:cubicBezTo>
                        <a:pt x="321" y="47"/>
                        <a:pt x="321" y="47"/>
                        <a:pt x="321" y="47"/>
                      </a:cubicBezTo>
                      <a:cubicBezTo>
                        <a:pt x="321" y="45"/>
                        <a:pt x="321" y="45"/>
                        <a:pt x="321" y="45"/>
                      </a:cubicBezTo>
                      <a:cubicBezTo>
                        <a:pt x="321" y="43"/>
                        <a:pt x="321" y="43"/>
                        <a:pt x="321" y="43"/>
                      </a:cubicBezTo>
                      <a:cubicBezTo>
                        <a:pt x="321" y="43"/>
                        <a:pt x="321" y="43"/>
                        <a:pt x="321" y="43"/>
                      </a:cubicBezTo>
                      <a:cubicBezTo>
                        <a:pt x="320" y="45"/>
                        <a:pt x="320" y="45"/>
                        <a:pt x="320" y="45"/>
                      </a:cubicBezTo>
                      <a:cubicBezTo>
                        <a:pt x="319" y="46"/>
                        <a:pt x="319" y="46"/>
                        <a:pt x="319" y="46"/>
                      </a:cubicBezTo>
                      <a:cubicBezTo>
                        <a:pt x="318" y="46"/>
                        <a:pt x="318" y="46"/>
                        <a:pt x="318" y="46"/>
                      </a:cubicBezTo>
                      <a:cubicBezTo>
                        <a:pt x="318" y="45"/>
                        <a:pt x="318" y="45"/>
                        <a:pt x="318" y="45"/>
                      </a:cubicBezTo>
                      <a:cubicBezTo>
                        <a:pt x="319" y="44"/>
                        <a:pt x="319" y="44"/>
                        <a:pt x="319" y="44"/>
                      </a:cubicBezTo>
                      <a:cubicBezTo>
                        <a:pt x="320" y="44"/>
                        <a:pt x="320" y="44"/>
                        <a:pt x="320" y="44"/>
                      </a:cubicBezTo>
                      <a:cubicBezTo>
                        <a:pt x="320" y="43"/>
                        <a:pt x="320" y="43"/>
                        <a:pt x="320" y="43"/>
                      </a:cubicBezTo>
                      <a:cubicBezTo>
                        <a:pt x="319" y="42"/>
                        <a:pt x="319" y="42"/>
                        <a:pt x="319" y="42"/>
                      </a:cubicBezTo>
                      <a:cubicBezTo>
                        <a:pt x="319" y="42"/>
                        <a:pt x="319" y="42"/>
                        <a:pt x="319" y="42"/>
                      </a:cubicBezTo>
                      <a:cubicBezTo>
                        <a:pt x="318" y="42"/>
                        <a:pt x="318" y="42"/>
                        <a:pt x="318" y="42"/>
                      </a:cubicBezTo>
                      <a:cubicBezTo>
                        <a:pt x="318" y="42"/>
                        <a:pt x="318" y="42"/>
                        <a:pt x="318" y="42"/>
                      </a:cubicBezTo>
                      <a:cubicBezTo>
                        <a:pt x="318" y="43"/>
                        <a:pt x="318" y="43"/>
                        <a:pt x="318" y="43"/>
                      </a:cubicBezTo>
                      <a:cubicBezTo>
                        <a:pt x="317" y="42"/>
                        <a:pt x="317" y="42"/>
                        <a:pt x="317" y="42"/>
                      </a:cubicBezTo>
                      <a:cubicBezTo>
                        <a:pt x="316" y="42"/>
                        <a:pt x="316" y="42"/>
                        <a:pt x="316" y="42"/>
                      </a:cubicBezTo>
                      <a:cubicBezTo>
                        <a:pt x="316" y="43"/>
                        <a:pt x="316" y="43"/>
                        <a:pt x="316" y="43"/>
                      </a:cubicBezTo>
                      <a:cubicBezTo>
                        <a:pt x="315" y="43"/>
                        <a:pt x="315" y="43"/>
                        <a:pt x="315" y="43"/>
                      </a:cubicBezTo>
                      <a:cubicBezTo>
                        <a:pt x="315" y="42"/>
                        <a:pt x="315" y="42"/>
                        <a:pt x="315" y="42"/>
                      </a:cubicBezTo>
                      <a:cubicBezTo>
                        <a:pt x="317" y="41"/>
                        <a:pt x="317" y="41"/>
                        <a:pt x="317" y="41"/>
                      </a:cubicBezTo>
                      <a:cubicBezTo>
                        <a:pt x="318" y="41"/>
                        <a:pt x="318" y="41"/>
                        <a:pt x="318" y="41"/>
                      </a:cubicBezTo>
                      <a:cubicBezTo>
                        <a:pt x="320" y="40"/>
                        <a:pt x="320" y="40"/>
                        <a:pt x="320" y="40"/>
                      </a:cubicBezTo>
                      <a:cubicBezTo>
                        <a:pt x="320" y="39"/>
                        <a:pt x="320" y="39"/>
                        <a:pt x="320" y="39"/>
                      </a:cubicBezTo>
                      <a:cubicBezTo>
                        <a:pt x="321" y="37"/>
                        <a:pt x="321" y="37"/>
                        <a:pt x="321" y="37"/>
                      </a:cubicBezTo>
                      <a:cubicBezTo>
                        <a:pt x="322" y="36"/>
                        <a:pt x="322" y="36"/>
                        <a:pt x="322" y="36"/>
                      </a:cubicBezTo>
                      <a:cubicBezTo>
                        <a:pt x="322" y="36"/>
                        <a:pt x="322" y="36"/>
                        <a:pt x="322" y="36"/>
                      </a:cubicBezTo>
                      <a:cubicBezTo>
                        <a:pt x="321" y="36"/>
                        <a:pt x="321" y="36"/>
                        <a:pt x="321" y="36"/>
                      </a:cubicBezTo>
                      <a:cubicBezTo>
                        <a:pt x="320" y="36"/>
                        <a:pt x="320" y="36"/>
                        <a:pt x="320" y="36"/>
                      </a:cubicBezTo>
                      <a:cubicBezTo>
                        <a:pt x="320" y="36"/>
                        <a:pt x="320" y="36"/>
                        <a:pt x="320" y="36"/>
                      </a:cubicBezTo>
                      <a:cubicBezTo>
                        <a:pt x="320" y="35"/>
                        <a:pt x="320" y="35"/>
                        <a:pt x="320" y="35"/>
                      </a:cubicBezTo>
                      <a:cubicBezTo>
                        <a:pt x="321" y="35"/>
                        <a:pt x="321" y="35"/>
                        <a:pt x="321" y="35"/>
                      </a:cubicBezTo>
                      <a:cubicBezTo>
                        <a:pt x="322" y="35"/>
                        <a:pt x="322" y="35"/>
                        <a:pt x="322" y="35"/>
                      </a:cubicBezTo>
                      <a:cubicBezTo>
                        <a:pt x="322" y="35"/>
                        <a:pt x="322" y="35"/>
                        <a:pt x="322" y="35"/>
                      </a:cubicBezTo>
                      <a:cubicBezTo>
                        <a:pt x="322" y="34"/>
                        <a:pt x="322" y="34"/>
                        <a:pt x="322" y="34"/>
                      </a:cubicBezTo>
                      <a:cubicBezTo>
                        <a:pt x="323" y="33"/>
                        <a:pt x="323" y="33"/>
                        <a:pt x="323" y="33"/>
                      </a:cubicBezTo>
                      <a:cubicBezTo>
                        <a:pt x="323" y="32"/>
                        <a:pt x="323" y="32"/>
                        <a:pt x="323" y="32"/>
                      </a:cubicBezTo>
                      <a:cubicBezTo>
                        <a:pt x="323" y="32"/>
                        <a:pt x="323" y="32"/>
                        <a:pt x="323" y="32"/>
                      </a:cubicBezTo>
                      <a:cubicBezTo>
                        <a:pt x="323" y="31"/>
                        <a:pt x="323" y="31"/>
                        <a:pt x="323" y="31"/>
                      </a:cubicBezTo>
                      <a:cubicBezTo>
                        <a:pt x="322" y="31"/>
                        <a:pt x="322" y="31"/>
                        <a:pt x="322" y="31"/>
                      </a:cubicBezTo>
                      <a:cubicBezTo>
                        <a:pt x="321" y="31"/>
                        <a:pt x="321" y="31"/>
                        <a:pt x="321" y="31"/>
                      </a:cubicBezTo>
                      <a:cubicBezTo>
                        <a:pt x="320" y="33"/>
                        <a:pt x="320" y="33"/>
                        <a:pt x="320" y="33"/>
                      </a:cubicBezTo>
                      <a:cubicBezTo>
                        <a:pt x="320" y="34"/>
                        <a:pt x="320" y="34"/>
                        <a:pt x="320" y="34"/>
                      </a:cubicBezTo>
                      <a:cubicBezTo>
                        <a:pt x="320" y="34"/>
                        <a:pt x="320" y="34"/>
                        <a:pt x="320" y="34"/>
                      </a:cubicBezTo>
                      <a:cubicBezTo>
                        <a:pt x="320" y="35"/>
                        <a:pt x="320" y="35"/>
                        <a:pt x="320" y="35"/>
                      </a:cubicBezTo>
                      <a:cubicBezTo>
                        <a:pt x="319" y="35"/>
                        <a:pt x="319" y="35"/>
                        <a:pt x="319" y="35"/>
                      </a:cubicBezTo>
                      <a:cubicBezTo>
                        <a:pt x="319" y="35"/>
                        <a:pt x="319" y="35"/>
                        <a:pt x="319" y="35"/>
                      </a:cubicBezTo>
                      <a:cubicBezTo>
                        <a:pt x="319" y="35"/>
                        <a:pt x="319" y="35"/>
                        <a:pt x="319" y="35"/>
                      </a:cubicBezTo>
                      <a:cubicBezTo>
                        <a:pt x="319" y="34"/>
                        <a:pt x="319" y="34"/>
                        <a:pt x="319" y="34"/>
                      </a:cubicBezTo>
                      <a:cubicBezTo>
                        <a:pt x="318" y="34"/>
                        <a:pt x="318" y="34"/>
                        <a:pt x="318" y="34"/>
                      </a:cubicBezTo>
                      <a:cubicBezTo>
                        <a:pt x="319" y="32"/>
                        <a:pt x="319" y="32"/>
                        <a:pt x="319" y="32"/>
                      </a:cubicBezTo>
                      <a:cubicBezTo>
                        <a:pt x="319" y="31"/>
                        <a:pt x="319" y="31"/>
                        <a:pt x="319" y="31"/>
                      </a:cubicBezTo>
                      <a:cubicBezTo>
                        <a:pt x="319" y="31"/>
                        <a:pt x="319" y="31"/>
                        <a:pt x="319" y="31"/>
                      </a:cubicBezTo>
                      <a:cubicBezTo>
                        <a:pt x="320" y="31"/>
                        <a:pt x="320" y="31"/>
                        <a:pt x="320" y="31"/>
                      </a:cubicBezTo>
                      <a:cubicBezTo>
                        <a:pt x="320" y="31"/>
                        <a:pt x="320" y="31"/>
                        <a:pt x="320" y="31"/>
                      </a:cubicBezTo>
                      <a:cubicBezTo>
                        <a:pt x="320" y="30"/>
                        <a:pt x="320" y="30"/>
                        <a:pt x="320" y="30"/>
                      </a:cubicBezTo>
                      <a:cubicBezTo>
                        <a:pt x="319" y="29"/>
                        <a:pt x="319" y="29"/>
                        <a:pt x="319" y="29"/>
                      </a:cubicBezTo>
                      <a:cubicBezTo>
                        <a:pt x="319" y="29"/>
                        <a:pt x="319" y="29"/>
                        <a:pt x="319" y="29"/>
                      </a:cubicBezTo>
                      <a:cubicBezTo>
                        <a:pt x="317" y="29"/>
                        <a:pt x="317" y="29"/>
                        <a:pt x="317" y="29"/>
                      </a:cubicBezTo>
                      <a:cubicBezTo>
                        <a:pt x="317" y="30"/>
                        <a:pt x="317" y="30"/>
                        <a:pt x="317" y="30"/>
                      </a:cubicBezTo>
                      <a:cubicBezTo>
                        <a:pt x="317" y="29"/>
                        <a:pt x="317" y="29"/>
                        <a:pt x="317" y="29"/>
                      </a:cubicBezTo>
                      <a:cubicBezTo>
                        <a:pt x="317" y="29"/>
                        <a:pt x="317" y="29"/>
                        <a:pt x="317" y="29"/>
                      </a:cubicBezTo>
                      <a:cubicBezTo>
                        <a:pt x="317" y="28"/>
                        <a:pt x="317" y="28"/>
                        <a:pt x="317" y="28"/>
                      </a:cubicBezTo>
                      <a:cubicBezTo>
                        <a:pt x="316" y="27"/>
                        <a:pt x="316" y="27"/>
                        <a:pt x="316" y="27"/>
                      </a:cubicBezTo>
                      <a:cubicBezTo>
                        <a:pt x="316" y="25"/>
                        <a:pt x="316" y="25"/>
                        <a:pt x="316" y="25"/>
                      </a:cubicBezTo>
                      <a:cubicBezTo>
                        <a:pt x="316" y="24"/>
                        <a:pt x="316" y="24"/>
                        <a:pt x="316" y="24"/>
                      </a:cubicBezTo>
                      <a:cubicBezTo>
                        <a:pt x="317" y="23"/>
                        <a:pt x="317" y="23"/>
                        <a:pt x="317" y="23"/>
                      </a:cubicBezTo>
                      <a:cubicBezTo>
                        <a:pt x="317" y="21"/>
                        <a:pt x="317" y="21"/>
                        <a:pt x="317" y="21"/>
                      </a:cubicBezTo>
                      <a:cubicBezTo>
                        <a:pt x="317" y="20"/>
                        <a:pt x="317" y="20"/>
                        <a:pt x="317" y="20"/>
                      </a:cubicBezTo>
                      <a:cubicBezTo>
                        <a:pt x="318" y="19"/>
                        <a:pt x="318" y="19"/>
                        <a:pt x="318" y="19"/>
                      </a:cubicBezTo>
                      <a:cubicBezTo>
                        <a:pt x="318" y="18"/>
                        <a:pt x="318" y="18"/>
                        <a:pt x="318" y="18"/>
                      </a:cubicBezTo>
                      <a:cubicBezTo>
                        <a:pt x="317" y="17"/>
                        <a:pt x="317" y="17"/>
                        <a:pt x="317" y="17"/>
                      </a:cubicBezTo>
                      <a:cubicBezTo>
                        <a:pt x="317" y="16"/>
                        <a:pt x="317" y="16"/>
                        <a:pt x="317" y="16"/>
                      </a:cubicBezTo>
                      <a:cubicBezTo>
                        <a:pt x="315" y="15"/>
                        <a:pt x="315" y="15"/>
                        <a:pt x="315" y="15"/>
                      </a:cubicBezTo>
                      <a:cubicBezTo>
                        <a:pt x="315" y="14"/>
                        <a:pt x="315" y="14"/>
                        <a:pt x="315" y="14"/>
                      </a:cubicBezTo>
                      <a:cubicBezTo>
                        <a:pt x="314" y="14"/>
                        <a:pt x="314" y="14"/>
                        <a:pt x="314" y="14"/>
                      </a:cubicBezTo>
                      <a:cubicBezTo>
                        <a:pt x="313" y="14"/>
                        <a:pt x="313" y="14"/>
                        <a:pt x="313" y="14"/>
                      </a:cubicBezTo>
                      <a:cubicBezTo>
                        <a:pt x="313" y="14"/>
                        <a:pt x="313" y="14"/>
                        <a:pt x="313" y="14"/>
                      </a:cubicBezTo>
                      <a:cubicBezTo>
                        <a:pt x="313" y="15"/>
                        <a:pt x="313" y="15"/>
                        <a:pt x="313" y="15"/>
                      </a:cubicBezTo>
                      <a:cubicBezTo>
                        <a:pt x="312" y="14"/>
                        <a:pt x="312" y="14"/>
                        <a:pt x="312" y="14"/>
                      </a:cubicBezTo>
                      <a:cubicBezTo>
                        <a:pt x="310" y="14"/>
                        <a:pt x="310" y="14"/>
                        <a:pt x="310" y="14"/>
                      </a:cubicBezTo>
                      <a:cubicBezTo>
                        <a:pt x="310" y="15"/>
                        <a:pt x="310" y="15"/>
                        <a:pt x="310" y="15"/>
                      </a:cubicBezTo>
                      <a:cubicBezTo>
                        <a:pt x="310" y="16"/>
                        <a:pt x="310" y="16"/>
                        <a:pt x="310" y="16"/>
                      </a:cubicBezTo>
                      <a:cubicBezTo>
                        <a:pt x="310" y="16"/>
                        <a:pt x="310" y="16"/>
                        <a:pt x="310" y="16"/>
                      </a:cubicBezTo>
                      <a:cubicBezTo>
                        <a:pt x="311" y="16"/>
                        <a:pt x="311" y="16"/>
                        <a:pt x="311" y="16"/>
                      </a:cubicBezTo>
                      <a:cubicBezTo>
                        <a:pt x="312" y="16"/>
                        <a:pt x="312" y="16"/>
                        <a:pt x="312" y="16"/>
                      </a:cubicBezTo>
                      <a:cubicBezTo>
                        <a:pt x="313" y="17"/>
                        <a:pt x="313" y="17"/>
                        <a:pt x="313" y="17"/>
                      </a:cubicBezTo>
                      <a:cubicBezTo>
                        <a:pt x="314" y="17"/>
                        <a:pt x="314" y="17"/>
                        <a:pt x="314" y="17"/>
                      </a:cubicBezTo>
                      <a:cubicBezTo>
                        <a:pt x="315" y="17"/>
                        <a:pt x="315" y="17"/>
                        <a:pt x="315" y="17"/>
                      </a:cubicBezTo>
                      <a:cubicBezTo>
                        <a:pt x="314" y="18"/>
                        <a:pt x="314" y="18"/>
                        <a:pt x="314" y="18"/>
                      </a:cubicBezTo>
                      <a:cubicBezTo>
                        <a:pt x="313" y="19"/>
                        <a:pt x="313" y="19"/>
                        <a:pt x="313" y="19"/>
                      </a:cubicBezTo>
                      <a:cubicBezTo>
                        <a:pt x="312" y="19"/>
                        <a:pt x="312" y="19"/>
                        <a:pt x="312" y="19"/>
                      </a:cubicBezTo>
                      <a:cubicBezTo>
                        <a:pt x="311" y="19"/>
                        <a:pt x="311" y="19"/>
                        <a:pt x="311" y="19"/>
                      </a:cubicBezTo>
                      <a:cubicBezTo>
                        <a:pt x="311" y="19"/>
                        <a:pt x="311" y="19"/>
                        <a:pt x="311" y="19"/>
                      </a:cubicBezTo>
                      <a:cubicBezTo>
                        <a:pt x="310" y="18"/>
                        <a:pt x="310" y="18"/>
                        <a:pt x="310" y="18"/>
                      </a:cubicBezTo>
                      <a:cubicBezTo>
                        <a:pt x="310" y="19"/>
                        <a:pt x="310" y="19"/>
                        <a:pt x="310" y="19"/>
                      </a:cubicBezTo>
                      <a:cubicBezTo>
                        <a:pt x="311" y="19"/>
                        <a:pt x="311" y="19"/>
                        <a:pt x="311" y="19"/>
                      </a:cubicBezTo>
                      <a:cubicBezTo>
                        <a:pt x="310" y="20"/>
                        <a:pt x="310" y="20"/>
                        <a:pt x="310" y="20"/>
                      </a:cubicBezTo>
                      <a:cubicBezTo>
                        <a:pt x="309" y="20"/>
                        <a:pt x="309" y="20"/>
                        <a:pt x="309" y="20"/>
                      </a:cubicBezTo>
                      <a:cubicBezTo>
                        <a:pt x="308" y="19"/>
                        <a:pt x="308" y="19"/>
                        <a:pt x="308" y="19"/>
                      </a:cubicBezTo>
                      <a:cubicBezTo>
                        <a:pt x="306" y="20"/>
                        <a:pt x="306" y="20"/>
                        <a:pt x="306" y="20"/>
                      </a:cubicBezTo>
                      <a:cubicBezTo>
                        <a:pt x="306" y="21"/>
                        <a:pt x="306" y="21"/>
                        <a:pt x="306" y="21"/>
                      </a:cubicBezTo>
                      <a:cubicBezTo>
                        <a:pt x="305" y="21"/>
                        <a:pt x="305" y="21"/>
                        <a:pt x="305" y="21"/>
                      </a:cubicBezTo>
                      <a:cubicBezTo>
                        <a:pt x="305" y="22"/>
                        <a:pt x="305" y="22"/>
                        <a:pt x="305" y="22"/>
                      </a:cubicBezTo>
                      <a:cubicBezTo>
                        <a:pt x="306" y="22"/>
                        <a:pt x="306" y="22"/>
                        <a:pt x="306" y="22"/>
                      </a:cubicBezTo>
                      <a:cubicBezTo>
                        <a:pt x="306" y="23"/>
                        <a:pt x="306" y="23"/>
                        <a:pt x="306" y="23"/>
                      </a:cubicBezTo>
                      <a:cubicBezTo>
                        <a:pt x="308" y="24"/>
                        <a:pt x="308" y="24"/>
                        <a:pt x="308" y="24"/>
                      </a:cubicBezTo>
                      <a:cubicBezTo>
                        <a:pt x="308" y="24"/>
                        <a:pt x="308" y="24"/>
                        <a:pt x="308" y="24"/>
                      </a:cubicBezTo>
                      <a:cubicBezTo>
                        <a:pt x="307" y="24"/>
                        <a:pt x="307" y="24"/>
                        <a:pt x="307" y="24"/>
                      </a:cubicBezTo>
                      <a:cubicBezTo>
                        <a:pt x="307" y="25"/>
                        <a:pt x="307" y="25"/>
                        <a:pt x="307" y="25"/>
                      </a:cubicBezTo>
                      <a:cubicBezTo>
                        <a:pt x="307" y="25"/>
                        <a:pt x="307" y="25"/>
                        <a:pt x="307" y="25"/>
                      </a:cubicBezTo>
                      <a:cubicBezTo>
                        <a:pt x="307" y="26"/>
                        <a:pt x="307" y="26"/>
                        <a:pt x="307" y="26"/>
                      </a:cubicBezTo>
                      <a:cubicBezTo>
                        <a:pt x="307" y="26"/>
                        <a:pt x="307" y="26"/>
                        <a:pt x="307" y="26"/>
                      </a:cubicBezTo>
                      <a:cubicBezTo>
                        <a:pt x="306" y="25"/>
                        <a:pt x="306" y="25"/>
                        <a:pt x="306" y="25"/>
                      </a:cubicBezTo>
                      <a:cubicBezTo>
                        <a:pt x="305" y="25"/>
                        <a:pt x="305" y="25"/>
                        <a:pt x="305" y="25"/>
                      </a:cubicBezTo>
                      <a:cubicBezTo>
                        <a:pt x="304" y="24"/>
                        <a:pt x="304" y="24"/>
                        <a:pt x="304" y="24"/>
                      </a:cubicBezTo>
                      <a:cubicBezTo>
                        <a:pt x="303" y="24"/>
                        <a:pt x="303" y="24"/>
                        <a:pt x="303" y="24"/>
                      </a:cubicBezTo>
                      <a:cubicBezTo>
                        <a:pt x="302" y="25"/>
                        <a:pt x="302" y="25"/>
                        <a:pt x="302" y="25"/>
                      </a:cubicBezTo>
                      <a:cubicBezTo>
                        <a:pt x="302" y="26"/>
                        <a:pt x="302" y="26"/>
                        <a:pt x="302" y="26"/>
                      </a:cubicBezTo>
                      <a:cubicBezTo>
                        <a:pt x="303" y="26"/>
                        <a:pt x="303" y="26"/>
                        <a:pt x="303" y="26"/>
                      </a:cubicBezTo>
                      <a:cubicBezTo>
                        <a:pt x="302" y="27"/>
                        <a:pt x="302" y="27"/>
                        <a:pt x="302" y="27"/>
                      </a:cubicBezTo>
                      <a:cubicBezTo>
                        <a:pt x="302" y="27"/>
                        <a:pt x="302" y="27"/>
                        <a:pt x="302" y="27"/>
                      </a:cubicBezTo>
                      <a:cubicBezTo>
                        <a:pt x="302" y="26"/>
                        <a:pt x="302" y="26"/>
                        <a:pt x="302" y="26"/>
                      </a:cubicBezTo>
                      <a:cubicBezTo>
                        <a:pt x="301" y="26"/>
                        <a:pt x="301" y="26"/>
                        <a:pt x="301" y="26"/>
                      </a:cubicBezTo>
                      <a:cubicBezTo>
                        <a:pt x="300" y="25"/>
                        <a:pt x="300" y="25"/>
                        <a:pt x="300" y="25"/>
                      </a:cubicBezTo>
                      <a:cubicBezTo>
                        <a:pt x="300" y="26"/>
                        <a:pt x="300" y="26"/>
                        <a:pt x="300" y="26"/>
                      </a:cubicBezTo>
                      <a:cubicBezTo>
                        <a:pt x="299" y="25"/>
                        <a:pt x="299" y="25"/>
                        <a:pt x="299" y="25"/>
                      </a:cubicBezTo>
                      <a:cubicBezTo>
                        <a:pt x="299" y="25"/>
                        <a:pt x="299" y="25"/>
                        <a:pt x="299" y="25"/>
                      </a:cubicBezTo>
                      <a:cubicBezTo>
                        <a:pt x="298" y="25"/>
                        <a:pt x="298" y="25"/>
                        <a:pt x="298" y="25"/>
                      </a:cubicBezTo>
                      <a:cubicBezTo>
                        <a:pt x="299" y="26"/>
                        <a:pt x="299" y="26"/>
                        <a:pt x="299" y="26"/>
                      </a:cubicBezTo>
                      <a:cubicBezTo>
                        <a:pt x="299" y="27"/>
                        <a:pt x="299" y="27"/>
                        <a:pt x="299" y="27"/>
                      </a:cubicBezTo>
                      <a:cubicBezTo>
                        <a:pt x="299" y="28"/>
                        <a:pt x="299" y="28"/>
                        <a:pt x="299" y="28"/>
                      </a:cubicBezTo>
                      <a:cubicBezTo>
                        <a:pt x="300" y="29"/>
                        <a:pt x="300" y="29"/>
                        <a:pt x="300" y="29"/>
                      </a:cubicBezTo>
                      <a:cubicBezTo>
                        <a:pt x="301" y="29"/>
                        <a:pt x="301" y="29"/>
                        <a:pt x="301" y="29"/>
                      </a:cubicBezTo>
                      <a:cubicBezTo>
                        <a:pt x="301" y="29"/>
                        <a:pt x="301" y="29"/>
                        <a:pt x="301" y="29"/>
                      </a:cubicBezTo>
                      <a:cubicBezTo>
                        <a:pt x="301" y="30"/>
                        <a:pt x="301" y="30"/>
                        <a:pt x="301" y="30"/>
                      </a:cubicBezTo>
                      <a:cubicBezTo>
                        <a:pt x="300" y="29"/>
                        <a:pt x="300" y="29"/>
                        <a:pt x="300" y="29"/>
                      </a:cubicBezTo>
                      <a:cubicBezTo>
                        <a:pt x="301" y="30"/>
                        <a:pt x="301" y="30"/>
                        <a:pt x="301" y="30"/>
                      </a:cubicBezTo>
                      <a:cubicBezTo>
                        <a:pt x="302" y="31"/>
                        <a:pt x="302" y="31"/>
                        <a:pt x="302" y="31"/>
                      </a:cubicBezTo>
                      <a:cubicBezTo>
                        <a:pt x="302" y="31"/>
                        <a:pt x="302" y="31"/>
                        <a:pt x="302" y="31"/>
                      </a:cubicBezTo>
                      <a:cubicBezTo>
                        <a:pt x="304" y="31"/>
                        <a:pt x="304" y="31"/>
                        <a:pt x="304" y="31"/>
                      </a:cubicBezTo>
                      <a:cubicBezTo>
                        <a:pt x="304" y="31"/>
                        <a:pt x="304" y="31"/>
                        <a:pt x="304" y="31"/>
                      </a:cubicBezTo>
                      <a:cubicBezTo>
                        <a:pt x="305" y="31"/>
                        <a:pt x="305" y="31"/>
                        <a:pt x="305" y="31"/>
                      </a:cubicBezTo>
                      <a:cubicBezTo>
                        <a:pt x="305" y="31"/>
                        <a:pt x="305" y="31"/>
                        <a:pt x="305" y="31"/>
                      </a:cubicBezTo>
                      <a:cubicBezTo>
                        <a:pt x="304" y="32"/>
                        <a:pt x="304" y="32"/>
                        <a:pt x="304" y="32"/>
                      </a:cubicBezTo>
                      <a:cubicBezTo>
                        <a:pt x="304" y="33"/>
                        <a:pt x="304" y="33"/>
                        <a:pt x="304" y="33"/>
                      </a:cubicBezTo>
                      <a:cubicBezTo>
                        <a:pt x="303" y="33"/>
                        <a:pt x="303" y="33"/>
                        <a:pt x="303" y="33"/>
                      </a:cubicBezTo>
                      <a:cubicBezTo>
                        <a:pt x="302" y="32"/>
                        <a:pt x="302" y="32"/>
                        <a:pt x="302" y="32"/>
                      </a:cubicBezTo>
                      <a:cubicBezTo>
                        <a:pt x="299" y="32"/>
                        <a:pt x="299" y="32"/>
                        <a:pt x="299" y="32"/>
                      </a:cubicBezTo>
                      <a:cubicBezTo>
                        <a:pt x="298" y="31"/>
                        <a:pt x="298" y="31"/>
                        <a:pt x="298" y="31"/>
                      </a:cubicBezTo>
                      <a:cubicBezTo>
                        <a:pt x="298" y="30"/>
                        <a:pt x="298" y="30"/>
                        <a:pt x="298" y="30"/>
                      </a:cubicBezTo>
                      <a:cubicBezTo>
                        <a:pt x="297" y="30"/>
                        <a:pt x="297" y="30"/>
                        <a:pt x="297" y="30"/>
                      </a:cubicBezTo>
                      <a:cubicBezTo>
                        <a:pt x="297" y="30"/>
                        <a:pt x="297" y="30"/>
                        <a:pt x="297" y="30"/>
                      </a:cubicBezTo>
                      <a:cubicBezTo>
                        <a:pt x="297" y="31"/>
                        <a:pt x="297" y="31"/>
                        <a:pt x="297" y="31"/>
                      </a:cubicBezTo>
                      <a:cubicBezTo>
                        <a:pt x="297" y="31"/>
                        <a:pt x="297" y="31"/>
                        <a:pt x="297" y="31"/>
                      </a:cubicBezTo>
                      <a:cubicBezTo>
                        <a:pt x="296" y="32"/>
                        <a:pt x="296" y="32"/>
                        <a:pt x="296" y="32"/>
                      </a:cubicBezTo>
                      <a:cubicBezTo>
                        <a:pt x="297" y="33"/>
                        <a:pt x="297" y="33"/>
                        <a:pt x="297" y="33"/>
                      </a:cubicBezTo>
                      <a:cubicBezTo>
                        <a:pt x="296" y="33"/>
                        <a:pt x="296" y="33"/>
                        <a:pt x="296" y="33"/>
                      </a:cubicBezTo>
                      <a:cubicBezTo>
                        <a:pt x="295" y="33"/>
                        <a:pt x="295" y="33"/>
                        <a:pt x="295" y="33"/>
                      </a:cubicBezTo>
                      <a:cubicBezTo>
                        <a:pt x="295" y="34"/>
                        <a:pt x="295" y="34"/>
                        <a:pt x="295" y="34"/>
                      </a:cubicBezTo>
                      <a:cubicBezTo>
                        <a:pt x="295" y="35"/>
                        <a:pt x="295" y="35"/>
                        <a:pt x="295" y="35"/>
                      </a:cubicBezTo>
                      <a:cubicBezTo>
                        <a:pt x="295" y="36"/>
                        <a:pt x="295" y="36"/>
                        <a:pt x="295" y="36"/>
                      </a:cubicBezTo>
                      <a:cubicBezTo>
                        <a:pt x="295" y="37"/>
                        <a:pt x="295" y="37"/>
                        <a:pt x="295" y="37"/>
                      </a:cubicBezTo>
                      <a:cubicBezTo>
                        <a:pt x="297" y="37"/>
                        <a:pt x="297" y="37"/>
                        <a:pt x="297" y="37"/>
                      </a:cubicBezTo>
                      <a:cubicBezTo>
                        <a:pt x="298" y="37"/>
                        <a:pt x="298" y="37"/>
                        <a:pt x="298" y="37"/>
                      </a:cubicBezTo>
                      <a:cubicBezTo>
                        <a:pt x="299" y="37"/>
                        <a:pt x="299" y="37"/>
                        <a:pt x="299" y="37"/>
                      </a:cubicBezTo>
                      <a:cubicBezTo>
                        <a:pt x="299" y="38"/>
                        <a:pt x="299" y="38"/>
                        <a:pt x="299" y="38"/>
                      </a:cubicBezTo>
                      <a:cubicBezTo>
                        <a:pt x="298" y="38"/>
                        <a:pt x="298" y="38"/>
                        <a:pt x="298" y="38"/>
                      </a:cubicBezTo>
                      <a:cubicBezTo>
                        <a:pt x="297" y="38"/>
                        <a:pt x="297" y="38"/>
                        <a:pt x="297" y="38"/>
                      </a:cubicBezTo>
                      <a:cubicBezTo>
                        <a:pt x="295" y="38"/>
                        <a:pt x="295" y="38"/>
                        <a:pt x="295" y="38"/>
                      </a:cubicBezTo>
                      <a:cubicBezTo>
                        <a:pt x="295" y="37"/>
                        <a:pt x="295" y="37"/>
                        <a:pt x="295" y="37"/>
                      </a:cubicBezTo>
                      <a:cubicBezTo>
                        <a:pt x="294" y="38"/>
                        <a:pt x="294" y="38"/>
                        <a:pt x="294" y="38"/>
                      </a:cubicBezTo>
                      <a:cubicBezTo>
                        <a:pt x="293" y="39"/>
                        <a:pt x="293" y="39"/>
                        <a:pt x="293" y="39"/>
                      </a:cubicBezTo>
                      <a:cubicBezTo>
                        <a:pt x="293" y="40"/>
                        <a:pt x="293" y="40"/>
                        <a:pt x="293" y="40"/>
                      </a:cubicBezTo>
                      <a:cubicBezTo>
                        <a:pt x="293" y="40"/>
                        <a:pt x="293" y="40"/>
                        <a:pt x="293" y="40"/>
                      </a:cubicBezTo>
                      <a:cubicBezTo>
                        <a:pt x="293" y="41"/>
                        <a:pt x="293" y="41"/>
                        <a:pt x="293" y="41"/>
                      </a:cubicBezTo>
                      <a:cubicBezTo>
                        <a:pt x="293" y="41"/>
                        <a:pt x="293" y="41"/>
                        <a:pt x="293" y="41"/>
                      </a:cubicBezTo>
                      <a:cubicBezTo>
                        <a:pt x="292" y="42"/>
                        <a:pt x="292" y="42"/>
                        <a:pt x="292" y="42"/>
                      </a:cubicBezTo>
                      <a:cubicBezTo>
                        <a:pt x="293" y="42"/>
                        <a:pt x="293" y="42"/>
                        <a:pt x="293" y="42"/>
                      </a:cubicBezTo>
                      <a:cubicBezTo>
                        <a:pt x="294" y="42"/>
                        <a:pt x="294" y="42"/>
                        <a:pt x="294" y="42"/>
                      </a:cubicBezTo>
                      <a:cubicBezTo>
                        <a:pt x="295" y="42"/>
                        <a:pt x="295" y="42"/>
                        <a:pt x="295" y="42"/>
                      </a:cubicBezTo>
                      <a:cubicBezTo>
                        <a:pt x="296" y="41"/>
                        <a:pt x="296" y="41"/>
                        <a:pt x="296" y="41"/>
                      </a:cubicBezTo>
                      <a:cubicBezTo>
                        <a:pt x="296" y="41"/>
                        <a:pt x="296" y="41"/>
                        <a:pt x="296" y="41"/>
                      </a:cubicBezTo>
                      <a:cubicBezTo>
                        <a:pt x="296" y="42"/>
                        <a:pt x="296" y="42"/>
                        <a:pt x="296" y="42"/>
                      </a:cubicBezTo>
                      <a:cubicBezTo>
                        <a:pt x="295" y="42"/>
                        <a:pt x="295" y="42"/>
                        <a:pt x="295" y="42"/>
                      </a:cubicBezTo>
                      <a:cubicBezTo>
                        <a:pt x="295" y="43"/>
                        <a:pt x="295" y="43"/>
                        <a:pt x="295" y="43"/>
                      </a:cubicBezTo>
                      <a:cubicBezTo>
                        <a:pt x="295" y="43"/>
                        <a:pt x="295" y="43"/>
                        <a:pt x="295" y="43"/>
                      </a:cubicBezTo>
                      <a:cubicBezTo>
                        <a:pt x="296" y="43"/>
                        <a:pt x="296" y="43"/>
                        <a:pt x="296" y="43"/>
                      </a:cubicBezTo>
                      <a:cubicBezTo>
                        <a:pt x="296" y="43"/>
                        <a:pt x="296" y="43"/>
                        <a:pt x="296" y="43"/>
                      </a:cubicBezTo>
                      <a:cubicBezTo>
                        <a:pt x="297" y="43"/>
                        <a:pt x="297" y="43"/>
                        <a:pt x="297" y="43"/>
                      </a:cubicBezTo>
                      <a:cubicBezTo>
                        <a:pt x="298" y="42"/>
                        <a:pt x="298" y="42"/>
                        <a:pt x="298" y="42"/>
                      </a:cubicBezTo>
                      <a:cubicBezTo>
                        <a:pt x="298" y="43"/>
                        <a:pt x="298" y="43"/>
                        <a:pt x="298" y="43"/>
                      </a:cubicBezTo>
                      <a:cubicBezTo>
                        <a:pt x="297" y="43"/>
                        <a:pt x="297" y="43"/>
                        <a:pt x="297" y="43"/>
                      </a:cubicBezTo>
                      <a:cubicBezTo>
                        <a:pt x="298" y="43"/>
                        <a:pt x="298" y="43"/>
                        <a:pt x="298" y="43"/>
                      </a:cubicBezTo>
                      <a:cubicBezTo>
                        <a:pt x="299" y="43"/>
                        <a:pt x="299" y="43"/>
                        <a:pt x="299" y="43"/>
                      </a:cubicBezTo>
                      <a:cubicBezTo>
                        <a:pt x="300" y="44"/>
                        <a:pt x="300" y="44"/>
                        <a:pt x="300" y="44"/>
                      </a:cubicBezTo>
                      <a:cubicBezTo>
                        <a:pt x="299" y="44"/>
                        <a:pt x="299" y="44"/>
                        <a:pt x="299" y="44"/>
                      </a:cubicBezTo>
                      <a:cubicBezTo>
                        <a:pt x="299" y="45"/>
                        <a:pt x="299" y="45"/>
                        <a:pt x="299" y="45"/>
                      </a:cubicBezTo>
                      <a:cubicBezTo>
                        <a:pt x="300" y="45"/>
                        <a:pt x="300" y="45"/>
                        <a:pt x="300" y="45"/>
                      </a:cubicBezTo>
                      <a:cubicBezTo>
                        <a:pt x="301" y="45"/>
                        <a:pt x="301" y="45"/>
                        <a:pt x="301" y="45"/>
                      </a:cubicBezTo>
                      <a:cubicBezTo>
                        <a:pt x="302" y="45"/>
                        <a:pt x="302" y="45"/>
                        <a:pt x="302" y="45"/>
                      </a:cubicBezTo>
                      <a:cubicBezTo>
                        <a:pt x="304" y="46"/>
                        <a:pt x="304" y="46"/>
                        <a:pt x="304" y="46"/>
                      </a:cubicBezTo>
                      <a:cubicBezTo>
                        <a:pt x="304" y="46"/>
                        <a:pt x="304" y="46"/>
                        <a:pt x="304" y="46"/>
                      </a:cubicBezTo>
                      <a:cubicBezTo>
                        <a:pt x="302" y="46"/>
                        <a:pt x="302" y="46"/>
                        <a:pt x="302" y="46"/>
                      </a:cubicBezTo>
                      <a:cubicBezTo>
                        <a:pt x="301" y="46"/>
                        <a:pt x="301" y="46"/>
                        <a:pt x="301" y="46"/>
                      </a:cubicBezTo>
                      <a:cubicBezTo>
                        <a:pt x="300" y="45"/>
                        <a:pt x="300" y="45"/>
                        <a:pt x="300" y="45"/>
                      </a:cubicBezTo>
                      <a:cubicBezTo>
                        <a:pt x="299" y="46"/>
                        <a:pt x="299" y="46"/>
                        <a:pt x="299" y="46"/>
                      </a:cubicBezTo>
                      <a:cubicBezTo>
                        <a:pt x="299" y="46"/>
                        <a:pt x="299" y="46"/>
                        <a:pt x="299" y="46"/>
                      </a:cubicBezTo>
                      <a:cubicBezTo>
                        <a:pt x="300" y="47"/>
                        <a:pt x="300" y="47"/>
                        <a:pt x="300" y="47"/>
                      </a:cubicBezTo>
                      <a:cubicBezTo>
                        <a:pt x="302" y="47"/>
                        <a:pt x="302" y="47"/>
                        <a:pt x="302" y="47"/>
                      </a:cubicBezTo>
                      <a:cubicBezTo>
                        <a:pt x="304" y="47"/>
                        <a:pt x="304" y="47"/>
                        <a:pt x="304" y="47"/>
                      </a:cubicBezTo>
                      <a:cubicBezTo>
                        <a:pt x="304" y="47"/>
                        <a:pt x="304" y="47"/>
                        <a:pt x="304" y="47"/>
                      </a:cubicBezTo>
                      <a:cubicBezTo>
                        <a:pt x="302" y="48"/>
                        <a:pt x="302" y="48"/>
                        <a:pt x="302" y="48"/>
                      </a:cubicBezTo>
                      <a:cubicBezTo>
                        <a:pt x="302" y="48"/>
                        <a:pt x="302" y="48"/>
                        <a:pt x="302" y="48"/>
                      </a:cubicBezTo>
                      <a:cubicBezTo>
                        <a:pt x="300" y="47"/>
                        <a:pt x="300" y="47"/>
                        <a:pt x="300" y="47"/>
                      </a:cubicBezTo>
                      <a:cubicBezTo>
                        <a:pt x="299" y="47"/>
                        <a:pt x="299" y="47"/>
                        <a:pt x="299" y="47"/>
                      </a:cubicBezTo>
                      <a:cubicBezTo>
                        <a:pt x="298" y="47"/>
                        <a:pt x="298" y="47"/>
                        <a:pt x="298" y="47"/>
                      </a:cubicBezTo>
                      <a:cubicBezTo>
                        <a:pt x="297" y="46"/>
                        <a:pt x="297" y="46"/>
                        <a:pt x="297" y="46"/>
                      </a:cubicBezTo>
                      <a:cubicBezTo>
                        <a:pt x="296" y="45"/>
                        <a:pt x="296" y="45"/>
                        <a:pt x="296" y="45"/>
                      </a:cubicBezTo>
                      <a:cubicBezTo>
                        <a:pt x="295" y="46"/>
                        <a:pt x="295" y="46"/>
                        <a:pt x="295" y="46"/>
                      </a:cubicBezTo>
                      <a:cubicBezTo>
                        <a:pt x="295" y="46"/>
                        <a:pt x="295" y="46"/>
                        <a:pt x="295" y="46"/>
                      </a:cubicBezTo>
                      <a:cubicBezTo>
                        <a:pt x="293" y="46"/>
                        <a:pt x="293" y="46"/>
                        <a:pt x="293" y="46"/>
                      </a:cubicBezTo>
                      <a:cubicBezTo>
                        <a:pt x="292" y="47"/>
                        <a:pt x="292" y="47"/>
                        <a:pt x="292" y="47"/>
                      </a:cubicBezTo>
                      <a:cubicBezTo>
                        <a:pt x="292" y="48"/>
                        <a:pt x="292" y="48"/>
                        <a:pt x="292" y="48"/>
                      </a:cubicBezTo>
                      <a:cubicBezTo>
                        <a:pt x="293" y="49"/>
                        <a:pt x="293" y="49"/>
                        <a:pt x="293" y="49"/>
                      </a:cubicBezTo>
                      <a:cubicBezTo>
                        <a:pt x="293" y="50"/>
                        <a:pt x="293" y="50"/>
                        <a:pt x="293" y="50"/>
                      </a:cubicBezTo>
                      <a:cubicBezTo>
                        <a:pt x="293" y="51"/>
                        <a:pt x="293" y="51"/>
                        <a:pt x="293" y="51"/>
                      </a:cubicBezTo>
                      <a:cubicBezTo>
                        <a:pt x="292" y="49"/>
                        <a:pt x="292" y="49"/>
                        <a:pt x="292" y="49"/>
                      </a:cubicBezTo>
                      <a:cubicBezTo>
                        <a:pt x="292" y="49"/>
                        <a:pt x="292" y="49"/>
                        <a:pt x="292" y="49"/>
                      </a:cubicBezTo>
                      <a:cubicBezTo>
                        <a:pt x="291" y="51"/>
                        <a:pt x="291" y="51"/>
                        <a:pt x="291" y="51"/>
                      </a:cubicBezTo>
                      <a:cubicBezTo>
                        <a:pt x="291" y="52"/>
                        <a:pt x="291" y="52"/>
                        <a:pt x="291" y="52"/>
                      </a:cubicBezTo>
                      <a:cubicBezTo>
                        <a:pt x="292" y="52"/>
                        <a:pt x="292" y="52"/>
                        <a:pt x="292" y="52"/>
                      </a:cubicBezTo>
                      <a:cubicBezTo>
                        <a:pt x="292" y="52"/>
                        <a:pt x="292" y="52"/>
                        <a:pt x="292" y="52"/>
                      </a:cubicBezTo>
                      <a:cubicBezTo>
                        <a:pt x="293" y="52"/>
                        <a:pt x="293" y="52"/>
                        <a:pt x="293" y="52"/>
                      </a:cubicBezTo>
                      <a:cubicBezTo>
                        <a:pt x="294" y="53"/>
                        <a:pt x="294" y="53"/>
                        <a:pt x="294" y="53"/>
                      </a:cubicBezTo>
                      <a:cubicBezTo>
                        <a:pt x="294" y="53"/>
                        <a:pt x="294" y="53"/>
                        <a:pt x="294" y="53"/>
                      </a:cubicBezTo>
                      <a:cubicBezTo>
                        <a:pt x="293" y="53"/>
                        <a:pt x="293" y="53"/>
                        <a:pt x="293" y="53"/>
                      </a:cubicBezTo>
                      <a:cubicBezTo>
                        <a:pt x="293" y="54"/>
                        <a:pt x="293" y="54"/>
                        <a:pt x="293" y="54"/>
                      </a:cubicBezTo>
                      <a:cubicBezTo>
                        <a:pt x="292" y="53"/>
                        <a:pt x="292" y="53"/>
                        <a:pt x="292" y="53"/>
                      </a:cubicBezTo>
                      <a:cubicBezTo>
                        <a:pt x="291" y="53"/>
                        <a:pt x="291" y="53"/>
                        <a:pt x="291" y="53"/>
                      </a:cubicBezTo>
                      <a:cubicBezTo>
                        <a:pt x="291" y="55"/>
                        <a:pt x="291" y="55"/>
                        <a:pt x="291" y="55"/>
                      </a:cubicBezTo>
                      <a:cubicBezTo>
                        <a:pt x="291" y="55"/>
                        <a:pt x="291" y="55"/>
                        <a:pt x="291" y="55"/>
                      </a:cubicBezTo>
                      <a:cubicBezTo>
                        <a:pt x="292" y="55"/>
                        <a:pt x="292" y="55"/>
                        <a:pt x="292" y="55"/>
                      </a:cubicBezTo>
                      <a:cubicBezTo>
                        <a:pt x="291" y="55"/>
                        <a:pt x="291" y="55"/>
                        <a:pt x="291" y="55"/>
                      </a:cubicBezTo>
                      <a:cubicBezTo>
                        <a:pt x="291" y="57"/>
                        <a:pt x="291" y="57"/>
                        <a:pt x="291" y="57"/>
                      </a:cubicBezTo>
                      <a:cubicBezTo>
                        <a:pt x="292" y="57"/>
                        <a:pt x="292" y="57"/>
                        <a:pt x="292" y="57"/>
                      </a:cubicBezTo>
                      <a:cubicBezTo>
                        <a:pt x="293" y="57"/>
                        <a:pt x="293" y="57"/>
                        <a:pt x="293" y="57"/>
                      </a:cubicBezTo>
                      <a:cubicBezTo>
                        <a:pt x="293" y="58"/>
                        <a:pt x="293" y="58"/>
                        <a:pt x="293" y="58"/>
                      </a:cubicBezTo>
                      <a:cubicBezTo>
                        <a:pt x="294" y="59"/>
                        <a:pt x="294" y="59"/>
                        <a:pt x="294" y="59"/>
                      </a:cubicBezTo>
                      <a:cubicBezTo>
                        <a:pt x="296" y="60"/>
                        <a:pt x="296" y="60"/>
                        <a:pt x="296" y="60"/>
                      </a:cubicBezTo>
                      <a:cubicBezTo>
                        <a:pt x="297" y="60"/>
                        <a:pt x="297" y="60"/>
                        <a:pt x="297" y="60"/>
                      </a:cubicBezTo>
                      <a:cubicBezTo>
                        <a:pt x="297" y="59"/>
                        <a:pt x="297" y="59"/>
                        <a:pt x="297" y="59"/>
                      </a:cubicBezTo>
                      <a:cubicBezTo>
                        <a:pt x="297" y="58"/>
                        <a:pt x="297" y="58"/>
                        <a:pt x="297" y="58"/>
                      </a:cubicBezTo>
                      <a:cubicBezTo>
                        <a:pt x="298" y="58"/>
                        <a:pt x="298" y="58"/>
                        <a:pt x="298" y="58"/>
                      </a:cubicBezTo>
                      <a:cubicBezTo>
                        <a:pt x="299" y="59"/>
                        <a:pt x="299" y="59"/>
                        <a:pt x="299" y="59"/>
                      </a:cubicBezTo>
                      <a:cubicBezTo>
                        <a:pt x="298" y="60"/>
                        <a:pt x="298" y="60"/>
                        <a:pt x="298" y="60"/>
                      </a:cubicBezTo>
                      <a:cubicBezTo>
                        <a:pt x="299" y="61"/>
                        <a:pt x="299" y="61"/>
                        <a:pt x="299" y="61"/>
                      </a:cubicBezTo>
                      <a:cubicBezTo>
                        <a:pt x="299" y="60"/>
                        <a:pt x="299" y="60"/>
                        <a:pt x="299" y="60"/>
                      </a:cubicBezTo>
                      <a:cubicBezTo>
                        <a:pt x="300" y="58"/>
                        <a:pt x="300" y="58"/>
                        <a:pt x="300" y="58"/>
                      </a:cubicBezTo>
                      <a:cubicBezTo>
                        <a:pt x="300" y="57"/>
                        <a:pt x="300" y="57"/>
                        <a:pt x="300" y="57"/>
                      </a:cubicBezTo>
                      <a:cubicBezTo>
                        <a:pt x="300" y="55"/>
                        <a:pt x="300" y="55"/>
                        <a:pt x="300" y="55"/>
                      </a:cubicBezTo>
                      <a:cubicBezTo>
                        <a:pt x="301" y="54"/>
                        <a:pt x="301" y="54"/>
                        <a:pt x="301" y="54"/>
                      </a:cubicBezTo>
                      <a:cubicBezTo>
                        <a:pt x="302" y="53"/>
                        <a:pt x="302" y="53"/>
                        <a:pt x="302" y="53"/>
                      </a:cubicBezTo>
                      <a:cubicBezTo>
                        <a:pt x="302" y="55"/>
                        <a:pt x="302" y="55"/>
                        <a:pt x="302" y="55"/>
                      </a:cubicBezTo>
                      <a:cubicBezTo>
                        <a:pt x="300" y="56"/>
                        <a:pt x="300" y="56"/>
                        <a:pt x="300" y="56"/>
                      </a:cubicBezTo>
                      <a:cubicBezTo>
                        <a:pt x="300" y="57"/>
                        <a:pt x="300" y="57"/>
                        <a:pt x="300" y="57"/>
                      </a:cubicBezTo>
                      <a:cubicBezTo>
                        <a:pt x="300" y="58"/>
                        <a:pt x="300" y="58"/>
                        <a:pt x="300" y="58"/>
                      </a:cubicBezTo>
                      <a:cubicBezTo>
                        <a:pt x="300" y="60"/>
                        <a:pt x="300" y="60"/>
                        <a:pt x="300" y="60"/>
                      </a:cubicBezTo>
                      <a:cubicBezTo>
                        <a:pt x="301" y="61"/>
                        <a:pt x="301" y="61"/>
                        <a:pt x="301" y="61"/>
                      </a:cubicBezTo>
                      <a:cubicBezTo>
                        <a:pt x="300" y="61"/>
                        <a:pt x="300" y="61"/>
                        <a:pt x="300" y="61"/>
                      </a:cubicBezTo>
                      <a:cubicBezTo>
                        <a:pt x="301" y="61"/>
                        <a:pt x="301" y="61"/>
                        <a:pt x="301" y="61"/>
                      </a:cubicBezTo>
                      <a:close/>
                      <a:moveTo>
                        <a:pt x="303" y="23"/>
                      </a:moveTo>
                      <a:cubicBezTo>
                        <a:pt x="303" y="23"/>
                        <a:pt x="303" y="23"/>
                        <a:pt x="303" y="23"/>
                      </a:cubicBezTo>
                      <a:cubicBezTo>
                        <a:pt x="304" y="23"/>
                        <a:pt x="304" y="23"/>
                        <a:pt x="304" y="23"/>
                      </a:cubicBezTo>
                      <a:cubicBezTo>
                        <a:pt x="304" y="23"/>
                        <a:pt x="304" y="23"/>
                        <a:pt x="304" y="23"/>
                      </a:cubicBezTo>
                      <a:cubicBezTo>
                        <a:pt x="305" y="23"/>
                        <a:pt x="305" y="23"/>
                        <a:pt x="305" y="23"/>
                      </a:cubicBezTo>
                      <a:cubicBezTo>
                        <a:pt x="305" y="24"/>
                        <a:pt x="305" y="24"/>
                        <a:pt x="305" y="24"/>
                      </a:cubicBezTo>
                      <a:cubicBezTo>
                        <a:pt x="305" y="24"/>
                        <a:pt x="305" y="24"/>
                        <a:pt x="305" y="24"/>
                      </a:cubicBezTo>
                      <a:cubicBezTo>
                        <a:pt x="304" y="24"/>
                        <a:pt x="304" y="24"/>
                        <a:pt x="304" y="24"/>
                      </a:cubicBezTo>
                      <a:cubicBezTo>
                        <a:pt x="303" y="24"/>
                        <a:pt x="303" y="24"/>
                        <a:pt x="303" y="24"/>
                      </a:cubicBezTo>
                      <a:cubicBezTo>
                        <a:pt x="303" y="23"/>
                        <a:pt x="303" y="23"/>
                        <a:pt x="303" y="23"/>
                      </a:cubicBezTo>
                      <a:close/>
                      <a:moveTo>
                        <a:pt x="304" y="61"/>
                      </a:moveTo>
                      <a:cubicBezTo>
                        <a:pt x="304" y="60"/>
                        <a:pt x="304" y="60"/>
                        <a:pt x="304" y="60"/>
                      </a:cubicBezTo>
                      <a:cubicBezTo>
                        <a:pt x="304" y="60"/>
                        <a:pt x="304" y="60"/>
                        <a:pt x="304" y="60"/>
                      </a:cubicBezTo>
                      <a:cubicBezTo>
                        <a:pt x="304" y="59"/>
                        <a:pt x="304" y="59"/>
                        <a:pt x="304" y="59"/>
                      </a:cubicBezTo>
                      <a:cubicBezTo>
                        <a:pt x="305" y="59"/>
                        <a:pt x="305" y="59"/>
                        <a:pt x="305" y="59"/>
                      </a:cubicBezTo>
                      <a:cubicBezTo>
                        <a:pt x="305" y="59"/>
                        <a:pt x="305" y="59"/>
                        <a:pt x="305" y="59"/>
                      </a:cubicBezTo>
                      <a:cubicBezTo>
                        <a:pt x="305" y="60"/>
                        <a:pt x="305" y="60"/>
                        <a:pt x="305" y="60"/>
                      </a:cubicBezTo>
                      <a:cubicBezTo>
                        <a:pt x="305" y="60"/>
                        <a:pt x="305" y="60"/>
                        <a:pt x="305" y="60"/>
                      </a:cubicBezTo>
                      <a:cubicBezTo>
                        <a:pt x="304" y="61"/>
                        <a:pt x="304" y="61"/>
                        <a:pt x="304" y="61"/>
                      </a:cubicBezTo>
                      <a:cubicBezTo>
                        <a:pt x="304" y="61"/>
                        <a:pt x="304" y="61"/>
                        <a:pt x="304" y="61"/>
                      </a:cubicBezTo>
                      <a:close/>
                      <a:moveTo>
                        <a:pt x="314" y="53"/>
                      </a:moveTo>
                      <a:cubicBezTo>
                        <a:pt x="315" y="51"/>
                        <a:pt x="315" y="51"/>
                        <a:pt x="315" y="51"/>
                      </a:cubicBezTo>
                      <a:cubicBezTo>
                        <a:pt x="315" y="51"/>
                        <a:pt x="315" y="51"/>
                        <a:pt x="315" y="51"/>
                      </a:cubicBezTo>
                      <a:cubicBezTo>
                        <a:pt x="316" y="51"/>
                        <a:pt x="316" y="51"/>
                        <a:pt x="316" y="51"/>
                      </a:cubicBezTo>
                      <a:cubicBezTo>
                        <a:pt x="317" y="51"/>
                        <a:pt x="317" y="51"/>
                        <a:pt x="317" y="51"/>
                      </a:cubicBezTo>
                      <a:cubicBezTo>
                        <a:pt x="318" y="52"/>
                        <a:pt x="318" y="52"/>
                        <a:pt x="318" y="52"/>
                      </a:cubicBezTo>
                      <a:cubicBezTo>
                        <a:pt x="318" y="53"/>
                        <a:pt x="318" y="53"/>
                        <a:pt x="318" y="53"/>
                      </a:cubicBezTo>
                      <a:cubicBezTo>
                        <a:pt x="316" y="53"/>
                        <a:pt x="316" y="53"/>
                        <a:pt x="316" y="53"/>
                      </a:cubicBezTo>
                      <a:cubicBezTo>
                        <a:pt x="316" y="53"/>
                        <a:pt x="316" y="53"/>
                        <a:pt x="316" y="53"/>
                      </a:cubicBezTo>
                      <a:cubicBezTo>
                        <a:pt x="314" y="53"/>
                        <a:pt x="314" y="53"/>
                        <a:pt x="314" y="53"/>
                      </a:cubicBezTo>
                      <a:cubicBezTo>
                        <a:pt x="314" y="53"/>
                        <a:pt x="314" y="53"/>
                        <a:pt x="314" y="53"/>
                      </a:cubicBezTo>
                      <a:cubicBezTo>
                        <a:pt x="314" y="53"/>
                        <a:pt x="314" y="53"/>
                        <a:pt x="314" y="53"/>
                      </a:cubicBezTo>
                      <a:close/>
                      <a:moveTo>
                        <a:pt x="385" y="2"/>
                      </a:moveTo>
                      <a:cubicBezTo>
                        <a:pt x="386" y="1"/>
                        <a:pt x="386" y="1"/>
                        <a:pt x="386" y="1"/>
                      </a:cubicBezTo>
                      <a:cubicBezTo>
                        <a:pt x="386" y="1"/>
                        <a:pt x="386" y="1"/>
                        <a:pt x="386" y="1"/>
                      </a:cubicBezTo>
                      <a:cubicBezTo>
                        <a:pt x="387" y="2"/>
                        <a:pt x="387" y="2"/>
                        <a:pt x="387" y="2"/>
                      </a:cubicBezTo>
                      <a:cubicBezTo>
                        <a:pt x="386" y="2"/>
                        <a:pt x="386" y="2"/>
                        <a:pt x="386" y="2"/>
                      </a:cubicBezTo>
                      <a:cubicBezTo>
                        <a:pt x="385" y="2"/>
                        <a:pt x="385" y="2"/>
                        <a:pt x="385" y="2"/>
                      </a:cubicBezTo>
                      <a:close/>
                      <a:moveTo>
                        <a:pt x="351" y="63"/>
                      </a:moveTo>
                      <a:cubicBezTo>
                        <a:pt x="350" y="63"/>
                        <a:pt x="350" y="63"/>
                        <a:pt x="350" y="63"/>
                      </a:cubicBezTo>
                      <a:cubicBezTo>
                        <a:pt x="351" y="64"/>
                        <a:pt x="351" y="64"/>
                        <a:pt x="351" y="64"/>
                      </a:cubicBezTo>
                      <a:cubicBezTo>
                        <a:pt x="352" y="64"/>
                        <a:pt x="352" y="64"/>
                        <a:pt x="352" y="64"/>
                      </a:cubicBezTo>
                      <a:cubicBezTo>
                        <a:pt x="352" y="63"/>
                        <a:pt x="352" y="63"/>
                        <a:pt x="352" y="63"/>
                      </a:cubicBezTo>
                      <a:cubicBezTo>
                        <a:pt x="351" y="63"/>
                        <a:pt x="351" y="63"/>
                        <a:pt x="351" y="63"/>
                      </a:cubicBezTo>
                      <a:cubicBezTo>
                        <a:pt x="351" y="63"/>
                        <a:pt x="351" y="63"/>
                        <a:pt x="351" y="63"/>
                      </a:cubicBezTo>
                      <a:close/>
                      <a:moveTo>
                        <a:pt x="334" y="72"/>
                      </a:moveTo>
                      <a:cubicBezTo>
                        <a:pt x="334" y="73"/>
                        <a:pt x="334" y="73"/>
                        <a:pt x="334" y="73"/>
                      </a:cubicBezTo>
                      <a:cubicBezTo>
                        <a:pt x="335" y="73"/>
                        <a:pt x="335" y="73"/>
                        <a:pt x="335" y="73"/>
                      </a:cubicBezTo>
                      <a:cubicBezTo>
                        <a:pt x="334" y="72"/>
                        <a:pt x="334" y="72"/>
                        <a:pt x="334" y="72"/>
                      </a:cubicBezTo>
                      <a:cubicBezTo>
                        <a:pt x="334" y="72"/>
                        <a:pt x="334" y="72"/>
                        <a:pt x="334" y="72"/>
                      </a:cubicBezTo>
                      <a:close/>
                      <a:moveTo>
                        <a:pt x="309" y="72"/>
                      </a:moveTo>
                      <a:cubicBezTo>
                        <a:pt x="309" y="71"/>
                        <a:pt x="309" y="71"/>
                        <a:pt x="309" y="71"/>
                      </a:cubicBezTo>
                      <a:cubicBezTo>
                        <a:pt x="309" y="70"/>
                        <a:pt x="309" y="70"/>
                        <a:pt x="309" y="70"/>
                      </a:cubicBezTo>
                      <a:cubicBezTo>
                        <a:pt x="310" y="70"/>
                        <a:pt x="310" y="70"/>
                        <a:pt x="310" y="70"/>
                      </a:cubicBezTo>
                      <a:cubicBezTo>
                        <a:pt x="310" y="71"/>
                        <a:pt x="310" y="71"/>
                        <a:pt x="310" y="71"/>
                      </a:cubicBezTo>
                      <a:cubicBezTo>
                        <a:pt x="310" y="72"/>
                        <a:pt x="310" y="72"/>
                        <a:pt x="310" y="72"/>
                      </a:cubicBezTo>
                      <a:cubicBezTo>
                        <a:pt x="310" y="72"/>
                        <a:pt x="310" y="72"/>
                        <a:pt x="310" y="72"/>
                      </a:cubicBezTo>
                      <a:cubicBezTo>
                        <a:pt x="309" y="72"/>
                        <a:pt x="309" y="72"/>
                        <a:pt x="309" y="72"/>
                      </a:cubicBezTo>
                      <a:close/>
                      <a:moveTo>
                        <a:pt x="303" y="85"/>
                      </a:moveTo>
                      <a:cubicBezTo>
                        <a:pt x="302" y="85"/>
                        <a:pt x="302" y="85"/>
                        <a:pt x="302" y="85"/>
                      </a:cubicBezTo>
                      <a:cubicBezTo>
                        <a:pt x="302" y="84"/>
                        <a:pt x="302" y="84"/>
                        <a:pt x="302" y="84"/>
                      </a:cubicBezTo>
                      <a:cubicBezTo>
                        <a:pt x="302" y="83"/>
                        <a:pt x="302" y="83"/>
                        <a:pt x="302" y="83"/>
                      </a:cubicBezTo>
                      <a:cubicBezTo>
                        <a:pt x="302" y="83"/>
                        <a:pt x="302" y="83"/>
                        <a:pt x="302" y="83"/>
                      </a:cubicBezTo>
                      <a:cubicBezTo>
                        <a:pt x="302" y="83"/>
                        <a:pt x="302" y="83"/>
                        <a:pt x="302" y="83"/>
                      </a:cubicBezTo>
                      <a:cubicBezTo>
                        <a:pt x="301" y="84"/>
                        <a:pt x="301" y="84"/>
                        <a:pt x="301" y="84"/>
                      </a:cubicBezTo>
                      <a:cubicBezTo>
                        <a:pt x="301" y="85"/>
                        <a:pt x="301" y="85"/>
                        <a:pt x="301" y="85"/>
                      </a:cubicBezTo>
                      <a:cubicBezTo>
                        <a:pt x="302" y="86"/>
                        <a:pt x="302" y="86"/>
                        <a:pt x="302" y="86"/>
                      </a:cubicBezTo>
                      <a:cubicBezTo>
                        <a:pt x="302" y="87"/>
                        <a:pt x="302" y="87"/>
                        <a:pt x="302" y="87"/>
                      </a:cubicBezTo>
                      <a:cubicBezTo>
                        <a:pt x="301" y="87"/>
                        <a:pt x="301" y="87"/>
                        <a:pt x="301" y="87"/>
                      </a:cubicBezTo>
                      <a:cubicBezTo>
                        <a:pt x="301" y="87"/>
                        <a:pt x="301" y="87"/>
                        <a:pt x="301" y="87"/>
                      </a:cubicBezTo>
                      <a:cubicBezTo>
                        <a:pt x="299" y="87"/>
                        <a:pt x="299" y="87"/>
                        <a:pt x="299" y="87"/>
                      </a:cubicBezTo>
                      <a:cubicBezTo>
                        <a:pt x="299" y="86"/>
                        <a:pt x="299" y="86"/>
                        <a:pt x="299" y="86"/>
                      </a:cubicBezTo>
                      <a:cubicBezTo>
                        <a:pt x="298" y="86"/>
                        <a:pt x="298" y="86"/>
                        <a:pt x="298" y="86"/>
                      </a:cubicBezTo>
                      <a:cubicBezTo>
                        <a:pt x="297" y="85"/>
                        <a:pt x="297" y="85"/>
                        <a:pt x="297" y="85"/>
                      </a:cubicBezTo>
                      <a:cubicBezTo>
                        <a:pt x="296" y="85"/>
                        <a:pt x="296" y="85"/>
                        <a:pt x="296" y="85"/>
                      </a:cubicBezTo>
                      <a:cubicBezTo>
                        <a:pt x="296" y="85"/>
                        <a:pt x="296" y="85"/>
                        <a:pt x="296" y="85"/>
                      </a:cubicBezTo>
                      <a:cubicBezTo>
                        <a:pt x="296" y="84"/>
                        <a:pt x="296" y="84"/>
                        <a:pt x="296" y="84"/>
                      </a:cubicBezTo>
                      <a:cubicBezTo>
                        <a:pt x="295" y="84"/>
                        <a:pt x="295" y="84"/>
                        <a:pt x="295" y="84"/>
                      </a:cubicBezTo>
                      <a:cubicBezTo>
                        <a:pt x="295" y="84"/>
                        <a:pt x="295" y="84"/>
                        <a:pt x="295" y="84"/>
                      </a:cubicBezTo>
                      <a:cubicBezTo>
                        <a:pt x="296" y="83"/>
                        <a:pt x="296" y="83"/>
                        <a:pt x="296" y="83"/>
                      </a:cubicBezTo>
                      <a:cubicBezTo>
                        <a:pt x="296" y="83"/>
                        <a:pt x="296" y="83"/>
                        <a:pt x="296" y="83"/>
                      </a:cubicBezTo>
                      <a:cubicBezTo>
                        <a:pt x="297" y="82"/>
                        <a:pt x="297" y="82"/>
                        <a:pt x="297" y="82"/>
                      </a:cubicBezTo>
                      <a:cubicBezTo>
                        <a:pt x="297" y="82"/>
                        <a:pt x="297" y="82"/>
                        <a:pt x="297" y="82"/>
                      </a:cubicBezTo>
                      <a:cubicBezTo>
                        <a:pt x="296" y="81"/>
                        <a:pt x="296" y="81"/>
                        <a:pt x="296" y="81"/>
                      </a:cubicBezTo>
                      <a:cubicBezTo>
                        <a:pt x="296" y="81"/>
                        <a:pt x="296" y="81"/>
                        <a:pt x="296" y="81"/>
                      </a:cubicBezTo>
                      <a:cubicBezTo>
                        <a:pt x="296" y="81"/>
                        <a:pt x="296" y="81"/>
                        <a:pt x="296" y="81"/>
                      </a:cubicBezTo>
                      <a:cubicBezTo>
                        <a:pt x="296" y="82"/>
                        <a:pt x="296" y="82"/>
                        <a:pt x="296" y="82"/>
                      </a:cubicBezTo>
                      <a:cubicBezTo>
                        <a:pt x="296" y="82"/>
                        <a:pt x="296" y="82"/>
                        <a:pt x="296" y="82"/>
                      </a:cubicBezTo>
                      <a:cubicBezTo>
                        <a:pt x="296" y="83"/>
                        <a:pt x="296" y="83"/>
                        <a:pt x="296" y="83"/>
                      </a:cubicBezTo>
                      <a:cubicBezTo>
                        <a:pt x="295" y="83"/>
                        <a:pt x="295" y="83"/>
                        <a:pt x="295" y="83"/>
                      </a:cubicBezTo>
                      <a:cubicBezTo>
                        <a:pt x="295" y="83"/>
                        <a:pt x="295" y="83"/>
                        <a:pt x="295" y="83"/>
                      </a:cubicBezTo>
                      <a:cubicBezTo>
                        <a:pt x="295" y="83"/>
                        <a:pt x="295" y="83"/>
                        <a:pt x="295" y="83"/>
                      </a:cubicBezTo>
                      <a:cubicBezTo>
                        <a:pt x="295" y="84"/>
                        <a:pt x="295" y="84"/>
                        <a:pt x="295" y="84"/>
                      </a:cubicBezTo>
                      <a:cubicBezTo>
                        <a:pt x="294" y="84"/>
                        <a:pt x="294" y="84"/>
                        <a:pt x="294" y="84"/>
                      </a:cubicBezTo>
                      <a:cubicBezTo>
                        <a:pt x="294" y="84"/>
                        <a:pt x="294" y="84"/>
                        <a:pt x="294" y="84"/>
                      </a:cubicBezTo>
                      <a:cubicBezTo>
                        <a:pt x="293" y="83"/>
                        <a:pt x="293" y="83"/>
                        <a:pt x="293" y="83"/>
                      </a:cubicBezTo>
                      <a:cubicBezTo>
                        <a:pt x="293" y="83"/>
                        <a:pt x="293" y="83"/>
                        <a:pt x="293" y="83"/>
                      </a:cubicBezTo>
                      <a:cubicBezTo>
                        <a:pt x="293" y="82"/>
                        <a:pt x="293" y="82"/>
                        <a:pt x="293" y="82"/>
                      </a:cubicBezTo>
                      <a:cubicBezTo>
                        <a:pt x="294" y="81"/>
                        <a:pt x="294" y="81"/>
                        <a:pt x="294" y="81"/>
                      </a:cubicBezTo>
                      <a:cubicBezTo>
                        <a:pt x="294" y="81"/>
                        <a:pt x="294" y="81"/>
                        <a:pt x="294" y="81"/>
                      </a:cubicBezTo>
                      <a:cubicBezTo>
                        <a:pt x="294" y="80"/>
                        <a:pt x="294" y="80"/>
                        <a:pt x="294" y="80"/>
                      </a:cubicBezTo>
                      <a:cubicBezTo>
                        <a:pt x="293" y="81"/>
                        <a:pt x="293" y="81"/>
                        <a:pt x="293" y="81"/>
                      </a:cubicBezTo>
                      <a:cubicBezTo>
                        <a:pt x="293" y="81"/>
                        <a:pt x="293" y="81"/>
                        <a:pt x="293" y="81"/>
                      </a:cubicBezTo>
                      <a:cubicBezTo>
                        <a:pt x="292" y="82"/>
                        <a:pt x="292" y="82"/>
                        <a:pt x="292" y="82"/>
                      </a:cubicBezTo>
                      <a:cubicBezTo>
                        <a:pt x="293" y="82"/>
                        <a:pt x="293" y="82"/>
                        <a:pt x="293" y="82"/>
                      </a:cubicBezTo>
                      <a:cubicBezTo>
                        <a:pt x="292" y="83"/>
                        <a:pt x="292" y="83"/>
                        <a:pt x="292" y="83"/>
                      </a:cubicBezTo>
                      <a:cubicBezTo>
                        <a:pt x="292" y="83"/>
                        <a:pt x="292" y="83"/>
                        <a:pt x="292" y="83"/>
                      </a:cubicBezTo>
                      <a:cubicBezTo>
                        <a:pt x="291" y="83"/>
                        <a:pt x="291" y="83"/>
                        <a:pt x="291" y="83"/>
                      </a:cubicBezTo>
                      <a:cubicBezTo>
                        <a:pt x="290" y="82"/>
                        <a:pt x="290" y="82"/>
                        <a:pt x="290" y="82"/>
                      </a:cubicBezTo>
                      <a:cubicBezTo>
                        <a:pt x="290" y="82"/>
                        <a:pt x="290" y="82"/>
                        <a:pt x="290" y="82"/>
                      </a:cubicBezTo>
                      <a:cubicBezTo>
                        <a:pt x="291" y="81"/>
                        <a:pt x="291" y="81"/>
                        <a:pt x="291" y="81"/>
                      </a:cubicBezTo>
                      <a:cubicBezTo>
                        <a:pt x="291" y="80"/>
                        <a:pt x="291" y="80"/>
                        <a:pt x="291" y="80"/>
                      </a:cubicBezTo>
                      <a:cubicBezTo>
                        <a:pt x="291" y="80"/>
                        <a:pt x="291" y="80"/>
                        <a:pt x="291" y="80"/>
                      </a:cubicBezTo>
                      <a:cubicBezTo>
                        <a:pt x="291" y="79"/>
                        <a:pt x="291" y="79"/>
                        <a:pt x="291" y="79"/>
                      </a:cubicBezTo>
                      <a:cubicBezTo>
                        <a:pt x="292" y="78"/>
                        <a:pt x="292" y="78"/>
                        <a:pt x="292" y="78"/>
                      </a:cubicBezTo>
                      <a:cubicBezTo>
                        <a:pt x="291" y="78"/>
                        <a:pt x="291" y="78"/>
                        <a:pt x="291" y="78"/>
                      </a:cubicBezTo>
                      <a:cubicBezTo>
                        <a:pt x="291" y="78"/>
                        <a:pt x="291" y="78"/>
                        <a:pt x="291" y="78"/>
                      </a:cubicBezTo>
                      <a:cubicBezTo>
                        <a:pt x="290" y="80"/>
                        <a:pt x="290" y="80"/>
                        <a:pt x="290" y="80"/>
                      </a:cubicBezTo>
                      <a:cubicBezTo>
                        <a:pt x="290" y="81"/>
                        <a:pt x="290" y="81"/>
                        <a:pt x="290" y="81"/>
                      </a:cubicBezTo>
                      <a:cubicBezTo>
                        <a:pt x="290" y="82"/>
                        <a:pt x="290" y="82"/>
                        <a:pt x="290" y="82"/>
                      </a:cubicBezTo>
                      <a:cubicBezTo>
                        <a:pt x="289" y="81"/>
                        <a:pt x="289" y="81"/>
                        <a:pt x="289" y="81"/>
                      </a:cubicBezTo>
                      <a:cubicBezTo>
                        <a:pt x="290" y="81"/>
                        <a:pt x="290" y="81"/>
                        <a:pt x="290" y="81"/>
                      </a:cubicBezTo>
                      <a:cubicBezTo>
                        <a:pt x="290" y="80"/>
                        <a:pt x="290" y="80"/>
                        <a:pt x="290" y="80"/>
                      </a:cubicBezTo>
                      <a:cubicBezTo>
                        <a:pt x="289" y="80"/>
                        <a:pt x="289" y="80"/>
                        <a:pt x="289" y="80"/>
                      </a:cubicBezTo>
                      <a:cubicBezTo>
                        <a:pt x="289" y="82"/>
                        <a:pt x="289" y="82"/>
                        <a:pt x="289" y="82"/>
                      </a:cubicBezTo>
                      <a:cubicBezTo>
                        <a:pt x="288" y="82"/>
                        <a:pt x="288" y="82"/>
                        <a:pt x="288" y="82"/>
                      </a:cubicBezTo>
                      <a:cubicBezTo>
                        <a:pt x="288" y="81"/>
                        <a:pt x="288" y="81"/>
                        <a:pt x="288" y="81"/>
                      </a:cubicBezTo>
                      <a:cubicBezTo>
                        <a:pt x="288" y="80"/>
                        <a:pt x="288" y="80"/>
                        <a:pt x="288" y="80"/>
                      </a:cubicBezTo>
                      <a:cubicBezTo>
                        <a:pt x="287" y="80"/>
                        <a:pt x="287" y="80"/>
                        <a:pt x="287" y="80"/>
                      </a:cubicBezTo>
                      <a:cubicBezTo>
                        <a:pt x="288" y="79"/>
                        <a:pt x="288" y="79"/>
                        <a:pt x="288" y="79"/>
                      </a:cubicBezTo>
                      <a:cubicBezTo>
                        <a:pt x="289" y="78"/>
                        <a:pt x="289" y="78"/>
                        <a:pt x="289" y="78"/>
                      </a:cubicBezTo>
                      <a:cubicBezTo>
                        <a:pt x="289" y="78"/>
                        <a:pt x="289" y="78"/>
                        <a:pt x="289" y="78"/>
                      </a:cubicBezTo>
                      <a:cubicBezTo>
                        <a:pt x="289" y="77"/>
                        <a:pt x="289" y="77"/>
                        <a:pt x="289" y="77"/>
                      </a:cubicBezTo>
                      <a:cubicBezTo>
                        <a:pt x="289" y="77"/>
                        <a:pt x="289" y="77"/>
                        <a:pt x="289" y="77"/>
                      </a:cubicBezTo>
                      <a:cubicBezTo>
                        <a:pt x="290" y="76"/>
                        <a:pt x="290" y="76"/>
                        <a:pt x="290" y="76"/>
                      </a:cubicBezTo>
                      <a:cubicBezTo>
                        <a:pt x="290" y="76"/>
                        <a:pt x="290" y="76"/>
                        <a:pt x="290" y="76"/>
                      </a:cubicBezTo>
                      <a:cubicBezTo>
                        <a:pt x="291" y="76"/>
                        <a:pt x="291" y="76"/>
                        <a:pt x="291" y="76"/>
                      </a:cubicBezTo>
                      <a:cubicBezTo>
                        <a:pt x="292" y="75"/>
                        <a:pt x="292" y="75"/>
                        <a:pt x="292" y="75"/>
                      </a:cubicBezTo>
                      <a:cubicBezTo>
                        <a:pt x="293" y="75"/>
                        <a:pt x="293" y="75"/>
                        <a:pt x="293" y="75"/>
                      </a:cubicBezTo>
                      <a:cubicBezTo>
                        <a:pt x="294" y="75"/>
                        <a:pt x="294" y="75"/>
                        <a:pt x="294" y="75"/>
                      </a:cubicBezTo>
                      <a:cubicBezTo>
                        <a:pt x="294" y="74"/>
                        <a:pt x="294" y="74"/>
                        <a:pt x="294" y="74"/>
                      </a:cubicBezTo>
                      <a:cubicBezTo>
                        <a:pt x="294" y="74"/>
                        <a:pt x="294" y="74"/>
                        <a:pt x="294" y="74"/>
                      </a:cubicBezTo>
                      <a:cubicBezTo>
                        <a:pt x="295" y="74"/>
                        <a:pt x="295" y="74"/>
                        <a:pt x="295" y="74"/>
                      </a:cubicBezTo>
                      <a:cubicBezTo>
                        <a:pt x="295" y="74"/>
                        <a:pt x="295" y="74"/>
                        <a:pt x="295" y="74"/>
                      </a:cubicBezTo>
                      <a:cubicBezTo>
                        <a:pt x="297" y="74"/>
                        <a:pt x="297" y="74"/>
                        <a:pt x="297" y="74"/>
                      </a:cubicBezTo>
                      <a:cubicBezTo>
                        <a:pt x="298" y="74"/>
                        <a:pt x="298" y="74"/>
                        <a:pt x="298" y="74"/>
                      </a:cubicBezTo>
                      <a:cubicBezTo>
                        <a:pt x="299" y="74"/>
                        <a:pt x="299" y="74"/>
                        <a:pt x="299" y="74"/>
                      </a:cubicBezTo>
                      <a:cubicBezTo>
                        <a:pt x="299" y="74"/>
                        <a:pt x="299" y="74"/>
                        <a:pt x="299" y="74"/>
                      </a:cubicBezTo>
                      <a:cubicBezTo>
                        <a:pt x="300" y="75"/>
                        <a:pt x="300" y="75"/>
                        <a:pt x="300" y="75"/>
                      </a:cubicBezTo>
                      <a:cubicBezTo>
                        <a:pt x="301" y="75"/>
                        <a:pt x="301" y="75"/>
                        <a:pt x="301" y="75"/>
                      </a:cubicBezTo>
                      <a:cubicBezTo>
                        <a:pt x="301" y="74"/>
                        <a:pt x="301" y="74"/>
                        <a:pt x="301" y="74"/>
                      </a:cubicBezTo>
                      <a:cubicBezTo>
                        <a:pt x="301" y="74"/>
                        <a:pt x="301" y="74"/>
                        <a:pt x="301" y="74"/>
                      </a:cubicBezTo>
                      <a:cubicBezTo>
                        <a:pt x="302" y="75"/>
                        <a:pt x="302" y="75"/>
                        <a:pt x="302" y="75"/>
                      </a:cubicBezTo>
                      <a:cubicBezTo>
                        <a:pt x="303" y="75"/>
                        <a:pt x="303" y="75"/>
                        <a:pt x="303" y="75"/>
                      </a:cubicBezTo>
                      <a:cubicBezTo>
                        <a:pt x="303" y="75"/>
                        <a:pt x="303" y="75"/>
                        <a:pt x="303" y="75"/>
                      </a:cubicBezTo>
                      <a:cubicBezTo>
                        <a:pt x="304" y="74"/>
                        <a:pt x="304" y="74"/>
                        <a:pt x="304" y="74"/>
                      </a:cubicBezTo>
                      <a:cubicBezTo>
                        <a:pt x="303" y="74"/>
                        <a:pt x="303" y="74"/>
                        <a:pt x="303" y="74"/>
                      </a:cubicBezTo>
                      <a:cubicBezTo>
                        <a:pt x="303" y="74"/>
                        <a:pt x="303" y="74"/>
                        <a:pt x="303" y="74"/>
                      </a:cubicBezTo>
                      <a:cubicBezTo>
                        <a:pt x="302" y="74"/>
                        <a:pt x="302" y="74"/>
                        <a:pt x="302" y="74"/>
                      </a:cubicBezTo>
                      <a:cubicBezTo>
                        <a:pt x="302" y="74"/>
                        <a:pt x="302" y="74"/>
                        <a:pt x="302" y="74"/>
                      </a:cubicBezTo>
                      <a:cubicBezTo>
                        <a:pt x="302" y="73"/>
                        <a:pt x="302" y="73"/>
                        <a:pt x="302" y="73"/>
                      </a:cubicBezTo>
                      <a:cubicBezTo>
                        <a:pt x="302" y="73"/>
                        <a:pt x="302" y="73"/>
                        <a:pt x="302" y="73"/>
                      </a:cubicBezTo>
                      <a:cubicBezTo>
                        <a:pt x="302" y="72"/>
                        <a:pt x="302" y="72"/>
                        <a:pt x="302" y="72"/>
                      </a:cubicBezTo>
                      <a:cubicBezTo>
                        <a:pt x="302" y="72"/>
                        <a:pt x="302" y="72"/>
                        <a:pt x="302" y="72"/>
                      </a:cubicBezTo>
                      <a:cubicBezTo>
                        <a:pt x="302" y="72"/>
                        <a:pt x="302" y="72"/>
                        <a:pt x="302" y="72"/>
                      </a:cubicBezTo>
                      <a:cubicBezTo>
                        <a:pt x="303" y="72"/>
                        <a:pt x="303" y="72"/>
                        <a:pt x="303" y="72"/>
                      </a:cubicBezTo>
                      <a:cubicBezTo>
                        <a:pt x="303" y="72"/>
                        <a:pt x="303" y="72"/>
                        <a:pt x="303" y="72"/>
                      </a:cubicBezTo>
                      <a:cubicBezTo>
                        <a:pt x="302" y="71"/>
                        <a:pt x="302" y="71"/>
                        <a:pt x="302" y="71"/>
                      </a:cubicBezTo>
                      <a:cubicBezTo>
                        <a:pt x="302" y="72"/>
                        <a:pt x="302" y="72"/>
                        <a:pt x="302" y="72"/>
                      </a:cubicBezTo>
                      <a:cubicBezTo>
                        <a:pt x="301" y="72"/>
                        <a:pt x="301" y="72"/>
                        <a:pt x="301" y="72"/>
                      </a:cubicBezTo>
                      <a:cubicBezTo>
                        <a:pt x="301" y="71"/>
                        <a:pt x="301" y="71"/>
                        <a:pt x="301" y="71"/>
                      </a:cubicBezTo>
                      <a:cubicBezTo>
                        <a:pt x="301" y="70"/>
                        <a:pt x="301" y="70"/>
                        <a:pt x="301" y="70"/>
                      </a:cubicBezTo>
                      <a:cubicBezTo>
                        <a:pt x="302" y="70"/>
                        <a:pt x="302" y="70"/>
                        <a:pt x="302" y="70"/>
                      </a:cubicBezTo>
                      <a:cubicBezTo>
                        <a:pt x="302" y="69"/>
                        <a:pt x="302" y="69"/>
                        <a:pt x="302" y="69"/>
                      </a:cubicBezTo>
                      <a:cubicBezTo>
                        <a:pt x="301" y="69"/>
                        <a:pt x="301" y="69"/>
                        <a:pt x="301" y="69"/>
                      </a:cubicBezTo>
                      <a:cubicBezTo>
                        <a:pt x="301" y="69"/>
                        <a:pt x="301" y="69"/>
                        <a:pt x="301" y="69"/>
                      </a:cubicBezTo>
                      <a:cubicBezTo>
                        <a:pt x="301" y="67"/>
                        <a:pt x="301" y="67"/>
                        <a:pt x="301" y="67"/>
                      </a:cubicBezTo>
                      <a:cubicBezTo>
                        <a:pt x="301" y="67"/>
                        <a:pt x="301" y="67"/>
                        <a:pt x="301" y="67"/>
                      </a:cubicBezTo>
                      <a:cubicBezTo>
                        <a:pt x="301" y="66"/>
                        <a:pt x="301" y="66"/>
                        <a:pt x="301" y="66"/>
                      </a:cubicBezTo>
                      <a:cubicBezTo>
                        <a:pt x="301" y="66"/>
                        <a:pt x="301" y="66"/>
                        <a:pt x="301" y="66"/>
                      </a:cubicBezTo>
                      <a:cubicBezTo>
                        <a:pt x="302" y="65"/>
                        <a:pt x="302" y="65"/>
                        <a:pt x="302" y="65"/>
                      </a:cubicBezTo>
                      <a:cubicBezTo>
                        <a:pt x="303" y="65"/>
                        <a:pt x="303" y="65"/>
                        <a:pt x="303" y="65"/>
                      </a:cubicBezTo>
                      <a:cubicBezTo>
                        <a:pt x="304" y="65"/>
                        <a:pt x="304" y="65"/>
                        <a:pt x="304" y="65"/>
                      </a:cubicBezTo>
                      <a:cubicBezTo>
                        <a:pt x="304" y="65"/>
                        <a:pt x="304" y="65"/>
                        <a:pt x="304" y="65"/>
                      </a:cubicBezTo>
                      <a:cubicBezTo>
                        <a:pt x="305" y="65"/>
                        <a:pt x="305" y="65"/>
                        <a:pt x="305" y="65"/>
                      </a:cubicBezTo>
                      <a:cubicBezTo>
                        <a:pt x="306" y="65"/>
                        <a:pt x="306" y="65"/>
                        <a:pt x="306" y="65"/>
                      </a:cubicBezTo>
                      <a:cubicBezTo>
                        <a:pt x="307" y="67"/>
                        <a:pt x="307" y="67"/>
                        <a:pt x="307" y="67"/>
                      </a:cubicBezTo>
                      <a:cubicBezTo>
                        <a:pt x="307" y="68"/>
                        <a:pt x="307" y="68"/>
                        <a:pt x="307" y="68"/>
                      </a:cubicBezTo>
                      <a:cubicBezTo>
                        <a:pt x="307" y="71"/>
                        <a:pt x="307" y="71"/>
                        <a:pt x="307" y="71"/>
                      </a:cubicBezTo>
                      <a:cubicBezTo>
                        <a:pt x="307" y="72"/>
                        <a:pt x="307" y="72"/>
                        <a:pt x="307" y="72"/>
                      </a:cubicBezTo>
                      <a:cubicBezTo>
                        <a:pt x="307" y="72"/>
                        <a:pt x="307" y="72"/>
                        <a:pt x="307" y="72"/>
                      </a:cubicBezTo>
                      <a:cubicBezTo>
                        <a:pt x="308" y="72"/>
                        <a:pt x="308" y="72"/>
                        <a:pt x="308" y="72"/>
                      </a:cubicBezTo>
                      <a:cubicBezTo>
                        <a:pt x="310" y="73"/>
                        <a:pt x="310" y="73"/>
                        <a:pt x="310" y="73"/>
                      </a:cubicBezTo>
                      <a:cubicBezTo>
                        <a:pt x="310" y="74"/>
                        <a:pt x="310" y="74"/>
                        <a:pt x="310" y="74"/>
                      </a:cubicBezTo>
                      <a:cubicBezTo>
                        <a:pt x="311" y="74"/>
                        <a:pt x="311" y="74"/>
                        <a:pt x="311" y="74"/>
                      </a:cubicBezTo>
                      <a:cubicBezTo>
                        <a:pt x="311" y="73"/>
                        <a:pt x="311" y="73"/>
                        <a:pt x="311" y="73"/>
                      </a:cubicBezTo>
                      <a:cubicBezTo>
                        <a:pt x="313" y="73"/>
                        <a:pt x="313" y="73"/>
                        <a:pt x="313" y="73"/>
                      </a:cubicBezTo>
                      <a:cubicBezTo>
                        <a:pt x="314" y="74"/>
                        <a:pt x="314" y="74"/>
                        <a:pt x="314" y="74"/>
                      </a:cubicBezTo>
                      <a:cubicBezTo>
                        <a:pt x="315" y="74"/>
                        <a:pt x="315" y="74"/>
                        <a:pt x="315" y="74"/>
                      </a:cubicBezTo>
                      <a:cubicBezTo>
                        <a:pt x="314" y="73"/>
                        <a:pt x="314" y="73"/>
                        <a:pt x="314" y="73"/>
                      </a:cubicBezTo>
                      <a:cubicBezTo>
                        <a:pt x="315" y="73"/>
                        <a:pt x="315" y="73"/>
                        <a:pt x="315" y="73"/>
                      </a:cubicBezTo>
                      <a:cubicBezTo>
                        <a:pt x="316" y="72"/>
                        <a:pt x="316" y="72"/>
                        <a:pt x="316" y="72"/>
                      </a:cubicBezTo>
                      <a:cubicBezTo>
                        <a:pt x="317" y="71"/>
                        <a:pt x="317" y="71"/>
                        <a:pt x="317" y="71"/>
                      </a:cubicBezTo>
                      <a:cubicBezTo>
                        <a:pt x="319" y="70"/>
                        <a:pt x="319" y="70"/>
                        <a:pt x="319" y="70"/>
                      </a:cubicBezTo>
                      <a:cubicBezTo>
                        <a:pt x="321" y="69"/>
                        <a:pt x="321" y="69"/>
                        <a:pt x="321" y="69"/>
                      </a:cubicBezTo>
                      <a:cubicBezTo>
                        <a:pt x="321" y="68"/>
                        <a:pt x="321" y="68"/>
                        <a:pt x="321" y="68"/>
                      </a:cubicBezTo>
                      <a:cubicBezTo>
                        <a:pt x="321" y="67"/>
                        <a:pt x="321" y="67"/>
                        <a:pt x="321" y="67"/>
                      </a:cubicBezTo>
                      <a:cubicBezTo>
                        <a:pt x="321" y="67"/>
                        <a:pt x="321" y="67"/>
                        <a:pt x="321" y="67"/>
                      </a:cubicBezTo>
                      <a:cubicBezTo>
                        <a:pt x="320" y="68"/>
                        <a:pt x="320" y="68"/>
                        <a:pt x="320" y="68"/>
                      </a:cubicBezTo>
                      <a:cubicBezTo>
                        <a:pt x="320" y="68"/>
                        <a:pt x="320" y="68"/>
                        <a:pt x="320" y="68"/>
                      </a:cubicBezTo>
                      <a:cubicBezTo>
                        <a:pt x="318" y="70"/>
                        <a:pt x="318" y="70"/>
                        <a:pt x="318" y="70"/>
                      </a:cubicBezTo>
                      <a:cubicBezTo>
                        <a:pt x="317" y="70"/>
                        <a:pt x="317" y="70"/>
                        <a:pt x="317" y="70"/>
                      </a:cubicBezTo>
                      <a:cubicBezTo>
                        <a:pt x="317" y="71"/>
                        <a:pt x="317" y="71"/>
                        <a:pt x="317" y="71"/>
                      </a:cubicBezTo>
                      <a:cubicBezTo>
                        <a:pt x="316" y="72"/>
                        <a:pt x="316" y="72"/>
                        <a:pt x="316" y="72"/>
                      </a:cubicBezTo>
                      <a:cubicBezTo>
                        <a:pt x="314" y="72"/>
                        <a:pt x="314" y="72"/>
                        <a:pt x="314" y="72"/>
                      </a:cubicBezTo>
                      <a:cubicBezTo>
                        <a:pt x="314" y="72"/>
                        <a:pt x="314" y="72"/>
                        <a:pt x="314" y="72"/>
                      </a:cubicBezTo>
                      <a:cubicBezTo>
                        <a:pt x="313" y="72"/>
                        <a:pt x="313" y="72"/>
                        <a:pt x="313" y="72"/>
                      </a:cubicBezTo>
                      <a:cubicBezTo>
                        <a:pt x="313" y="72"/>
                        <a:pt x="313" y="72"/>
                        <a:pt x="313" y="72"/>
                      </a:cubicBezTo>
                      <a:cubicBezTo>
                        <a:pt x="312" y="72"/>
                        <a:pt x="312" y="72"/>
                        <a:pt x="312" y="72"/>
                      </a:cubicBezTo>
                      <a:cubicBezTo>
                        <a:pt x="311" y="72"/>
                        <a:pt x="311" y="72"/>
                        <a:pt x="311" y="72"/>
                      </a:cubicBezTo>
                      <a:cubicBezTo>
                        <a:pt x="311" y="71"/>
                        <a:pt x="311" y="71"/>
                        <a:pt x="311" y="71"/>
                      </a:cubicBezTo>
                      <a:cubicBezTo>
                        <a:pt x="312" y="71"/>
                        <a:pt x="312" y="71"/>
                        <a:pt x="312" y="71"/>
                      </a:cubicBezTo>
                      <a:cubicBezTo>
                        <a:pt x="312" y="70"/>
                        <a:pt x="312" y="70"/>
                        <a:pt x="312" y="70"/>
                      </a:cubicBezTo>
                      <a:cubicBezTo>
                        <a:pt x="313" y="69"/>
                        <a:pt x="313" y="69"/>
                        <a:pt x="313" y="69"/>
                      </a:cubicBezTo>
                      <a:cubicBezTo>
                        <a:pt x="312" y="70"/>
                        <a:pt x="312" y="70"/>
                        <a:pt x="312" y="70"/>
                      </a:cubicBezTo>
                      <a:cubicBezTo>
                        <a:pt x="311" y="70"/>
                        <a:pt x="311" y="70"/>
                        <a:pt x="311" y="70"/>
                      </a:cubicBezTo>
                      <a:cubicBezTo>
                        <a:pt x="310" y="70"/>
                        <a:pt x="310" y="70"/>
                        <a:pt x="310" y="70"/>
                      </a:cubicBezTo>
                      <a:cubicBezTo>
                        <a:pt x="310" y="69"/>
                        <a:pt x="310" y="69"/>
                        <a:pt x="310" y="69"/>
                      </a:cubicBezTo>
                      <a:cubicBezTo>
                        <a:pt x="310" y="69"/>
                        <a:pt x="310" y="69"/>
                        <a:pt x="310" y="69"/>
                      </a:cubicBezTo>
                      <a:cubicBezTo>
                        <a:pt x="310" y="69"/>
                        <a:pt x="310" y="69"/>
                        <a:pt x="310" y="69"/>
                      </a:cubicBezTo>
                      <a:cubicBezTo>
                        <a:pt x="311" y="69"/>
                        <a:pt x="311" y="69"/>
                        <a:pt x="311" y="69"/>
                      </a:cubicBezTo>
                      <a:cubicBezTo>
                        <a:pt x="311" y="68"/>
                        <a:pt x="311" y="68"/>
                        <a:pt x="311" y="68"/>
                      </a:cubicBezTo>
                      <a:cubicBezTo>
                        <a:pt x="310" y="68"/>
                        <a:pt x="310" y="68"/>
                        <a:pt x="310" y="68"/>
                      </a:cubicBezTo>
                      <a:cubicBezTo>
                        <a:pt x="310" y="68"/>
                        <a:pt x="310" y="68"/>
                        <a:pt x="310" y="68"/>
                      </a:cubicBezTo>
                      <a:cubicBezTo>
                        <a:pt x="311" y="68"/>
                        <a:pt x="311" y="68"/>
                        <a:pt x="311" y="68"/>
                      </a:cubicBezTo>
                      <a:cubicBezTo>
                        <a:pt x="312" y="68"/>
                        <a:pt x="312" y="68"/>
                        <a:pt x="312" y="68"/>
                      </a:cubicBezTo>
                      <a:cubicBezTo>
                        <a:pt x="312" y="68"/>
                        <a:pt x="312" y="68"/>
                        <a:pt x="312" y="68"/>
                      </a:cubicBezTo>
                      <a:cubicBezTo>
                        <a:pt x="312" y="67"/>
                        <a:pt x="312" y="67"/>
                        <a:pt x="312" y="67"/>
                      </a:cubicBezTo>
                      <a:cubicBezTo>
                        <a:pt x="312" y="67"/>
                        <a:pt x="312" y="67"/>
                        <a:pt x="312" y="67"/>
                      </a:cubicBezTo>
                      <a:cubicBezTo>
                        <a:pt x="311" y="67"/>
                        <a:pt x="311" y="67"/>
                        <a:pt x="311" y="67"/>
                      </a:cubicBezTo>
                      <a:cubicBezTo>
                        <a:pt x="311" y="67"/>
                        <a:pt x="311" y="67"/>
                        <a:pt x="311" y="67"/>
                      </a:cubicBezTo>
                      <a:cubicBezTo>
                        <a:pt x="310" y="67"/>
                        <a:pt x="310" y="67"/>
                        <a:pt x="310" y="67"/>
                      </a:cubicBezTo>
                      <a:cubicBezTo>
                        <a:pt x="310" y="67"/>
                        <a:pt x="310" y="67"/>
                        <a:pt x="310" y="67"/>
                      </a:cubicBezTo>
                      <a:cubicBezTo>
                        <a:pt x="310" y="66"/>
                        <a:pt x="310" y="66"/>
                        <a:pt x="310" y="66"/>
                      </a:cubicBezTo>
                      <a:cubicBezTo>
                        <a:pt x="311" y="66"/>
                        <a:pt x="311" y="66"/>
                        <a:pt x="311" y="66"/>
                      </a:cubicBezTo>
                      <a:cubicBezTo>
                        <a:pt x="311" y="66"/>
                        <a:pt x="311" y="66"/>
                        <a:pt x="311" y="66"/>
                      </a:cubicBezTo>
                      <a:cubicBezTo>
                        <a:pt x="312" y="66"/>
                        <a:pt x="312" y="66"/>
                        <a:pt x="312" y="66"/>
                      </a:cubicBezTo>
                      <a:cubicBezTo>
                        <a:pt x="313" y="66"/>
                        <a:pt x="313" y="66"/>
                        <a:pt x="313" y="66"/>
                      </a:cubicBezTo>
                      <a:cubicBezTo>
                        <a:pt x="314" y="66"/>
                        <a:pt x="314" y="66"/>
                        <a:pt x="314" y="66"/>
                      </a:cubicBezTo>
                      <a:cubicBezTo>
                        <a:pt x="313" y="66"/>
                        <a:pt x="313" y="66"/>
                        <a:pt x="313" y="66"/>
                      </a:cubicBezTo>
                      <a:cubicBezTo>
                        <a:pt x="313" y="65"/>
                        <a:pt x="313" y="65"/>
                        <a:pt x="313" y="65"/>
                      </a:cubicBezTo>
                      <a:cubicBezTo>
                        <a:pt x="314" y="64"/>
                        <a:pt x="314" y="64"/>
                        <a:pt x="314" y="64"/>
                      </a:cubicBezTo>
                      <a:cubicBezTo>
                        <a:pt x="314" y="64"/>
                        <a:pt x="314" y="64"/>
                        <a:pt x="314" y="64"/>
                      </a:cubicBezTo>
                      <a:cubicBezTo>
                        <a:pt x="315" y="64"/>
                        <a:pt x="315" y="64"/>
                        <a:pt x="315" y="64"/>
                      </a:cubicBezTo>
                      <a:cubicBezTo>
                        <a:pt x="314" y="64"/>
                        <a:pt x="314" y="64"/>
                        <a:pt x="314" y="64"/>
                      </a:cubicBezTo>
                      <a:cubicBezTo>
                        <a:pt x="314" y="64"/>
                        <a:pt x="314" y="64"/>
                        <a:pt x="314" y="64"/>
                      </a:cubicBezTo>
                      <a:cubicBezTo>
                        <a:pt x="314" y="63"/>
                        <a:pt x="314" y="63"/>
                        <a:pt x="314" y="63"/>
                      </a:cubicBezTo>
                      <a:cubicBezTo>
                        <a:pt x="315" y="63"/>
                        <a:pt x="315" y="63"/>
                        <a:pt x="315" y="63"/>
                      </a:cubicBezTo>
                      <a:cubicBezTo>
                        <a:pt x="315" y="62"/>
                        <a:pt x="315" y="62"/>
                        <a:pt x="315" y="62"/>
                      </a:cubicBezTo>
                      <a:cubicBezTo>
                        <a:pt x="316" y="60"/>
                        <a:pt x="316" y="60"/>
                        <a:pt x="316" y="60"/>
                      </a:cubicBezTo>
                      <a:cubicBezTo>
                        <a:pt x="317" y="60"/>
                        <a:pt x="317" y="60"/>
                        <a:pt x="317" y="60"/>
                      </a:cubicBezTo>
                      <a:cubicBezTo>
                        <a:pt x="317" y="59"/>
                        <a:pt x="317" y="59"/>
                        <a:pt x="317" y="59"/>
                      </a:cubicBezTo>
                      <a:cubicBezTo>
                        <a:pt x="316" y="59"/>
                        <a:pt x="316" y="59"/>
                        <a:pt x="316" y="59"/>
                      </a:cubicBezTo>
                      <a:cubicBezTo>
                        <a:pt x="315" y="61"/>
                        <a:pt x="315" y="61"/>
                        <a:pt x="315" y="61"/>
                      </a:cubicBezTo>
                      <a:cubicBezTo>
                        <a:pt x="314" y="63"/>
                        <a:pt x="314" y="63"/>
                        <a:pt x="314" y="63"/>
                      </a:cubicBezTo>
                      <a:cubicBezTo>
                        <a:pt x="312" y="64"/>
                        <a:pt x="312" y="64"/>
                        <a:pt x="312" y="64"/>
                      </a:cubicBezTo>
                      <a:cubicBezTo>
                        <a:pt x="311" y="65"/>
                        <a:pt x="311" y="65"/>
                        <a:pt x="311" y="65"/>
                      </a:cubicBezTo>
                      <a:cubicBezTo>
                        <a:pt x="311" y="65"/>
                        <a:pt x="311" y="65"/>
                        <a:pt x="311" y="65"/>
                      </a:cubicBezTo>
                      <a:cubicBezTo>
                        <a:pt x="309" y="65"/>
                        <a:pt x="309" y="65"/>
                        <a:pt x="309" y="65"/>
                      </a:cubicBezTo>
                      <a:cubicBezTo>
                        <a:pt x="309" y="64"/>
                        <a:pt x="309" y="64"/>
                        <a:pt x="309" y="64"/>
                      </a:cubicBezTo>
                      <a:cubicBezTo>
                        <a:pt x="310" y="63"/>
                        <a:pt x="310" y="63"/>
                        <a:pt x="310" y="63"/>
                      </a:cubicBezTo>
                      <a:cubicBezTo>
                        <a:pt x="311" y="63"/>
                        <a:pt x="311" y="63"/>
                        <a:pt x="311" y="63"/>
                      </a:cubicBezTo>
                      <a:cubicBezTo>
                        <a:pt x="311" y="62"/>
                        <a:pt x="311" y="62"/>
                        <a:pt x="311" y="62"/>
                      </a:cubicBezTo>
                      <a:cubicBezTo>
                        <a:pt x="309" y="63"/>
                        <a:pt x="309" y="63"/>
                        <a:pt x="309" y="63"/>
                      </a:cubicBezTo>
                      <a:cubicBezTo>
                        <a:pt x="308" y="63"/>
                        <a:pt x="308" y="63"/>
                        <a:pt x="308" y="63"/>
                      </a:cubicBezTo>
                      <a:cubicBezTo>
                        <a:pt x="308" y="63"/>
                        <a:pt x="308" y="63"/>
                        <a:pt x="308" y="63"/>
                      </a:cubicBezTo>
                      <a:cubicBezTo>
                        <a:pt x="307" y="64"/>
                        <a:pt x="307" y="64"/>
                        <a:pt x="307" y="64"/>
                      </a:cubicBezTo>
                      <a:cubicBezTo>
                        <a:pt x="306" y="64"/>
                        <a:pt x="306" y="64"/>
                        <a:pt x="306" y="64"/>
                      </a:cubicBezTo>
                      <a:cubicBezTo>
                        <a:pt x="305" y="63"/>
                        <a:pt x="305" y="63"/>
                        <a:pt x="305" y="63"/>
                      </a:cubicBezTo>
                      <a:cubicBezTo>
                        <a:pt x="306" y="62"/>
                        <a:pt x="306" y="62"/>
                        <a:pt x="306" y="62"/>
                      </a:cubicBezTo>
                      <a:cubicBezTo>
                        <a:pt x="306" y="62"/>
                        <a:pt x="306" y="62"/>
                        <a:pt x="306" y="62"/>
                      </a:cubicBezTo>
                      <a:cubicBezTo>
                        <a:pt x="306" y="62"/>
                        <a:pt x="306" y="62"/>
                        <a:pt x="306" y="62"/>
                      </a:cubicBezTo>
                      <a:cubicBezTo>
                        <a:pt x="306" y="62"/>
                        <a:pt x="306" y="62"/>
                        <a:pt x="306" y="62"/>
                      </a:cubicBezTo>
                      <a:cubicBezTo>
                        <a:pt x="306" y="61"/>
                        <a:pt x="306" y="61"/>
                        <a:pt x="306" y="61"/>
                      </a:cubicBezTo>
                      <a:cubicBezTo>
                        <a:pt x="307" y="60"/>
                        <a:pt x="307" y="60"/>
                        <a:pt x="307" y="60"/>
                      </a:cubicBezTo>
                      <a:cubicBezTo>
                        <a:pt x="307" y="59"/>
                        <a:pt x="307" y="59"/>
                        <a:pt x="307" y="59"/>
                      </a:cubicBezTo>
                      <a:cubicBezTo>
                        <a:pt x="308" y="59"/>
                        <a:pt x="308" y="59"/>
                        <a:pt x="308" y="59"/>
                      </a:cubicBezTo>
                      <a:cubicBezTo>
                        <a:pt x="309" y="58"/>
                        <a:pt x="309" y="58"/>
                        <a:pt x="309" y="58"/>
                      </a:cubicBezTo>
                      <a:cubicBezTo>
                        <a:pt x="310" y="58"/>
                        <a:pt x="310" y="58"/>
                        <a:pt x="310" y="58"/>
                      </a:cubicBezTo>
                      <a:cubicBezTo>
                        <a:pt x="310" y="57"/>
                        <a:pt x="310" y="57"/>
                        <a:pt x="310" y="57"/>
                      </a:cubicBezTo>
                      <a:cubicBezTo>
                        <a:pt x="311" y="56"/>
                        <a:pt x="311" y="56"/>
                        <a:pt x="311" y="56"/>
                      </a:cubicBezTo>
                      <a:cubicBezTo>
                        <a:pt x="312" y="55"/>
                        <a:pt x="312" y="55"/>
                        <a:pt x="312" y="55"/>
                      </a:cubicBezTo>
                      <a:cubicBezTo>
                        <a:pt x="313" y="55"/>
                        <a:pt x="313" y="55"/>
                        <a:pt x="313" y="55"/>
                      </a:cubicBezTo>
                      <a:cubicBezTo>
                        <a:pt x="314" y="55"/>
                        <a:pt x="314" y="55"/>
                        <a:pt x="314" y="55"/>
                      </a:cubicBezTo>
                      <a:cubicBezTo>
                        <a:pt x="316" y="55"/>
                        <a:pt x="316" y="55"/>
                        <a:pt x="316" y="55"/>
                      </a:cubicBezTo>
                      <a:cubicBezTo>
                        <a:pt x="317" y="54"/>
                        <a:pt x="317" y="54"/>
                        <a:pt x="317" y="54"/>
                      </a:cubicBezTo>
                      <a:cubicBezTo>
                        <a:pt x="317" y="55"/>
                        <a:pt x="317" y="55"/>
                        <a:pt x="317" y="55"/>
                      </a:cubicBezTo>
                      <a:cubicBezTo>
                        <a:pt x="318" y="54"/>
                        <a:pt x="318" y="54"/>
                        <a:pt x="318" y="54"/>
                      </a:cubicBezTo>
                      <a:cubicBezTo>
                        <a:pt x="319" y="54"/>
                        <a:pt x="319" y="54"/>
                        <a:pt x="319" y="54"/>
                      </a:cubicBezTo>
                      <a:cubicBezTo>
                        <a:pt x="319" y="54"/>
                        <a:pt x="319" y="54"/>
                        <a:pt x="319" y="54"/>
                      </a:cubicBezTo>
                      <a:cubicBezTo>
                        <a:pt x="320" y="55"/>
                        <a:pt x="320" y="55"/>
                        <a:pt x="320" y="55"/>
                      </a:cubicBezTo>
                      <a:cubicBezTo>
                        <a:pt x="321" y="55"/>
                        <a:pt x="321" y="55"/>
                        <a:pt x="321" y="55"/>
                      </a:cubicBezTo>
                      <a:cubicBezTo>
                        <a:pt x="323" y="57"/>
                        <a:pt x="323" y="57"/>
                        <a:pt x="323" y="57"/>
                      </a:cubicBezTo>
                      <a:cubicBezTo>
                        <a:pt x="323" y="57"/>
                        <a:pt x="323" y="57"/>
                        <a:pt x="323" y="57"/>
                      </a:cubicBezTo>
                      <a:cubicBezTo>
                        <a:pt x="324" y="58"/>
                        <a:pt x="324" y="58"/>
                        <a:pt x="324" y="58"/>
                      </a:cubicBezTo>
                      <a:cubicBezTo>
                        <a:pt x="324" y="58"/>
                        <a:pt x="324" y="58"/>
                        <a:pt x="324" y="58"/>
                      </a:cubicBezTo>
                      <a:cubicBezTo>
                        <a:pt x="326" y="60"/>
                        <a:pt x="326" y="60"/>
                        <a:pt x="326" y="60"/>
                      </a:cubicBezTo>
                      <a:cubicBezTo>
                        <a:pt x="326" y="58"/>
                        <a:pt x="326" y="58"/>
                        <a:pt x="326" y="58"/>
                      </a:cubicBezTo>
                      <a:cubicBezTo>
                        <a:pt x="327" y="58"/>
                        <a:pt x="327" y="58"/>
                        <a:pt x="327" y="58"/>
                      </a:cubicBezTo>
                      <a:cubicBezTo>
                        <a:pt x="326" y="58"/>
                        <a:pt x="326" y="58"/>
                        <a:pt x="326" y="58"/>
                      </a:cubicBezTo>
                      <a:cubicBezTo>
                        <a:pt x="325" y="58"/>
                        <a:pt x="325" y="58"/>
                        <a:pt x="325" y="58"/>
                      </a:cubicBezTo>
                      <a:cubicBezTo>
                        <a:pt x="325" y="58"/>
                        <a:pt x="325" y="58"/>
                        <a:pt x="325" y="58"/>
                      </a:cubicBezTo>
                      <a:cubicBezTo>
                        <a:pt x="325" y="57"/>
                        <a:pt x="325" y="57"/>
                        <a:pt x="325" y="57"/>
                      </a:cubicBezTo>
                      <a:cubicBezTo>
                        <a:pt x="326" y="57"/>
                        <a:pt x="326" y="57"/>
                        <a:pt x="326" y="57"/>
                      </a:cubicBezTo>
                      <a:cubicBezTo>
                        <a:pt x="328" y="57"/>
                        <a:pt x="328" y="57"/>
                        <a:pt x="328" y="57"/>
                      </a:cubicBezTo>
                      <a:cubicBezTo>
                        <a:pt x="329" y="57"/>
                        <a:pt x="329" y="57"/>
                        <a:pt x="329" y="57"/>
                      </a:cubicBezTo>
                      <a:cubicBezTo>
                        <a:pt x="329" y="57"/>
                        <a:pt x="329" y="57"/>
                        <a:pt x="329" y="57"/>
                      </a:cubicBezTo>
                      <a:cubicBezTo>
                        <a:pt x="329" y="56"/>
                        <a:pt x="329" y="56"/>
                        <a:pt x="329" y="56"/>
                      </a:cubicBezTo>
                      <a:cubicBezTo>
                        <a:pt x="330" y="55"/>
                        <a:pt x="330" y="55"/>
                        <a:pt x="330" y="55"/>
                      </a:cubicBezTo>
                      <a:cubicBezTo>
                        <a:pt x="329" y="54"/>
                        <a:pt x="329" y="54"/>
                        <a:pt x="329" y="54"/>
                      </a:cubicBezTo>
                      <a:cubicBezTo>
                        <a:pt x="329" y="54"/>
                        <a:pt x="329" y="54"/>
                        <a:pt x="329" y="54"/>
                      </a:cubicBezTo>
                      <a:cubicBezTo>
                        <a:pt x="329" y="55"/>
                        <a:pt x="329" y="55"/>
                        <a:pt x="329" y="55"/>
                      </a:cubicBezTo>
                      <a:cubicBezTo>
                        <a:pt x="328" y="56"/>
                        <a:pt x="328" y="56"/>
                        <a:pt x="328" y="56"/>
                      </a:cubicBezTo>
                      <a:cubicBezTo>
                        <a:pt x="327" y="56"/>
                        <a:pt x="327" y="56"/>
                        <a:pt x="327" y="56"/>
                      </a:cubicBezTo>
                      <a:cubicBezTo>
                        <a:pt x="325" y="56"/>
                        <a:pt x="325" y="56"/>
                        <a:pt x="325" y="56"/>
                      </a:cubicBezTo>
                      <a:cubicBezTo>
                        <a:pt x="324" y="56"/>
                        <a:pt x="324" y="56"/>
                        <a:pt x="324" y="56"/>
                      </a:cubicBezTo>
                      <a:cubicBezTo>
                        <a:pt x="323" y="55"/>
                        <a:pt x="323" y="55"/>
                        <a:pt x="323" y="55"/>
                      </a:cubicBezTo>
                      <a:cubicBezTo>
                        <a:pt x="323" y="55"/>
                        <a:pt x="323" y="55"/>
                        <a:pt x="323" y="55"/>
                      </a:cubicBezTo>
                      <a:cubicBezTo>
                        <a:pt x="321" y="55"/>
                        <a:pt x="321" y="55"/>
                        <a:pt x="321" y="55"/>
                      </a:cubicBezTo>
                      <a:cubicBezTo>
                        <a:pt x="320" y="53"/>
                        <a:pt x="320" y="53"/>
                        <a:pt x="320" y="53"/>
                      </a:cubicBezTo>
                      <a:cubicBezTo>
                        <a:pt x="320" y="51"/>
                        <a:pt x="320" y="51"/>
                        <a:pt x="320" y="51"/>
                      </a:cubicBezTo>
                      <a:cubicBezTo>
                        <a:pt x="321" y="51"/>
                        <a:pt x="321" y="51"/>
                        <a:pt x="321" y="51"/>
                      </a:cubicBezTo>
                      <a:cubicBezTo>
                        <a:pt x="322" y="51"/>
                        <a:pt x="322" y="51"/>
                        <a:pt x="322" y="51"/>
                      </a:cubicBezTo>
                      <a:cubicBezTo>
                        <a:pt x="322" y="52"/>
                        <a:pt x="322" y="52"/>
                        <a:pt x="322" y="52"/>
                      </a:cubicBezTo>
                      <a:cubicBezTo>
                        <a:pt x="322" y="53"/>
                        <a:pt x="322" y="53"/>
                        <a:pt x="322" y="53"/>
                      </a:cubicBezTo>
                      <a:cubicBezTo>
                        <a:pt x="323" y="52"/>
                        <a:pt x="323" y="52"/>
                        <a:pt x="323" y="52"/>
                      </a:cubicBezTo>
                      <a:cubicBezTo>
                        <a:pt x="323" y="51"/>
                        <a:pt x="323" y="51"/>
                        <a:pt x="323" y="51"/>
                      </a:cubicBezTo>
                      <a:cubicBezTo>
                        <a:pt x="322" y="51"/>
                        <a:pt x="322" y="51"/>
                        <a:pt x="322" y="51"/>
                      </a:cubicBezTo>
                      <a:cubicBezTo>
                        <a:pt x="322" y="51"/>
                        <a:pt x="322" y="51"/>
                        <a:pt x="322" y="51"/>
                      </a:cubicBezTo>
                      <a:cubicBezTo>
                        <a:pt x="322" y="50"/>
                        <a:pt x="322" y="50"/>
                        <a:pt x="322" y="50"/>
                      </a:cubicBezTo>
                      <a:cubicBezTo>
                        <a:pt x="323" y="48"/>
                        <a:pt x="323" y="48"/>
                        <a:pt x="323" y="48"/>
                      </a:cubicBezTo>
                      <a:cubicBezTo>
                        <a:pt x="323" y="47"/>
                        <a:pt x="323" y="47"/>
                        <a:pt x="323" y="47"/>
                      </a:cubicBezTo>
                      <a:cubicBezTo>
                        <a:pt x="323" y="46"/>
                        <a:pt x="323" y="46"/>
                        <a:pt x="323" y="46"/>
                      </a:cubicBezTo>
                      <a:cubicBezTo>
                        <a:pt x="323" y="44"/>
                        <a:pt x="323" y="44"/>
                        <a:pt x="323" y="44"/>
                      </a:cubicBezTo>
                      <a:cubicBezTo>
                        <a:pt x="323" y="42"/>
                        <a:pt x="323" y="42"/>
                        <a:pt x="323" y="42"/>
                      </a:cubicBezTo>
                      <a:cubicBezTo>
                        <a:pt x="322" y="42"/>
                        <a:pt x="322" y="42"/>
                        <a:pt x="322" y="42"/>
                      </a:cubicBezTo>
                      <a:cubicBezTo>
                        <a:pt x="322" y="41"/>
                        <a:pt x="322" y="41"/>
                        <a:pt x="322" y="41"/>
                      </a:cubicBezTo>
                      <a:cubicBezTo>
                        <a:pt x="322" y="40"/>
                        <a:pt x="322" y="40"/>
                        <a:pt x="322" y="40"/>
                      </a:cubicBezTo>
                      <a:cubicBezTo>
                        <a:pt x="323" y="40"/>
                        <a:pt x="323" y="40"/>
                        <a:pt x="323" y="40"/>
                      </a:cubicBezTo>
                      <a:cubicBezTo>
                        <a:pt x="323" y="40"/>
                        <a:pt x="323" y="40"/>
                        <a:pt x="323" y="40"/>
                      </a:cubicBezTo>
                      <a:cubicBezTo>
                        <a:pt x="324" y="41"/>
                        <a:pt x="324" y="41"/>
                        <a:pt x="324" y="41"/>
                      </a:cubicBezTo>
                      <a:cubicBezTo>
                        <a:pt x="324" y="41"/>
                        <a:pt x="324" y="41"/>
                        <a:pt x="324" y="41"/>
                      </a:cubicBezTo>
                      <a:cubicBezTo>
                        <a:pt x="325" y="42"/>
                        <a:pt x="325" y="42"/>
                        <a:pt x="325" y="42"/>
                      </a:cubicBezTo>
                      <a:cubicBezTo>
                        <a:pt x="325" y="42"/>
                        <a:pt x="325" y="42"/>
                        <a:pt x="325" y="42"/>
                      </a:cubicBezTo>
                      <a:cubicBezTo>
                        <a:pt x="325" y="41"/>
                        <a:pt x="325" y="41"/>
                        <a:pt x="325" y="41"/>
                      </a:cubicBezTo>
                      <a:cubicBezTo>
                        <a:pt x="325" y="40"/>
                        <a:pt x="325" y="40"/>
                        <a:pt x="325" y="40"/>
                      </a:cubicBezTo>
                      <a:cubicBezTo>
                        <a:pt x="324" y="40"/>
                        <a:pt x="324" y="40"/>
                        <a:pt x="324" y="40"/>
                      </a:cubicBezTo>
                      <a:cubicBezTo>
                        <a:pt x="323" y="39"/>
                        <a:pt x="323" y="39"/>
                        <a:pt x="323" y="39"/>
                      </a:cubicBezTo>
                      <a:cubicBezTo>
                        <a:pt x="323" y="38"/>
                        <a:pt x="323" y="38"/>
                        <a:pt x="323" y="38"/>
                      </a:cubicBezTo>
                      <a:cubicBezTo>
                        <a:pt x="323" y="37"/>
                        <a:pt x="323" y="37"/>
                        <a:pt x="323" y="37"/>
                      </a:cubicBezTo>
                      <a:cubicBezTo>
                        <a:pt x="326" y="34"/>
                        <a:pt x="326" y="34"/>
                        <a:pt x="326" y="34"/>
                      </a:cubicBezTo>
                      <a:cubicBezTo>
                        <a:pt x="328" y="34"/>
                        <a:pt x="328" y="34"/>
                        <a:pt x="328" y="34"/>
                      </a:cubicBezTo>
                      <a:cubicBezTo>
                        <a:pt x="329" y="34"/>
                        <a:pt x="329" y="34"/>
                        <a:pt x="329" y="34"/>
                      </a:cubicBezTo>
                      <a:cubicBezTo>
                        <a:pt x="329" y="35"/>
                        <a:pt x="329" y="35"/>
                        <a:pt x="329" y="35"/>
                      </a:cubicBezTo>
                      <a:cubicBezTo>
                        <a:pt x="330" y="36"/>
                        <a:pt x="330" y="36"/>
                        <a:pt x="330" y="36"/>
                      </a:cubicBezTo>
                      <a:cubicBezTo>
                        <a:pt x="331" y="36"/>
                        <a:pt x="331" y="36"/>
                        <a:pt x="331" y="36"/>
                      </a:cubicBezTo>
                      <a:cubicBezTo>
                        <a:pt x="333" y="37"/>
                        <a:pt x="333" y="37"/>
                        <a:pt x="333" y="37"/>
                      </a:cubicBezTo>
                      <a:cubicBezTo>
                        <a:pt x="333" y="38"/>
                        <a:pt x="333" y="38"/>
                        <a:pt x="333" y="38"/>
                      </a:cubicBezTo>
                      <a:cubicBezTo>
                        <a:pt x="334" y="39"/>
                        <a:pt x="334" y="39"/>
                        <a:pt x="334" y="39"/>
                      </a:cubicBezTo>
                      <a:cubicBezTo>
                        <a:pt x="335" y="41"/>
                        <a:pt x="335" y="41"/>
                        <a:pt x="335" y="41"/>
                      </a:cubicBezTo>
                      <a:cubicBezTo>
                        <a:pt x="334" y="43"/>
                        <a:pt x="334" y="43"/>
                        <a:pt x="334" y="43"/>
                      </a:cubicBezTo>
                      <a:cubicBezTo>
                        <a:pt x="335" y="44"/>
                        <a:pt x="335" y="44"/>
                        <a:pt x="335" y="44"/>
                      </a:cubicBezTo>
                      <a:cubicBezTo>
                        <a:pt x="335" y="45"/>
                        <a:pt x="335" y="45"/>
                        <a:pt x="335" y="45"/>
                      </a:cubicBezTo>
                      <a:cubicBezTo>
                        <a:pt x="336" y="45"/>
                        <a:pt x="336" y="45"/>
                        <a:pt x="336" y="45"/>
                      </a:cubicBezTo>
                      <a:cubicBezTo>
                        <a:pt x="336" y="45"/>
                        <a:pt x="336" y="45"/>
                        <a:pt x="336" y="45"/>
                      </a:cubicBezTo>
                      <a:cubicBezTo>
                        <a:pt x="337" y="46"/>
                        <a:pt x="337" y="46"/>
                        <a:pt x="337" y="46"/>
                      </a:cubicBezTo>
                      <a:cubicBezTo>
                        <a:pt x="337" y="46"/>
                        <a:pt x="337" y="46"/>
                        <a:pt x="337" y="46"/>
                      </a:cubicBezTo>
                      <a:cubicBezTo>
                        <a:pt x="337" y="46"/>
                        <a:pt x="337" y="46"/>
                        <a:pt x="337" y="46"/>
                      </a:cubicBezTo>
                      <a:cubicBezTo>
                        <a:pt x="338" y="45"/>
                        <a:pt x="338" y="45"/>
                        <a:pt x="338" y="45"/>
                      </a:cubicBezTo>
                      <a:cubicBezTo>
                        <a:pt x="339" y="46"/>
                        <a:pt x="339" y="46"/>
                        <a:pt x="339" y="46"/>
                      </a:cubicBezTo>
                      <a:cubicBezTo>
                        <a:pt x="338" y="45"/>
                        <a:pt x="338" y="45"/>
                        <a:pt x="338" y="45"/>
                      </a:cubicBezTo>
                      <a:cubicBezTo>
                        <a:pt x="337" y="45"/>
                        <a:pt x="337" y="45"/>
                        <a:pt x="337" y="45"/>
                      </a:cubicBezTo>
                      <a:cubicBezTo>
                        <a:pt x="336" y="44"/>
                        <a:pt x="336" y="44"/>
                        <a:pt x="336" y="44"/>
                      </a:cubicBezTo>
                      <a:cubicBezTo>
                        <a:pt x="336" y="44"/>
                        <a:pt x="336" y="44"/>
                        <a:pt x="336" y="44"/>
                      </a:cubicBezTo>
                      <a:cubicBezTo>
                        <a:pt x="336" y="43"/>
                        <a:pt x="336" y="43"/>
                        <a:pt x="336" y="43"/>
                      </a:cubicBezTo>
                      <a:cubicBezTo>
                        <a:pt x="337" y="42"/>
                        <a:pt x="337" y="42"/>
                        <a:pt x="337" y="42"/>
                      </a:cubicBezTo>
                      <a:cubicBezTo>
                        <a:pt x="337" y="42"/>
                        <a:pt x="337" y="42"/>
                        <a:pt x="337" y="42"/>
                      </a:cubicBezTo>
                      <a:cubicBezTo>
                        <a:pt x="336" y="39"/>
                        <a:pt x="336" y="39"/>
                        <a:pt x="336" y="39"/>
                      </a:cubicBezTo>
                      <a:cubicBezTo>
                        <a:pt x="336" y="38"/>
                        <a:pt x="336" y="38"/>
                        <a:pt x="336" y="38"/>
                      </a:cubicBezTo>
                      <a:cubicBezTo>
                        <a:pt x="336" y="37"/>
                        <a:pt x="336" y="37"/>
                        <a:pt x="336" y="37"/>
                      </a:cubicBezTo>
                      <a:cubicBezTo>
                        <a:pt x="338" y="37"/>
                        <a:pt x="338" y="37"/>
                        <a:pt x="338" y="37"/>
                      </a:cubicBezTo>
                      <a:cubicBezTo>
                        <a:pt x="339" y="37"/>
                        <a:pt x="339" y="37"/>
                        <a:pt x="339" y="37"/>
                      </a:cubicBezTo>
                      <a:cubicBezTo>
                        <a:pt x="340" y="38"/>
                        <a:pt x="340" y="38"/>
                        <a:pt x="340" y="38"/>
                      </a:cubicBezTo>
                      <a:cubicBezTo>
                        <a:pt x="342" y="38"/>
                        <a:pt x="342" y="38"/>
                        <a:pt x="342" y="38"/>
                      </a:cubicBezTo>
                      <a:cubicBezTo>
                        <a:pt x="343" y="38"/>
                        <a:pt x="343" y="38"/>
                        <a:pt x="343" y="38"/>
                      </a:cubicBezTo>
                      <a:cubicBezTo>
                        <a:pt x="345" y="38"/>
                        <a:pt x="345" y="38"/>
                        <a:pt x="345" y="38"/>
                      </a:cubicBezTo>
                      <a:cubicBezTo>
                        <a:pt x="346" y="37"/>
                        <a:pt x="346" y="37"/>
                        <a:pt x="346" y="37"/>
                      </a:cubicBezTo>
                      <a:cubicBezTo>
                        <a:pt x="347" y="38"/>
                        <a:pt x="347" y="38"/>
                        <a:pt x="347" y="38"/>
                      </a:cubicBezTo>
                      <a:cubicBezTo>
                        <a:pt x="348" y="38"/>
                        <a:pt x="348" y="38"/>
                        <a:pt x="348" y="38"/>
                      </a:cubicBezTo>
                      <a:cubicBezTo>
                        <a:pt x="350" y="38"/>
                        <a:pt x="350" y="38"/>
                        <a:pt x="350" y="38"/>
                      </a:cubicBezTo>
                      <a:cubicBezTo>
                        <a:pt x="351" y="39"/>
                        <a:pt x="351" y="39"/>
                        <a:pt x="351" y="39"/>
                      </a:cubicBezTo>
                      <a:cubicBezTo>
                        <a:pt x="352" y="39"/>
                        <a:pt x="352" y="39"/>
                        <a:pt x="352" y="39"/>
                      </a:cubicBezTo>
                      <a:cubicBezTo>
                        <a:pt x="352" y="38"/>
                        <a:pt x="352" y="38"/>
                        <a:pt x="352" y="38"/>
                      </a:cubicBezTo>
                      <a:cubicBezTo>
                        <a:pt x="351" y="38"/>
                        <a:pt x="351" y="38"/>
                        <a:pt x="351" y="38"/>
                      </a:cubicBezTo>
                      <a:cubicBezTo>
                        <a:pt x="350" y="38"/>
                        <a:pt x="350" y="38"/>
                        <a:pt x="350" y="38"/>
                      </a:cubicBezTo>
                      <a:cubicBezTo>
                        <a:pt x="348" y="37"/>
                        <a:pt x="348" y="37"/>
                        <a:pt x="348" y="37"/>
                      </a:cubicBezTo>
                      <a:cubicBezTo>
                        <a:pt x="348" y="37"/>
                        <a:pt x="348" y="37"/>
                        <a:pt x="348" y="37"/>
                      </a:cubicBezTo>
                      <a:cubicBezTo>
                        <a:pt x="348" y="37"/>
                        <a:pt x="348" y="37"/>
                        <a:pt x="348" y="37"/>
                      </a:cubicBezTo>
                      <a:cubicBezTo>
                        <a:pt x="349" y="37"/>
                        <a:pt x="349" y="37"/>
                        <a:pt x="349" y="37"/>
                      </a:cubicBezTo>
                      <a:cubicBezTo>
                        <a:pt x="350" y="36"/>
                        <a:pt x="350" y="36"/>
                        <a:pt x="350" y="36"/>
                      </a:cubicBezTo>
                      <a:cubicBezTo>
                        <a:pt x="353" y="36"/>
                        <a:pt x="353" y="36"/>
                        <a:pt x="353" y="36"/>
                      </a:cubicBezTo>
                      <a:cubicBezTo>
                        <a:pt x="356" y="36"/>
                        <a:pt x="356" y="36"/>
                        <a:pt x="356" y="36"/>
                      </a:cubicBezTo>
                      <a:cubicBezTo>
                        <a:pt x="357" y="36"/>
                        <a:pt x="357" y="36"/>
                        <a:pt x="357" y="36"/>
                      </a:cubicBezTo>
                      <a:cubicBezTo>
                        <a:pt x="358" y="37"/>
                        <a:pt x="358" y="37"/>
                        <a:pt x="358" y="37"/>
                      </a:cubicBezTo>
                      <a:cubicBezTo>
                        <a:pt x="359" y="37"/>
                        <a:pt x="359" y="37"/>
                        <a:pt x="359" y="37"/>
                      </a:cubicBezTo>
                      <a:cubicBezTo>
                        <a:pt x="360" y="36"/>
                        <a:pt x="360" y="36"/>
                        <a:pt x="360" y="36"/>
                      </a:cubicBezTo>
                      <a:cubicBezTo>
                        <a:pt x="360" y="36"/>
                        <a:pt x="360" y="36"/>
                        <a:pt x="360" y="36"/>
                      </a:cubicBezTo>
                      <a:cubicBezTo>
                        <a:pt x="359" y="36"/>
                        <a:pt x="359" y="36"/>
                        <a:pt x="359" y="36"/>
                      </a:cubicBezTo>
                      <a:cubicBezTo>
                        <a:pt x="358" y="36"/>
                        <a:pt x="358" y="36"/>
                        <a:pt x="358" y="36"/>
                      </a:cubicBezTo>
                      <a:cubicBezTo>
                        <a:pt x="359" y="35"/>
                        <a:pt x="359" y="35"/>
                        <a:pt x="359" y="35"/>
                      </a:cubicBezTo>
                      <a:cubicBezTo>
                        <a:pt x="358" y="35"/>
                        <a:pt x="358" y="35"/>
                        <a:pt x="358" y="35"/>
                      </a:cubicBezTo>
                      <a:cubicBezTo>
                        <a:pt x="356" y="35"/>
                        <a:pt x="356" y="35"/>
                        <a:pt x="356" y="35"/>
                      </a:cubicBezTo>
                      <a:cubicBezTo>
                        <a:pt x="356" y="34"/>
                        <a:pt x="356" y="34"/>
                        <a:pt x="356" y="34"/>
                      </a:cubicBezTo>
                      <a:cubicBezTo>
                        <a:pt x="353" y="34"/>
                        <a:pt x="353" y="34"/>
                        <a:pt x="353" y="34"/>
                      </a:cubicBezTo>
                      <a:cubicBezTo>
                        <a:pt x="353" y="34"/>
                        <a:pt x="353" y="34"/>
                        <a:pt x="353" y="34"/>
                      </a:cubicBezTo>
                      <a:cubicBezTo>
                        <a:pt x="354" y="34"/>
                        <a:pt x="354" y="34"/>
                        <a:pt x="354" y="34"/>
                      </a:cubicBezTo>
                      <a:cubicBezTo>
                        <a:pt x="354" y="33"/>
                        <a:pt x="354" y="33"/>
                        <a:pt x="354" y="33"/>
                      </a:cubicBezTo>
                      <a:cubicBezTo>
                        <a:pt x="355" y="32"/>
                        <a:pt x="355" y="32"/>
                        <a:pt x="355" y="32"/>
                      </a:cubicBezTo>
                      <a:cubicBezTo>
                        <a:pt x="356" y="32"/>
                        <a:pt x="356" y="32"/>
                        <a:pt x="356" y="32"/>
                      </a:cubicBezTo>
                      <a:cubicBezTo>
                        <a:pt x="357" y="31"/>
                        <a:pt x="357" y="31"/>
                        <a:pt x="357" y="31"/>
                      </a:cubicBezTo>
                      <a:cubicBezTo>
                        <a:pt x="359" y="29"/>
                        <a:pt x="359" y="29"/>
                        <a:pt x="359" y="29"/>
                      </a:cubicBezTo>
                      <a:cubicBezTo>
                        <a:pt x="361" y="29"/>
                        <a:pt x="361" y="29"/>
                        <a:pt x="361" y="29"/>
                      </a:cubicBezTo>
                      <a:cubicBezTo>
                        <a:pt x="363" y="28"/>
                        <a:pt x="363" y="28"/>
                        <a:pt x="363" y="28"/>
                      </a:cubicBezTo>
                      <a:cubicBezTo>
                        <a:pt x="363" y="28"/>
                        <a:pt x="363" y="28"/>
                        <a:pt x="363" y="28"/>
                      </a:cubicBezTo>
                      <a:cubicBezTo>
                        <a:pt x="360" y="29"/>
                        <a:pt x="360" y="29"/>
                        <a:pt x="360" y="29"/>
                      </a:cubicBezTo>
                      <a:cubicBezTo>
                        <a:pt x="359" y="29"/>
                        <a:pt x="359" y="29"/>
                        <a:pt x="359" y="29"/>
                      </a:cubicBezTo>
                      <a:cubicBezTo>
                        <a:pt x="356" y="30"/>
                        <a:pt x="356" y="30"/>
                        <a:pt x="356" y="30"/>
                      </a:cubicBezTo>
                      <a:cubicBezTo>
                        <a:pt x="356" y="31"/>
                        <a:pt x="356" y="31"/>
                        <a:pt x="356" y="31"/>
                      </a:cubicBezTo>
                      <a:cubicBezTo>
                        <a:pt x="356" y="31"/>
                        <a:pt x="356" y="31"/>
                        <a:pt x="356" y="31"/>
                      </a:cubicBezTo>
                      <a:cubicBezTo>
                        <a:pt x="355" y="30"/>
                        <a:pt x="355" y="30"/>
                        <a:pt x="355" y="30"/>
                      </a:cubicBezTo>
                      <a:cubicBezTo>
                        <a:pt x="355" y="30"/>
                        <a:pt x="355" y="30"/>
                        <a:pt x="355" y="30"/>
                      </a:cubicBezTo>
                      <a:cubicBezTo>
                        <a:pt x="354" y="31"/>
                        <a:pt x="354" y="31"/>
                        <a:pt x="354" y="31"/>
                      </a:cubicBezTo>
                      <a:cubicBezTo>
                        <a:pt x="353" y="31"/>
                        <a:pt x="353" y="31"/>
                        <a:pt x="353" y="31"/>
                      </a:cubicBezTo>
                      <a:cubicBezTo>
                        <a:pt x="352" y="33"/>
                        <a:pt x="352" y="33"/>
                        <a:pt x="352" y="33"/>
                      </a:cubicBezTo>
                      <a:cubicBezTo>
                        <a:pt x="353" y="33"/>
                        <a:pt x="353" y="33"/>
                        <a:pt x="353" y="33"/>
                      </a:cubicBezTo>
                      <a:cubicBezTo>
                        <a:pt x="353" y="33"/>
                        <a:pt x="353" y="33"/>
                        <a:pt x="353" y="33"/>
                      </a:cubicBezTo>
                      <a:cubicBezTo>
                        <a:pt x="351" y="34"/>
                        <a:pt x="351" y="34"/>
                        <a:pt x="351" y="34"/>
                      </a:cubicBezTo>
                      <a:cubicBezTo>
                        <a:pt x="350" y="34"/>
                        <a:pt x="350" y="34"/>
                        <a:pt x="350" y="34"/>
                      </a:cubicBezTo>
                      <a:cubicBezTo>
                        <a:pt x="347" y="36"/>
                        <a:pt x="347" y="36"/>
                        <a:pt x="347" y="36"/>
                      </a:cubicBezTo>
                      <a:cubicBezTo>
                        <a:pt x="346" y="36"/>
                        <a:pt x="346" y="36"/>
                        <a:pt x="346" y="36"/>
                      </a:cubicBezTo>
                      <a:cubicBezTo>
                        <a:pt x="345" y="36"/>
                        <a:pt x="345" y="36"/>
                        <a:pt x="345" y="36"/>
                      </a:cubicBezTo>
                      <a:cubicBezTo>
                        <a:pt x="342" y="36"/>
                        <a:pt x="342" y="36"/>
                        <a:pt x="342" y="36"/>
                      </a:cubicBezTo>
                      <a:cubicBezTo>
                        <a:pt x="341" y="35"/>
                        <a:pt x="341" y="35"/>
                        <a:pt x="341" y="35"/>
                      </a:cubicBezTo>
                      <a:cubicBezTo>
                        <a:pt x="339" y="35"/>
                        <a:pt x="339" y="35"/>
                        <a:pt x="339" y="35"/>
                      </a:cubicBezTo>
                      <a:cubicBezTo>
                        <a:pt x="339" y="35"/>
                        <a:pt x="339" y="35"/>
                        <a:pt x="339" y="35"/>
                      </a:cubicBezTo>
                      <a:cubicBezTo>
                        <a:pt x="339" y="34"/>
                        <a:pt x="339" y="34"/>
                        <a:pt x="339" y="34"/>
                      </a:cubicBezTo>
                      <a:cubicBezTo>
                        <a:pt x="340" y="33"/>
                        <a:pt x="340" y="33"/>
                        <a:pt x="340" y="33"/>
                      </a:cubicBezTo>
                      <a:cubicBezTo>
                        <a:pt x="341" y="33"/>
                        <a:pt x="341" y="33"/>
                        <a:pt x="341" y="33"/>
                      </a:cubicBezTo>
                      <a:cubicBezTo>
                        <a:pt x="342" y="33"/>
                        <a:pt x="342" y="33"/>
                        <a:pt x="342" y="33"/>
                      </a:cubicBezTo>
                      <a:cubicBezTo>
                        <a:pt x="344" y="32"/>
                        <a:pt x="344" y="32"/>
                        <a:pt x="344" y="32"/>
                      </a:cubicBezTo>
                      <a:cubicBezTo>
                        <a:pt x="344" y="32"/>
                        <a:pt x="344" y="32"/>
                        <a:pt x="344" y="32"/>
                      </a:cubicBezTo>
                      <a:cubicBezTo>
                        <a:pt x="344" y="32"/>
                        <a:pt x="344" y="32"/>
                        <a:pt x="344" y="32"/>
                      </a:cubicBezTo>
                      <a:cubicBezTo>
                        <a:pt x="343" y="32"/>
                        <a:pt x="343" y="32"/>
                        <a:pt x="343" y="32"/>
                      </a:cubicBezTo>
                      <a:cubicBezTo>
                        <a:pt x="341" y="32"/>
                        <a:pt x="341" y="32"/>
                        <a:pt x="341" y="32"/>
                      </a:cubicBezTo>
                      <a:cubicBezTo>
                        <a:pt x="340" y="32"/>
                        <a:pt x="340" y="32"/>
                        <a:pt x="340" y="32"/>
                      </a:cubicBezTo>
                      <a:cubicBezTo>
                        <a:pt x="339" y="32"/>
                        <a:pt x="339" y="32"/>
                        <a:pt x="339" y="32"/>
                      </a:cubicBezTo>
                      <a:cubicBezTo>
                        <a:pt x="339" y="31"/>
                        <a:pt x="339" y="31"/>
                        <a:pt x="339" y="31"/>
                      </a:cubicBezTo>
                      <a:cubicBezTo>
                        <a:pt x="340" y="31"/>
                        <a:pt x="340" y="31"/>
                        <a:pt x="340" y="31"/>
                      </a:cubicBezTo>
                      <a:cubicBezTo>
                        <a:pt x="340" y="31"/>
                        <a:pt x="340" y="31"/>
                        <a:pt x="340" y="31"/>
                      </a:cubicBezTo>
                      <a:cubicBezTo>
                        <a:pt x="338" y="31"/>
                        <a:pt x="338" y="31"/>
                        <a:pt x="338" y="31"/>
                      </a:cubicBezTo>
                      <a:cubicBezTo>
                        <a:pt x="338" y="32"/>
                        <a:pt x="338" y="32"/>
                        <a:pt x="338" y="32"/>
                      </a:cubicBezTo>
                      <a:cubicBezTo>
                        <a:pt x="337" y="34"/>
                        <a:pt x="337" y="34"/>
                        <a:pt x="337" y="34"/>
                      </a:cubicBezTo>
                      <a:cubicBezTo>
                        <a:pt x="335" y="34"/>
                        <a:pt x="335" y="34"/>
                        <a:pt x="335" y="34"/>
                      </a:cubicBezTo>
                      <a:cubicBezTo>
                        <a:pt x="333" y="33"/>
                        <a:pt x="333" y="33"/>
                        <a:pt x="333" y="33"/>
                      </a:cubicBezTo>
                      <a:cubicBezTo>
                        <a:pt x="331" y="33"/>
                        <a:pt x="331" y="33"/>
                        <a:pt x="331" y="33"/>
                      </a:cubicBezTo>
                      <a:cubicBezTo>
                        <a:pt x="330" y="32"/>
                        <a:pt x="330" y="32"/>
                        <a:pt x="330" y="32"/>
                      </a:cubicBezTo>
                      <a:cubicBezTo>
                        <a:pt x="330" y="32"/>
                        <a:pt x="330" y="32"/>
                        <a:pt x="330" y="32"/>
                      </a:cubicBezTo>
                      <a:cubicBezTo>
                        <a:pt x="329" y="32"/>
                        <a:pt x="329" y="32"/>
                        <a:pt x="329" y="32"/>
                      </a:cubicBezTo>
                      <a:cubicBezTo>
                        <a:pt x="328" y="31"/>
                        <a:pt x="328" y="31"/>
                        <a:pt x="328" y="31"/>
                      </a:cubicBezTo>
                      <a:cubicBezTo>
                        <a:pt x="328" y="30"/>
                        <a:pt x="328" y="30"/>
                        <a:pt x="328" y="30"/>
                      </a:cubicBezTo>
                      <a:cubicBezTo>
                        <a:pt x="329" y="30"/>
                        <a:pt x="329" y="30"/>
                        <a:pt x="329" y="30"/>
                      </a:cubicBezTo>
                      <a:cubicBezTo>
                        <a:pt x="330" y="29"/>
                        <a:pt x="330" y="29"/>
                        <a:pt x="330" y="29"/>
                      </a:cubicBezTo>
                      <a:cubicBezTo>
                        <a:pt x="331" y="28"/>
                        <a:pt x="331" y="28"/>
                        <a:pt x="331" y="28"/>
                      </a:cubicBezTo>
                      <a:cubicBezTo>
                        <a:pt x="332" y="27"/>
                        <a:pt x="332" y="27"/>
                        <a:pt x="332" y="27"/>
                      </a:cubicBezTo>
                      <a:cubicBezTo>
                        <a:pt x="333" y="26"/>
                        <a:pt x="333" y="26"/>
                        <a:pt x="333" y="26"/>
                      </a:cubicBezTo>
                      <a:cubicBezTo>
                        <a:pt x="334" y="26"/>
                        <a:pt x="334" y="26"/>
                        <a:pt x="334" y="26"/>
                      </a:cubicBezTo>
                      <a:cubicBezTo>
                        <a:pt x="335" y="26"/>
                        <a:pt x="335" y="26"/>
                        <a:pt x="335" y="26"/>
                      </a:cubicBezTo>
                      <a:cubicBezTo>
                        <a:pt x="337" y="26"/>
                        <a:pt x="337" y="26"/>
                        <a:pt x="337" y="26"/>
                      </a:cubicBezTo>
                      <a:cubicBezTo>
                        <a:pt x="337" y="26"/>
                        <a:pt x="337" y="26"/>
                        <a:pt x="337" y="26"/>
                      </a:cubicBezTo>
                      <a:cubicBezTo>
                        <a:pt x="338" y="26"/>
                        <a:pt x="338" y="26"/>
                        <a:pt x="338" y="26"/>
                      </a:cubicBezTo>
                      <a:cubicBezTo>
                        <a:pt x="340" y="27"/>
                        <a:pt x="340" y="27"/>
                        <a:pt x="340" y="27"/>
                      </a:cubicBezTo>
                      <a:cubicBezTo>
                        <a:pt x="342" y="27"/>
                        <a:pt x="342" y="27"/>
                        <a:pt x="342" y="27"/>
                      </a:cubicBezTo>
                      <a:cubicBezTo>
                        <a:pt x="343" y="27"/>
                        <a:pt x="343" y="27"/>
                        <a:pt x="343" y="27"/>
                      </a:cubicBezTo>
                      <a:cubicBezTo>
                        <a:pt x="344" y="27"/>
                        <a:pt x="344" y="27"/>
                        <a:pt x="344" y="27"/>
                      </a:cubicBezTo>
                      <a:cubicBezTo>
                        <a:pt x="344" y="27"/>
                        <a:pt x="344" y="27"/>
                        <a:pt x="344" y="27"/>
                      </a:cubicBezTo>
                      <a:cubicBezTo>
                        <a:pt x="344" y="26"/>
                        <a:pt x="344" y="26"/>
                        <a:pt x="344" y="26"/>
                      </a:cubicBezTo>
                      <a:cubicBezTo>
                        <a:pt x="342" y="26"/>
                        <a:pt x="342" y="26"/>
                        <a:pt x="342" y="26"/>
                      </a:cubicBezTo>
                      <a:cubicBezTo>
                        <a:pt x="340" y="26"/>
                        <a:pt x="340" y="26"/>
                        <a:pt x="340" y="26"/>
                      </a:cubicBezTo>
                      <a:cubicBezTo>
                        <a:pt x="339" y="25"/>
                        <a:pt x="339" y="25"/>
                        <a:pt x="339" y="25"/>
                      </a:cubicBezTo>
                      <a:cubicBezTo>
                        <a:pt x="337" y="25"/>
                        <a:pt x="337" y="25"/>
                        <a:pt x="337" y="25"/>
                      </a:cubicBezTo>
                      <a:cubicBezTo>
                        <a:pt x="336" y="26"/>
                        <a:pt x="336" y="26"/>
                        <a:pt x="336" y="26"/>
                      </a:cubicBezTo>
                      <a:cubicBezTo>
                        <a:pt x="334" y="25"/>
                        <a:pt x="334" y="25"/>
                        <a:pt x="334" y="25"/>
                      </a:cubicBezTo>
                      <a:cubicBezTo>
                        <a:pt x="333" y="25"/>
                        <a:pt x="333" y="25"/>
                        <a:pt x="333" y="25"/>
                      </a:cubicBezTo>
                      <a:cubicBezTo>
                        <a:pt x="332" y="26"/>
                        <a:pt x="332" y="26"/>
                        <a:pt x="332" y="26"/>
                      </a:cubicBezTo>
                      <a:cubicBezTo>
                        <a:pt x="331" y="27"/>
                        <a:pt x="331" y="27"/>
                        <a:pt x="331" y="27"/>
                      </a:cubicBezTo>
                      <a:cubicBezTo>
                        <a:pt x="330" y="28"/>
                        <a:pt x="330" y="28"/>
                        <a:pt x="330" y="28"/>
                      </a:cubicBezTo>
                      <a:cubicBezTo>
                        <a:pt x="328" y="28"/>
                        <a:pt x="328" y="28"/>
                        <a:pt x="328" y="28"/>
                      </a:cubicBezTo>
                      <a:cubicBezTo>
                        <a:pt x="327" y="30"/>
                        <a:pt x="327" y="30"/>
                        <a:pt x="327" y="30"/>
                      </a:cubicBezTo>
                      <a:cubicBezTo>
                        <a:pt x="327" y="30"/>
                        <a:pt x="327" y="30"/>
                        <a:pt x="327" y="30"/>
                      </a:cubicBezTo>
                      <a:cubicBezTo>
                        <a:pt x="326" y="30"/>
                        <a:pt x="326" y="30"/>
                        <a:pt x="326" y="30"/>
                      </a:cubicBezTo>
                      <a:cubicBezTo>
                        <a:pt x="325" y="28"/>
                        <a:pt x="325" y="28"/>
                        <a:pt x="325" y="28"/>
                      </a:cubicBezTo>
                      <a:cubicBezTo>
                        <a:pt x="324" y="28"/>
                        <a:pt x="324" y="28"/>
                        <a:pt x="324" y="28"/>
                      </a:cubicBezTo>
                      <a:cubicBezTo>
                        <a:pt x="323" y="27"/>
                        <a:pt x="323" y="27"/>
                        <a:pt x="323" y="27"/>
                      </a:cubicBezTo>
                      <a:cubicBezTo>
                        <a:pt x="323" y="26"/>
                        <a:pt x="323" y="26"/>
                        <a:pt x="323" y="26"/>
                      </a:cubicBezTo>
                      <a:cubicBezTo>
                        <a:pt x="323" y="25"/>
                        <a:pt x="323" y="25"/>
                        <a:pt x="323" y="25"/>
                      </a:cubicBezTo>
                      <a:cubicBezTo>
                        <a:pt x="323" y="25"/>
                        <a:pt x="323" y="25"/>
                        <a:pt x="323" y="25"/>
                      </a:cubicBezTo>
                      <a:cubicBezTo>
                        <a:pt x="322" y="23"/>
                        <a:pt x="322" y="23"/>
                        <a:pt x="322" y="23"/>
                      </a:cubicBezTo>
                      <a:cubicBezTo>
                        <a:pt x="323" y="23"/>
                        <a:pt x="323" y="23"/>
                        <a:pt x="323" y="23"/>
                      </a:cubicBezTo>
                      <a:cubicBezTo>
                        <a:pt x="324" y="23"/>
                        <a:pt x="324" y="23"/>
                        <a:pt x="324" y="23"/>
                      </a:cubicBezTo>
                      <a:cubicBezTo>
                        <a:pt x="325" y="23"/>
                        <a:pt x="325" y="23"/>
                        <a:pt x="325" y="23"/>
                      </a:cubicBezTo>
                      <a:cubicBezTo>
                        <a:pt x="325" y="24"/>
                        <a:pt x="325" y="24"/>
                        <a:pt x="325" y="24"/>
                      </a:cubicBezTo>
                      <a:cubicBezTo>
                        <a:pt x="328" y="23"/>
                        <a:pt x="328" y="23"/>
                        <a:pt x="328" y="23"/>
                      </a:cubicBezTo>
                      <a:cubicBezTo>
                        <a:pt x="330" y="24"/>
                        <a:pt x="330" y="24"/>
                        <a:pt x="330" y="24"/>
                      </a:cubicBezTo>
                      <a:cubicBezTo>
                        <a:pt x="330" y="24"/>
                        <a:pt x="330" y="24"/>
                        <a:pt x="330" y="24"/>
                      </a:cubicBezTo>
                      <a:cubicBezTo>
                        <a:pt x="331" y="25"/>
                        <a:pt x="331" y="25"/>
                        <a:pt x="331" y="25"/>
                      </a:cubicBezTo>
                      <a:cubicBezTo>
                        <a:pt x="332" y="25"/>
                        <a:pt x="332" y="25"/>
                        <a:pt x="332" y="25"/>
                      </a:cubicBezTo>
                      <a:cubicBezTo>
                        <a:pt x="333" y="24"/>
                        <a:pt x="333" y="24"/>
                        <a:pt x="333" y="24"/>
                      </a:cubicBezTo>
                      <a:cubicBezTo>
                        <a:pt x="334" y="25"/>
                        <a:pt x="334" y="25"/>
                        <a:pt x="334" y="25"/>
                      </a:cubicBezTo>
                      <a:cubicBezTo>
                        <a:pt x="334" y="24"/>
                        <a:pt x="334" y="24"/>
                        <a:pt x="334" y="24"/>
                      </a:cubicBezTo>
                      <a:cubicBezTo>
                        <a:pt x="335" y="24"/>
                        <a:pt x="335" y="24"/>
                        <a:pt x="335" y="24"/>
                      </a:cubicBezTo>
                      <a:cubicBezTo>
                        <a:pt x="336" y="24"/>
                        <a:pt x="336" y="24"/>
                        <a:pt x="336" y="24"/>
                      </a:cubicBezTo>
                      <a:cubicBezTo>
                        <a:pt x="338" y="23"/>
                        <a:pt x="338" y="23"/>
                        <a:pt x="338" y="23"/>
                      </a:cubicBezTo>
                      <a:cubicBezTo>
                        <a:pt x="340" y="23"/>
                        <a:pt x="340" y="23"/>
                        <a:pt x="340" y="23"/>
                      </a:cubicBezTo>
                      <a:cubicBezTo>
                        <a:pt x="340" y="23"/>
                        <a:pt x="340" y="23"/>
                        <a:pt x="340" y="23"/>
                      </a:cubicBezTo>
                      <a:cubicBezTo>
                        <a:pt x="340" y="22"/>
                        <a:pt x="340" y="22"/>
                        <a:pt x="340" y="22"/>
                      </a:cubicBezTo>
                      <a:cubicBezTo>
                        <a:pt x="339" y="22"/>
                        <a:pt x="339" y="22"/>
                        <a:pt x="339" y="22"/>
                      </a:cubicBezTo>
                      <a:cubicBezTo>
                        <a:pt x="339" y="22"/>
                        <a:pt x="339" y="22"/>
                        <a:pt x="339" y="22"/>
                      </a:cubicBezTo>
                      <a:cubicBezTo>
                        <a:pt x="338" y="23"/>
                        <a:pt x="338" y="23"/>
                        <a:pt x="338" y="23"/>
                      </a:cubicBezTo>
                      <a:cubicBezTo>
                        <a:pt x="337" y="23"/>
                        <a:pt x="337" y="23"/>
                        <a:pt x="337" y="23"/>
                      </a:cubicBezTo>
                      <a:cubicBezTo>
                        <a:pt x="335" y="23"/>
                        <a:pt x="335" y="23"/>
                        <a:pt x="335" y="23"/>
                      </a:cubicBezTo>
                      <a:cubicBezTo>
                        <a:pt x="333" y="24"/>
                        <a:pt x="333" y="24"/>
                        <a:pt x="333" y="24"/>
                      </a:cubicBezTo>
                      <a:cubicBezTo>
                        <a:pt x="333" y="24"/>
                        <a:pt x="333" y="24"/>
                        <a:pt x="333" y="24"/>
                      </a:cubicBezTo>
                      <a:cubicBezTo>
                        <a:pt x="331" y="24"/>
                        <a:pt x="331" y="24"/>
                        <a:pt x="331" y="24"/>
                      </a:cubicBezTo>
                      <a:cubicBezTo>
                        <a:pt x="331" y="24"/>
                        <a:pt x="331" y="24"/>
                        <a:pt x="331" y="24"/>
                      </a:cubicBezTo>
                      <a:cubicBezTo>
                        <a:pt x="330" y="24"/>
                        <a:pt x="330" y="24"/>
                        <a:pt x="330" y="24"/>
                      </a:cubicBezTo>
                      <a:cubicBezTo>
                        <a:pt x="329" y="23"/>
                        <a:pt x="329" y="23"/>
                        <a:pt x="329" y="23"/>
                      </a:cubicBezTo>
                      <a:cubicBezTo>
                        <a:pt x="328" y="23"/>
                        <a:pt x="328" y="23"/>
                        <a:pt x="328" y="23"/>
                      </a:cubicBezTo>
                      <a:cubicBezTo>
                        <a:pt x="328" y="23"/>
                        <a:pt x="328" y="23"/>
                        <a:pt x="328" y="23"/>
                      </a:cubicBezTo>
                      <a:cubicBezTo>
                        <a:pt x="327" y="23"/>
                        <a:pt x="327" y="23"/>
                        <a:pt x="327" y="23"/>
                      </a:cubicBezTo>
                      <a:cubicBezTo>
                        <a:pt x="325" y="22"/>
                        <a:pt x="325" y="22"/>
                        <a:pt x="325" y="22"/>
                      </a:cubicBezTo>
                      <a:cubicBezTo>
                        <a:pt x="324" y="22"/>
                        <a:pt x="324" y="22"/>
                        <a:pt x="324" y="22"/>
                      </a:cubicBezTo>
                      <a:cubicBezTo>
                        <a:pt x="323" y="22"/>
                        <a:pt x="323" y="22"/>
                        <a:pt x="323" y="22"/>
                      </a:cubicBezTo>
                      <a:cubicBezTo>
                        <a:pt x="323" y="21"/>
                        <a:pt x="323" y="21"/>
                        <a:pt x="323" y="21"/>
                      </a:cubicBezTo>
                      <a:cubicBezTo>
                        <a:pt x="323" y="21"/>
                        <a:pt x="323" y="21"/>
                        <a:pt x="323" y="21"/>
                      </a:cubicBezTo>
                      <a:cubicBezTo>
                        <a:pt x="323" y="20"/>
                        <a:pt x="323" y="20"/>
                        <a:pt x="323" y="20"/>
                      </a:cubicBezTo>
                      <a:cubicBezTo>
                        <a:pt x="324" y="19"/>
                        <a:pt x="324" y="19"/>
                        <a:pt x="324" y="19"/>
                      </a:cubicBezTo>
                      <a:cubicBezTo>
                        <a:pt x="325" y="19"/>
                        <a:pt x="325" y="19"/>
                        <a:pt x="325" y="19"/>
                      </a:cubicBezTo>
                      <a:cubicBezTo>
                        <a:pt x="325" y="20"/>
                        <a:pt x="325" y="20"/>
                        <a:pt x="325" y="20"/>
                      </a:cubicBezTo>
                      <a:cubicBezTo>
                        <a:pt x="327" y="20"/>
                        <a:pt x="327" y="20"/>
                        <a:pt x="327" y="20"/>
                      </a:cubicBezTo>
                      <a:cubicBezTo>
                        <a:pt x="327" y="20"/>
                        <a:pt x="327" y="20"/>
                        <a:pt x="327" y="20"/>
                      </a:cubicBezTo>
                      <a:cubicBezTo>
                        <a:pt x="326" y="19"/>
                        <a:pt x="326" y="19"/>
                        <a:pt x="326" y="19"/>
                      </a:cubicBezTo>
                      <a:cubicBezTo>
                        <a:pt x="326" y="19"/>
                        <a:pt x="326" y="19"/>
                        <a:pt x="326" y="19"/>
                      </a:cubicBezTo>
                      <a:cubicBezTo>
                        <a:pt x="325" y="18"/>
                        <a:pt x="325" y="18"/>
                        <a:pt x="325" y="18"/>
                      </a:cubicBezTo>
                      <a:cubicBezTo>
                        <a:pt x="325" y="18"/>
                        <a:pt x="325" y="18"/>
                        <a:pt x="325" y="18"/>
                      </a:cubicBezTo>
                      <a:cubicBezTo>
                        <a:pt x="327" y="18"/>
                        <a:pt x="327" y="18"/>
                        <a:pt x="327" y="18"/>
                      </a:cubicBezTo>
                      <a:cubicBezTo>
                        <a:pt x="328" y="17"/>
                        <a:pt x="328" y="17"/>
                        <a:pt x="328" y="17"/>
                      </a:cubicBezTo>
                      <a:cubicBezTo>
                        <a:pt x="329" y="17"/>
                        <a:pt x="329" y="17"/>
                        <a:pt x="329" y="17"/>
                      </a:cubicBezTo>
                      <a:cubicBezTo>
                        <a:pt x="330" y="17"/>
                        <a:pt x="330" y="17"/>
                        <a:pt x="330" y="17"/>
                      </a:cubicBezTo>
                      <a:cubicBezTo>
                        <a:pt x="331" y="16"/>
                        <a:pt x="331" y="16"/>
                        <a:pt x="331" y="16"/>
                      </a:cubicBezTo>
                      <a:cubicBezTo>
                        <a:pt x="332" y="17"/>
                        <a:pt x="332" y="17"/>
                        <a:pt x="332" y="17"/>
                      </a:cubicBezTo>
                      <a:cubicBezTo>
                        <a:pt x="332" y="17"/>
                        <a:pt x="332" y="17"/>
                        <a:pt x="332" y="17"/>
                      </a:cubicBezTo>
                      <a:cubicBezTo>
                        <a:pt x="332" y="16"/>
                        <a:pt x="332" y="16"/>
                        <a:pt x="332" y="16"/>
                      </a:cubicBezTo>
                      <a:cubicBezTo>
                        <a:pt x="332" y="16"/>
                        <a:pt x="332" y="16"/>
                        <a:pt x="332" y="16"/>
                      </a:cubicBezTo>
                      <a:cubicBezTo>
                        <a:pt x="330" y="16"/>
                        <a:pt x="330" y="16"/>
                        <a:pt x="330" y="16"/>
                      </a:cubicBezTo>
                      <a:cubicBezTo>
                        <a:pt x="328" y="16"/>
                        <a:pt x="328" y="16"/>
                        <a:pt x="328" y="16"/>
                      </a:cubicBezTo>
                      <a:cubicBezTo>
                        <a:pt x="327" y="17"/>
                        <a:pt x="327" y="17"/>
                        <a:pt x="327" y="17"/>
                      </a:cubicBezTo>
                      <a:cubicBezTo>
                        <a:pt x="326" y="17"/>
                        <a:pt x="326" y="17"/>
                        <a:pt x="326" y="17"/>
                      </a:cubicBezTo>
                      <a:cubicBezTo>
                        <a:pt x="326" y="17"/>
                        <a:pt x="326" y="17"/>
                        <a:pt x="326" y="17"/>
                      </a:cubicBezTo>
                      <a:cubicBezTo>
                        <a:pt x="325" y="17"/>
                        <a:pt x="325" y="17"/>
                        <a:pt x="325" y="17"/>
                      </a:cubicBezTo>
                      <a:cubicBezTo>
                        <a:pt x="325" y="17"/>
                        <a:pt x="325" y="17"/>
                        <a:pt x="325" y="17"/>
                      </a:cubicBezTo>
                      <a:cubicBezTo>
                        <a:pt x="324" y="16"/>
                        <a:pt x="324" y="16"/>
                        <a:pt x="324" y="16"/>
                      </a:cubicBezTo>
                      <a:cubicBezTo>
                        <a:pt x="326" y="15"/>
                        <a:pt x="326" y="15"/>
                        <a:pt x="326" y="15"/>
                      </a:cubicBezTo>
                      <a:cubicBezTo>
                        <a:pt x="327" y="14"/>
                        <a:pt x="327" y="14"/>
                        <a:pt x="327" y="14"/>
                      </a:cubicBezTo>
                      <a:cubicBezTo>
                        <a:pt x="329" y="14"/>
                        <a:pt x="329" y="14"/>
                        <a:pt x="329" y="14"/>
                      </a:cubicBezTo>
                      <a:cubicBezTo>
                        <a:pt x="329" y="14"/>
                        <a:pt x="329" y="14"/>
                        <a:pt x="329" y="14"/>
                      </a:cubicBezTo>
                      <a:cubicBezTo>
                        <a:pt x="328" y="14"/>
                        <a:pt x="328" y="14"/>
                        <a:pt x="328" y="14"/>
                      </a:cubicBezTo>
                      <a:cubicBezTo>
                        <a:pt x="328" y="13"/>
                        <a:pt x="328" y="13"/>
                        <a:pt x="328" y="13"/>
                      </a:cubicBezTo>
                      <a:cubicBezTo>
                        <a:pt x="328" y="12"/>
                        <a:pt x="328" y="12"/>
                        <a:pt x="328" y="12"/>
                      </a:cubicBezTo>
                      <a:cubicBezTo>
                        <a:pt x="328" y="12"/>
                        <a:pt x="328" y="12"/>
                        <a:pt x="328" y="12"/>
                      </a:cubicBezTo>
                      <a:cubicBezTo>
                        <a:pt x="327" y="13"/>
                        <a:pt x="327" y="13"/>
                        <a:pt x="327" y="13"/>
                      </a:cubicBezTo>
                      <a:cubicBezTo>
                        <a:pt x="327" y="14"/>
                        <a:pt x="327" y="14"/>
                        <a:pt x="327" y="14"/>
                      </a:cubicBezTo>
                      <a:cubicBezTo>
                        <a:pt x="327" y="13"/>
                        <a:pt x="327" y="13"/>
                        <a:pt x="327" y="13"/>
                      </a:cubicBezTo>
                      <a:cubicBezTo>
                        <a:pt x="326" y="13"/>
                        <a:pt x="326" y="13"/>
                        <a:pt x="326" y="13"/>
                      </a:cubicBezTo>
                      <a:cubicBezTo>
                        <a:pt x="326" y="13"/>
                        <a:pt x="326" y="13"/>
                        <a:pt x="326" y="13"/>
                      </a:cubicBezTo>
                      <a:cubicBezTo>
                        <a:pt x="325" y="13"/>
                        <a:pt x="325" y="13"/>
                        <a:pt x="325" y="13"/>
                      </a:cubicBezTo>
                      <a:cubicBezTo>
                        <a:pt x="325" y="14"/>
                        <a:pt x="325" y="14"/>
                        <a:pt x="325" y="14"/>
                      </a:cubicBezTo>
                      <a:cubicBezTo>
                        <a:pt x="324" y="15"/>
                        <a:pt x="324" y="15"/>
                        <a:pt x="324" y="15"/>
                      </a:cubicBezTo>
                      <a:cubicBezTo>
                        <a:pt x="323" y="15"/>
                        <a:pt x="323" y="15"/>
                        <a:pt x="323" y="15"/>
                      </a:cubicBezTo>
                      <a:cubicBezTo>
                        <a:pt x="323" y="14"/>
                        <a:pt x="323" y="14"/>
                        <a:pt x="323" y="14"/>
                      </a:cubicBezTo>
                      <a:cubicBezTo>
                        <a:pt x="323" y="13"/>
                        <a:pt x="323" y="13"/>
                        <a:pt x="323" y="13"/>
                      </a:cubicBezTo>
                      <a:cubicBezTo>
                        <a:pt x="323" y="13"/>
                        <a:pt x="323" y="13"/>
                        <a:pt x="323" y="13"/>
                      </a:cubicBezTo>
                      <a:cubicBezTo>
                        <a:pt x="322" y="12"/>
                        <a:pt x="322" y="12"/>
                        <a:pt x="322" y="12"/>
                      </a:cubicBezTo>
                      <a:cubicBezTo>
                        <a:pt x="323" y="12"/>
                        <a:pt x="323" y="12"/>
                        <a:pt x="323" y="12"/>
                      </a:cubicBezTo>
                      <a:cubicBezTo>
                        <a:pt x="323" y="12"/>
                        <a:pt x="323" y="12"/>
                        <a:pt x="323" y="12"/>
                      </a:cubicBezTo>
                      <a:cubicBezTo>
                        <a:pt x="323" y="11"/>
                        <a:pt x="323" y="11"/>
                        <a:pt x="323" y="11"/>
                      </a:cubicBezTo>
                      <a:cubicBezTo>
                        <a:pt x="324" y="11"/>
                        <a:pt x="324" y="11"/>
                        <a:pt x="324" y="11"/>
                      </a:cubicBezTo>
                      <a:cubicBezTo>
                        <a:pt x="325" y="11"/>
                        <a:pt x="325" y="11"/>
                        <a:pt x="325" y="11"/>
                      </a:cubicBezTo>
                      <a:cubicBezTo>
                        <a:pt x="326" y="10"/>
                        <a:pt x="326" y="10"/>
                        <a:pt x="326" y="10"/>
                      </a:cubicBezTo>
                      <a:cubicBezTo>
                        <a:pt x="327" y="10"/>
                        <a:pt x="327" y="10"/>
                        <a:pt x="327" y="10"/>
                      </a:cubicBezTo>
                      <a:cubicBezTo>
                        <a:pt x="328" y="10"/>
                        <a:pt x="328" y="10"/>
                        <a:pt x="328" y="10"/>
                      </a:cubicBezTo>
                      <a:cubicBezTo>
                        <a:pt x="329" y="9"/>
                        <a:pt x="329" y="9"/>
                        <a:pt x="329" y="9"/>
                      </a:cubicBezTo>
                      <a:cubicBezTo>
                        <a:pt x="331" y="9"/>
                        <a:pt x="331" y="9"/>
                        <a:pt x="331" y="9"/>
                      </a:cubicBezTo>
                      <a:cubicBezTo>
                        <a:pt x="332" y="9"/>
                        <a:pt x="332" y="9"/>
                        <a:pt x="332" y="9"/>
                      </a:cubicBezTo>
                      <a:cubicBezTo>
                        <a:pt x="332" y="9"/>
                        <a:pt x="332" y="9"/>
                        <a:pt x="332" y="9"/>
                      </a:cubicBezTo>
                      <a:cubicBezTo>
                        <a:pt x="332" y="10"/>
                        <a:pt x="332" y="10"/>
                        <a:pt x="332" y="10"/>
                      </a:cubicBezTo>
                      <a:cubicBezTo>
                        <a:pt x="332" y="10"/>
                        <a:pt x="332" y="10"/>
                        <a:pt x="332" y="10"/>
                      </a:cubicBezTo>
                      <a:cubicBezTo>
                        <a:pt x="332" y="12"/>
                        <a:pt x="332" y="12"/>
                        <a:pt x="332" y="12"/>
                      </a:cubicBezTo>
                      <a:cubicBezTo>
                        <a:pt x="333" y="12"/>
                        <a:pt x="333" y="12"/>
                        <a:pt x="333" y="12"/>
                      </a:cubicBezTo>
                      <a:cubicBezTo>
                        <a:pt x="333" y="11"/>
                        <a:pt x="333" y="11"/>
                        <a:pt x="333" y="11"/>
                      </a:cubicBezTo>
                      <a:cubicBezTo>
                        <a:pt x="334" y="10"/>
                        <a:pt x="334" y="10"/>
                        <a:pt x="334" y="10"/>
                      </a:cubicBezTo>
                      <a:cubicBezTo>
                        <a:pt x="334" y="11"/>
                        <a:pt x="334" y="11"/>
                        <a:pt x="334" y="11"/>
                      </a:cubicBezTo>
                      <a:cubicBezTo>
                        <a:pt x="334" y="11"/>
                        <a:pt x="334" y="11"/>
                        <a:pt x="334" y="11"/>
                      </a:cubicBezTo>
                      <a:cubicBezTo>
                        <a:pt x="334" y="12"/>
                        <a:pt x="334" y="12"/>
                        <a:pt x="334" y="12"/>
                      </a:cubicBezTo>
                      <a:cubicBezTo>
                        <a:pt x="334" y="11"/>
                        <a:pt x="334" y="11"/>
                        <a:pt x="334" y="11"/>
                      </a:cubicBezTo>
                      <a:cubicBezTo>
                        <a:pt x="334" y="11"/>
                        <a:pt x="334" y="11"/>
                        <a:pt x="334" y="11"/>
                      </a:cubicBezTo>
                      <a:cubicBezTo>
                        <a:pt x="335" y="10"/>
                        <a:pt x="335" y="10"/>
                        <a:pt x="335" y="10"/>
                      </a:cubicBezTo>
                      <a:cubicBezTo>
                        <a:pt x="335" y="9"/>
                        <a:pt x="335" y="9"/>
                        <a:pt x="335" y="9"/>
                      </a:cubicBezTo>
                      <a:cubicBezTo>
                        <a:pt x="335" y="8"/>
                        <a:pt x="335" y="8"/>
                        <a:pt x="335" y="8"/>
                      </a:cubicBezTo>
                      <a:cubicBezTo>
                        <a:pt x="335" y="8"/>
                        <a:pt x="335" y="8"/>
                        <a:pt x="335" y="8"/>
                      </a:cubicBezTo>
                      <a:cubicBezTo>
                        <a:pt x="337" y="7"/>
                        <a:pt x="337" y="7"/>
                        <a:pt x="337" y="7"/>
                      </a:cubicBezTo>
                      <a:cubicBezTo>
                        <a:pt x="337" y="7"/>
                        <a:pt x="337" y="7"/>
                        <a:pt x="337" y="7"/>
                      </a:cubicBezTo>
                      <a:cubicBezTo>
                        <a:pt x="337" y="8"/>
                        <a:pt x="337" y="8"/>
                        <a:pt x="337" y="8"/>
                      </a:cubicBezTo>
                      <a:cubicBezTo>
                        <a:pt x="337" y="9"/>
                        <a:pt x="337" y="9"/>
                        <a:pt x="337" y="9"/>
                      </a:cubicBezTo>
                      <a:cubicBezTo>
                        <a:pt x="338" y="10"/>
                        <a:pt x="338" y="10"/>
                        <a:pt x="338" y="10"/>
                      </a:cubicBezTo>
                      <a:cubicBezTo>
                        <a:pt x="338" y="11"/>
                        <a:pt x="338" y="11"/>
                        <a:pt x="338" y="11"/>
                      </a:cubicBezTo>
                      <a:cubicBezTo>
                        <a:pt x="338" y="11"/>
                        <a:pt x="338" y="11"/>
                        <a:pt x="338" y="11"/>
                      </a:cubicBezTo>
                      <a:cubicBezTo>
                        <a:pt x="338" y="12"/>
                        <a:pt x="338" y="12"/>
                        <a:pt x="338" y="12"/>
                      </a:cubicBezTo>
                      <a:cubicBezTo>
                        <a:pt x="338" y="13"/>
                        <a:pt x="338" y="13"/>
                        <a:pt x="338" y="13"/>
                      </a:cubicBezTo>
                      <a:cubicBezTo>
                        <a:pt x="339" y="13"/>
                        <a:pt x="339" y="13"/>
                        <a:pt x="339" y="13"/>
                      </a:cubicBezTo>
                      <a:cubicBezTo>
                        <a:pt x="339" y="13"/>
                        <a:pt x="339" y="13"/>
                        <a:pt x="339" y="13"/>
                      </a:cubicBezTo>
                      <a:cubicBezTo>
                        <a:pt x="339" y="12"/>
                        <a:pt x="339" y="12"/>
                        <a:pt x="339" y="12"/>
                      </a:cubicBezTo>
                      <a:cubicBezTo>
                        <a:pt x="339" y="11"/>
                        <a:pt x="339" y="11"/>
                        <a:pt x="339" y="11"/>
                      </a:cubicBezTo>
                      <a:cubicBezTo>
                        <a:pt x="339" y="11"/>
                        <a:pt x="339" y="11"/>
                        <a:pt x="339" y="11"/>
                      </a:cubicBezTo>
                      <a:cubicBezTo>
                        <a:pt x="340" y="10"/>
                        <a:pt x="340" y="10"/>
                        <a:pt x="340" y="10"/>
                      </a:cubicBezTo>
                      <a:cubicBezTo>
                        <a:pt x="341" y="10"/>
                        <a:pt x="341" y="10"/>
                        <a:pt x="341" y="10"/>
                      </a:cubicBezTo>
                      <a:cubicBezTo>
                        <a:pt x="342" y="11"/>
                        <a:pt x="342" y="11"/>
                        <a:pt x="342" y="11"/>
                      </a:cubicBezTo>
                      <a:cubicBezTo>
                        <a:pt x="342" y="12"/>
                        <a:pt x="342" y="12"/>
                        <a:pt x="342" y="12"/>
                      </a:cubicBezTo>
                      <a:cubicBezTo>
                        <a:pt x="341" y="13"/>
                        <a:pt x="341" y="13"/>
                        <a:pt x="341" y="13"/>
                      </a:cubicBezTo>
                      <a:cubicBezTo>
                        <a:pt x="342" y="13"/>
                        <a:pt x="342" y="13"/>
                        <a:pt x="342" y="13"/>
                      </a:cubicBezTo>
                      <a:cubicBezTo>
                        <a:pt x="342" y="14"/>
                        <a:pt x="342" y="14"/>
                        <a:pt x="342" y="14"/>
                      </a:cubicBezTo>
                      <a:cubicBezTo>
                        <a:pt x="343" y="13"/>
                        <a:pt x="343" y="13"/>
                        <a:pt x="343" y="13"/>
                      </a:cubicBezTo>
                      <a:cubicBezTo>
                        <a:pt x="343" y="12"/>
                        <a:pt x="343" y="12"/>
                        <a:pt x="343" y="12"/>
                      </a:cubicBezTo>
                      <a:cubicBezTo>
                        <a:pt x="343" y="12"/>
                        <a:pt x="343" y="12"/>
                        <a:pt x="343" y="12"/>
                      </a:cubicBezTo>
                      <a:cubicBezTo>
                        <a:pt x="344" y="12"/>
                        <a:pt x="344" y="12"/>
                        <a:pt x="344" y="12"/>
                      </a:cubicBezTo>
                      <a:cubicBezTo>
                        <a:pt x="344" y="12"/>
                        <a:pt x="344" y="12"/>
                        <a:pt x="344" y="12"/>
                      </a:cubicBezTo>
                      <a:cubicBezTo>
                        <a:pt x="344" y="13"/>
                        <a:pt x="344" y="13"/>
                        <a:pt x="344" y="13"/>
                      </a:cubicBezTo>
                      <a:cubicBezTo>
                        <a:pt x="344" y="13"/>
                        <a:pt x="344" y="13"/>
                        <a:pt x="344" y="13"/>
                      </a:cubicBezTo>
                      <a:cubicBezTo>
                        <a:pt x="344" y="14"/>
                        <a:pt x="344" y="14"/>
                        <a:pt x="344" y="14"/>
                      </a:cubicBezTo>
                      <a:cubicBezTo>
                        <a:pt x="345" y="13"/>
                        <a:pt x="345" y="13"/>
                        <a:pt x="345" y="13"/>
                      </a:cubicBezTo>
                      <a:cubicBezTo>
                        <a:pt x="345" y="13"/>
                        <a:pt x="345" y="13"/>
                        <a:pt x="345" y="13"/>
                      </a:cubicBezTo>
                      <a:cubicBezTo>
                        <a:pt x="345" y="14"/>
                        <a:pt x="345" y="14"/>
                        <a:pt x="345" y="14"/>
                      </a:cubicBezTo>
                      <a:cubicBezTo>
                        <a:pt x="346" y="13"/>
                        <a:pt x="346" y="13"/>
                        <a:pt x="346" y="13"/>
                      </a:cubicBezTo>
                      <a:cubicBezTo>
                        <a:pt x="346" y="12"/>
                        <a:pt x="346" y="12"/>
                        <a:pt x="346" y="12"/>
                      </a:cubicBezTo>
                      <a:cubicBezTo>
                        <a:pt x="345" y="11"/>
                        <a:pt x="345" y="11"/>
                        <a:pt x="345" y="11"/>
                      </a:cubicBezTo>
                      <a:cubicBezTo>
                        <a:pt x="344" y="11"/>
                        <a:pt x="344" y="11"/>
                        <a:pt x="344" y="11"/>
                      </a:cubicBezTo>
                      <a:cubicBezTo>
                        <a:pt x="344" y="11"/>
                        <a:pt x="344" y="11"/>
                        <a:pt x="344" y="11"/>
                      </a:cubicBezTo>
                      <a:cubicBezTo>
                        <a:pt x="344" y="10"/>
                        <a:pt x="344" y="10"/>
                        <a:pt x="344" y="10"/>
                      </a:cubicBezTo>
                      <a:cubicBezTo>
                        <a:pt x="343" y="9"/>
                        <a:pt x="343" y="9"/>
                        <a:pt x="343" y="9"/>
                      </a:cubicBezTo>
                      <a:cubicBezTo>
                        <a:pt x="343" y="8"/>
                        <a:pt x="343" y="8"/>
                        <a:pt x="343" y="8"/>
                      </a:cubicBezTo>
                      <a:cubicBezTo>
                        <a:pt x="342" y="8"/>
                        <a:pt x="342" y="8"/>
                        <a:pt x="342" y="8"/>
                      </a:cubicBezTo>
                      <a:cubicBezTo>
                        <a:pt x="343" y="7"/>
                        <a:pt x="343" y="7"/>
                        <a:pt x="343" y="7"/>
                      </a:cubicBezTo>
                      <a:cubicBezTo>
                        <a:pt x="344" y="7"/>
                        <a:pt x="344" y="7"/>
                        <a:pt x="344" y="7"/>
                      </a:cubicBezTo>
                      <a:cubicBezTo>
                        <a:pt x="344" y="7"/>
                        <a:pt x="344" y="7"/>
                        <a:pt x="344" y="7"/>
                      </a:cubicBezTo>
                      <a:cubicBezTo>
                        <a:pt x="345" y="7"/>
                        <a:pt x="345" y="7"/>
                        <a:pt x="345" y="7"/>
                      </a:cubicBezTo>
                      <a:cubicBezTo>
                        <a:pt x="346" y="7"/>
                        <a:pt x="346" y="7"/>
                        <a:pt x="346" y="7"/>
                      </a:cubicBezTo>
                      <a:cubicBezTo>
                        <a:pt x="346" y="7"/>
                        <a:pt x="346" y="7"/>
                        <a:pt x="346" y="7"/>
                      </a:cubicBezTo>
                      <a:cubicBezTo>
                        <a:pt x="346" y="5"/>
                        <a:pt x="346" y="5"/>
                        <a:pt x="346" y="5"/>
                      </a:cubicBezTo>
                      <a:cubicBezTo>
                        <a:pt x="346" y="5"/>
                        <a:pt x="346" y="5"/>
                        <a:pt x="346" y="5"/>
                      </a:cubicBezTo>
                      <a:cubicBezTo>
                        <a:pt x="346" y="4"/>
                        <a:pt x="346" y="4"/>
                        <a:pt x="346" y="4"/>
                      </a:cubicBezTo>
                      <a:cubicBezTo>
                        <a:pt x="347" y="4"/>
                        <a:pt x="347" y="4"/>
                        <a:pt x="347" y="4"/>
                      </a:cubicBezTo>
                      <a:cubicBezTo>
                        <a:pt x="348" y="4"/>
                        <a:pt x="348" y="4"/>
                        <a:pt x="348" y="4"/>
                      </a:cubicBezTo>
                      <a:cubicBezTo>
                        <a:pt x="349" y="4"/>
                        <a:pt x="349" y="4"/>
                        <a:pt x="349" y="4"/>
                      </a:cubicBezTo>
                      <a:cubicBezTo>
                        <a:pt x="350" y="5"/>
                        <a:pt x="350" y="5"/>
                        <a:pt x="350" y="5"/>
                      </a:cubicBezTo>
                      <a:cubicBezTo>
                        <a:pt x="350" y="5"/>
                        <a:pt x="350" y="5"/>
                        <a:pt x="350" y="5"/>
                      </a:cubicBezTo>
                      <a:cubicBezTo>
                        <a:pt x="349" y="6"/>
                        <a:pt x="349" y="6"/>
                        <a:pt x="349" y="6"/>
                      </a:cubicBezTo>
                      <a:cubicBezTo>
                        <a:pt x="349" y="6"/>
                        <a:pt x="349" y="6"/>
                        <a:pt x="349" y="6"/>
                      </a:cubicBezTo>
                      <a:cubicBezTo>
                        <a:pt x="351" y="7"/>
                        <a:pt x="351" y="7"/>
                        <a:pt x="351" y="7"/>
                      </a:cubicBezTo>
                      <a:cubicBezTo>
                        <a:pt x="351" y="7"/>
                        <a:pt x="351" y="7"/>
                        <a:pt x="351" y="7"/>
                      </a:cubicBezTo>
                      <a:cubicBezTo>
                        <a:pt x="351" y="9"/>
                        <a:pt x="351" y="9"/>
                        <a:pt x="351" y="9"/>
                      </a:cubicBezTo>
                      <a:cubicBezTo>
                        <a:pt x="351" y="10"/>
                        <a:pt x="351" y="10"/>
                        <a:pt x="351" y="10"/>
                      </a:cubicBezTo>
                      <a:cubicBezTo>
                        <a:pt x="352" y="10"/>
                        <a:pt x="352" y="10"/>
                        <a:pt x="352" y="10"/>
                      </a:cubicBezTo>
                      <a:cubicBezTo>
                        <a:pt x="353" y="9"/>
                        <a:pt x="353" y="9"/>
                        <a:pt x="353" y="9"/>
                      </a:cubicBezTo>
                      <a:cubicBezTo>
                        <a:pt x="353" y="9"/>
                        <a:pt x="353" y="9"/>
                        <a:pt x="353" y="9"/>
                      </a:cubicBezTo>
                      <a:cubicBezTo>
                        <a:pt x="353" y="10"/>
                        <a:pt x="353" y="10"/>
                        <a:pt x="353" y="10"/>
                      </a:cubicBezTo>
                      <a:cubicBezTo>
                        <a:pt x="353" y="10"/>
                        <a:pt x="353" y="10"/>
                        <a:pt x="353" y="10"/>
                      </a:cubicBezTo>
                      <a:cubicBezTo>
                        <a:pt x="354" y="10"/>
                        <a:pt x="354" y="10"/>
                        <a:pt x="354" y="10"/>
                      </a:cubicBezTo>
                      <a:cubicBezTo>
                        <a:pt x="354" y="9"/>
                        <a:pt x="354" y="9"/>
                        <a:pt x="354" y="9"/>
                      </a:cubicBezTo>
                      <a:cubicBezTo>
                        <a:pt x="355" y="9"/>
                        <a:pt x="355" y="9"/>
                        <a:pt x="355" y="9"/>
                      </a:cubicBezTo>
                      <a:cubicBezTo>
                        <a:pt x="356" y="9"/>
                        <a:pt x="356" y="9"/>
                        <a:pt x="356" y="9"/>
                      </a:cubicBezTo>
                      <a:cubicBezTo>
                        <a:pt x="355" y="7"/>
                        <a:pt x="355" y="7"/>
                        <a:pt x="355" y="7"/>
                      </a:cubicBezTo>
                      <a:cubicBezTo>
                        <a:pt x="356" y="6"/>
                        <a:pt x="356" y="6"/>
                        <a:pt x="356" y="6"/>
                      </a:cubicBezTo>
                      <a:cubicBezTo>
                        <a:pt x="356" y="6"/>
                        <a:pt x="356" y="6"/>
                        <a:pt x="356" y="6"/>
                      </a:cubicBezTo>
                      <a:cubicBezTo>
                        <a:pt x="357" y="7"/>
                        <a:pt x="357" y="7"/>
                        <a:pt x="357" y="7"/>
                      </a:cubicBezTo>
                      <a:cubicBezTo>
                        <a:pt x="358" y="7"/>
                        <a:pt x="358" y="7"/>
                        <a:pt x="358" y="7"/>
                      </a:cubicBezTo>
                      <a:cubicBezTo>
                        <a:pt x="358" y="6"/>
                        <a:pt x="358" y="6"/>
                        <a:pt x="358" y="6"/>
                      </a:cubicBezTo>
                      <a:cubicBezTo>
                        <a:pt x="357" y="5"/>
                        <a:pt x="357" y="5"/>
                        <a:pt x="357" y="5"/>
                      </a:cubicBezTo>
                      <a:cubicBezTo>
                        <a:pt x="357" y="4"/>
                        <a:pt x="357" y="4"/>
                        <a:pt x="357" y="4"/>
                      </a:cubicBezTo>
                      <a:cubicBezTo>
                        <a:pt x="357" y="4"/>
                        <a:pt x="357" y="4"/>
                        <a:pt x="357" y="4"/>
                      </a:cubicBezTo>
                      <a:cubicBezTo>
                        <a:pt x="357" y="3"/>
                        <a:pt x="357" y="3"/>
                        <a:pt x="357" y="3"/>
                      </a:cubicBezTo>
                      <a:cubicBezTo>
                        <a:pt x="358" y="3"/>
                        <a:pt x="358" y="3"/>
                        <a:pt x="358" y="3"/>
                      </a:cubicBezTo>
                      <a:cubicBezTo>
                        <a:pt x="360" y="4"/>
                        <a:pt x="360" y="4"/>
                        <a:pt x="360" y="4"/>
                      </a:cubicBezTo>
                      <a:cubicBezTo>
                        <a:pt x="360" y="5"/>
                        <a:pt x="360" y="5"/>
                        <a:pt x="360" y="5"/>
                      </a:cubicBezTo>
                      <a:cubicBezTo>
                        <a:pt x="360" y="6"/>
                        <a:pt x="360" y="6"/>
                        <a:pt x="360" y="6"/>
                      </a:cubicBezTo>
                      <a:cubicBezTo>
                        <a:pt x="360" y="7"/>
                        <a:pt x="360" y="7"/>
                        <a:pt x="360" y="7"/>
                      </a:cubicBezTo>
                      <a:cubicBezTo>
                        <a:pt x="360" y="7"/>
                        <a:pt x="360" y="7"/>
                        <a:pt x="360" y="7"/>
                      </a:cubicBezTo>
                      <a:cubicBezTo>
                        <a:pt x="361" y="9"/>
                        <a:pt x="361" y="9"/>
                        <a:pt x="361" y="9"/>
                      </a:cubicBezTo>
                      <a:cubicBezTo>
                        <a:pt x="361" y="9"/>
                        <a:pt x="361" y="9"/>
                        <a:pt x="361" y="9"/>
                      </a:cubicBezTo>
                      <a:cubicBezTo>
                        <a:pt x="361" y="9"/>
                        <a:pt x="361" y="9"/>
                        <a:pt x="361" y="9"/>
                      </a:cubicBezTo>
                      <a:cubicBezTo>
                        <a:pt x="361" y="8"/>
                        <a:pt x="361" y="8"/>
                        <a:pt x="361" y="8"/>
                      </a:cubicBezTo>
                      <a:cubicBezTo>
                        <a:pt x="361" y="7"/>
                        <a:pt x="361" y="7"/>
                        <a:pt x="361" y="7"/>
                      </a:cubicBezTo>
                      <a:cubicBezTo>
                        <a:pt x="361" y="6"/>
                        <a:pt x="361" y="6"/>
                        <a:pt x="361" y="6"/>
                      </a:cubicBezTo>
                      <a:cubicBezTo>
                        <a:pt x="361" y="5"/>
                        <a:pt x="361" y="5"/>
                        <a:pt x="361" y="5"/>
                      </a:cubicBezTo>
                      <a:cubicBezTo>
                        <a:pt x="361" y="3"/>
                        <a:pt x="361" y="3"/>
                        <a:pt x="361" y="3"/>
                      </a:cubicBezTo>
                      <a:cubicBezTo>
                        <a:pt x="361" y="2"/>
                        <a:pt x="361" y="2"/>
                        <a:pt x="361" y="2"/>
                      </a:cubicBezTo>
                      <a:cubicBezTo>
                        <a:pt x="361" y="1"/>
                        <a:pt x="361" y="1"/>
                        <a:pt x="361" y="1"/>
                      </a:cubicBezTo>
                      <a:cubicBezTo>
                        <a:pt x="362" y="1"/>
                        <a:pt x="362" y="1"/>
                        <a:pt x="362" y="1"/>
                      </a:cubicBezTo>
                      <a:cubicBezTo>
                        <a:pt x="363" y="2"/>
                        <a:pt x="363" y="2"/>
                        <a:pt x="363" y="2"/>
                      </a:cubicBezTo>
                      <a:cubicBezTo>
                        <a:pt x="363" y="2"/>
                        <a:pt x="363" y="2"/>
                        <a:pt x="363" y="2"/>
                      </a:cubicBezTo>
                      <a:cubicBezTo>
                        <a:pt x="364" y="2"/>
                        <a:pt x="364" y="2"/>
                        <a:pt x="364" y="2"/>
                      </a:cubicBezTo>
                      <a:cubicBezTo>
                        <a:pt x="364" y="3"/>
                        <a:pt x="364" y="3"/>
                        <a:pt x="364" y="3"/>
                      </a:cubicBezTo>
                      <a:cubicBezTo>
                        <a:pt x="364" y="4"/>
                        <a:pt x="364" y="4"/>
                        <a:pt x="364" y="4"/>
                      </a:cubicBezTo>
                      <a:cubicBezTo>
                        <a:pt x="364" y="5"/>
                        <a:pt x="364" y="5"/>
                        <a:pt x="364" y="5"/>
                      </a:cubicBezTo>
                      <a:cubicBezTo>
                        <a:pt x="364" y="7"/>
                        <a:pt x="364" y="7"/>
                        <a:pt x="364" y="7"/>
                      </a:cubicBezTo>
                      <a:cubicBezTo>
                        <a:pt x="365" y="7"/>
                        <a:pt x="365" y="7"/>
                        <a:pt x="365" y="7"/>
                      </a:cubicBezTo>
                      <a:cubicBezTo>
                        <a:pt x="365" y="6"/>
                        <a:pt x="365" y="6"/>
                        <a:pt x="365" y="6"/>
                      </a:cubicBezTo>
                      <a:cubicBezTo>
                        <a:pt x="365" y="5"/>
                        <a:pt x="365" y="5"/>
                        <a:pt x="365" y="5"/>
                      </a:cubicBezTo>
                      <a:cubicBezTo>
                        <a:pt x="365" y="5"/>
                        <a:pt x="365" y="5"/>
                        <a:pt x="365" y="5"/>
                      </a:cubicBezTo>
                      <a:cubicBezTo>
                        <a:pt x="367" y="7"/>
                        <a:pt x="367" y="7"/>
                        <a:pt x="367" y="7"/>
                      </a:cubicBezTo>
                      <a:cubicBezTo>
                        <a:pt x="367" y="7"/>
                        <a:pt x="367" y="7"/>
                        <a:pt x="367" y="7"/>
                      </a:cubicBezTo>
                      <a:cubicBezTo>
                        <a:pt x="368" y="7"/>
                        <a:pt x="368" y="7"/>
                        <a:pt x="368" y="7"/>
                      </a:cubicBezTo>
                      <a:cubicBezTo>
                        <a:pt x="368" y="6"/>
                        <a:pt x="368" y="6"/>
                        <a:pt x="368" y="6"/>
                      </a:cubicBezTo>
                      <a:cubicBezTo>
                        <a:pt x="367" y="6"/>
                        <a:pt x="367" y="6"/>
                        <a:pt x="367" y="6"/>
                      </a:cubicBezTo>
                      <a:cubicBezTo>
                        <a:pt x="366" y="5"/>
                        <a:pt x="366" y="5"/>
                        <a:pt x="366" y="5"/>
                      </a:cubicBezTo>
                      <a:cubicBezTo>
                        <a:pt x="367" y="5"/>
                        <a:pt x="367" y="5"/>
                        <a:pt x="367" y="5"/>
                      </a:cubicBezTo>
                      <a:cubicBezTo>
                        <a:pt x="367" y="4"/>
                        <a:pt x="367" y="4"/>
                        <a:pt x="367" y="4"/>
                      </a:cubicBezTo>
                      <a:cubicBezTo>
                        <a:pt x="366" y="4"/>
                        <a:pt x="366" y="4"/>
                        <a:pt x="366" y="4"/>
                      </a:cubicBezTo>
                      <a:cubicBezTo>
                        <a:pt x="365" y="3"/>
                        <a:pt x="365" y="3"/>
                        <a:pt x="365" y="3"/>
                      </a:cubicBezTo>
                      <a:cubicBezTo>
                        <a:pt x="366" y="3"/>
                        <a:pt x="366" y="3"/>
                        <a:pt x="366" y="3"/>
                      </a:cubicBezTo>
                      <a:cubicBezTo>
                        <a:pt x="367" y="2"/>
                        <a:pt x="367" y="2"/>
                        <a:pt x="367" y="2"/>
                      </a:cubicBezTo>
                      <a:cubicBezTo>
                        <a:pt x="366" y="2"/>
                        <a:pt x="366" y="2"/>
                        <a:pt x="366" y="2"/>
                      </a:cubicBezTo>
                      <a:cubicBezTo>
                        <a:pt x="366" y="2"/>
                        <a:pt x="366" y="2"/>
                        <a:pt x="366" y="2"/>
                      </a:cubicBezTo>
                      <a:cubicBezTo>
                        <a:pt x="365" y="1"/>
                        <a:pt x="365" y="1"/>
                        <a:pt x="365" y="1"/>
                      </a:cubicBezTo>
                      <a:cubicBezTo>
                        <a:pt x="366" y="1"/>
                        <a:pt x="366" y="1"/>
                        <a:pt x="366" y="1"/>
                      </a:cubicBezTo>
                      <a:cubicBezTo>
                        <a:pt x="366" y="1"/>
                        <a:pt x="366" y="1"/>
                        <a:pt x="366" y="1"/>
                      </a:cubicBezTo>
                      <a:cubicBezTo>
                        <a:pt x="367" y="0"/>
                        <a:pt x="367" y="0"/>
                        <a:pt x="367" y="0"/>
                      </a:cubicBezTo>
                      <a:cubicBezTo>
                        <a:pt x="369" y="1"/>
                        <a:pt x="369" y="1"/>
                        <a:pt x="369" y="1"/>
                      </a:cubicBezTo>
                      <a:cubicBezTo>
                        <a:pt x="370" y="1"/>
                        <a:pt x="370" y="1"/>
                        <a:pt x="370" y="1"/>
                      </a:cubicBezTo>
                      <a:cubicBezTo>
                        <a:pt x="370" y="2"/>
                        <a:pt x="370" y="2"/>
                        <a:pt x="370" y="2"/>
                      </a:cubicBezTo>
                      <a:cubicBezTo>
                        <a:pt x="369" y="3"/>
                        <a:pt x="369" y="3"/>
                        <a:pt x="369" y="3"/>
                      </a:cubicBezTo>
                      <a:cubicBezTo>
                        <a:pt x="369" y="3"/>
                        <a:pt x="369" y="3"/>
                        <a:pt x="369" y="3"/>
                      </a:cubicBezTo>
                      <a:cubicBezTo>
                        <a:pt x="370" y="3"/>
                        <a:pt x="370" y="3"/>
                        <a:pt x="370" y="3"/>
                      </a:cubicBezTo>
                      <a:cubicBezTo>
                        <a:pt x="371" y="2"/>
                        <a:pt x="371" y="2"/>
                        <a:pt x="371" y="2"/>
                      </a:cubicBezTo>
                      <a:cubicBezTo>
                        <a:pt x="371" y="2"/>
                        <a:pt x="371" y="2"/>
                        <a:pt x="371" y="2"/>
                      </a:cubicBezTo>
                      <a:cubicBezTo>
                        <a:pt x="371" y="2"/>
                        <a:pt x="371" y="2"/>
                        <a:pt x="371" y="2"/>
                      </a:cubicBezTo>
                      <a:cubicBezTo>
                        <a:pt x="371" y="3"/>
                        <a:pt x="371" y="3"/>
                        <a:pt x="371" y="3"/>
                      </a:cubicBezTo>
                      <a:cubicBezTo>
                        <a:pt x="372" y="4"/>
                        <a:pt x="372" y="4"/>
                        <a:pt x="372" y="4"/>
                      </a:cubicBezTo>
                      <a:cubicBezTo>
                        <a:pt x="372" y="4"/>
                        <a:pt x="372" y="4"/>
                        <a:pt x="372" y="4"/>
                      </a:cubicBezTo>
                      <a:cubicBezTo>
                        <a:pt x="372" y="3"/>
                        <a:pt x="372" y="3"/>
                        <a:pt x="372" y="3"/>
                      </a:cubicBezTo>
                      <a:cubicBezTo>
                        <a:pt x="374" y="2"/>
                        <a:pt x="374" y="2"/>
                        <a:pt x="374" y="2"/>
                      </a:cubicBezTo>
                      <a:cubicBezTo>
                        <a:pt x="374" y="3"/>
                        <a:pt x="374" y="3"/>
                        <a:pt x="374" y="3"/>
                      </a:cubicBezTo>
                      <a:cubicBezTo>
                        <a:pt x="374" y="4"/>
                        <a:pt x="374" y="4"/>
                        <a:pt x="374" y="4"/>
                      </a:cubicBezTo>
                      <a:cubicBezTo>
                        <a:pt x="373" y="4"/>
                        <a:pt x="373" y="4"/>
                        <a:pt x="373" y="4"/>
                      </a:cubicBezTo>
                      <a:cubicBezTo>
                        <a:pt x="374" y="6"/>
                        <a:pt x="374" y="6"/>
                        <a:pt x="374" y="6"/>
                      </a:cubicBezTo>
                      <a:cubicBezTo>
                        <a:pt x="373" y="6"/>
                        <a:pt x="373" y="6"/>
                        <a:pt x="373" y="6"/>
                      </a:cubicBezTo>
                      <a:cubicBezTo>
                        <a:pt x="374" y="7"/>
                        <a:pt x="374" y="7"/>
                        <a:pt x="374" y="7"/>
                      </a:cubicBezTo>
                      <a:cubicBezTo>
                        <a:pt x="375" y="6"/>
                        <a:pt x="375" y="6"/>
                        <a:pt x="375" y="6"/>
                      </a:cubicBezTo>
                      <a:cubicBezTo>
                        <a:pt x="375" y="7"/>
                        <a:pt x="375" y="7"/>
                        <a:pt x="375" y="7"/>
                      </a:cubicBezTo>
                      <a:cubicBezTo>
                        <a:pt x="376" y="6"/>
                        <a:pt x="376" y="6"/>
                        <a:pt x="376" y="6"/>
                      </a:cubicBezTo>
                      <a:cubicBezTo>
                        <a:pt x="376" y="5"/>
                        <a:pt x="376" y="5"/>
                        <a:pt x="376" y="5"/>
                      </a:cubicBezTo>
                      <a:cubicBezTo>
                        <a:pt x="376" y="4"/>
                        <a:pt x="376" y="4"/>
                        <a:pt x="376" y="4"/>
                      </a:cubicBezTo>
                      <a:cubicBezTo>
                        <a:pt x="376" y="2"/>
                        <a:pt x="376" y="2"/>
                        <a:pt x="376" y="2"/>
                      </a:cubicBezTo>
                      <a:cubicBezTo>
                        <a:pt x="376" y="1"/>
                        <a:pt x="376" y="1"/>
                        <a:pt x="376" y="1"/>
                      </a:cubicBezTo>
                      <a:cubicBezTo>
                        <a:pt x="376" y="0"/>
                        <a:pt x="376" y="0"/>
                        <a:pt x="376" y="0"/>
                      </a:cubicBezTo>
                      <a:cubicBezTo>
                        <a:pt x="377" y="1"/>
                        <a:pt x="377" y="1"/>
                        <a:pt x="377" y="1"/>
                      </a:cubicBezTo>
                      <a:cubicBezTo>
                        <a:pt x="378" y="1"/>
                        <a:pt x="378" y="1"/>
                        <a:pt x="378" y="1"/>
                      </a:cubicBezTo>
                      <a:cubicBezTo>
                        <a:pt x="379" y="1"/>
                        <a:pt x="379" y="1"/>
                        <a:pt x="379" y="1"/>
                      </a:cubicBezTo>
                      <a:cubicBezTo>
                        <a:pt x="380" y="0"/>
                        <a:pt x="380" y="0"/>
                        <a:pt x="380" y="0"/>
                      </a:cubicBezTo>
                      <a:cubicBezTo>
                        <a:pt x="381" y="1"/>
                        <a:pt x="381" y="1"/>
                        <a:pt x="381" y="1"/>
                      </a:cubicBezTo>
                      <a:cubicBezTo>
                        <a:pt x="381" y="1"/>
                        <a:pt x="381" y="1"/>
                        <a:pt x="381" y="1"/>
                      </a:cubicBezTo>
                      <a:cubicBezTo>
                        <a:pt x="382" y="2"/>
                        <a:pt x="382" y="2"/>
                        <a:pt x="382" y="2"/>
                      </a:cubicBezTo>
                      <a:cubicBezTo>
                        <a:pt x="384" y="1"/>
                        <a:pt x="384" y="1"/>
                        <a:pt x="384" y="1"/>
                      </a:cubicBezTo>
                      <a:cubicBezTo>
                        <a:pt x="385" y="2"/>
                        <a:pt x="385" y="2"/>
                        <a:pt x="385" y="2"/>
                      </a:cubicBezTo>
                      <a:cubicBezTo>
                        <a:pt x="385" y="3"/>
                        <a:pt x="385" y="3"/>
                        <a:pt x="385" y="3"/>
                      </a:cubicBezTo>
                      <a:cubicBezTo>
                        <a:pt x="385" y="3"/>
                        <a:pt x="385" y="3"/>
                        <a:pt x="385" y="3"/>
                      </a:cubicBezTo>
                      <a:cubicBezTo>
                        <a:pt x="386" y="4"/>
                        <a:pt x="386" y="4"/>
                        <a:pt x="386" y="4"/>
                      </a:cubicBezTo>
                      <a:cubicBezTo>
                        <a:pt x="385" y="5"/>
                        <a:pt x="385" y="5"/>
                        <a:pt x="385" y="5"/>
                      </a:cubicBezTo>
                      <a:cubicBezTo>
                        <a:pt x="385" y="6"/>
                        <a:pt x="385" y="6"/>
                        <a:pt x="385" y="6"/>
                      </a:cubicBezTo>
                      <a:cubicBezTo>
                        <a:pt x="386" y="6"/>
                        <a:pt x="386" y="6"/>
                        <a:pt x="386" y="6"/>
                      </a:cubicBezTo>
                      <a:cubicBezTo>
                        <a:pt x="387" y="5"/>
                        <a:pt x="387" y="5"/>
                        <a:pt x="387" y="5"/>
                      </a:cubicBezTo>
                      <a:cubicBezTo>
                        <a:pt x="388" y="4"/>
                        <a:pt x="388" y="4"/>
                        <a:pt x="388" y="4"/>
                      </a:cubicBezTo>
                      <a:cubicBezTo>
                        <a:pt x="389" y="3"/>
                        <a:pt x="389" y="3"/>
                        <a:pt x="389" y="3"/>
                      </a:cubicBezTo>
                      <a:cubicBezTo>
                        <a:pt x="390" y="3"/>
                        <a:pt x="390" y="3"/>
                        <a:pt x="390" y="3"/>
                      </a:cubicBezTo>
                      <a:cubicBezTo>
                        <a:pt x="391" y="4"/>
                        <a:pt x="391" y="4"/>
                        <a:pt x="391" y="4"/>
                      </a:cubicBezTo>
                      <a:cubicBezTo>
                        <a:pt x="392" y="4"/>
                        <a:pt x="392" y="4"/>
                        <a:pt x="392" y="4"/>
                      </a:cubicBezTo>
                      <a:cubicBezTo>
                        <a:pt x="392" y="4"/>
                        <a:pt x="392" y="4"/>
                        <a:pt x="392" y="4"/>
                      </a:cubicBezTo>
                      <a:cubicBezTo>
                        <a:pt x="391" y="5"/>
                        <a:pt x="391" y="5"/>
                        <a:pt x="391" y="5"/>
                      </a:cubicBezTo>
                      <a:cubicBezTo>
                        <a:pt x="392" y="6"/>
                        <a:pt x="392" y="6"/>
                        <a:pt x="392" y="6"/>
                      </a:cubicBezTo>
                      <a:cubicBezTo>
                        <a:pt x="392" y="6"/>
                        <a:pt x="392" y="6"/>
                        <a:pt x="392" y="6"/>
                      </a:cubicBezTo>
                      <a:cubicBezTo>
                        <a:pt x="392" y="5"/>
                        <a:pt x="392" y="5"/>
                        <a:pt x="392" y="5"/>
                      </a:cubicBezTo>
                      <a:cubicBezTo>
                        <a:pt x="393" y="4"/>
                        <a:pt x="393" y="4"/>
                        <a:pt x="393" y="4"/>
                      </a:cubicBezTo>
                      <a:cubicBezTo>
                        <a:pt x="394" y="4"/>
                        <a:pt x="394" y="4"/>
                        <a:pt x="394" y="4"/>
                      </a:cubicBezTo>
                      <a:cubicBezTo>
                        <a:pt x="396" y="4"/>
                        <a:pt x="396" y="4"/>
                        <a:pt x="396" y="4"/>
                      </a:cubicBezTo>
                      <a:cubicBezTo>
                        <a:pt x="398" y="5"/>
                        <a:pt x="398" y="5"/>
                        <a:pt x="398" y="5"/>
                      </a:cubicBezTo>
                      <a:cubicBezTo>
                        <a:pt x="398" y="5"/>
                        <a:pt x="398" y="5"/>
                        <a:pt x="398" y="5"/>
                      </a:cubicBezTo>
                      <a:cubicBezTo>
                        <a:pt x="398" y="6"/>
                        <a:pt x="398" y="6"/>
                        <a:pt x="398" y="6"/>
                      </a:cubicBezTo>
                      <a:cubicBezTo>
                        <a:pt x="397" y="6"/>
                        <a:pt x="397" y="6"/>
                        <a:pt x="397" y="6"/>
                      </a:cubicBezTo>
                      <a:cubicBezTo>
                        <a:pt x="398" y="6"/>
                        <a:pt x="398" y="6"/>
                        <a:pt x="398" y="6"/>
                      </a:cubicBezTo>
                      <a:cubicBezTo>
                        <a:pt x="397" y="7"/>
                        <a:pt x="397" y="7"/>
                        <a:pt x="397" y="7"/>
                      </a:cubicBezTo>
                      <a:cubicBezTo>
                        <a:pt x="397" y="8"/>
                        <a:pt x="397" y="8"/>
                        <a:pt x="397" y="8"/>
                      </a:cubicBezTo>
                      <a:cubicBezTo>
                        <a:pt x="398" y="7"/>
                        <a:pt x="398" y="7"/>
                        <a:pt x="398" y="7"/>
                      </a:cubicBezTo>
                      <a:cubicBezTo>
                        <a:pt x="399" y="7"/>
                        <a:pt x="399" y="7"/>
                        <a:pt x="399" y="7"/>
                      </a:cubicBezTo>
                      <a:cubicBezTo>
                        <a:pt x="399" y="8"/>
                        <a:pt x="399" y="8"/>
                        <a:pt x="399" y="8"/>
                      </a:cubicBezTo>
                      <a:cubicBezTo>
                        <a:pt x="400" y="8"/>
                        <a:pt x="400" y="8"/>
                        <a:pt x="400" y="8"/>
                      </a:cubicBezTo>
                      <a:cubicBezTo>
                        <a:pt x="400" y="7"/>
                        <a:pt x="400" y="7"/>
                        <a:pt x="400" y="7"/>
                      </a:cubicBezTo>
                      <a:cubicBezTo>
                        <a:pt x="402" y="7"/>
                        <a:pt x="402" y="7"/>
                        <a:pt x="402" y="7"/>
                      </a:cubicBezTo>
                      <a:cubicBezTo>
                        <a:pt x="402" y="8"/>
                        <a:pt x="402" y="8"/>
                        <a:pt x="402" y="8"/>
                      </a:cubicBezTo>
                      <a:cubicBezTo>
                        <a:pt x="401" y="8"/>
                        <a:pt x="401" y="8"/>
                        <a:pt x="401" y="8"/>
                      </a:cubicBezTo>
                      <a:cubicBezTo>
                        <a:pt x="401" y="9"/>
                        <a:pt x="401" y="9"/>
                        <a:pt x="401" y="9"/>
                      </a:cubicBezTo>
                      <a:cubicBezTo>
                        <a:pt x="402" y="9"/>
                        <a:pt x="402" y="9"/>
                        <a:pt x="402" y="9"/>
                      </a:cubicBezTo>
                      <a:cubicBezTo>
                        <a:pt x="402" y="9"/>
                        <a:pt x="402" y="9"/>
                        <a:pt x="402" y="9"/>
                      </a:cubicBezTo>
                      <a:cubicBezTo>
                        <a:pt x="403" y="8"/>
                        <a:pt x="403" y="8"/>
                        <a:pt x="403" y="8"/>
                      </a:cubicBezTo>
                      <a:cubicBezTo>
                        <a:pt x="404" y="8"/>
                        <a:pt x="404" y="8"/>
                        <a:pt x="404" y="8"/>
                      </a:cubicBezTo>
                      <a:cubicBezTo>
                        <a:pt x="404" y="9"/>
                        <a:pt x="404" y="9"/>
                        <a:pt x="404" y="9"/>
                      </a:cubicBezTo>
                      <a:cubicBezTo>
                        <a:pt x="406" y="10"/>
                        <a:pt x="406" y="10"/>
                        <a:pt x="406" y="10"/>
                      </a:cubicBezTo>
                      <a:cubicBezTo>
                        <a:pt x="407" y="10"/>
                        <a:pt x="407" y="10"/>
                        <a:pt x="407" y="10"/>
                      </a:cubicBezTo>
                      <a:cubicBezTo>
                        <a:pt x="407" y="10"/>
                        <a:pt x="407" y="10"/>
                        <a:pt x="407" y="10"/>
                      </a:cubicBezTo>
                      <a:cubicBezTo>
                        <a:pt x="406" y="11"/>
                        <a:pt x="406" y="11"/>
                        <a:pt x="406" y="11"/>
                      </a:cubicBezTo>
                      <a:cubicBezTo>
                        <a:pt x="405" y="11"/>
                        <a:pt x="405" y="11"/>
                        <a:pt x="405" y="11"/>
                      </a:cubicBezTo>
                      <a:cubicBezTo>
                        <a:pt x="404" y="12"/>
                        <a:pt x="404" y="12"/>
                        <a:pt x="404" y="12"/>
                      </a:cubicBezTo>
                      <a:cubicBezTo>
                        <a:pt x="403" y="12"/>
                        <a:pt x="403" y="12"/>
                        <a:pt x="403" y="12"/>
                      </a:cubicBezTo>
                      <a:cubicBezTo>
                        <a:pt x="401" y="13"/>
                        <a:pt x="401" y="13"/>
                        <a:pt x="401" y="13"/>
                      </a:cubicBezTo>
                      <a:cubicBezTo>
                        <a:pt x="400" y="13"/>
                        <a:pt x="400" y="13"/>
                        <a:pt x="400" y="13"/>
                      </a:cubicBezTo>
                      <a:cubicBezTo>
                        <a:pt x="400" y="13"/>
                        <a:pt x="400" y="13"/>
                        <a:pt x="400" y="13"/>
                      </a:cubicBezTo>
                      <a:cubicBezTo>
                        <a:pt x="399" y="13"/>
                        <a:pt x="399" y="13"/>
                        <a:pt x="399" y="13"/>
                      </a:cubicBezTo>
                      <a:cubicBezTo>
                        <a:pt x="398" y="14"/>
                        <a:pt x="398" y="14"/>
                        <a:pt x="398" y="14"/>
                      </a:cubicBezTo>
                      <a:cubicBezTo>
                        <a:pt x="400" y="14"/>
                        <a:pt x="400" y="14"/>
                        <a:pt x="400" y="14"/>
                      </a:cubicBezTo>
                      <a:cubicBezTo>
                        <a:pt x="402" y="14"/>
                        <a:pt x="402" y="14"/>
                        <a:pt x="402" y="14"/>
                      </a:cubicBezTo>
                      <a:cubicBezTo>
                        <a:pt x="402" y="14"/>
                        <a:pt x="402" y="14"/>
                        <a:pt x="402" y="14"/>
                      </a:cubicBezTo>
                      <a:cubicBezTo>
                        <a:pt x="403" y="14"/>
                        <a:pt x="403" y="14"/>
                        <a:pt x="403" y="14"/>
                      </a:cubicBezTo>
                      <a:cubicBezTo>
                        <a:pt x="404" y="13"/>
                        <a:pt x="404" y="13"/>
                        <a:pt x="404" y="13"/>
                      </a:cubicBezTo>
                      <a:cubicBezTo>
                        <a:pt x="404" y="13"/>
                        <a:pt x="404" y="13"/>
                        <a:pt x="404" y="13"/>
                      </a:cubicBezTo>
                      <a:cubicBezTo>
                        <a:pt x="405" y="13"/>
                        <a:pt x="405" y="13"/>
                        <a:pt x="405" y="13"/>
                      </a:cubicBezTo>
                      <a:cubicBezTo>
                        <a:pt x="406" y="12"/>
                        <a:pt x="406" y="12"/>
                        <a:pt x="406" y="12"/>
                      </a:cubicBezTo>
                      <a:cubicBezTo>
                        <a:pt x="407" y="12"/>
                        <a:pt x="407" y="12"/>
                        <a:pt x="407" y="12"/>
                      </a:cubicBezTo>
                      <a:cubicBezTo>
                        <a:pt x="408" y="12"/>
                        <a:pt x="408" y="12"/>
                        <a:pt x="408" y="12"/>
                      </a:cubicBezTo>
                      <a:cubicBezTo>
                        <a:pt x="408" y="12"/>
                        <a:pt x="408" y="12"/>
                        <a:pt x="408" y="12"/>
                      </a:cubicBezTo>
                      <a:cubicBezTo>
                        <a:pt x="408" y="13"/>
                        <a:pt x="408" y="13"/>
                        <a:pt x="408" y="13"/>
                      </a:cubicBezTo>
                      <a:cubicBezTo>
                        <a:pt x="408" y="14"/>
                        <a:pt x="408" y="14"/>
                        <a:pt x="408" y="14"/>
                      </a:cubicBezTo>
                      <a:cubicBezTo>
                        <a:pt x="409" y="13"/>
                        <a:pt x="409" y="13"/>
                        <a:pt x="409" y="13"/>
                      </a:cubicBezTo>
                      <a:cubicBezTo>
                        <a:pt x="409" y="12"/>
                        <a:pt x="409" y="12"/>
                        <a:pt x="409" y="12"/>
                      </a:cubicBezTo>
                      <a:cubicBezTo>
                        <a:pt x="410" y="12"/>
                        <a:pt x="410" y="12"/>
                        <a:pt x="410" y="12"/>
                      </a:cubicBezTo>
                      <a:cubicBezTo>
                        <a:pt x="411" y="12"/>
                        <a:pt x="411" y="12"/>
                        <a:pt x="411" y="12"/>
                      </a:cubicBezTo>
                      <a:cubicBezTo>
                        <a:pt x="410" y="13"/>
                        <a:pt x="410" y="13"/>
                        <a:pt x="410" y="13"/>
                      </a:cubicBezTo>
                      <a:cubicBezTo>
                        <a:pt x="410" y="13"/>
                        <a:pt x="410" y="13"/>
                        <a:pt x="410" y="13"/>
                      </a:cubicBezTo>
                      <a:cubicBezTo>
                        <a:pt x="410" y="14"/>
                        <a:pt x="410" y="14"/>
                        <a:pt x="410" y="14"/>
                      </a:cubicBezTo>
                      <a:cubicBezTo>
                        <a:pt x="410" y="14"/>
                        <a:pt x="410" y="14"/>
                        <a:pt x="410" y="14"/>
                      </a:cubicBezTo>
                      <a:cubicBezTo>
                        <a:pt x="411" y="14"/>
                        <a:pt x="411" y="14"/>
                        <a:pt x="411" y="14"/>
                      </a:cubicBezTo>
                      <a:cubicBezTo>
                        <a:pt x="411" y="14"/>
                        <a:pt x="411" y="14"/>
                        <a:pt x="411" y="14"/>
                      </a:cubicBezTo>
                      <a:cubicBezTo>
                        <a:pt x="411" y="13"/>
                        <a:pt x="411" y="13"/>
                        <a:pt x="411" y="13"/>
                      </a:cubicBezTo>
                      <a:cubicBezTo>
                        <a:pt x="412" y="13"/>
                        <a:pt x="412" y="13"/>
                        <a:pt x="412" y="13"/>
                      </a:cubicBezTo>
                      <a:cubicBezTo>
                        <a:pt x="413" y="13"/>
                        <a:pt x="413" y="13"/>
                        <a:pt x="413" y="13"/>
                      </a:cubicBezTo>
                      <a:cubicBezTo>
                        <a:pt x="413" y="15"/>
                        <a:pt x="413" y="15"/>
                        <a:pt x="413" y="15"/>
                      </a:cubicBezTo>
                      <a:cubicBezTo>
                        <a:pt x="412" y="15"/>
                        <a:pt x="412" y="15"/>
                        <a:pt x="412" y="15"/>
                      </a:cubicBezTo>
                      <a:cubicBezTo>
                        <a:pt x="412" y="15"/>
                        <a:pt x="412" y="15"/>
                        <a:pt x="412" y="15"/>
                      </a:cubicBezTo>
                      <a:cubicBezTo>
                        <a:pt x="413" y="16"/>
                        <a:pt x="413" y="16"/>
                        <a:pt x="413" y="16"/>
                      </a:cubicBezTo>
                      <a:cubicBezTo>
                        <a:pt x="413" y="17"/>
                        <a:pt x="413" y="17"/>
                        <a:pt x="413" y="17"/>
                      </a:cubicBezTo>
                      <a:cubicBezTo>
                        <a:pt x="412" y="18"/>
                        <a:pt x="412" y="18"/>
                        <a:pt x="412" y="18"/>
                      </a:cubicBezTo>
                      <a:cubicBezTo>
                        <a:pt x="412" y="19"/>
                        <a:pt x="412" y="19"/>
                        <a:pt x="412" y="19"/>
                      </a:cubicBezTo>
                      <a:cubicBezTo>
                        <a:pt x="410" y="20"/>
                        <a:pt x="410" y="20"/>
                        <a:pt x="410" y="20"/>
                      </a:cubicBezTo>
                      <a:cubicBezTo>
                        <a:pt x="411" y="20"/>
                        <a:pt x="411" y="20"/>
                        <a:pt x="411" y="20"/>
                      </a:cubicBezTo>
                      <a:cubicBezTo>
                        <a:pt x="411" y="20"/>
                        <a:pt x="411" y="20"/>
                        <a:pt x="411" y="20"/>
                      </a:cubicBezTo>
                      <a:cubicBezTo>
                        <a:pt x="412" y="19"/>
                        <a:pt x="412" y="19"/>
                        <a:pt x="412" y="19"/>
                      </a:cubicBezTo>
                      <a:cubicBezTo>
                        <a:pt x="413" y="19"/>
                        <a:pt x="413" y="19"/>
                        <a:pt x="413" y="19"/>
                      </a:cubicBezTo>
                      <a:cubicBezTo>
                        <a:pt x="413" y="19"/>
                        <a:pt x="413" y="19"/>
                        <a:pt x="413" y="19"/>
                      </a:cubicBezTo>
                      <a:cubicBezTo>
                        <a:pt x="414" y="19"/>
                        <a:pt x="414" y="19"/>
                        <a:pt x="414" y="19"/>
                      </a:cubicBezTo>
                      <a:cubicBezTo>
                        <a:pt x="415" y="20"/>
                        <a:pt x="415" y="20"/>
                        <a:pt x="415" y="20"/>
                      </a:cubicBezTo>
                      <a:cubicBezTo>
                        <a:pt x="415" y="21"/>
                        <a:pt x="415" y="21"/>
                        <a:pt x="415" y="21"/>
                      </a:cubicBezTo>
                      <a:cubicBezTo>
                        <a:pt x="416" y="22"/>
                        <a:pt x="416" y="22"/>
                        <a:pt x="416" y="22"/>
                      </a:cubicBezTo>
                      <a:cubicBezTo>
                        <a:pt x="415" y="24"/>
                        <a:pt x="415" y="24"/>
                        <a:pt x="415" y="24"/>
                      </a:cubicBezTo>
                      <a:cubicBezTo>
                        <a:pt x="414" y="26"/>
                        <a:pt x="414" y="26"/>
                        <a:pt x="414" y="26"/>
                      </a:cubicBezTo>
                      <a:cubicBezTo>
                        <a:pt x="412" y="27"/>
                        <a:pt x="412" y="27"/>
                        <a:pt x="412" y="27"/>
                      </a:cubicBezTo>
                      <a:cubicBezTo>
                        <a:pt x="412" y="27"/>
                        <a:pt x="412" y="27"/>
                        <a:pt x="412" y="27"/>
                      </a:cubicBezTo>
                      <a:cubicBezTo>
                        <a:pt x="411" y="27"/>
                        <a:pt x="411" y="27"/>
                        <a:pt x="411" y="27"/>
                      </a:cubicBezTo>
                      <a:cubicBezTo>
                        <a:pt x="410" y="27"/>
                        <a:pt x="410" y="27"/>
                        <a:pt x="410" y="27"/>
                      </a:cubicBezTo>
                      <a:cubicBezTo>
                        <a:pt x="410" y="28"/>
                        <a:pt x="410" y="28"/>
                        <a:pt x="410" y="28"/>
                      </a:cubicBezTo>
                      <a:cubicBezTo>
                        <a:pt x="409" y="28"/>
                        <a:pt x="409" y="28"/>
                        <a:pt x="409" y="28"/>
                      </a:cubicBezTo>
                      <a:cubicBezTo>
                        <a:pt x="407" y="29"/>
                        <a:pt x="407" y="29"/>
                        <a:pt x="407" y="29"/>
                      </a:cubicBezTo>
                      <a:cubicBezTo>
                        <a:pt x="405" y="30"/>
                        <a:pt x="405" y="30"/>
                        <a:pt x="405" y="30"/>
                      </a:cubicBezTo>
                      <a:cubicBezTo>
                        <a:pt x="405" y="30"/>
                        <a:pt x="405" y="30"/>
                        <a:pt x="405" y="30"/>
                      </a:cubicBezTo>
                      <a:cubicBezTo>
                        <a:pt x="403" y="31"/>
                        <a:pt x="403" y="31"/>
                        <a:pt x="403" y="31"/>
                      </a:cubicBezTo>
                      <a:cubicBezTo>
                        <a:pt x="402" y="31"/>
                        <a:pt x="402" y="31"/>
                        <a:pt x="402" y="31"/>
                      </a:cubicBezTo>
                      <a:cubicBezTo>
                        <a:pt x="401" y="30"/>
                        <a:pt x="401" y="30"/>
                        <a:pt x="401" y="30"/>
                      </a:cubicBezTo>
                      <a:cubicBezTo>
                        <a:pt x="401" y="31"/>
                        <a:pt x="401" y="31"/>
                        <a:pt x="401" y="31"/>
                      </a:cubicBezTo>
                      <a:cubicBezTo>
                        <a:pt x="400" y="31"/>
                        <a:pt x="400" y="31"/>
                        <a:pt x="400" y="31"/>
                      </a:cubicBezTo>
                      <a:cubicBezTo>
                        <a:pt x="399" y="31"/>
                        <a:pt x="399" y="31"/>
                        <a:pt x="399" y="31"/>
                      </a:cubicBezTo>
                      <a:cubicBezTo>
                        <a:pt x="398" y="30"/>
                        <a:pt x="398" y="30"/>
                        <a:pt x="398" y="30"/>
                      </a:cubicBezTo>
                      <a:cubicBezTo>
                        <a:pt x="397" y="30"/>
                        <a:pt x="397" y="30"/>
                        <a:pt x="397" y="30"/>
                      </a:cubicBezTo>
                      <a:cubicBezTo>
                        <a:pt x="397" y="30"/>
                        <a:pt x="397" y="30"/>
                        <a:pt x="397" y="30"/>
                      </a:cubicBezTo>
                      <a:cubicBezTo>
                        <a:pt x="398" y="31"/>
                        <a:pt x="398" y="31"/>
                        <a:pt x="398" y="31"/>
                      </a:cubicBezTo>
                      <a:cubicBezTo>
                        <a:pt x="398" y="31"/>
                        <a:pt x="398" y="31"/>
                        <a:pt x="398" y="31"/>
                      </a:cubicBezTo>
                      <a:cubicBezTo>
                        <a:pt x="398" y="31"/>
                        <a:pt x="398" y="31"/>
                        <a:pt x="398" y="31"/>
                      </a:cubicBezTo>
                      <a:cubicBezTo>
                        <a:pt x="396" y="31"/>
                        <a:pt x="396" y="31"/>
                        <a:pt x="396" y="31"/>
                      </a:cubicBezTo>
                      <a:cubicBezTo>
                        <a:pt x="396" y="31"/>
                        <a:pt x="396" y="31"/>
                        <a:pt x="396" y="31"/>
                      </a:cubicBezTo>
                      <a:cubicBezTo>
                        <a:pt x="395" y="31"/>
                        <a:pt x="395" y="31"/>
                        <a:pt x="395" y="31"/>
                      </a:cubicBezTo>
                      <a:cubicBezTo>
                        <a:pt x="393" y="31"/>
                        <a:pt x="393" y="31"/>
                        <a:pt x="393" y="31"/>
                      </a:cubicBezTo>
                      <a:cubicBezTo>
                        <a:pt x="393" y="30"/>
                        <a:pt x="393" y="30"/>
                        <a:pt x="393" y="30"/>
                      </a:cubicBezTo>
                      <a:cubicBezTo>
                        <a:pt x="392" y="30"/>
                        <a:pt x="392" y="30"/>
                        <a:pt x="392" y="30"/>
                      </a:cubicBezTo>
                      <a:cubicBezTo>
                        <a:pt x="392" y="30"/>
                        <a:pt x="392" y="30"/>
                        <a:pt x="392" y="30"/>
                      </a:cubicBezTo>
                      <a:cubicBezTo>
                        <a:pt x="390" y="29"/>
                        <a:pt x="390" y="29"/>
                        <a:pt x="390" y="29"/>
                      </a:cubicBezTo>
                      <a:cubicBezTo>
                        <a:pt x="389" y="28"/>
                        <a:pt x="389" y="28"/>
                        <a:pt x="389" y="28"/>
                      </a:cubicBezTo>
                      <a:cubicBezTo>
                        <a:pt x="390" y="29"/>
                        <a:pt x="390" y="29"/>
                        <a:pt x="390" y="29"/>
                      </a:cubicBezTo>
                      <a:cubicBezTo>
                        <a:pt x="391" y="30"/>
                        <a:pt x="391" y="30"/>
                        <a:pt x="391" y="30"/>
                      </a:cubicBezTo>
                      <a:cubicBezTo>
                        <a:pt x="391" y="30"/>
                        <a:pt x="391" y="30"/>
                        <a:pt x="391" y="30"/>
                      </a:cubicBezTo>
                      <a:cubicBezTo>
                        <a:pt x="390" y="30"/>
                        <a:pt x="390" y="30"/>
                        <a:pt x="390" y="30"/>
                      </a:cubicBezTo>
                      <a:cubicBezTo>
                        <a:pt x="389" y="30"/>
                        <a:pt x="389" y="30"/>
                        <a:pt x="389" y="30"/>
                      </a:cubicBezTo>
                      <a:cubicBezTo>
                        <a:pt x="389" y="31"/>
                        <a:pt x="389" y="31"/>
                        <a:pt x="389" y="31"/>
                      </a:cubicBezTo>
                      <a:cubicBezTo>
                        <a:pt x="392" y="31"/>
                        <a:pt x="392" y="31"/>
                        <a:pt x="392" y="31"/>
                      </a:cubicBezTo>
                      <a:cubicBezTo>
                        <a:pt x="394" y="32"/>
                        <a:pt x="394" y="32"/>
                        <a:pt x="394" y="32"/>
                      </a:cubicBezTo>
                      <a:cubicBezTo>
                        <a:pt x="395" y="32"/>
                        <a:pt x="395" y="32"/>
                        <a:pt x="395" y="32"/>
                      </a:cubicBezTo>
                      <a:cubicBezTo>
                        <a:pt x="394" y="33"/>
                        <a:pt x="394" y="33"/>
                        <a:pt x="394" y="33"/>
                      </a:cubicBezTo>
                      <a:cubicBezTo>
                        <a:pt x="390" y="34"/>
                        <a:pt x="390" y="34"/>
                        <a:pt x="390" y="34"/>
                      </a:cubicBezTo>
                      <a:cubicBezTo>
                        <a:pt x="387" y="34"/>
                        <a:pt x="387" y="34"/>
                        <a:pt x="387" y="34"/>
                      </a:cubicBezTo>
                      <a:cubicBezTo>
                        <a:pt x="386" y="34"/>
                        <a:pt x="386" y="34"/>
                        <a:pt x="386" y="34"/>
                      </a:cubicBezTo>
                      <a:cubicBezTo>
                        <a:pt x="385" y="35"/>
                        <a:pt x="385" y="35"/>
                        <a:pt x="385" y="35"/>
                      </a:cubicBezTo>
                      <a:cubicBezTo>
                        <a:pt x="383" y="35"/>
                        <a:pt x="383" y="35"/>
                        <a:pt x="383" y="35"/>
                      </a:cubicBezTo>
                      <a:cubicBezTo>
                        <a:pt x="383" y="34"/>
                        <a:pt x="383" y="34"/>
                        <a:pt x="383" y="34"/>
                      </a:cubicBezTo>
                      <a:cubicBezTo>
                        <a:pt x="382" y="34"/>
                        <a:pt x="382" y="34"/>
                        <a:pt x="382" y="34"/>
                      </a:cubicBezTo>
                      <a:cubicBezTo>
                        <a:pt x="382" y="34"/>
                        <a:pt x="382" y="34"/>
                        <a:pt x="382" y="34"/>
                      </a:cubicBezTo>
                      <a:cubicBezTo>
                        <a:pt x="381" y="34"/>
                        <a:pt x="381" y="34"/>
                        <a:pt x="381" y="34"/>
                      </a:cubicBezTo>
                      <a:cubicBezTo>
                        <a:pt x="380" y="35"/>
                        <a:pt x="380" y="35"/>
                        <a:pt x="380" y="35"/>
                      </a:cubicBezTo>
                      <a:cubicBezTo>
                        <a:pt x="381" y="35"/>
                        <a:pt x="381" y="35"/>
                        <a:pt x="381" y="35"/>
                      </a:cubicBezTo>
                      <a:cubicBezTo>
                        <a:pt x="381" y="36"/>
                        <a:pt x="381" y="36"/>
                        <a:pt x="381" y="36"/>
                      </a:cubicBezTo>
                      <a:cubicBezTo>
                        <a:pt x="383" y="35"/>
                        <a:pt x="383" y="35"/>
                        <a:pt x="383" y="35"/>
                      </a:cubicBezTo>
                      <a:cubicBezTo>
                        <a:pt x="385" y="35"/>
                        <a:pt x="385" y="35"/>
                        <a:pt x="385" y="35"/>
                      </a:cubicBezTo>
                      <a:cubicBezTo>
                        <a:pt x="386" y="35"/>
                        <a:pt x="386" y="35"/>
                        <a:pt x="386" y="35"/>
                      </a:cubicBezTo>
                      <a:cubicBezTo>
                        <a:pt x="390" y="35"/>
                        <a:pt x="390" y="35"/>
                        <a:pt x="390" y="35"/>
                      </a:cubicBezTo>
                      <a:cubicBezTo>
                        <a:pt x="392" y="35"/>
                        <a:pt x="392" y="35"/>
                        <a:pt x="392" y="35"/>
                      </a:cubicBezTo>
                      <a:cubicBezTo>
                        <a:pt x="394" y="33"/>
                        <a:pt x="394" y="33"/>
                        <a:pt x="394" y="33"/>
                      </a:cubicBezTo>
                      <a:cubicBezTo>
                        <a:pt x="395" y="33"/>
                        <a:pt x="395" y="33"/>
                        <a:pt x="395" y="33"/>
                      </a:cubicBezTo>
                      <a:cubicBezTo>
                        <a:pt x="396" y="34"/>
                        <a:pt x="396" y="34"/>
                        <a:pt x="396" y="34"/>
                      </a:cubicBezTo>
                      <a:cubicBezTo>
                        <a:pt x="397" y="33"/>
                        <a:pt x="397" y="33"/>
                        <a:pt x="397" y="33"/>
                      </a:cubicBezTo>
                      <a:cubicBezTo>
                        <a:pt x="398" y="33"/>
                        <a:pt x="398" y="33"/>
                        <a:pt x="398" y="33"/>
                      </a:cubicBezTo>
                      <a:cubicBezTo>
                        <a:pt x="398" y="35"/>
                        <a:pt x="398" y="35"/>
                        <a:pt x="398" y="35"/>
                      </a:cubicBezTo>
                      <a:cubicBezTo>
                        <a:pt x="397" y="36"/>
                        <a:pt x="397" y="36"/>
                        <a:pt x="397" y="36"/>
                      </a:cubicBezTo>
                      <a:cubicBezTo>
                        <a:pt x="395" y="37"/>
                        <a:pt x="395" y="37"/>
                        <a:pt x="395" y="37"/>
                      </a:cubicBezTo>
                      <a:cubicBezTo>
                        <a:pt x="395" y="37"/>
                        <a:pt x="395" y="37"/>
                        <a:pt x="395" y="37"/>
                      </a:cubicBezTo>
                      <a:cubicBezTo>
                        <a:pt x="393" y="37"/>
                        <a:pt x="393" y="37"/>
                        <a:pt x="393" y="37"/>
                      </a:cubicBezTo>
                      <a:cubicBezTo>
                        <a:pt x="392" y="38"/>
                        <a:pt x="392" y="38"/>
                        <a:pt x="392" y="38"/>
                      </a:cubicBezTo>
                      <a:cubicBezTo>
                        <a:pt x="392" y="38"/>
                        <a:pt x="392" y="38"/>
                        <a:pt x="392" y="38"/>
                      </a:cubicBezTo>
                      <a:cubicBezTo>
                        <a:pt x="391" y="39"/>
                        <a:pt x="391" y="39"/>
                        <a:pt x="391" y="39"/>
                      </a:cubicBezTo>
                      <a:cubicBezTo>
                        <a:pt x="389" y="40"/>
                        <a:pt x="389" y="40"/>
                        <a:pt x="389" y="40"/>
                      </a:cubicBezTo>
                      <a:cubicBezTo>
                        <a:pt x="388" y="40"/>
                        <a:pt x="388" y="40"/>
                        <a:pt x="388" y="40"/>
                      </a:cubicBezTo>
                      <a:cubicBezTo>
                        <a:pt x="387" y="40"/>
                        <a:pt x="387" y="40"/>
                        <a:pt x="387" y="40"/>
                      </a:cubicBezTo>
                      <a:cubicBezTo>
                        <a:pt x="386" y="40"/>
                        <a:pt x="386" y="40"/>
                        <a:pt x="386" y="40"/>
                      </a:cubicBezTo>
                      <a:cubicBezTo>
                        <a:pt x="385" y="41"/>
                        <a:pt x="385" y="41"/>
                        <a:pt x="385" y="41"/>
                      </a:cubicBezTo>
                      <a:cubicBezTo>
                        <a:pt x="384" y="41"/>
                        <a:pt x="384" y="41"/>
                        <a:pt x="384" y="41"/>
                      </a:cubicBezTo>
                      <a:cubicBezTo>
                        <a:pt x="383" y="42"/>
                        <a:pt x="383" y="42"/>
                        <a:pt x="383" y="42"/>
                      </a:cubicBezTo>
                      <a:cubicBezTo>
                        <a:pt x="381" y="42"/>
                        <a:pt x="381" y="42"/>
                        <a:pt x="381" y="42"/>
                      </a:cubicBezTo>
                      <a:cubicBezTo>
                        <a:pt x="380" y="43"/>
                        <a:pt x="380" y="43"/>
                        <a:pt x="380" y="43"/>
                      </a:cubicBezTo>
                      <a:cubicBezTo>
                        <a:pt x="380" y="43"/>
                        <a:pt x="380" y="43"/>
                        <a:pt x="380" y="43"/>
                      </a:cubicBezTo>
                      <a:cubicBezTo>
                        <a:pt x="379" y="43"/>
                        <a:pt x="379" y="43"/>
                        <a:pt x="379" y="43"/>
                      </a:cubicBezTo>
                      <a:cubicBezTo>
                        <a:pt x="378" y="43"/>
                        <a:pt x="378" y="43"/>
                        <a:pt x="378" y="43"/>
                      </a:cubicBezTo>
                      <a:cubicBezTo>
                        <a:pt x="378" y="44"/>
                        <a:pt x="378" y="44"/>
                        <a:pt x="378" y="44"/>
                      </a:cubicBezTo>
                      <a:cubicBezTo>
                        <a:pt x="378" y="44"/>
                        <a:pt x="378" y="44"/>
                        <a:pt x="378" y="44"/>
                      </a:cubicBezTo>
                      <a:cubicBezTo>
                        <a:pt x="377" y="45"/>
                        <a:pt x="377" y="45"/>
                        <a:pt x="377" y="45"/>
                      </a:cubicBezTo>
                      <a:cubicBezTo>
                        <a:pt x="376" y="46"/>
                        <a:pt x="376" y="46"/>
                        <a:pt x="376" y="46"/>
                      </a:cubicBezTo>
                      <a:cubicBezTo>
                        <a:pt x="374" y="46"/>
                        <a:pt x="374" y="46"/>
                        <a:pt x="374" y="46"/>
                      </a:cubicBezTo>
                      <a:cubicBezTo>
                        <a:pt x="373" y="46"/>
                        <a:pt x="373" y="46"/>
                        <a:pt x="373" y="46"/>
                      </a:cubicBezTo>
                      <a:cubicBezTo>
                        <a:pt x="373" y="46"/>
                        <a:pt x="373" y="46"/>
                        <a:pt x="373" y="46"/>
                      </a:cubicBezTo>
                      <a:cubicBezTo>
                        <a:pt x="372" y="46"/>
                        <a:pt x="372" y="46"/>
                        <a:pt x="372" y="46"/>
                      </a:cubicBezTo>
                      <a:cubicBezTo>
                        <a:pt x="373" y="45"/>
                        <a:pt x="373" y="45"/>
                        <a:pt x="373" y="45"/>
                      </a:cubicBezTo>
                      <a:cubicBezTo>
                        <a:pt x="373" y="44"/>
                        <a:pt x="373" y="44"/>
                        <a:pt x="373" y="44"/>
                      </a:cubicBezTo>
                      <a:cubicBezTo>
                        <a:pt x="372" y="44"/>
                        <a:pt x="372" y="44"/>
                        <a:pt x="372" y="44"/>
                      </a:cubicBezTo>
                      <a:cubicBezTo>
                        <a:pt x="372" y="45"/>
                        <a:pt x="372" y="45"/>
                        <a:pt x="372" y="45"/>
                      </a:cubicBezTo>
                      <a:cubicBezTo>
                        <a:pt x="372" y="45"/>
                        <a:pt x="372" y="45"/>
                        <a:pt x="372" y="45"/>
                      </a:cubicBezTo>
                      <a:cubicBezTo>
                        <a:pt x="372" y="46"/>
                        <a:pt x="372" y="46"/>
                        <a:pt x="372" y="46"/>
                      </a:cubicBezTo>
                      <a:cubicBezTo>
                        <a:pt x="373" y="47"/>
                        <a:pt x="373" y="47"/>
                        <a:pt x="373" y="47"/>
                      </a:cubicBezTo>
                      <a:cubicBezTo>
                        <a:pt x="373" y="47"/>
                        <a:pt x="373" y="47"/>
                        <a:pt x="373" y="47"/>
                      </a:cubicBezTo>
                      <a:cubicBezTo>
                        <a:pt x="372" y="48"/>
                        <a:pt x="372" y="48"/>
                        <a:pt x="372" y="48"/>
                      </a:cubicBezTo>
                      <a:cubicBezTo>
                        <a:pt x="372" y="48"/>
                        <a:pt x="372" y="48"/>
                        <a:pt x="372" y="48"/>
                      </a:cubicBezTo>
                      <a:cubicBezTo>
                        <a:pt x="371" y="48"/>
                        <a:pt x="371" y="48"/>
                        <a:pt x="371" y="48"/>
                      </a:cubicBezTo>
                      <a:cubicBezTo>
                        <a:pt x="370" y="48"/>
                        <a:pt x="370" y="48"/>
                        <a:pt x="370" y="48"/>
                      </a:cubicBezTo>
                      <a:cubicBezTo>
                        <a:pt x="368" y="48"/>
                        <a:pt x="368" y="48"/>
                        <a:pt x="368" y="48"/>
                      </a:cubicBezTo>
                      <a:cubicBezTo>
                        <a:pt x="368" y="48"/>
                        <a:pt x="368" y="48"/>
                        <a:pt x="368" y="48"/>
                      </a:cubicBezTo>
                      <a:cubicBezTo>
                        <a:pt x="367" y="48"/>
                        <a:pt x="367" y="48"/>
                        <a:pt x="367" y="48"/>
                      </a:cubicBezTo>
                      <a:cubicBezTo>
                        <a:pt x="367" y="47"/>
                        <a:pt x="367" y="47"/>
                        <a:pt x="367" y="47"/>
                      </a:cubicBezTo>
                      <a:cubicBezTo>
                        <a:pt x="367" y="47"/>
                        <a:pt x="367" y="47"/>
                        <a:pt x="367" y="47"/>
                      </a:cubicBezTo>
                      <a:cubicBezTo>
                        <a:pt x="366" y="48"/>
                        <a:pt x="366" y="48"/>
                        <a:pt x="366" y="48"/>
                      </a:cubicBezTo>
                      <a:cubicBezTo>
                        <a:pt x="366" y="48"/>
                        <a:pt x="366" y="48"/>
                        <a:pt x="366" y="48"/>
                      </a:cubicBezTo>
                      <a:cubicBezTo>
                        <a:pt x="365" y="48"/>
                        <a:pt x="365" y="48"/>
                        <a:pt x="365" y="48"/>
                      </a:cubicBezTo>
                      <a:cubicBezTo>
                        <a:pt x="367" y="49"/>
                        <a:pt x="367" y="49"/>
                        <a:pt x="367" y="49"/>
                      </a:cubicBezTo>
                      <a:cubicBezTo>
                        <a:pt x="370" y="49"/>
                        <a:pt x="370" y="49"/>
                        <a:pt x="370" y="49"/>
                      </a:cubicBezTo>
                      <a:cubicBezTo>
                        <a:pt x="370" y="49"/>
                        <a:pt x="370" y="49"/>
                        <a:pt x="370" y="49"/>
                      </a:cubicBezTo>
                      <a:cubicBezTo>
                        <a:pt x="370" y="50"/>
                        <a:pt x="370" y="50"/>
                        <a:pt x="370" y="50"/>
                      </a:cubicBezTo>
                      <a:cubicBezTo>
                        <a:pt x="369" y="51"/>
                        <a:pt x="369" y="51"/>
                        <a:pt x="369" y="51"/>
                      </a:cubicBezTo>
                      <a:cubicBezTo>
                        <a:pt x="368" y="50"/>
                        <a:pt x="368" y="50"/>
                        <a:pt x="368" y="50"/>
                      </a:cubicBezTo>
                      <a:cubicBezTo>
                        <a:pt x="367" y="51"/>
                        <a:pt x="367" y="51"/>
                        <a:pt x="367" y="51"/>
                      </a:cubicBezTo>
                      <a:cubicBezTo>
                        <a:pt x="366" y="51"/>
                        <a:pt x="366" y="51"/>
                        <a:pt x="366" y="51"/>
                      </a:cubicBezTo>
                      <a:cubicBezTo>
                        <a:pt x="367" y="51"/>
                        <a:pt x="367" y="51"/>
                        <a:pt x="367" y="51"/>
                      </a:cubicBezTo>
                      <a:cubicBezTo>
                        <a:pt x="367" y="51"/>
                        <a:pt x="367" y="51"/>
                        <a:pt x="367" y="51"/>
                      </a:cubicBezTo>
                      <a:cubicBezTo>
                        <a:pt x="368" y="51"/>
                        <a:pt x="368" y="51"/>
                        <a:pt x="368" y="51"/>
                      </a:cubicBezTo>
                      <a:cubicBezTo>
                        <a:pt x="368" y="52"/>
                        <a:pt x="368" y="52"/>
                        <a:pt x="368" y="52"/>
                      </a:cubicBezTo>
                      <a:cubicBezTo>
                        <a:pt x="366" y="53"/>
                        <a:pt x="366" y="53"/>
                        <a:pt x="366" y="53"/>
                      </a:cubicBezTo>
                      <a:cubicBezTo>
                        <a:pt x="365" y="53"/>
                        <a:pt x="365" y="53"/>
                        <a:pt x="365" y="53"/>
                      </a:cubicBezTo>
                      <a:cubicBezTo>
                        <a:pt x="362" y="53"/>
                        <a:pt x="362" y="53"/>
                        <a:pt x="362" y="53"/>
                      </a:cubicBezTo>
                      <a:cubicBezTo>
                        <a:pt x="362" y="53"/>
                        <a:pt x="362" y="53"/>
                        <a:pt x="362" y="53"/>
                      </a:cubicBezTo>
                      <a:cubicBezTo>
                        <a:pt x="361" y="53"/>
                        <a:pt x="361" y="53"/>
                        <a:pt x="361" y="53"/>
                      </a:cubicBezTo>
                      <a:cubicBezTo>
                        <a:pt x="361" y="52"/>
                        <a:pt x="361" y="52"/>
                        <a:pt x="361" y="52"/>
                      </a:cubicBezTo>
                      <a:cubicBezTo>
                        <a:pt x="361" y="51"/>
                        <a:pt x="361" y="51"/>
                        <a:pt x="361" y="51"/>
                      </a:cubicBezTo>
                      <a:cubicBezTo>
                        <a:pt x="359" y="51"/>
                        <a:pt x="359" y="51"/>
                        <a:pt x="359" y="51"/>
                      </a:cubicBezTo>
                      <a:cubicBezTo>
                        <a:pt x="359" y="50"/>
                        <a:pt x="359" y="50"/>
                        <a:pt x="359" y="50"/>
                      </a:cubicBezTo>
                      <a:cubicBezTo>
                        <a:pt x="359" y="50"/>
                        <a:pt x="359" y="50"/>
                        <a:pt x="359" y="50"/>
                      </a:cubicBezTo>
                      <a:cubicBezTo>
                        <a:pt x="358" y="49"/>
                        <a:pt x="358" y="49"/>
                        <a:pt x="358" y="49"/>
                      </a:cubicBezTo>
                      <a:cubicBezTo>
                        <a:pt x="358" y="49"/>
                        <a:pt x="358" y="49"/>
                        <a:pt x="358" y="49"/>
                      </a:cubicBezTo>
                      <a:cubicBezTo>
                        <a:pt x="357" y="49"/>
                        <a:pt x="357" y="49"/>
                        <a:pt x="357" y="49"/>
                      </a:cubicBezTo>
                      <a:cubicBezTo>
                        <a:pt x="356" y="49"/>
                        <a:pt x="356" y="49"/>
                        <a:pt x="356" y="49"/>
                      </a:cubicBezTo>
                      <a:cubicBezTo>
                        <a:pt x="356" y="50"/>
                        <a:pt x="356" y="50"/>
                        <a:pt x="356" y="50"/>
                      </a:cubicBezTo>
                      <a:cubicBezTo>
                        <a:pt x="356" y="50"/>
                        <a:pt x="356" y="50"/>
                        <a:pt x="356" y="50"/>
                      </a:cubicBezTo>
                      <a:cubicBezTo>
                        <a:pt x="357" y="50"/>
                        <a:pt x="357" y="50"/>
                        <a:pt x="357" y="50"/>
                      </a:cubicBezTo>
                      <a:cubicBezTo>
                        <a:pt x="357" y="50"/>
                        <a:pt x="357" y="50"/>
                        <a:pt x="357" y="50"/>
                      </a:cubicBezTo>
                      <a:cubicBezTo>
                        <a:pt x="359" y="52"/>
                        <a:pt x="359" y="52"/>
                        <a:pt x="359" y="52"/>
                      </a:cubicBezTo>
                      <a:cubicBezTo>
                        <a:pt x="359" y="54"/>
                        <a:pt x="359" y="54"/>
                        <a:pt x="359" y="54"/>
                      </a:cubicBezTo>
                      <a:cubicBezTo>
                        <a:pt x="359" y="55"/>
                        <a:pt x="359" y="55"/>
                        <a:pt x="359" y="55"/>
                      </a:cubicBezTo>
                      <a:cubicBezTo>
                        <a:pt x="358" y="54"/>
                        <a:pt x="358" y="54"/>
                        <a:pt x="358" y="54"/>
                      </a:cubicBezTo>
                      <a:cubicBezTo>
                        <a:pt x="357" y="54"/>
                        <a:pt x="357" y="54"/>
                        <a:pt x="357" y="54"/>
                      </a:cubicBezTo>
                      <a:cubicBezTo>
                        <a:pt x="357" y="54"/>
                        <a:pt x="357" y="54"/>
                        <a:pt x="357" y="54"/>
                      </a:cubicBezTo>
                      <a:cubicBezTo>
                        <a:pt x="357" y="54"/>
                        <a:pt x="357" y="54"/>
                        <a:pt x="357" y="54"/>
                      </a:cubicBezTo>
                      <a:cubicBezTo>
                        <a:pt x="356" y="55"/>
                        <a:pt x="356" y="55"/>
                        <a:pt x="356" y="55"/>
                      </a:cubicBezTo>
                      <a:cubicBezTo>
                        <a:pt x="355" y="54"/>
                        <a:pt x="355" y="54"/>
                        <a:pt x="355" y="54"/>
                      </a:cubicBezTo>
                      <a:cubicBezTo>
                        <a:pt x="355" y="54"/>
                        <a:pt x="355" y="54"/>
                        <a:pt x="355" y="54"/>
                      </a:cubicBezTo>
                      <a:cubicBezTo>
                        <a:pt x="354" y="55"/>
                        <a:pt x="354" y="55"/>
                        <a:pt x="354" y="55"/>
                      </a:cubicBezTo>
                      <a:cubicBezTo>
                        <a:pt x="353" y="55"/>
                        <a:pt x="353" y="55"/>
                        <a:pt x="353" y="55"/>
                      </a:cubicBezTo>
                      <a:cubicBezTo>
                        <a:pt x="353" y="54"/>
                        <a:pt x="353" y="54"/>
                        <a:pt x="353" y="54"/>
                      </a:cubicBezTo>
                      <a:cubicBezTo>
                        <a:pt x="352" y="54"/>
                        <a:pt x="352" y="54"/>
                        <a:pt x="352" y="54"/>
                      </a:cubicBezTo>
                      <a:cubicBezTo>
                        <a:pt x="351" y="53"/>
                        <a:pt x="351" y="53"/>
                        <a:pt x="351" y="53"/>
                      </a:cubicBezTo>
                      <a:cubicBezTo>
                        <a:pt x="351" y="53"/>
                        <a:pt x="351" y="53"/>
                        <a:pt x="351" y="53"/>
                      </a:cubicBezTo>
                      <a:cubicBezTo>
                        <a:pt x="351" y="52"/>
                        <a:pt x="351" y="52"/>
                        <a:pt x="351" y="52"/>
                      </a:cubicBezTo>
                      <a:cubicBezTo>
                        <a:pt x="350" y="52"/>
                        <a:pt x="350" y="52"/>
                        <a:pt x="350" y="52"/>
                      </a:cubicBezTo>
                      <a:cubicBezTo>
                        <a:pt x="349" y="52"/>
                        <a:pt x="349" y="52"/>
                        <a:pt x="349" y="52"/>
                      </a:cubicBezTo>
                      <a:cubicBezTo>
                        <a:pt x="348" y="51"/>
                        <a:pt x="348" y="51"/>
                        <a:pt x="348" y="51"/>
                      </a:cubicBezTo>
                      <a:cubicBezTo>
                        <a:pt x="348" y="51"/>
                        <a:pt x="348" y="51"/>
                        <a:pt x="348" y="51"/>
                      </a:cubicBezTo>
                      <a:cubicBezTo>
                        <a:pt x="348" y="52"/>
                        <a:pt x="348" y="52"/>
                        <a:pt x="348" y="52"/>
                      </a:cubicBezTo>
                      <a:cubicBezTo>
                        <a:pt x="349" y="53"/>
                        <a:pt x="349" y="53"/>
                        <a:pt x="349" y="53"/>
                      </a:cubicBezTo>
                      <a:cubicBezTo>
                        <a:pt x="350" y="53"/>
                        <a:pt x="350" y="53"/>
                        <a:pt x="350" y="53"/>
                      </a:cubicBezTo>
                      <a:cubicBezTo>
                        <a:pt x="351" y="54"/>
                        <a:pt x="351" y="54"/>
                        <a:pt x="351" y="54"/>
                      </a:cubicBezTo>
                      <a:cubicBezTo>
                        <a:pt x="351" y="55"/>
                        <a:pt x="351" y="55"/>
                        <a:pt x="351" y="55"/>
                      </a:cubicBezTo>
                      <a:cubicBezTo>
                        <a:pt x="348" y="54"/>
                        <a:pt x="348" y="54"/>
                        <a:pt x="348" y="54"/>
                      </a:cubicBezTo>
                      <a:cubicBezTo>
                        <a:pt x="347" y="54"/>
                        <a:pt x="347" y="54"/>
                        <a:pt x="347" y="54"/>
                      </a:cubicBezTo>
                      <a:cubicBezTo>
                        <a:pt x="347" y="53"/>
                        <a:pt x="347" y="53"/>
                        <a:pt x="347" y="53"/>
                      </a:cubicBezTo>
                      <a:cubicBezTo>
                        <a:pt x="347" y="52"/>
                        <a:pt x="347" y="52"/>
                        <a:pt x="347" y="52"/>
                      </a:cubicBezTo>
                      <a:cubicBezTo>
                        <a:pt x="346" y="53"/>
                        <a:pt x="346" y="53"/>
                        <a:pt x="346" y="53"/>
                      </a:cubicBezTo>
                      <a:cubicBezTo>
                        <a:pt x="347" y="53"/>
                        <a:pt x="347" y="53"/>
                        <a:pt x="347" y="53"/>
                      </a:cubicBezTo>
                      <a:cubicBezTo>
                        <a:pt x="346" y="54"/>
                        <a:pt x="346" y="54"/>
                        <a:pt x="346" y="54"/>
                      </a:cubicBezTo>
                      <a:cubicBezTo>
                        <a:pt x="345" y="54"/>
                        <a:pt x="345" y="54"/>
                        <a:pt x="345" y="54"/>
                      </a:cubicBezTo>
                      <a:cubicBezTo>
                        <a:pt x="345" y="53"/>
                        <a:pt x="345" y="53"/>
                        <a:pt x="345" y="53"/>
                      </a:cubicBezTo>
                      <a:cubicBezTo>
                        <a:pt x="344" y="53"/>
                        <a:pt x="344" y="53"/>
                        <a:pt x="344" y="53"/>
                      </a:cubicBezTo>
                      <a:cubicBezTo>
                        <a:pt x="344" y="54"/>
                        <a:pt x="344" y="54"/>
                        <a:pt x="344" y="54"/>
                      </a:cubicBezTo>
                      <a:cubicBezTo>
                        <a:pt x="345" y="54"/>
                        <a:pt x="345" y="54"/>
                        <a:pt x="345" y="54"/>
                      </a:cubicBezTo>
                      <a:cubicBezTo>
                        <a:pt x="345" y="55"/>
                        <a:pt x="345" y="55"/>
                        <a:pt x="345" y="55"/>
                      </a:cubicBezTo>
                      <a:cubicBezTo>
                        <a:pt x="346" y="55"/>
                        <a:pt x="346" y="55"/>
                        <a:pt x="346" y="55"/>
                      </a:cubicBezTo>
                      <a:cubicBezTo>
                        <a:pt x="346" y="55"/>
                        <a:pt x="346" y="55"/>
                        <a:pt x="346" y="55"/>
                      </a:cubicBezTo>
                      <a:cubicBezTo>
                        <a:pt x="347" y="55"/>
                        <a:pt x="347" y="55"/>
                        <a:pt x="347" y="55"/>
                      </a:cubicBezTo>
                      <a:cubicBezTo>
                        <a:pt x="348" y="55"/>
                        <a:pt x="348" y="55"/>
                        <a:pt x="348" y="55"/>
                      </a:cubicBezTo>
                      <a:cubicBezTo>
                        <a:pt x="349" y="56"/>
                        <a:pt x="349" y="56"/>
                        <a:pt x="349" y="56"/>
                      </a:cubicBezTo>
                      <a:cubicBezTo>
                        <a:pt x="350" y="56"/>
                        <a:pt x="350" y="56"/>
                        <a:pt x="350" y="56"/>
                      </a:cubicBezTo>
                      <a:cubicBezTo>
                        <a:pt x="350" y="56"/>
                        <a:pt x="350" y="56"/>
                        <a:pt x="350" y="56"/>
                      </a:cubicBezTo>
                      <a:cubicBezTo>
                        <a:pt x="351" y="56"/>
                        <a:pt x="351" y="56"/>
                        <a:pt x="351" y="56"/>
                      </a:cubicBezTo>
                      <a:cubicBezTo>
                        <a:pt x="354" y="57"/>
                        <a:pt x="354" y="57"/>
                        <a:pt x="354" y="57"/>
                      </a:cubicBezTo>
                      <a:cubicBezTo>
                        <a:pt x="354" y="57"/>
                        <a:pt x="354" y="57"/>
                        <a:pt x="354" y="57"/>
                      </a:cubicBezTo>
                      <a:cubicBezTo>
                        <a:pt x="353" y="58"/>
                        <a:pt x="353" y="58"/>
                        <a:pt x="353" y="58"/>
                      </a:cubicBezTo>
                      <a:cubicBezTo>
                        <a:pt x="354" y="58"/>
                        <a:pt x="354" y="58"/>
                        <a:pt x="354" y="58"/>
                      </a:cubicBezTo>
                      <a:cubicBezTo>
                        <a:pt x="353" y="59"/>
                        <a:pt x="353" y="59"/>
                        <a:pt x="353" y="59"/>
                      </a:cubicBezTo>
                      <a:cubicBezTo>
                        <a:pt x="354" y="60"/>
                        <a:pt x="354" y="60"/>
                        <a:pt x="354" y="60"/>
                      </a:cubicBezTo>
                      <a:cubicBezTo>
                        <a:pt x="353" y="60"/>
                        <a:pt x="353" y="60"/>
                        <a:pt x="353" y="60"/>
                      </a:cubicBezTo>
                      <a:cubicBezTo>
                        <a:pt x="353" y="60"/>
                        <a:pt x="353" y="60"/>
                        <a:pt x="353" y="60"/>
                      </a:cubicBezTo>
                      <a:cubicBezTo>
                        <a:pt x="352" y="60"/>
                        <a:pt x="352" y="60"/>
                        <a:pt x="352" y="60"/>
                      </a:cubicBezTo>
                      <a:cubicBezTo>
                        <a:pt x="351" y="59"/>
                        <a:pt x="351" y="59"/>
                        <a:pt x="351" y="59"/>
                      </a:cubicBezTo>
                      <a:cubicBezTo>
                        <a:pt x="349" y="59"/>
                        <a:pt x="349" y="59"/>
                        <a:pt x="349" y="59"/>
                      </a:cubicBezTo>
                      <a:cubicBezTo>
                        <a:pt x="349" y="58"/>
                        <a:pt x="349" y="58"/>
                        <a:pt x="349" y="58"/>
                      </a:cubicBezTo>
                      <a:cubicBezTo>
                        <a:pt x="349" y="57"/>
                        <a:pt x="349" y="57"/>
                        <a:pt x="349" y="57"/>
                      </a:cubicBezTo>
                      <a:cubicBezTo>
                        <a:pt x="349" y="56"/>
                        <a:pt x="349" y="56"/>
                        <a:pt x="349" y="56"/>
                      </a:cubicBezTo>
                      <a:cubicBezTo>
                        <a:pt x="347" y="56"/>
                        <a:pt x="347" y="56"/>
                        <a:pt x="347" y="56"/>
                      </a:cubicBezTo>
                      <a:cubicBezTo>
                        <a:pt x="345" y="56"/>
                        <a:pt x="345" y="56"/>
                        <a:pt x="345" y="56"/>
                      </a:cubicBezTo>
                      <a:cubicBezTo>
                        <a:pt x="344" y="55"/>
                        <a:pt x="344" y="55"/>
                        <a:pt x="344" y="55"/>
                      </a:cubicBezTo>
                      <a:cubicBezTo>
                        <a:pt x="344" y="55"/>
                        <a:pt x="344" y="55"/>
                        <a:pt x="344" y="55"/>
                      </a:cubicBezTo>
                      <a:cubicBezTo>
                        <a:pt x="343" y="56"/>
                        <a:pt x="343" y="56"/>
                        <a:pt x="343" y="56"/>
                      </a:cubicBezTo>
                      <a:cubicBezTo>
                        <a:pt x="345" y="56"/>
                        <a:pt x="345" y="56"/>
                        <a:pt x="345" y="56"/>
                      </a:cubicBezTo>
                      <a:cubicBezTo>
                        <a:pt x="347" y="56"/>
                        <a:pt x="347" y="56"/>
                        <a:pt x="347" y="56"/>
                      </a:cubicBezTo>
                      <a:cubicBezTo>
                        <a:pt x="349" y="57"/>
                        <a:pt x="349" y="57"/>
                        <a:pt x="349" y="57"/>
                      </a:cubicBezTo>
                      <a:cubicBezTo>
                        <a:pt x="348" y="58"/>
                        <a:pt x="348" y="58"/>
                        <a:pt x="348" y="58"/>
                      </a:cubicBezTo>
                      <a:cubicBezTo>
                        <a:pt x="348" y="58"/>
                        <a:pt x="348" y="58"/>
                        <a:pt x="348" y="58"/>
                      </a:cubicBezTo>
                      <a:cubicBezTo>
                        <a:pt x="347" y="57"/>
                        <a:pt x="347" y="57"/>
                        <a:pt x="347" y="57"/>
                      </a:cubicBezTo>
                      <a:cubicBezTo>
                        <a:pt x="345" y="57"/>
                        <a:pt x="345" y="57"/>
                        <a:pt x="345" y="57"/>
                      </a:cubicBezTo>
                      <a:cubicBezTo>
                        <a:pt x="344" y="58"/>
                        <a:pt x="344" y="58"/>
                        <a:pt x="344" y="58"/>
                      </a:cubicBezTo>
                      <a:cubicBezTo>
                        <a:pt x="344" y="57"/>
                        <a:pt x="344" y="57"/>
                        <a:pt x="344" y="57"/>
                      </a:cubicBezTo>
                      <a:cubicBezTo>
                        <a:pt x="343" y="57"/>
                        <a:pt x="343" y="57"/>
                        <a:pt x="343" y="57"/>
                      </a:cubicBezTo>
                      <a:cubicBezTo>
                        <a:pt x="342" y="57"/>
                        <a:pt x="342" y="57"/>
                        <a:pt x="342" y="57"/>
                      </a:cubicBezTo>
                      <a:cubicBezTo>
                        <a:pt x="341" y="56"/>
                        <a:pt x="341" y="56"/>
                        <a:pt x="341" y="56"/>
                      </a:cubicBezTo>
                      <a:cubicBezTo>
                        <a:pt x="341" y="57"/>
                        <a:pt x="341" y="57"/>
                        <a:pt x="341" y="57"/>
                      </a:cubicBezTo>
                      <a:cubicBezTo>
                        <a:pt x="343" y="57"/>
                        <a:pt x="343" y="57"/>
                        <a:pt x="343" y="57"/>
                      </a:cubicBezTo>
                      <a:cubicBezTo>
                        <a:pt x="343" y="58"/>
                        <a:pt x="343" y="58"/>
                        <a:pt x="343" y="58"/>
                      </a:cubicBezTo>
                      <a:cubicBezTo>
                        <a:pt x="343" y="58"/>
                        <a:pt x="343" y="58"/>
                        <a:pt x="343" y="58"/>
                      </a:cubicBezTo>
                      <a:cubicBezTo>
                        <a:pt x="344" y="58"/>
                        <a:pt x="344" y="58"/>
                        <a:pt x="344" y="58"/>
                      </a:cubicBezTo>
                      <a:cubicBezTo>
                        <a:pt x="344" y="58"/>
                        <a:pt x="344" y="58"/>
                        <a:pt x="344" y="58"/>
                      </a:cubicBezTo>
                      <a:cubicBezTo>
                        <a:pt x="344" y="58"/>
                        <a:pt x="344" y="58"/>
                        <a:pt x="344" y="58"/>
                      </a:cubicBezTo>
                      <a:cubicBezTo>
                        <a:pt x="345" y="58"/>
                        <a:pt x="345" y="58"/>
                        <a:pt x="345" y="58"/>
                      </a:cubicBezTo>
                      <a:cubicBezTo>
                        <a:pt x="345" y="58"/>
                        <a:pt x="345" y="58"/>
                        <a:pt x="345" y="58"/>
                      </a:cubicBezTo>
                      <a:cubicBezTo>
                        <a:pt x="346" y="58"/>
                        <a:pt x="346" y="58"/>
                        <a:pt x="346" y="58"/>
                      </a:cubicBezTo>
                      <a:cubicBezTo>
                        <a:pt x="346" y="58"/>
                        <a:pt x="346" y="58"/>
                        <a:pt x="346" y="58"/>
                      </a:cubicBezTo>
                      <a:cubicBezTo>
                        <a:pt x="347" y="58"/>
                        <a:pt x="347" y="58"/>
                        <a:pt x="347" y="58"/>
                      </a:cubicBezTo>
                      <a:cubicBezTo>
                        <a:pt x="349" y="59"/>
                        <a:pt x="349" y="59"/>
                        <a:pt x="349" y="59"/>
                      </a:cubicBezTo>
                      <a:cubicBezTo>
                        <a:pt x="348" y="60"/>
                        <a:pt x="348" y="60"/>
                        <a:pt x="348" y="60"/>
                      </a:cubicBezTo>
                      <a:cubicBezTo>
                        <a:pt x="347" y="60"/>
                        <a:pt x="347" y="60"/>
                        <a:pt x="347" y="60"/>
                      </a:cubicBezTo>
                      <a:cubicBezTo>
                        <a:pt x="346" y="60"/>
                        <a:pt x="346" y="60"/>
                        <a:pt x="346" y="60"/>
                      </a:cubicBezTo>
                      <a:cubicBezTo>
                        <a:pt x="346" y="61"/>
                        <a:pt x="346" y="61"/>
                        <a:pt x="346" y="61"/>
                      </a:cubicBezTo>
                      <a:cubicBezTo>
                        <a:pt x="347" y="61"/>
                        <a:pt x="347" y="61"/>
                        <a:pt x="347" y="61"/>
                      </a:cubicBezTo>
                      <a:cubicBezTo>
                        <a:pt x="348" y="61"/>
                        <a:pt x="348" y="61"/>
                        <a:pt x="348" y="61"/>
                      </a:cubicBezTo>
                      <a:cubicBezTo>
                        <a:pt x="349" y="60"/>
                        <a:pt x="349" y="60"/>
                        <a:pt x="349" y="60"/>
                      </a:cubicBezTo>
                      <a:cubicBezTo>
                        <a:pt x="350" y="61"/>
                        <a:pt x="350" y="61"/>
                        <a:pt x="350" y="61"/>
                      </a:cubicBezTo>
                      <a:cubicBezTo>
                        <a:pt x="350" y="62"/>
                        <a:pt x="350" y="62"/>
                        <a:pt x="350" y="62"/>
                      </a:cubicBezTo>
                      <a:cubicBezTo>
                        <a:pt x="350" y="62"/>
                        <a:pt x="350" y="62"/>
                        <a:pt x="350" y="62"/>
                      </a:cubicBezTo>
                      <a:cubicBezTo>
                        <a:pt x="349" y="64"/>
                        <a:pt x="349" y="64"/>
                        <a:pt x="349" y="64"/>
                      </a:cubicBezTo>
                      <a:cubicBezTo>
                        <a:pt x="349" y="65"/>
                        <a:pt x="349" y="65"/>
                        <a:pt x="349" y="65"/>
                      </a:cubicBezTo>
                      <a:cubicBezTo>
                        <a:pt x="349" y="65"/>
                        <a:pt x="349" y="65"/>
                        <a:pt x="349" y="65"/>
                      </a:cubicBezTo>
                      <a:cubicBezTo>
                        <a:pt x="347" y="66"/>
                        <a:pt x="347" y="66"/>
                        <a:pt x="347" y="66"/>
                      </a:cubicBezTo>
                      <a:cubicBezTo>
                        <a:pt x="347" y="66"/>
                        <a:pt x="347" y="66"/>
                        <a:pt x="347" y="66"/>
                      </a:cubicBezTo>
                      <a:cubicBezTo>
                        <a:pt x="346" y="66"/>
                        <a:pt x="346" y="66"/>
                        <a:pt x="346" y="66"/>
                      </a:cubicBezTo>
                      <a:cubicBezTo>
                        <a:pt x="345" y="66"/>
                        <a:pt x="345" y="66"/>
                        <a:pt x="345" y="66"/>
                      </a:cubicBezTo>
                      <a:cubicBezTo>
                        <a:pt x="345" y="65"/>
                        <a:pt x="345" y="65"/>
                        <a:pt x="345" y="65"/>
                      </a:cubicBezTo>
                      <a:cubicBezTo>
                        <a:pt x="344" y="65"/>
                        <a:pt x="344" y="65"/>
                        <a:pt x="344" y="65"/>
                      </a:cubicBezTo>
                      <a:cubicBezTo>
                        <a:pt x="343" y="65"/>
                        <a:pt x="343" y="65"/>
                        <a:pt x="343" y="65"/>
                      </a:cubicBezTo>
                      <a:cubicBezTo>
                        <a:pt x="343" y="65"/>
                        <a:pt x="343" y="65"/>
                        <a:pt x="343" y="65"/>
                      </a:cubicBezTo>
                      <a:cubicBezTo>
                        <a:pt x="344" y="66"/>
                        <a:pt x="344" y="66"/>
                        <a:pt x="344" y="66"/>
                      </a:cubicBezTo>
                      <a:cubicBezTo>
                        <a:pt x="344" y="66"/>
                        <a:pt x="344" y="66"/>
                        <a:pt x="344" y="66"/>
                      </a:cubicBezTo>
                      <a:cubicBezTo>
                        <a:pt x="345" y="66"/>
                        <a:pt x="345" y="66"/>
                        <a:pt x="345" y="66"/>
                      </a:cubicBezTo>
                      <a:cubicBezTo>
                        <a:pt x="346" y="67"/>
                        <a:pt x="346" y="67"/>
                        <a:pt x="346" y="67"/>
                      </a:cubicBezTo>
                      <a:cubicBezTo>
                        <a:pt x="346" y="68"/>
                        <a:pt x="346" y="68"/>
                        <a:pt x="346" y="68"/>
                      </a:cubicBezTo>
                      <a:cubicBezTo>
                        <a:pt x="346" y="69"/>
                        <a:pt x="346" y="69"/>
                        <a:pt x="346" y="69"/>
                      </a:cubicBezTo>
                      <a:cubicBezTo>
                        <a:pt x="345" y="69"/>
                        <a:pt x="345" y="69"/>
                        <a:pt x="345" y="69"/>
                      </a:cubicBezTo>
                      <a:cubicBezTo>
                        <a:pt x="344" y="70"/>
                        <a:pt x="344" y="70"/>
                        <a:pt x="344" y="70"/>
                      </a:cubicBezTo>
                      <a:cubicBezTo>
                        <a:pt x="344" y="70"/>
                        <a:pt x="344" y="70"/>
                        <a:pt x="344" y="70"/>
                      </a:cubicBezTo>
                      <a:cubicBezTo>
                        <a:pt x="342" y="69"/>
                        <a:pt x="342" y="69"/>
                        <a:pt x="342" y="69"/>
                      </a:cubicBezTo>
                      <a:cubicBezTo>
                        <a:pt x="341" y="69"/>
                        <a:pt x="341" y="69"/>
                        <a:pt x="341" y="69"/>
                      </a:cubicBezTo>
                      <a:cubicBezTo>
                        <a:pt x="341" y="68"/>
                        <a:pt x="341" y="68"/>
                        <a:pt x="341" y="68"/>
                      </a:cubicBezTo>
                      <a:cubicBezTo>
                        <a:pt x="340" y="68"/>
                        <a:pt x="340" y="68"/>
                        <a:pt x="340" y="68"/>
                      </a:cubicBezTo>
                      <a:cubicBezTo>
                        <a:pt x="339" y="69"/>
                        <a:pt x="339" y="69"/>
                        <a:pt x="339" y="69"/>
                      </a:cubicBezTo>
                      <a:cubicBezTo>
                        <a:pt x="340" y="69"/>
                        <a:pt x="340" y="69"/>
                        <a:pt x="340" y="69"/>
                      </a:cubicBezTo>
                      <a:cubicBezTo>
                        <a:pt x="342" y="70"/>
                        <a:pt x="342" y="70"/>
                        <a:pt x="342" y="70"/>
                      </a:cubicBezTo>
                      <a:cubicBezTo>
                        <a:pt x="343" y="71"/>
                        <a:pt x="343" y="71"/>
                        <a:pt x="343" y="71"/>
                      </a:cubicBezTo>
                      <a:cubicBezTo>
                        <a:pt x="343" y="71"/>
                        <a:pt x="343" y="71"/>
                        <a:pt x="343" y="71"/>
                      </a:cubicBezTo>
                      <a:cubicBezTo>
                        <a:pt x="343" y="71"/>
                        <a:pt x="343" y="71"/>
                        <a:pt x="343" y="71"/>
                      </a:cubicBezTo>
                      <a:cubicBezTo>
                        <a:pt x="342" y="72"/>
                        <a:pt x="342" y="72"/>
                        <a:pt x="342" y="72"/>
                      </a:cubicBezTo>
                      <a:cubicBezTo>
                        <a:pt x="341" y="72"/>
                        <a:pt x="341" y="72"/>
                        <a:pt x="341" y="72"/>
                      </a:cubicBezTo>
                      <a:cubicBezTo>
                        <a:pt x="340" y="72"/>
                        <a:pt x="340" y="72"/>
                        <a:pt x="340" y="72"/>
                      </a:cubicBezTo>
                      <a:cubicBezTo>
                        <a:pt x="340" y="72"/>
                        <a:pt x="340" y="72"/>
                        <a:pt x="340" y="72"/>
                      </a:cubicBezTo>
                      <a:cubicBezTo>
                        <a:pt x="339" y="72"/>
                        <a:pt x="339" y="72"/>
                        <a:pt x="339" y="72"/>
                      </a:cubicBezTo>
                      <a:cubicBezTo>
                        <a:pt x="337" y="72"/>
                        <a:pt x="337" y="72"/>
                        <a:pt x="337" y="72"/>
                      </a:cubicBezTo>
                      <a:cubicBezTo>
                        <a:pt x="337" y="72"/>
                        <a:pt x="337" y="72"/>
                        <a:pt x="337" y="72"/>
                      </a:cubicBezTo>
                      <a:cubicBezTo>
                        <a:pt x="335" y="71"/>
                        <a:pt x="335" y="71"/>
                        <a:pt x="335" y="71"/>
                      </a:cubicBezTo>
                      <a:cubicBezTo>
                        <a:pt x="334" y="71"/>
                        <a:pt x="334" y="71"/>
                        <a:pt x="334" y="71"/>
                      </a:cubicBezTo>
                      <a:cubicBezTo>
                        <a:pt x="333" y="73"/>
                        <a:pt x="333" y="73"/>
                        <a:pt x="333" y="73"/>
                      </a:cubicBezTo>
                      <a:cubicBezTo>
                        <a:pt x="332" y="74"/>
                        <a:pt x="332" y="74"/>
                        <a:pt x="332" y="74"/>
                      </a:cubicBezTo>
                      <a:cubicBezTo>
                        <a:pt x="333" y="74"/>
                        <a:pt x="333" y="74"/>
                        <a:pt x="333" y="74"/>
                      </a:cubicBezTo>
                      <a:cubicBezTo>
                        <a:pt x="334" y="74"/>
                        <a:pt x="334" y="74"/>
                        <a:pt x="334" y="74"/>
                      </a:cubicBezTo>
                      <a:cubicBezTo>
                        <a:pt x="334" y="75"/>
                        <a:pt x="334" y="75"/>
                        <a:pt x="334" y="75"/>
                      </a:cubicBezTo>
                      <a:cubicBezTo>
                        <a:pt x="332" y="76"/>
                        <a:pt x="332" y="76"/>
                        <a:pt x="332" y="76"/>
                      </a:cubicBezTo>
                      <a:cubicBezTo>
                        <a:pt x="332" y="77"/>
                        <a:pt x="332" y="77"/>
                        <a:pt x="332" y="77"/>
                      </a:cubicBezTo>
                      <a:cubicBezTo>
                        <a:pt x="331" y="77"/>
                        <a:pt x="331" y="77"/>
                        <a:pt x="331" y="77"/>
                      </a:cubicBezTo>
                      <a:cubicBezTo>
                        <a:pt x="331" y="77"/>
                        <a:pt x="331" y="77"/>
                        <a:pt x="331" y="77"/>
                      </a:cubicBezTo>
                      <a:cubicBezTo>
                        <a:pt x="330" y="77"/>
                        <a:pt x="330" y="77"/>
                        <a:pt x="330" y="77"/>
                      </a:cubicBezTo>
                      <a:cubicBezTo>
                        <a:pt x="330" y="78"/>
                        <a:pt x="330" y="78"/>
                        <a:pt x="330" y="78"/>
                      </a:cubicBezTo>
                      <a:cubicBezTo>
                        <a:pt x="329" y="78"/>
                        <a:pt x="329" y="78"/>
                        <a:pt x="329" y="78"/>
                      </a:cubicBezTo>
                      <a:cubicBezTo>
                        <a:pt x="329" y="78"/>
                        <a:pt x="329" y="78"/>
                        <a:pt x="329" y="78"/>
                      </a:cubicBezTo>
                      <a:cubicBezTo>
                        <a:pt x="329" y="77"/>
                        <a:pt x="329" y="77"/>
                        <a:pt x="329" y="77"/>
                      </a:cubicBezTo>
                      <a:cubicBezTo>
                        <a:pt x="329" y="77"/>
                        <a:pt x="329" y="77"/>
                        <a:pt x="329" y="77"/>
                      </a:cubicBezTo>
                      <a:cubicBezTo>
                        <a:pt x="328" y="78"/>
                        <a:pt x="328" y="78"/>
                        <a:pt x="328" y="78"/>
                      </a:cubicBezTo>
                      <a:cubicBezTo>
                        <a:pt x="327" y="79"/>
                        <a:pt x="327" y="79"/>
                        <a:pt x="327" y="79"/>
                      </a:cubicBezTo>
                      <a:cubicBezTo>
                        <a:pt x="327" y="79"/>
                        <a:pt x="327" y="79"/>
                        <a:pt x="327" y="79"/>
                      </a:cubicBezTo>
                      <a:cubicBezTo>
                        <a:pt x="325" y="78"/>
                        <a:pt x="325" y="78"/>
                        <a:pt x="325" y="78"/>
                      </a:cubicBezTo>
                      <a:cubicBezTo>
                        <a:pt x="323" y="78"/>
                        <a:pt x="323" y="78"/>
                        <a:pt x="323" y="78"/>
                      </a:cubicBezTo>
                      <a:cubicBezTo>
                        <a:pt x="323" y="78"/>
                        <a:pt x="323" y="78"/>
                        <a:pt x="323" y="78"/>
                      </a:cubicBezTo>
                      <a:cubicBezTo>
                        <a:pt x="322" y="78"/>
                        <a:pt x="322" y="78"/>
                        <a:pt x="322" y="78"/>
                      </a:cubicBezTo>
                      <a:cubicBezTo>
                        <a:pt x="320" y="76"/>
                        <a:pt x="320" y="76"/>
                        <a:pt x="320" y="76"/>
                      </a:cubicBezTo>
                      <a:cubicBezTo>
                        <a:pt x="320" y="74"/>
                        <a:pt x="320" y="74"/>
                        <a:pt x="320" y="74"/>
                      </a:cubicBezTo>
                      <a:cubicBezTo>
                        <a:pt x="320" y="74"/>
                        <a:pt x="320" y="74"/>
                        <a:pt x="320" y="74"/>
                      </a:cubicBezTo>
                      <a:cubicBezTo>
                        <a:pt x="320" y="73"/>
                        <a:pt x="320" y="73"/>
                        <a:pt x="320" y="73"/>
                      </a:cubicBezTo>
                      <a:cubicBezTo>
                        <a:pt x="320" y="73"/>
                        <a:pt x="320" y="73"/>
                        <a:pt x="320" y="73"/>
                      </a:cubicBezTo>
                      <a:cubicBezTo>
                        <a:pt x="320" y="72"/>
                        <a:pt x="320" y="72"/>
                        <a:pt x="320" y="72"/>
                      </a:cubicBezTo>
                      <a:cubicBezTo>
                        <a:pt x="319" y="73"/>
                        <a:pt x="319" y="73"/>
                        <a:pt x="319" y="73"/>
                      </a:cubicBezTo>
                      <a:cubicBezTo>
                        <a:pt x="319" y="74"/>
                        <a:pt x="319" y="74"/>
                        <a:pt x="319" y="74"/>
                      </a:cubicBezTo>
                      <a:cubicBezTo>
                        <a:pt x="319" y="75"/>
                        <a:pt x="319" y="75"/>
                        <a:pt x="319" y="75"/>
                      </a:cubicBezTo>
                      <a:cubicBezTo>
                        <a:pt x="318" y="75"/>
                        <a:pt x="318" y="75"/>
                        <a:pt x="318" y="75"/>
                      </a:cubicBezTo>
                      <a:cubicBezTo>
                        <a:pt x="319" y="76"/>
                        <a:pt x="319" y="76"/>
                        <a:pt x="319" y="76"/>
                      </a:cubicBezTo>
                      <a:cubicBezTo>
                        <a:pt x="319" y="77"/>
                        <a:pt x="319" y="77"/>
                        <a:pt x="319" y="77"/>
                      </a:cubicBezTo>
                      <a:cubicBezTo>
                        <a:pt x="318" y="77"/>
                        <a:pt x="318" y="77"/>
                        <a:pt x="318" y="77"/>
                      </a:cubicBezTo>
                      <a:cubicBezTo>
                        <a:pt x="317" y="77"/>
                        <a:pt x="317" y="77"/>
                        <a:pt x="317" y="77"/>
                      </a:cubicBezTo>
                      <a:cubicBezTo>
                        <a:pt x="317" y="77"/>
                        <a:pt x="317" y="77"/>
                        <a:pt x="317" y="77"/>
                      </a:cubicBezTo>
                      <a:cubicBezTo>
                        <a:pt x="316" y="77"/>
                        <a:pt x="316" y="77"/>
                        <a:pt x="316" y="77"/>
                      </a:cubicBezTo>
                      <a:cubicBezTo>
                        <a:pt x="317" y="78"/>
                        <a:pt x="317" y="78"/>
                        <a:pt x="317" y="78"/>
                      </a:cubicBezTo>
                      <a:cubicBezTo>
                        <a:pt x="316" y="79"/>
                        <a:pt x="316" y="79"/>
                        <a:pt x="316" y="79"/>
                      </a:cubicBezTo>
                      <a:cubicBezTo>
                        <a:pt x="317" y="79"/>
                        <a:pt x="317" y="79"/>
                        <a:pt x="317" y="79"/>
                      </a:cubicBezTo>
                      <a:cubicBezTo>
                        <a:pt x="318" y="78"/>
                        <a:pt x="318" y="78"/>
                        <a:pt x="318" y="78"/>
                      </a:cubicBezTo>
                      <a:cubicBezTo>
                        <a:pt x="319" y="78"/>
                        <a:pt x="319" y="78"/>
                        <a:pt x="319" y="78"/>
                      </a:cubicBezTo>
                      <a:cubicBezTo>
                        <a:pt x="319" y="77"/>
                        <a:pt x="319" y="77"/>
                        <a:pt x="319" y="77"/>
                      </a:cubicBezTo>
                      <a:cubicBezTo>
                        <a:pt x="320" y="77"/>
                        <a:pt x="320" y="77"/>
                        <a:pt x="320" y="77"/>
                      </a:cubicBezTo>
                      <a:cubicBezTo>
                        <a:pt x="321" y="78"/>
                        <a:pt x="321" y="78"/>
                        <a:pt x="321" y="78"/>
                      </a:cubicBezTo>
                      <a:cubicBezTo>
                        <a:pt x="322" y="79"/>
                        <a:pt x="322" y="79"/>
                        <a:pt x="322" y="79"/>
                      </a:cubicBezTo>
                      <a:cubicBezTo>
                        <a:pt x="321" y="80"/>
                        <a:pt x="321" y="80"/>
                        <a:pt x="321" y="80"/>
                      </a:cubicBezTo>
                      <a:cubicBezTo>
                        <a:pt x="322" y="79"/>
                        <a:pt x="322" y="79"/>
                        <a:pt x="322" y="79"/>
                      </a:cubicBezTo>
                      <a:cubicBezTo>
                        <a:pt x="324" y="79"/>
                        <a:pt x="324" y="79"/>
                        <a:pt x="324" y="79"/>
                      </a:cubicBezTo>
                      <a:cubicBezTo>
                        <a:pt x="325" y="79"/>
                        <a:pt x="325" y="79"/>
                        <a:pt x="325" y="79"/>
                      </a:cubicBezTo>
                      <a:cubicBezTo>
                        <a:pt x="325" y="80"/>
                        <a:pt x="325" y="80"/>
                        <a:pt x="325" y="80"/>
                      </a:cubicBezTo>
                      <a:cubicBezTo>
                        <a:pt x="325" y="80"/>
                        <a:pt x="325" y="80"/>
                        <a:pt x="325" y="80"/>
                      </a:cubicBezTo>
                      <a:cubicBezTo>
                        <a:pt x="324" y="82"/>
                        <a:pt x="324" y="82"/>
                        <a:pt x="324" y="82"/>
                      </a:cubicBezTo>
                      <a:cubicBezTo>
                        <a:pt x="324" y="82"/>
                        <a:pt x="324" y="82"/>
                        <a:pt x="324" y="82"/>
                      </a:cubicBezTo>
                      <a:cubicBezTo>
                        <a:pt x="323" y="83"/>
                        <a:pt x="323" y="83"/>
                        <a:pt x="323" y="83"/>
                      </a:cubicBezTo>
                      <a:cubicBezTo>
                        <a:pt x="324" y="83"/>
                        <a:pt x="324" y="83"/>
                        <a:pt x="324" y="83"/>
                      </a:cubicBezTo>
                      <a:cubicBezTo>
                        <a:pt x="325" y="83"/>
                        <a:pt x="325" y="83"/>
                        <a:pt x="325" y="83"/>
                      </a:cubicBezTo>
                      <a:cubicBezTo>
                        <a:pt x="324" y="83"/>
                        <a:pt x="324" y="83"/>
                        <a:pt x="324" y="83"/>
                      </a:cubicBezTo>
                      <a:cubicBezTo>
                        <a:pt x="324" y="84"/>
                        <a:pt x="324" y="84"/>
                        <a:pt x="324" y="84"/>
                      </a:cubicBezTo>
                      <a:cubicBezTo>
                        <a:pt x="325" y="84"/>
                        <a:pt x="325" y="84"/>
                        <a:pt x="325" y="84"/>
                      </a:cubicBezTo>
                      <a:cubicBezTo>
                        <a:pt x="325" y="83"/>
                        <a:pt x="325" y="83"/>
                        <a:pt x="325" y="83"/>
                      </a:cubicBezTo>
                      <a:cubicBezTo>
                        <a:pt x="326" y="83"/>
                        <a:pt x="326" y="83"/>
                        <a:pt x="326" y="83"/>
                      </a:cubicBezTo>
                      <a:cubicBezTo>
                        <a:pt x="327" y="83"/>
                        <a:pt x="327" y="83"/>
                        <a:pt x="327" y="83"/>
                      </a:cubicBezTo>
                      <a:cubicBezTo>
                        <a:pt x="327" y="83"/>
                        <a:pt x="327" y="83"/>
                        <a:pt x="327" y="83"/>
                      </a:cubicBezTo>
                      <a:cubicBezTo>
                        <a:pt x="328" y="83"/>
                        <a:pt x="328" y="83"/>
                        <a:pt x="328" y="83"/>
                      </a:cubicBezTo>
                      <a:cubicBezTo>
                        <a:pt x="327" y="84"/>
                        <a:pt x="327" y="84"/>
                        <a:pt x="327" y="84"/>
                      </a:cubicBezTo>
                      <a:cubicBezTo>
                        <a:pt x="328" y="84"/>
                        <a:pt x="328" y="84"/>
                        <a:pt x="328" y="84"/>
                      </a:cubicBezTo>
                      <a:cubicBezTo>
                        <a:pt x="327" y="86"/>
                        <a:pt x="327" y="86"/>
                        <a:pt x="327" y="86"/>
                      </a:cubicBezTo>
                      <a:cubicBezTo>
                        <a:pt x="326" y="87"/>
                        <a:pt x="326" y="87"/>
                        <a:pt x="326" y="87"/>
                      </a:cubicBezTo>
                      <a:cubicBezTo>
                        <a:pt x="325" y="87"/>
                        <a:pt x="325" y="87"/>
                        <a:pt x="325" y="87"/>
                      </a:cubicBezTo>
                      <a:cubicBezTo>
                        <a:pt x="325" y="88"/>
                        <a:pt x="325" y="88"/>
                        <a:pt x="325" y="88"/>
                      </a:cubicBezTo>
                      <a:cubicBezTo>
                        <a:pt x="324" y="89"/>
                        <a:pt x="324" y="89"/>
                        <a:pt x="324" y="89"/>
                      </a:cubicBezTo>
                      <a:cubicBezTo>
                        <a:pt x="323" y="90"/>
                        <a:pt x="323" y="90"/>
                        <a:pt x="323" y="90"/>
                      </a:cubicBezTo>
                      <a:cubicBezTo>
                        <a:pt x="323" y="89"/>
                        <a:pt x="323" y="89"/>
                        <a:pt x="323" y="89"/>
                      </a:cubicBezTo>
                      <a:cubicBezTo>
                        <a:pt x="323" y="88"/>
                        <a:pt x="323" y="88"/>
                        <a:pt x="323" y="88"/>
                      </a:cubicBezTo>
                      <a:cubicBezTo>
                        <a:pt x="323" y="87"/>
                        <a:pt x="323" y="87"/>
                        <a:pt x="323" y="87"/>
                      </a:cubicBezTo>
                      <a:cubicBezTo>
                        <a:pt x="323" y="87"/>
                        <a:pt x="323" y="87"/>
                        <a:pt x="323" y="87"/>
                      </a:cubicBezTo>
                      <a:cubicBezTo>
                        <a:pt x="322" y="87"/>
                        <a:pt x="322" y="87"/>
                        <a:pt x="322" y="87"/>
                      </a:cubicBezTo>
                      <a:cubicBezTo>
                        <a:pt x="322" y="89"/>
                        <a:pt x="322" y="89"/>
                        <a:pt x="322" y="89"/>
                      </a:cubicBezTo>
                      <a:cubicBezTo>
                        <a:pt x="321" y="89"/>
                        <a:pt x="321" y="89"/>
                        <a:pt x="321" y="89"/>
                      </a:cubicBezTo>
                      <a:cubicBezTo>
                        <a:pt x="320" y="90"/>
                        <a:pt x="320" y="90"/>
                        <a:pt x="320" y="90"/>
                      </a:cubicBezTo>
                      <a:cubicBezTo>
                        <a:pt x="319" y="90"/>
                        <a:pt x="319" y="90"/>
                        <a:pt x="319" y="90"/>
                      </a:cubicBezTo>
                      <a:cubicBezTo>
                        <a:pt x="318" y="90"/>
                        <a:pt x="318" y="90"/>
                        <a:pt x="318" y="90"/>
                      </a:cubicBezTo>
                      <a:cubicBezTo>
                        <a:pt x="317" y="91"/>
                        <a:pt x="317" y="91"/>
                        <a:pt x="317" y="91"/>
                      </a:cubicBezTo>
                      <a:cubicBezTo>
                        <a:pt x="316" y="90"/>
                        <a:pt x="316" y="90"/>
                        <a:pt x="316" y="90"/>
                      </a:cubicBezTo>
                      <a:cubicBezTo>
                        <a:pt x="315" y="91"/>
                        <a:pt x="315" y="91"/>
                        <a:pt x="315" y="91"/>
                      </a:cubicBezTo>
                      <a:cubicBezTo>
                        <a:pt x="315" y="91"/>
                        <a:pt x="315" y="91"/>
                        <a:pt x="315" y="91"/>
                      </a:cubicBezTo>
                      <a:cubicBezTo>
                        <a:pt x="314" y="90"/>
                        <a:pt x="314" y="90"/>
                        <a:pt x="314" y="90"/>
                      </a:cubicBezTo>
                      <a:cubicBezTo>
                        <a:pt x="314" y="90"/>
                        <a:pt x="314" y="90"/>
                        <a:pt x="314" y="90"/>
                      </a:cubicBezTo>
                      <a:cubicBezTo>
                        <a:pt x="315" y="89"/>
                        <a:pt x="315" y="89"/>
                        <a:pt x="315" y="89"/>
                      </a:cubicBezTo>
                      <a:cubicBezTo>
                        <a:pt x="315" y="88"/>
                        <a:pt x="315" y="88"/>
                        <a:pt x="315" y="88"/>
                      </a:cubicBezTo>
                      <a:cubicBezTo>
                        <a:pt x="315" y="88"/>
                        <a:pt x="315" y="88"/>
                        <a:pt x="315" y="88"/>
                      </a:cubicBezTo>
                      <a:cubicBezTo>
                        <a:pt x="314" y="87"/>
                        <a:pt x="314" y="87"/>
                        <a:pt x="314" y="87"/>
                      </a:cubicBezTo>
                      <a:cubicBezTo>
                        <a:pt x="314" y="87"/>
                        <a:pt x="314" y="87"/>
                        <a:pt x="314" y="87"/>
                      </a:cubicBezTo>
                      <a:cubicBezTo>
                        <a:pt x="312" y="87"/>
                        <a:pt x="312" y="87"/>
                        <a:pt x="312" y="87"/>
                      </a:cubicBezTo>
                      <a:cubicBezTo>
                        <a:pt x="312" y="86"/>
                        <a:pt x="312" y="86"/>
                        <a:pt x="312" y="86"/>
                      </a:cubicBezTo>
                      <a:cubicBezTo>
                        <a:pt x="313" y="85"/>
                        <a:pt x="313" y="85"/>
                        <a:pt x="313" y="85"/>
                      </a:cubicBezTo>
                      <a:cubicBezTo>
                        <a:pt x="313" y="85"/>
                        <a:pt x="313" y="85"/>
                        <a:pt x="313" y="85"/>
                      </a:cubicBezTo>
                      <a:cubicBezTo>
                        <a:pt x="313" y="85"/>
                        <a:pt x="313" y="85"/>
                        <a:pt x="313" y="85"/>
                      </a:cubicBezTo>
                      <a:cubicBezTo>
                        <a:pt x="312" y="84"/>
                        <a:pt x="312" y="84"/>
                        <a:pt x="312" y="84"/>
                      </a:cubicBezTo>
                      <a:cubicBezTo>
                        <a:pt x="312" y="83"/>
                        <a:pt x="312" y="83"/>
                        <a:pt x="312" y="83"/>
                      </a:cubicBezTo>
                      <a:cubicBezTo>
                        <a:pt x="312" y="83"/>
                        <a:pt x="312" y="83"/>
                        <a:pt x="312" y="83"/>
                      </a:cubicBezTo>
                      <a:cubicBezTo>
                        <a:pt x="312" y="82"/>
                        <a:pt x="312" y="82"/>
                        <a:pt x="312" y="82"/>
                      </a:cubicBezTo>
                      <a:cubicBezTo>
                        <a:pt x="311" y="81"/>
                        <a:pt x="311" y="81"/>
                        <a:pt x="311" y="81"/>
                      </a:cubicBezTo>
                      <a:cubicBezTo>
                        <a:pt x="311" y="82"/>
                        <a:pt x="311" y="82"/>
                        <a:pt x="311" y="82"/>
                      </a:cubicBezTo>
                      <a:cubicBezTo>
                        <a:pt x="311" y="83"/>
                        <a:pt x="311" y="83"/>
                        <a:pt x="311" y="83"/>
                      </a:cubicBezTo>
                      <a:cubicBezTo>
                        <a:pt x="312" y="85"/>
                        <a:pt x="312" y="85"/>
                        <a:pt x="312" y="85"/>
                      </a:cubicBezTo>
                      <a:cubicBezTo>
                        <a:pt x="312" y="85"/>
                        <a:pt x="312" y="85"/>
                        <a:pt x="312" y="85"/>
                      </a:cubicBezTo>
                      <a:cubicBezTo>
                        <a:pt x="311" y="86"/>
                        <a:pt x="311" y="86"/>
                        <a:pt x="311" y="86"/>
                      </a:cubicBezTo>
                      <a:cubicBezTo>
                        <a:pt x="311" y="87"/>
                        <a:pt x="311" y="87"/>
                        <a:pt x="311" y="87"/>
                      </a:cubicBezTo>
                      <a:cubicBezTo>
                        <a:pt x="311" y="87"/>
                        <a:pt x="311" y="87"/>
                        <a:pt x="311" y="87"/>
                      </a:cubicBezTo>
                      <a:cubicBezTo>
                        <a:pt x="310" y="87"/>
                        <a:pt x="310" y="87"/>
                        <a:pt x="310" y="87"/>
                      </a:cubicBezTo>
                      <a:cubicBezTo>
                        <a:pt x="309" y="87"/>
                        <a:pt x="309" y="87"/>
                        <a:pt x="309" y="87"/>
                      </a:cubicBezTo>
                      <a:cubicBezTo>
                        <a:pt x="308" y="86"/>
                        <a:pt x="308" y="86"/>
                        <a:pt x="308" y="86"/>
                      </a:cubicBezTo>
                      <a:cubicBezTo>
                        <a:pt x="308" y="86"/>
                        <a:pt x="308" y="86"/>
                        <a:pt x="308" y="86"/>
                      </a:cubicBezTo>
                      <a:cubicBezTo>
                        <a:pt x="309" y="84"/>
                        <a:pt x="309" y="84"/>
                        <a:pt x="309" y="84"/>
                      </a:cubicBezTo>
                      <a:cubicBezTo>
                        <a:pt x="309" y="84"/>
                        <a:pt x="309" y="84"/>
                        <a:pt x="309" y="84"/>
                      </a:cubicBezTo>
                      <a:cubicBezTo>
                        <a:pt x="309" y="83"/>
                        <a:pt x="309" y="83"/>
                        <a:pt x="309" y="83"/>
                      </a:cubicBezTo>
                      <a:cubicBezTo>
                        <a:pt x="310" y="82"/>
                        <a:pt x="310" y="82"/>
                        <a:pt x="310" y="82"/>
                      </a:cubicBezTo>
                      <a:cubicBezTo>
                        <a:pt x="309" y="82"/>
                        <a:pt x="309" y="82"/>
                        <a:pt x="309" y="82"/>
                      </a:cubicBezTo>
                      <a:cubicBezTo>
                        <a:pt x="308" y="83"/>
                        <a:pt x="308" y="83"/>
                        <a:pt x="308" y="83"/>
                      </a:cubicBezTo>
                      <a:cubicBezTo>
                        <a:pt x="308" y="84"/>
                        <a:pt x="308" y="84"/>
                        <a:pt x="308" y="84"/>
                      </a:cubicBezTo>
                      <a:cubicBezTo>
                        <a:pt x="308" y="85"/>
                        <a:pt x="308" y="85"/>
                        <a:pt x="308" y="85"/>
                      </a:cubicBezTo>
                      <a:cubicBezTo>
                        <a:pt x="307" y="86"/>
                        <a:pt x="307" y="86"/>
                        <a:pt x="307" y="86"/>
                      </a:cubicBezTo>
                      <a:cubicBezTo>
                        <a:pt x="306" y="86"/>
                        <a:pt x="306" y="86"/>
                        <a:pt x="306" y="86"/>
                      </a:cubicBezTo>
                      <a:cubicBezTo>
                        <a:pt x="306" y="86"/>
                        <a:pt x="306" y="86"/>
                        <a:pt x="306" y="86"/>
                      </a:cubicBezTo>
                      <a:cubicBezTo>
                        <a:pt x="306" y="85"/>
                        <a:pt x="306" y="85"/>
                        <a:pt x="306" y="85"/>
                      </a:cubicBezTo>
                      <a:cubicBezTo>
                        <a:pt x="305" y="85"/>
                        <a:pt x="305" y="85"/>
                        <a:pt x="305" y="85"/>
                      </a:cubicBezTo>
                      <a:cubicBezTo>
                        <a:pt x="305" y="84"/>
                        <a:pt x="305" y="84"/>
                        <a:pt x="305" y="84"/>
                      </a:cubicBezTo>
                      <a:cubicBezTo>
                        <a:pt x="306" y="83"/>
                        <a:pt x="306" y="83"/>
                        <a:pt x="306" y="83"/>
                      </a:cubicBezTo>
                      <a:cubicBezTo>
                        <a:pt x="306" y="83"/>
                        <a:pt x="306" y="83"/>
                        <a:pt x="306" y="83"/>
                      </a:cubicBezTo>
                      <a:cubicBezTo>
                        <a:pt x="306" y="82"/>
                        <a:pt x="306" y="82"/>
                        <a:pt x="306" y="82"/>
                      </a:cubicBezTo>
                      <a:cubicBezTo>
                        <a:pt x="305" y="82"/>
                        <a:pt x="305" y="82"/>
                        <a:pt x="305" y="82"/>
                      </a:cubicBezTo>
                      <a:cubicBezTo>
                        <a:pt x="305" y="82"/>
                        <a:pt x="305" y="82"/>
                        <a:pt x="305" y="82"/>
                      </a:cubicBezTo>
                      <a:cubicBezTo>
                        <a:pt x="305" y="83"/>
                        <a:pt x="305" y="83"/>
                        <a:pt x="305" y="83"/>
                      </a:cubicBezTo>
                      <a:cubicBezTo>
                        <a:pt x="305" y="84"/>
                        <a:pt x="305" y="84"/>
                        <a:pt x="305" y="84"/>
                      </a:cubicBezTo>
                      <a:cubicBezTo>
                        <a:pt x="304" y="84"/>
                        <a:pt x="304" y="84"/>
                        <a:pt x="304" y="84"/>
                      </a:cubicBezTo>
                      <a:cubicBezTo>
                        <a:pt x="304" y="85"/>
                        <a:pt x="304" y="85"/>
                        <a:pt x="304" y="85"/>
                      </a:cubicBezTo>
                      <a:cubicBezTo>
                        <a:pt x="303" y="85"/>
                        <a:pt x="303" y="85"/>
                        <a:pt x="303" y="85"/>
                      </a:cubicBezTo>
                      <a:cubicBezTo>
                        <a:pt x="303" y="85"/>
                        <a:pt x="303" y="85"/>
                        <a:pt x="303" y="85"/>
                      </a:cubicBezTo>
                      <a:cubicBezTo>
                        <a:pt x="303" y="85"/>
                        <a:pt x="303" y="85"/>
                        <a:pt x="303" y="85"/>
                      </a:cubicBezTo>
                      <a:close/>
                      <a:moveTo>
                        <a:pt x="328" y="213"/>
                      </a:moveTo>
                      <a:cubicBezTo>
                        <a:pt x="328" y="215"/>
                        <a:pt x="328" y="215"/>
                        <a:pt x="328" y="215"/>
                      </a:cubicBezTo>
                      <a:cubicBezTo>
                        <a:pt x="328" y="216"/>
                        <a:pt x="328" y="216"/>
                        <a:pt x="328" y="216"/>
                      </a:cubicBezTo>
                      <a:cubicBezTo>
                        <a:pt x="328" y="216"/>
                        <a:pt x="328" y="216"/>
                        <a:pt x="328" y="216"/>
                      </a:cubicBezTo>
                      <a:cubicBezTo>
                        <a:pt x="329" y="216"/>
                        <a:pt x="329" y="216"/>
                        <a:pt x="329" y="216"/>
                      </a:cubicBezTo>
                      <a:cubicBezTo>
                        <a:pt x="329" y="215"/>
                        <a:pt x="329" y="215"/>
                        <a:pt x="329" y="215"/>
                      </a:cubicBezTo>
                      <a:cubicBezTo>
                        <a:pt x="329" y="214"/>
                        <a:pt x="329" y="214"/>
                        <a:pt x="329" y="214"/>
                      </a:cubicBezTo>
                      <a:cubicBezTo>
                        <a:pt x="329" y="213"/>
                        <a:pt x="329" y="213"/>
                        <a:pt x="329" y="213"/>
                      </a:cubicBezTo>
                      <a:cubicBezTo>
                        <a:pt x="328" y="213"/>
                        <a:pt x="328" y="213"/>
                        <a:pt x="328" y="213"/>
                      </a:cubicBezTo>
                      <a:close/>
                      <a:moveTo>
                        <a:pt x="328" y="209"/>
                      </a:moveTo>
                      <a:cubicBezTo>
                        <a:pt x="327" y="208"/>
                        <a:pt x="327" y="208"/>
                        <a:pt x="327" y="208"/>
                      </a:cubicBezTo>
                      <a:cubicBezTo>
                        <a:pt x="328" y="208"/>
                        <a:pt x="328" y="208"/>
                        <a:pt x="328" y="208"/>
                      </a:cubicBezTo>
                      <a:cubicBezTo>
                        <a:pt x="328" y="208"/>
                        <a:pt x="328" y="208"/>
                        <a:pt x="328" y="208"/>
                      </a:cubicBezTo>
                      <a:cubicBezTo>
                        <a:pt x="328" y="209"/>
                        <a:pt x="328" y="209"/>
                        <a:pt x="328" y="209"/>
                      </a:cubicBezTo>
                      <a:cubicBezTo>
                        <a:pt x="328" y="209"/>
                        <a:pt x="328" y="209"/>
                        <a:pt x="328" y="209"/>
                      </a:cubicBezTo>
                      <a:close/>
                      <a:moveTo>
                        <a:pt x="326" y="206"/>
                      </a:moveTo>
                      <a:cubicBezTo>
                        <a:pt x="327" y="205"/>
                        <a:pt x="327" y="205"/>
                        <a:pt x="327" y="205"/>
                      </a:cubicBezTo>
                      <a:cubicBezTo>
                        <a:pt x="328" y="205"/>
                        <a:pt x="328" y="205"/>
                        <a:pt x="328" y="205"/>
                      </a:cubicBezTo>
                      <a:cubicBezTo>
                        <a:pt x="328" y="205"/>
                        <a:pt x="328" y="205"/>
                        <a:pt x="328" y="205"/>
                      </a:cubicBezTo>
                      <a:cubicBezTo>
                        <a:pt x="327" y="206"/>
                        <a:pt x="327" y="206"/>
                        <a:pt x="327" y="206"/>
                      </a:cubicBezTo>
                      <a:cubicBezTo>
                        <a:pt x="327" y="206"/>
                        <a:pt x="327" y="206"/>
                        <a:pt x="327" y="206"/>
                      </a:cubicBezTo>
                      <a:cubicBezTo>
                        <a:pt x="326" y="206"/>
                        <a:pt x="326" y="206"/>
                        <a:pt x="326" y="206"/>
                      </a:cubicBezTo>
                      <a:close/>
                      <a:moveTo>
                        <a:pt x="319" y="141"/>
                      </a:moveTo>
                      <a:cubicBezTo>
                        <a:pt x="319" y="141"/>
                        <a:pt x="319" y="141"/>
                        <a:pt x="319" y="141"/>
                      </a:cubicBezTo>
                      <a:cubicBezTo>
                        <a:pt x="319" y="140"/>
                        <a:pt x="319" y="140"/>
                        <a:pt x="319" y="140"/>
                      </a:cubicBezTo>
                      <a:cubicBezTo>
                        <a:pt x="319" y="141"/>
                        <a:pt x="319" y="141"/>
                        <a:pt x="319" y="141"/>
                      </a:cubicBezTo>
                      <a:cubicBezTo>
                        <a:pt x="319" y="141"/>
                        <a:pt x="319" y="141"/>
                        <a:pt x="319" y="141"/>
                      </a:cubicBezTo>
                      <a:close/>
                      <a:moveTo>
                        <a:pt x="320" y="142"/>
                      </a:moveTo>
                      <a:cubicBezTo>
                        <a:pt x="320" y="142"/>
                        <a:pt x="320" y="142"/>
                        <a:pt x="320" y="142"/>
                      </a:cubicBezTo>
                      <a:cubicBezTo>
                        <a:pt x="320" y="141"/>
                        <a:pt x="320" y="141"/>
                        <a:pt x="320" y="141"/>
                      </a:cubicBezTo>
                      <a:cubicBezTo>
                        <a:pt x="320" y="141"/>
                        <a:pt x="320" y="141"/>
                        <a:pt x="320" y="141"/>
                      </a:cubicBezTo>
                      <a:cubicBezTo>
                        <a:pt x="321" y="141"/>
                        <a:pt x="321" y="141"/>
                        <a:pt x="321" y="141"/>
                      </a:cubicBezTo>
                      <a:cubicBezTo>
                        <a:pt x="320" y="142"/>
                        <a:pt x="320" y="142"/>
                        <a:pt x="320" y="142"/>
                      </a:cubicBezTo>
                      <a:cubicBezTo>
                        <a:pt x="320" y="142"/>
                        <a:pt x="320" y="142"/>
                        <a:pt x="320" y="142"/>
                      </a:cubicBezTo>
                      <a:close/>
                      <a:moveTo>
                        <a:pt x="318" y="144"/>
                      </a:moveTo>
                      <a:cubicBezTo>
                        <a:pt x="318" y="144"/>
                        <a:pt x="318" y="144"/>
                        <a:pt x="318" y="144"/>
                      </a:cubicBezTo>
                      <a:cubicBezTo>
                        <a:pt x="318" y="143"/>
                        <a:pt x="318" y="143"/>
                        <a:pt x="318" y="143"/>
                      </a:cubicBezTo>
                      <a:cubicBezTo>
                        <a:pt x="318" y="142"/>
                        <a:pt x="318" y="142"/>
                        <a:pt x="318" y="142"/>
                      </a:cubicBezTo>
                      <a:cubicBezTo>
                        <a:pt x="319" y="142"/>
                        <a:pt x="319" y="142"/>
                        <a:pt x="319" y="142"/>
                      </a:cubicBezTo>
                      <a:cubicBezTo>
                        <a:pt x="319" y="143"/>
                        <a:pt x="319" y="143"/>
                        <a:pt x="319" y="143"/>
                      </a:cubicBezTo>
                      <a:cubicBezTo>
                        <a:pt x="319" y="143"/>
                        <a:pt x="319" y="143"/>
                        <a:pt x="319" y="143"/>
                      </a:cubicBezTo>
                      <a:cubicBezTo>
                        <a:pt x="320" y="143"/>
                        <a:pt x="320" y="143"/>
                        <a:pt x="320" y="143"/>
                      </a:cubicBezTo>
                      <a:cubicBezTo>
                        <a:pt x="319" y="143"/>
                        <a:pt x="319" y="143"/>
                        <a:pt x="319" y="143"/>
                      </a:cubicBezTo>
                      <a:cubicBezTo>
                        <a:pt x="319" y="144"/>
                        <a:pt x="319" y="144"/>
                        <a:pt x="319" y="144"/>
                      </a:cubicBezTo>
                      <a:cubicBezTo>
                        <a:pt x="318" y="144"/>
                        <a:pt x="318" y="144"/>
                        <a:pt x="318" y="144"/>
                      </a:cubicBezTo>
                      <a:close/>
                      <a:moveTo>
                        <a:pt x="333" y="164"/>
                      </a:moveTo>
                      <a:cubicBezTo>
                        <a:pt x="333" y="163"/>
                        <a:pt x="333" y="163"/>
                        <a:pt x="333" y="163"/>
                      </a:cubicBezTo>
                      <a:cubicBezTo>
                        <a:pt x="334" y="163"/>
                        <a:pt x="334" y="163"/>
                        <a:pt x="334" y="163"/>
                      </a:cubicBezTo>
                      <a:cubicBezTo>
                        <a:pt x="333" y="164"/>
                        <a:pt x="333" y="164"/>
                        <a:pt x="333" y="164"/>
                      </a:cubicBezTo>
                      <a:cubicBezTo>
                        <a:pt x="333" y="164"/>
                        <a:pt x="333" y="164"/>
                        <a:pt x="333" y="164"/>
                      </a:cubicBezTo>
                      <a:cubicBezTo>
                        <a:pt x="333" y="164"/>
                        <a:pt x="333" y="164"/>
                        <a:pt x="333" y="164"/>
                      </a:cubicBezTo>
                      <a:close/>
                      <a:moveTo>
                        <a:pt x="331" y="163"/>
                      </a:moveTo>
                      <a:cubicBezTo>
                        <a:pt x="331" y="163"/>
                        <a:pt x="331" y="163"/>
                        <a:pt x="331" y="163"/>
                      </a:cubicBezTo>
                      <a:cubicBezTo>
                        <a:pt x="332" y="163"/>
                        <a:pt x="332" y="163"/>
                        <a:pt x="332" y="163"/>
                      </a:cubicBezTo>
                      <a:cubicBezTo>
                        <a:pt x="332" y="162"/>
                        <a:pt x="332" y="162"/>
                        <a:pt x="332" y="162"/>
                      </a:cubicBezTo>
                      <a:cubicBezTo>
                        <a:pt x="333" y="163"/>
                        <a:pt x="333" y="163"/>
                        <a:pt x="333" y="163"/>
                      </a:cubicBezTo>
                      <a:cubicBezTo>
                        <a:pt x="332" y="164"/>
                        <a:pt x="332" y="164"/>
                        <a:pt x="332" y="164"/>
                      </a:cubicBezTo>
                      <a:cubicBezTo>
                        <a:pt x="331" y="164"/>
                        <a:pt x="331" y="164"/>
                        <a:pt x="331" y="164"/>
                      </a:cubicBezTo>
                      <a:cubicBezTo>
                        <a:pt x="331" y="163"/>
                        <a:pt x="331" y="163"/>
                        <a:pt x="331" y="163"/>
                      </a:cubicBezTo>
                      <a:close/>
                      <a:moveTo>
                        <a:pt x="328" y="172"/>
                      </a:moveTo>
                      <a:cubicBezTo>
                        <a:pt x="329" y="173"/>
                        <a:pt x="329" y="173"/>
                        <a:pt x="329" y="173"/>
                      </a:cubicBezTo>
                      <a:cubicBezTo>
                        <a:pt x="329" y="172"/>
                        <a:pt x="329" y="172"/>
                        <a:pt x="329" y="172"/>
                      </a:cubicBezTo>
                      <a:cubicBezTo>
                        <a:pt x="329" y="172"/>
                        <a:pt x="329" y="172"/>
                        <a:pt x="329" y="172"/>
                      </a:cubicBezTo>
                      <a:cubicBezTo>
                        <a:pt x="328" y="172"/>
                        <a:pt x="328" y="172"/>
                        <a:pt x="328" y="172"/>
                      </a:cubicBezTo>
                      <a:close/>
                      <a:moveTo>
                        <a:pt x="332" y="176"/>
                      </a:moveTo>
                      <a:cubicBezTo>
                        <a:pt x="333" y="177"/>
                        <a:pt x="333" y="177"/>
                        <a:pt x="333" y="177"/>
                      </a:cubicBezTo>
                      <a:cubicBezTo>
                        <a:pt x="333" y="176"/>
                        <a:pt x="333" y="176"/>
                        <a:pt x="333" y="176"/>
                      </a:cubicBezTo>
                      <a:cubicBezTo>
                        <a:pt x="333" y="176"/>
                        <a:pt x="333" y="176"/>
                        <a:pt x="333" y="176"/>
                      </a:cubicBezTo>
                      <a:cubicBezTo>
                        <a:pt x="333" y="176"/>
                        <a:pt x="333" y="176"/>
                        <a:pt x="333" y="176"/>
                      </a:cubicBezTo>
                      <a:cubicBezTo>
                        <a:pt x="333" y="176"/>
                        <a:pt x="332" y="176"/>
                        <a:pt x="332" y="176"/>
                      </a:cubicBezTo>
                      <a:close/>
                      <a:moveTo>
                        <a:pt x="339" y="183"/>
                      </a:moveTo>
                      <a:cubicBezTo>
                        <a:pt x="339" y="182"/>
                        <a:pt x="339" y="182"/>
                        <a:pt x="339" y="182"/>
                      </a:cubicBezTo>
                      <a:cubicBezTo>
                        <a:pt x="340" y="181"/>
                        <a:pt x="340" y="181"/>
                        <a:pt x="340" y="181"/>
                      </a:cubicBezTo>
                      <a:cubicBezTo>
                        <a:pt x="340" y="182"/>
                        <a:pt x="340" y="182"/>
                        <a:pt x="340" y="182"/>
                      </a:cubicBezTo>
                      <a:cubicBezTo>
                        <a:pt x="340" y="183"/>
                        <a:pt x="340" y="183"/>
                        <a:pt x="340" y="183"/>
                      </a:cubicBezTo>
                      <a:cubicBezTo>
                        <a:pt x="340" y="183"/>
                        <a:pt x="340" y="183"/>
                        <a:pt x="340" y="183"/>
                      </a:cubicBezTo>
                      <a:cubicBezTo>
                        <a:pt x="339" y="183"/>
                        <a:pt x="339" y="183"/>
                        <a:pt x="339" y="183"/>
                      </a:cubicBezTo>
                      <a:close/>
                      <a:moveTo>
                        <a:pt x="343" y="187"/>
                      </a:moveTo>
                      <a:cubicBezTo>
                        <a:pt x="343" y="186"/>
                        <a:pt x="343" y="186"/>
                        <a:pt x="343" y="186"/>
                      </a:cubicBezTo>
                      <a:cubicBezTo>
                        <a:pt x="344" y="186"/>
                        <a:pt x="344" y="186"/>
                        <a:pt x="344" y="186"/>
                      </a:cubicBezTo>
                      <a:cubicBezTo>
                        <a:pt x="344" y="185"/>
                        <a:pt x="344" y="185"/>
                        <a:pt x="344" y="185"/>
                      </a:cubicBezTo>
                      <a:cubicBezTo>
                        <a:pt x="345" y="186"/>
                        <a:pt x="345" y="186"/>
                        <a:pt x="345" y="186"/>
                      </a:cubicBezTo>
                      <a:cubicBezTo>
                        <a:pt x="344" y="186"/>
                        <a:pt x="344" y="186"/>
                        <a:pt x="344" y="186"/>
                      </a:cubicBezTo>
                      <a:cubicBezTo>
                        <a:pt x="344" y="187"/>
                        <a:pt x="344" y="187"/>
                        <a:pt x="344" y="187"/>
                      </a:cubicBezTo>
                      <a:cubicBezTo>
                        <a:pt x="344" y="187"/>
                        <a:pt x="343" y="187"/>
                        <a:pt x="343" y="187"/>
                      </a:cubicBezTo>
                      <a:close/>
                      <a:moveTo>
                        <a:pt x="317" y="95"/>
                      </a:moveTo>
                      <a:cubicBezTo>
                        <a:pt x="317" y="94"/>
                        <a:pt x="317" y="94"/>
                        <a:pt x="317" y="94"/>
                      </a:cubicBezTo>
                      <a:cubicBezTo>
                        <a:pt x="317" y="93"/>
                        <a:pt x="317" y="93"/>
                        <a:pt x="317" y="93"/>
                      </a:cubicBezTo>
                      <a:cubicBezTo>
                        <a:pt x="318" y="93"/>
                        <a:pt x="318" y="93"/>
                        <a:pt x="318" y="93"/>
                      </a:cubicBezTo>
                      <a:cubicBezTo>
                        <a:pt x="320" y="91"/>
                        <a:pt x="320" y="91"/>
                        <a:pt x="320" y="91"/>
                      </a:cubicBezTo>
                      <a:cubicBezTo>
                        <a:pt x="321" y="91"/>
                        <a:pt x="321" y="91"/>
                        <a:pt x="321" y="91"/>
                      </a:cubicBezTo>
                      <a:cubicBezTo>
                        <a:pt x="320" y="92"/>
                        <a:pt x="320" y="92"/>
                        <a:pt x="320" y="92"/>
                      </a:cubicBezTo>
                      <a:cubicBezTo>
                        <a:pt x="319" y="93"/>
                        <a:pt x="319" y="93"/>
                        <a:pt x="319" y="93"/>
                      </a:cubicBezTo>
                      <a:cubicBezTo>
                        <a:pt x="319" y="94"/>
                        <a:pt x="319" y="94"/>
                        <a:pt x="319" y="94"/>
                      </a:cubicBezTo>
                      <a:cubicBezTo>
                        <a:pt x="319" y="94"/>
                        <a:pt x="319" y="94"/>
                        <a:pt x="319" y="94"/>
                      </a:cubicBezTo>
                      <a:cubicBezTo>
                        <a:pt x="319" y="95"/>
                        <a:pt x="319" y="95"/>
                        <a:pt x="319" y="95"/>
                      </a:cubicBezTo>
                      <a:cubicBezTo>
                        <a:pt x="318" y="95"/>
                        <a:pt x="318" y="95"/>
                        <a:pt x="318" y="95"/>
                      </a:cubicBezTo>
                      <a:cubicBezTo>
                        <a:pt x="318" y="94"/>
                        <a:pt x="318" y="94"/>
                        <a:pt x="318" y="94"/>
                      </a:cubicBezTo>
                      <a:cubicBezTo>
                        <a:pt x="318" y="94"/>
                        <a:pt x="318" y="94"/>
                        <a:pt x="318" y="94"/>
                      </a:cubicBezTo>
                      <a:cubicBezTo>
                        <a:pt x="317" y="95"/>
                        <a:pt x="317" y="95"/>
                        <a:pt x="317" y="95"/>
                      </a:cubicBezTo>
                      <a:cubicBezTo>
                        <a:pt x="317" y="95"/>
                        <a:pt x="317" y="95"/>
                        <a:pt x="317" y="95"/>
                      </a:cubicBezTo>
                      <a:close/>
                      <a:moveTo>
                        <a:pt x="312" y="91"/>
                      </a:moveTo>
                      <a:cubicBezTo>
                        <a:pt x="312" y="91"/>
                        <a:pt x="312" y="91"/>
                        <a:pt x="312" y="91"/>
                      </a:cubicBezTo>
                      <a:cubicBezTo>
                        <a:pt x="313" y="91"/>
                        <a:pt x="313" y="91"/>
                        <a:pt x="313" y="91"/>
                      </a:cubicBezTo>
                      <a:cubicBezTo>
                        <a:pt x="313" y="90"/>
                        <a:pt x="313" y="90"/>
                        <a:pt x="313" y="90"/>
                      </a:cubicBezTo>
                      <a:cubicBezTo>
                        <a:pt x="313" y="90"/>
                        <a:pt x="313" y="90"/>
                        <a:pt x="313" y="90"/>
                      </a:cubicBezTo>
                      <a:cubicBezTo>
                        <a:pt x="312" y="91"/>
                        <a:pt x="312" y="91"/>
                        <a:pt x="312" y="91"/>
                      </a:cubicBezTo>
                      <a:close/>
                      <a:moveTo>
                        <a:pt x="286" y="80"/>
                      </a:moveTo>
                      <a:cubicBezTo>
                        <a:pt x="285" y="80"/>
                        <a:pt x="285" y="80"/>
                        <a:pt x="285" y="80"/>
                      </a:cubicBezTo>
                      <a:cubicBezTo>
                        <a:pt x="285" y="79"/>
                        <a:pt x="285" y="79"/>
                        <a:pt x="285" y="79"/>
                      </a:cubicBezTo>
                      <a:cubicBezTo>
                        <a:pt x="285" y="77"/>
                        <a:pt x="285" y="77"/>
                        <a:pt x="285" y="77"/>
                      </a:cubicBezTo>
                      <a:cubicBezTo>
                        <a:pt x="285" y="77"/>
                        <a:pt x="285" y="77"/>
                        <a:pt x="285" y="77"/>
                      </a:cubicBezTo>
                      <a:cubicBezTo>
                        <a:pt x="285" y="76"/>
                        <a:pt x="285" y="76"/>
                        <a:pt x="285" y="76"/>
                      </a:cubicBezTo>
                      <a:cubicBezTo>
                        <a:pt x="285" y="76"/>
                        <a:pt x="285" y="76"/>
                        <a:pt x="285" y="76"/>
                      </a:cubicBezTo>
                      <a:cubicBezTo>
                        <a:pt x="286" y="75"/>
                        <a:pt x="286" y="75"/>
                        <a:pt x="286" y="75"/>
                      </a:cubicBezTo>
                      <a:cubicBezTo>
                        <a:pt x="287" y="76"/>
                        <a:pt x="287" y="76"/>
                        <a:pt x="287" y="76"/>
                      </a:cubicBezTo>
                      <a:cubicBezTo>
                        <a:pt x="287" y="77"/>
                        <a:pt x="287" y="77"/>
                        <a:pt x="287" y="77"/>
                      </a:cubicBezTo>
                      <a:cubicBezTo>
                        <a:pt x="287" y="79"/>
                        <a:pt x="287" y="79"/>
                        <a:pt x="287" y="79"/>
                      </a:cubicBezTo>
                      <a:cubicBezTo>
                        <a:pt x="286" y="79"/>
                        <a:pt x="286" y="79"/>
                        <a:pt x="286" y="79"/>
                      </a:cubicBezTo>
                      <a:cubicBezTo>
                        <a:pt x="287" y="79"/>
                        <a:pt x="287" y="79"/>
                        <a:pt x="287" y="79"/>
                      </a:cubicBezTo>
                      <a:cubicBezTo>
                        <a:pt x="287" y="80"/>
                        <a:pt x="287" y="80"/>
                        <a:pt x="287" y="80"/>
                      </a:cubicBezTo>
                      <a:cubicBezTo>
                        <a:pt x="286" y="80"/>
                        <a:pt x="286" y="80"/>
                        <a:pt x="286" y="80"/>
                      </a:cubicBezTo>
                      <a:close/>
                      <a:moveTo>
                        <a:pt x="286" y="32"/>
                      </a:moveTo>
                      <a:cubicBezTo>
                        <a:pt x="287" y="31"/>
                        <a:pt x="287" y="31"/>
                        <a:pt x="287" y="31"/>
                      </a:cubicBezTo>
                      <a:cubicBezTo>
                        <a:pt x="288" y="30"/>
                        <a:pt x="288" y="30"/>
                        <a:pt x="288" y="30"/>
                      </a:cubicBezTo>
                      <a:cubicBezTo>
                        <a:pt x="288" y="30"/>
                        <a:pt x="288" y="30"/>
                        <a:pt x="288" y="30"/>
                      </a:cubicBezTo>
                      <a:cubicBezTo>
                        <a:pt x="289" y="29"/>
                        <a:pt x="289" y="29"/>
                        <a:pt x="289" y="29"/>
                      </a:cubicBezTo>
                      <a:cubicBezTo>
                        <a:pt x="290" y="28"/>
                        <a:pt x="290" y="28"/>
                        <a:pt x="290" y="28"/>
                      </a:cubicBezTo>
                      <a:cubicBezTo>
                        <a:pt x="289" y="27"/>
                        <a:pt x="289" y="27"/>
                        <a:pt x="289" y="27"/>
                      </a:cubicBezTo>
                      <a:cubicBezTo>
                        <a:pt x="288" y="27"/>
                        <a:pt x="288" y="27"/>
                        <a:pt x="288" y="27"/>
                      </a:cubicBezTo>
                      <a:cubicBezTo>
                        <a:pt x="287" y="27"/>
                        <a:pt x="287" y="27"/>
                        <a:pt x="287" y="27"/>
                      </a:cubicBezTo>
                      <a:cubicBezTo>
                        <a:pt x="288" y="26"/>
                        <a:pt x="288" y="26"/>
                        <a:pt x="288" y="26"/>
                      </a:cubicBezTo>
                      <a:cubicBezTo>
                        <a:pt x="287" y="26"/>
                        <a:pt x="287" y="26"/>
                        <a:pt x="287" y="26"/>
                      </a:cubicBezTo>
                      <a:cubicBezTo>
                        <a:pt x="286" y="27"/>
                        <a:pt x="286" y="27"/>
                        <a:pt x="286" y="27"/>
                      </a:cubicBezTo>
                      <a:cubicBezTo>
                        <a:pt x="285" y="27"/>
                        <a:pt x="285" y="27"/>
                        <a:pt x="285" y="27"/>
                      </a:cubicBezTo>
                      <a:cubicBezTo>
                        <a:pt x="285" y="28"/>
                        <a:pt x="285" y="28"/>
                        <a:pt x="285" y="28"/>
                      </a:cubicBezTo>
                      <a:cubicBezTo>
                        <a:pt x="284" y="28"/>
                        <a:pt x="284" y="28"/>
                        <a:pt x="284" y="28"/>
                      </a:cubicBezTo>
                      <a:cubicBezTo>
                        <a:pt x="284" y="29"/>
                        <a:pt x="284" y="29"/>
                        <a:pt x="284" y="29"/>
                      </a:cubicBezTo>
                      <a:cubicBezTo>
                        <a:pt x="285" y="29"/>
                        <a:pt x="285" y="29"/>
                        <a:pt x="285" y="29"/>
                      </a:cubicBezTo>
                      <a:cubicBezTo>
                        <a:pt x="286" y="29"/>
                        <a:pt x="286" y="29"/>
                        <a:pt x="286" y="29"/>
                      </a:cubicBezTo>
                      <a:cubicBezTo>
                        <a:pt x="286" y="30"/>
                        <a:pt x="286" y="30"/>
                        <a:pt x="286" y="30"/>
                      </a:cubicBezTo>
                      <a:cubicBezTo>
                        <a:pt x="285" y="31"/>
                        <a:pt x="285" y="31"/>
                        <a:pt x="285" y="31"/>
                      </a:cubicBezTo>
                      <a:cubicBezTo>
                        <a:pt x="285" y="31"/>
                        <a:pt x="285" y="31"/>
                        <a:pt x="285" y="31"/>
                      </a:cubicBezTo>
                      <a:cubicBezTo>
                        <a:pt x="286" y="32"/>
                        <a:pt x="286" y="32"/>
                        <a:pt x="286" y="32"/>
                      </a:cubicBezTo>
                      <a:cubicBezTo>
                        <a:pt x="286" y="32"/>
                        <a:pt x="286" y="32"/>
                        <a:pt x="286" y="32"/>
                      </a:cubicBezTo>
                      <a:close/>
                      <a:moveTo>
                        <a:pt x="274" y="58"/>
                      </a:moveTo>
                      <a:cubicBezTo>
                        <a:pt x="274" y="57"/>
                        <a:pt x="274" y="57"/>
                        <a:pt x="274" y="57"/>
                      </a:cubicBezTo>
                      <a:cubicBezTo>
                        <a:pt x="274" y="57"/>
                        <a:pt x="274" y="57"/>
                        <a:pt x="274" y="57"/>
                      </a:cubicBezTo>
                      <a:cubicBezTo>
                        <a:pt x="274" y="56"/>
                        <a:pt x="274" y="56"/>
                        <a:pt x="274" y="56"/>
                      </a:cubicBezTo>
                      <a:cubicBezTo>
                        <a:pt x="274" y="55"/>
                        <a:pt x="274" y="55"/>
                        <a:pt x="274" y="55"/>
                      </a:cubicBezTo>
                      <a:cubicBezTo>
                        <a:pt x="273" y="55"/>
                        <a:pt x="273" y="55"/>
                        <a:pt x="273" y="55"/>
                      </a:cubicBezTo>
                      <a:cubicBezTo>
                        <a:pt x="273" y="54"/>
                        <a:pt x="273" y="54"/>
                        <a:pt x="273" y="54"/>
                      </a:cubicBezTo>
                      <a:cubicBezTo>
                        <a:pt x="273" y="54"/>
                        <a:pt x="273" y="54"/>
                        <a:pt x="273" y="54"/>
                      </a:cubicBezTo>
                      <a:cubicBezTo>
                        <a:pt x="275" y="54"/>
                        <a:pt x="275" y="54"/>
                        <a:pt x="275" y="54"/>
                      </a:cubicBezTo>
                      <a:cubicBezTo>
                        <a:pt x="275" y="54"/>
                        <a:pt x="275" y="54"/>
                        <a:pt x="275" y="54"/>
                      </a:cubicBezTo>
                      <a:cubicBezTo>
                        <a:pt x="276" y="54"/>
                        <a:pt x="276" y="54"/>
                        <a:pt x="276" y="54"/>
                      </a:cubicBezTo>
                      <a:cubicBezTo>
                        <a:pt x="276" y="54"/>
                        <a:pt x="276" y="54"/>
                        <a:pt x="276" y="54"/>
                      </a:cubicBezTo>
                      <a:cubicBezTo>
                        <a:pt x="275" y="52"/>
                        <a:pt x="275" y="52"/>
                        <a:pt x="275" y="52"/>
                      </a:cubicBezTo>
                      <a:cubicBezTo>
                        <a:pt x="274" y="52"/>
                        <a:pt x="274" y="52"/>
                        <a:pt x="274" y="52"/>
                      </a:cubicBezTo>
                      <a:cubicBezTo>
                        <a:pt x="274" y="51"/>
                        <a:pt x="274" y="51"/>
                        <a:pt x="274" y="51"/>
                      </a:cubicBezTo>
                      <a:cubicBezTo>
                        <a:pt x="275" y="51"/>
                        <a:pt x="275" y="51"/>
                        <a:pt x="275" y="51"/>
                      </a:cubicBezTo>
                      <a:cubicBezTo>
                        <a:pt x="274" y="51"/>
                        <a:pt x="274" y="51"/>
                        <a:pt x="274" y="51"/>
                      </a:cubicBezTo>
                      <a:cubicBezTo>
                        <a:pt x="275" y="50"/>
                        <a:pt x="275" y="50"/>
                        <a:pt x="275" y="50"/>
                      </a:cubicBezTo>
                      <a:cubicBezTo>
                        <a:pt x="275" y="48"/>
                        <a:pt x="275" y="48"/>
                        <a:pt x="275" y="48"/>
                      </a:cubicBezTo>
                      <a:cubicBezTo>
                        <a:pt x="275" y="47"/>
                        <a:pt x="275" y="47"/>
                        <a:pt x="275" y="47"/>
                      </a:cubicBezTo>
                      <a:cubicBezTo>
                        <a:pt x="276" y="47"/>
                        <a:pt x="276" y="47"/>
                        <a:pt x="276" y="47"/>
                      </a:cubicBezTo>
                      <a:cubicBezTo>
                        <a:pt x="277" y="47"/>
                        <a:pt x="277" y="47"/>
                        <a:pt x="277" y="47"/>
                      </a:cubicBezTo>
                      <a:cubicBezTo>
                        <a:pt x="277" y="46"/>
                        <a:pt x="277" y="46"/>
                        <a:pt x="277" y="46"/>
                      </a:cubicBezTo>
                      <a:cubicBezTo>
                        <a:pt x="277" y="45"/>
                        <a:pt x="277" y="45"/>
                        <a:pt x="277" y="45"/>
                      </a:cubicBezTo>
                      <a:cubicBezTo>
                        <a:pt x="279" y="44"/>
                        <a:pt x="279" y="44"/>
                        <a:pt x="279" y="44"/>
                      </a:cubicBezTo>
                      <a:cubicBezTo>
                        <a:pt x="280" y="44"/>
                        <a:pt x="280" y="44"/>
                        <a:pt x="280" y="44"/>
                      </a:cubicBezTo>
                      <a:cubicBezTo>
                        <a:pt x="281" y="46"/>
                        <a:pt x="281" y="46"/>
                        <a:pt x="281" y="46"/>
                      </a:cubicBezTo>
                      <a:cubicBezTo>
                        <a:pt x="281" y="47"/>
                        <a:pt x="281" y="47"/>
                        <a:pt x="281" y="47"/>
                      </a:cubicBezTo>
                      <a:cubicBezTo>
                        <a:pt x="281" y="47"/>
                        <a:pt x="281" y="47"/>
                        <a:pt x="281" y="47"/>
                      </a:cubicBezTo>
                      <a:cubicBezTo>
                        <a:pt x="281" y="48"/>
                        <a:pt x="281" y="48"/>
                        <a:pt x="281" y="48"/>
                      </a:cubicBezTo>
                      <a:cubicBezTo>
                        <a:pt x="282" y="48"/>
                        <a:pt x="282" y="48"/>
                        <a:pt x="282" y="48"/>
                      </a:cubicBezTo>
                      <a:cubicBezTo>
                        <a:pt x="282" y="49"/>
                        <a:pt x="282" y="49"/>
                        <a:pt x="282" y="49"/>
                      </a:cubicBezTo>
                      <a:cubicBezTo>
                        <a:pt x="283" y="49"/>
                        <a:pt x="283" y="49"/>
                        <a:pt x="283" y="49"/>
                      </a:cubicBezTo>
                      <a:cubicBezTo>
                        <a:pt x="283" y="50"/>
                        <a:pt x="283" y="50"/>
                        <a:pt x="283" y="50"/>
                      </a:cubicBezTo>
                      <a:cubicBezTo>
                        <a:pt x="283" y="51"/>
                        <a:pt x="283" y="51"/>
                        <a:pt x="283" y="51"/>
                      </a:cubicBezTo>
                      <a:cubicBezTo>
                        <a:pt x="284" y="51"/>
                        <a:pt x="284" y="51"/>
                        <a:pt x="284" y="51"/>
                      </a:cubicBezTo>
                      <a:cubicBezTo>
                        <a:pt x="284" y="51"/>
                        <a:pt x="284" y="51"/>
                        <a:pt x="284" y="51"/>
                      </a:cubicBezTo>
                      <a:cubicBezTo>
                        <a:pt x="284" y="52"/>
                        <a:pt x="284" y="52"/>
                        <a:pt x="284" y="52"/>
                      </a:cubicBezTo>
                      <a:cubicBezTo>
                        <a:pt x="285" y="53"/>
                        <a:pt x="285" y="53"/>
                        <a:pt x="285" y="53"/>
                      </a:cubicBezTo>
                      <a:cubicBezTo>
                        <a:pt x="284" y="54"/>
                        <a:pt x="284" y="54"/>
                        <a:pt x="284" y="54"/>
                      </a:cubicBezTo>
                      <a:cubicBezTo>
                        <a:pt x="283" y="55"/>
                        <a:pt x="283" y="55"/>
                        <a:pt x="283" y="55"/>
                      </a:cubicBezTo>
                      <a:cubicBezTo>
                        <a:pt x="282" y="55"/>
                        <a:pt x="282" y="55"/>
                        <a:pt x="282" y="55"/>
                      </a:cubicBezTo>
                      <a:cubicBezTo>
                        <a:pt x="282" y="55"/>
                        <a:pt x="282" y="55"/>
                        <a:pt x="282" y="55"/>
                      </a:cubicBezTo>
                      <a:cubicBezTo>
                        <a:pt x="282" y="55"/>
                        <a:pt x="282" y="55"/>
                        <a:pt x="282" y="55"/>
                      </a:cubicBezTo>
                      <a:cubicBezTo>
                        <a:pt x="283" y="55"/>
                        <a:pt x="283" y="55"/>
                        <a:pt x="283" y="55"/>
                      </a:cubicBezTo>
                      <a:cubicBezTo>
                        <a:pt x="283" y="57"/>
                        <a:pt x="283" y="57"/>
                        <a:pt x="283" y="57"/>
                      </a:cubicBezTo>
                      <a:cubicBezTo>
                        <a:pt x="283" y="57"/>
                        <a:pt x="283" y="57"/>
                        <a:pt x="283" y="57"/>
                      </a:cubicBezTo>
                      <a:cubicBezTo>
                        <a:pt x="281" y="58"/>
                        <a:pt x="281" y="58"/>
                        <a:pt x="281" y="58"/>
                      </a:cubicBezTo>
                      <a:cubicBezTo>
                        <a:pt x="281" y="59"/>
                        <a:pt x="281" y="59"/>
                        <a:pt x="281" y="59"/>
                      </a:cubicBezTo>
                      <a:cubicBezTo>
                        <a:pt x="280" y="59"/>
                        <a:pt x="280" y="59"/>
                        <a:pt x="280" y="59"/>
                      </a:cubicBezTo>
                      <a:cubicBezTo>
                        <a:pt x="280" y="58"/>
                        <a:pt x="280" y="58"/>
                        <a:pt x="280" y="58"/>
                      </a:cubicBezTo>
                      <a:cubicBezTo>
                        <a:pt x="280" y="58"/>
                        <a:pt x="280" y="58"/>
                        <a:pt x="280" y="58"/>
                      </a:cubicBezTo>
                      <a:cubicBezTo>
                        <a:pt x="279" y="58"/>
                        <a:pt x="279" y="58"/>
                        <a:pt x="279" y="58"/>
                      </a:cubicBezTo>
                      <a:cubicBezTo>
                        <a:pt x="278" y="58"/>
                        <a:pt x="278" y="58"/>
                        <a:pt x="278" y="58"/>
                      </a:cubicBezTo>
                      <a:cubicBezTo>
                        <a:pt x="276" y="58"/>
                        <a:pt x="276" y="58"/>
                        <a:pt x="276" y="58"/>
                      </a:cubicBezTo>
                      <a:cubicBezTo>
                        <a:pt x="276" y="58"/>
                        <a:pt x="276" y="58"/>
                        <a:pt x="276" y="58"/>
                      </a:cubicBezTo>
                      <a:cubicBezTo>
                        <a:pt x="276" y="57"/>
                        <a:pt x="276" y="57"/>
                        <a:pt x="276" y="57"/>
                      </a:cubicBezTo>
                      <a:cubicBezTo>
                        <a:pt x="275" y="57"/>
                        <a:pt x="275" y="57"/>
                        <a:pt x="275" y="57"/>
                      </a:cubicBezTo>
                      <a:cubicBezTo>
                        <a:pt x="275" y="58"/>
                        <a:pt x="275" y="58"/>
                        <a:pt x="275" y="58"/>
                      </a:cubicBezTo>
                      <a:cubicBezTo>
                        <a:pt x="274" y="58"/>
                        <a:pt x="274" y="58"/>
                        <a:pt x="274" y="58"/>
                      </a:cubicBezTo>
                      <a:close/>
                      <a:moveTo>
                        <a:pt x="285" y="57"/>
                      </a:moveTo>
                      <a:cubicBezTo>
                        <a:pt x="285" y="57"/>
                        <a:pt x="285" y="57"/>
                        <a:pt x="285" y="57"/>
                      </a:cubicBezTo>
                      <a:cubicBezTo>
                        <a:pt x="285" y="56"/>
                        <a:pt x="285" y="56"/>
                        <a:pt x="285" y="56"/>
                      </a:cubicBezTo>
                      <a:cubicBezTo>
                        <a:pt x="285" y="55"/>
                        <a:pt x="285" y="55"/>
                        <a:pt x="285" y="55"/>
                      </a:cubicBezTo>
                      <a:cubicBezTo>
                        <a:pt x="285" y="55"/>
                        <a:pt x="285" y="55"/>
                        <a:pt x="285" y="55"/>
                      </a:cubicBezTo>
                      <a:cubicBezTo>
                        <a:pt x="284" y="55"/>
                        <a:pt x="284" y="55"/>
                        <a:pt x="284" y="55"/>
                      </a:cubicBezTo>
                      <a:cubicBezTo>
                        <a:pt x="284" y="56"/>
                        <a:pt x="284" y="56"/>
                        <a:pt x="284" y="56"/>
                      </a:cubicBezTo>
                      <a:cubicBezTo>
                        <a:pt x="285" y="57"/>
                        <a:pt x="285" y="57"/>
                        <a:pt x="285" y="57"/>
                      </a:cubicBezTo>
                      <a:close/>
                      <a:moveTo>
                        <a:pt x="288" y="70"/>
                      </a:moveTo>
                      <a:cubicBezTo>
                        <a:pt x="288" y="71"/>
                        <a:pt x="288" y="71"/>
                        <a:pt x="288" y="71"/>
                      </a:cubicBezTo>
                      <a:cubicBezTo>
                        <a:pt x="289" y="71"/>
                        <a:pt x="289" y="71"/>
                        <a:pt x="289" y="71"/>
                      </a:cubicBezTo>
                      <a:cubicBezTo>
                        <a:pt x="290" y="71"/>
                        <a:pt x="290" y="71"/>
                        <a:pt x="290" y="71"/>
                      </a:cubicBezTo>
                      <a:cubicBezTo>
                        <a:pt x="291" y="71"/>
                        <a:pt x="291" y="71"/>
                        <a:pt x="291" y="71"/>
                      </a:cubicBezTo>
                      <a:cubicBezTo>
                        <a:pt x="292" y="70"/>
                        <a:pt x="292" y="70"/>
                        <a:pt x="292" y="70"/>
                      </a:cubicBezTo>
                      <a:cubicBezTo>
                        <a:pt x="292" y="69"/>
                        <a:pt x="292" y="69"/>
                        <a:pt x="292" y="69"/>
                      </a:cubicBezTo>
                      <a:cubicBezTo>
                        <a:pt x="292" y="69"/>
                        <a:pt x="292" y="69"/>
                        <a:pt x="292" y="69"/>
                      </a:cubicBezTo>
                      <a:cubicBezTo>
                        <a:pt x="292" y="68"/>
                        <a:pt x="292" y="68"/>
                        <a:pt x="292" y="68"/>
                      </a:cubicBezTo>
                      <a:cubicBezTo>
                        <a:pt x="291" y="68"/>
                        <a:pt x="291" y="68"/>
                        <a:pt x="291" y="68"/>
                      </a:cubicBezTo>
                      <a:cubicBezTo>
                        <a:pt x="291" y="68"/>
                        <a:pt x="291" y="68"/>
                        <a:pt x="291" y="68"/>
                      </a:cubicBezTo>
                      <a:cubicBezTo>
                        <a:pt x="290" y="67"/>
                        <a:pt x="290" y="67"/>
                        <a:pt x="290" y="67"/>
                      </a:cubicBezTo>
                      <a:cubicBezTo>
                        <a:pt x="289" y="67"/>
                        <a:pt x="289" y="67"/>
                        <a:pt x="289" y="67"/>
                      </a:cubicBezTo>
                      <a:cubicBezTo>
                        <a:pt x="288" y="67"/>
                        <a:pt x="288" y="67"/>
                        <a:pt x="288" y="67"/>
                      </a:cubicBezTo>
                      <a:cubicBezTo>
                        <a:pt x="288" y="68"/>
                        <a:pt x="288" y="68"/>
                        <a:pt x="288" y="68"/>
                      </a:cubicBezTo>
                      <a:cubicBezTo>
                        <a:pt x="288" y="69"/>
                        <a:pt x="288" y="69"/>
                        <a:pt x="288" y="69"/>
                      </a:cubicBezTo>
                      <a:cubicBezTo>
                        <a:pt x="288" y="70"/>
                        <a:pt x="288" y="70"/>
                        <a:pt x="288" y="70"/>
                      </a:cubicBezTo>
                      <a:close/>
                      <a:moveTo>
                        <a:pt x="287" y="70"/>
                      </a:moveTo>
                      <a:cubicBezTo>
                        <a:pt x="287" y="71"/>
                        <a:pt x="287" y="71"/>
                        <a:pt x="287" y="71"/>
                      </a:cubicBezTo>
                      <a:cubicBezTo>
                        <a:pt x="287" y="72"/>
                        <a:pt x="287" y="72"/>
                        <a:pt x="287" y="72"/>
                      </a:cubicBezTo>
                      <a:cubicBezTo>
                        <a:pt x="288" y="72"/>
                        <a:pt x="288" y="72"/>
                        <a:pt x="288" y="72"/>
                      </a:cubicBezTo>
                      <a:cubicBezTo>
                        <a:pt x="288" y="72"/>
                        <a:pt x="288" y="72"/>
                        <a:pt x="288" y="72"/>
                      </a:cubicBezTo>
                      <a:cubicBezTo>
                        <a:pt x="288" y="71"/>
                        <a:pt x="288" y="71"/>
                        <a:pt x="288" y="71"/>
                      </a:cubicBezTo>
                      <a:cubicBezTo>
                        <a:pt x="287" y="71"/>
                        <a:pt x="287" y="71"/>
                        <a:pt x="287" y="71"/>
                      </a:cubicBezTo>
                      <a:cubicBezTo>
                        <a:pt x="287" y="70"/>
                        <a:pt x="287" y="70"/>
                        <a:pt x="287" y="70"/>
                      </a:cubicBezTo>
                      <a:cubicBezTo>
                        <a:pt x="287" y="70"/>
                        <a:pt x="287" y="70"/>
                        <a:pt x="287" y="70"/>
                      </a:cubicBezTo>
                      <a:close/>
                      <a:moveTo>
                        <a:pt x="273" y="64"/>
                      </a:moveTo>
                      <a:cubicBezTo>
                        <a:pt x="273" y="62"/>
                        <a:pt x="273" y="62"/>
                        <a:pt x="273" y="62"/>
                      </a:cubicBezTo>
                      <a:cubicBezTo>
                        <a:pt x="273" y="61"/>
                        <a:pt x="273" y="61"/>
                        <a:pt x="273" y="61"/>
                      </a:cubicBezTo>
                      <a:cubicBezTo>
                        <a:pt x="274" y="60"/>
                        <a:pt x="274" y="60"/>
                        <a:pt x="274" y="60"/>
                      </a:cubicBezTo>
                      <a:cubicBezTo>
                        <a:pt x="275" y="60"/>
                        <a:pt x="275" y="60"/>
                        <a:pt x="275" y="60"/>
                      </a:cubicBezTo>
                      <a:cubicBezTo>
                        <a:pt x="276" y="60"/>
                        <a:pt x="276" y="60"/>
                        <a:pt x="276" y="60"/>
                      </a:cubicBezTo>
                      <a:cubicBezTo>
                        <a:pt x="276" y="60"/>
                        <a:pt x="276" y="60"/>
                        <a:pt x="276" y="60"/>
                      </a:cubicBezTo>
                      <a:cubicBezTo>
                        <a:pt x="277" y="60"/>
                        <a:pt x="277" y="60"/>
                        <a:pt x="277" y="60"/>
                      </a:cubicBezTo>
                      <a:cubicBezTo>
                        <a:pt x="278" y="60"/>
                        <a:pt x="278" y="60"/>
                        <a:pt x="278" y="60"/>
                      </a:cubicBezTo>
                      <a:cubicBezTo>
                        <a:pt x="278" y="61"/>
                        <a:pt x="278" y="61"/>
                        <a:pt x="278" y="61"/>
                      </a:cubicBezTo>
                      <a:cubicBezTo>
                        <a:pt x="279" y="61"/>
                        <a:pt x="279" y="61"/>
                        <a:pt x="279" y="61"/>
                      </a:cubicBezTo>
                      <a:cubicBezTo>
                        <a:pt x="279" y="61"/>
                        <a:pt x="279" y="61"/>
                        <a:pt x="279" y="61"/>
                      </a:cubicBezTo>
                      <a:cubicBezTo>
                        <a:pt x="280" y="61"/>
                        <a:pt x="280" y="61"/>
                        <a:pt x="280" y="61"/>
                      </a:cubicBezTo>
                      <a:cubicBezTo>
                        <a:pt x="280" y="61"/>
                        <a:pt x="280" y="61"/>
                        <a:pt x="280" y="61"/>
                      </a:cubicBezTo>
                      <a:cubicBezTo>
                        <a:pt x="281" y="62"/>
                        <a:pt x="281" y="62"/>
                        <a:pt x="281" y="62"/>
                      </a:cubicBezTo>
                      <a:cubicBezTo>
                        <a:pt x="282" y="63"/>
                        <a:pt x="282" y="63"/>
                        <a:pt x="282" y="63"/>
                      </a:cubicBezTo>
                      <a:cubicBezTo>
                        <a:pt x="282" y="63"/>
                        <a:pt x="282" y="63"/>
                        <a:pt x="282" y="63"/>
                      </a:cubicBezTo>
                      <a:cubicBezTo>
                        <a:pt x="282" y="63"/>
                        <a:pt x="282" y="63"/>
                        <a:pt x="282" y="63"/>
                      </a:cubicBezTo>
                      <a:cubicBezTo>
                        <a:pt x="283" y="63"/>
                        <a:pt x="283" y="63"/>
                        <a:pt x="283" y="63"/>
                      </a:cubicBezTo>
                      <a:cubicBezTo>
                        <a:pt x="283" y="63"/>
                        <a:pt x="283" y="63"/>
                        <a:pt x="283" y="63"/>
                      </a:cubicBezTo>
                      <a:cubicBezTo>
                        <a:pt x="284" y="64"/>
                        <a:pt x="284" y="64"/>
                        <a:pt x="284" y="64"/>
                      </a:cubicBezTo>
                      <a:cubicBezTo>
                        <a:pt x="284" y="64"/>
                        <a:pt x="284" y="64"/>
                        <a:pt x="284" y="64"/>
                      </a:cubicBezTo>
                      <a:cubicBezTo>
                        <a:pt x="284" y="65"/>
                        <a:pt x="284" y="65"/>
                        <a:pt x="284" y="65"/>
                      </a:cubicBezTo>
                      <a:cubicBezTo>
                        <a:pt x="284" y="65"/>
                        <a:pt x="284" y="65"/>
                        <a:pt x="284" y="65"/>
                      </a:cubicBezTo>
                      <a:cubicBezTo>
                        <a:pt x="284" y="65"/>
                        <a:pt x="284" y="65"/>
                        <a:pt x="284" y="65"/>
                      </a:cubicBezTo>
                      <a:cubicBezTo>
                        <a:pt x="283" y="65"/>
                        <a:pt x="283" y="65"/>
                        <a:pt x="283" y="65"/>
                      </a:cubicBezTo>
                      <a:cubicBezTo>
                        <a:pt x="282" y="66"/>
                        <a:pt x="282" y="66"/>
                        <a:pt x="282" y="66"/>
                      </a:cubicBezTo>
                      <a:cubicBezTo>
                        <a:pt x="281" y="66"/>
                        <a:pt x="281" y="66"/>
                        <a:pt x="281" y="66"/>
                      </a:cubicBezTo>
                      <a:cubicBezTo>
                        <a:pt x="280" y="66"/>
                        <a:pt x="280" y="66"/>
                        <a:pt x="280" y="66"/>
                      </a:cubicBezTo>
                      <a:cubicBezTo>
                        <a:pt x="278" y="66"/>
                        <a:pt x="278" y="66"/>
                        <a:pt x="278" y="66"/>
                      </a:cubicBezTo>
                      <a:cubicBezTo>
                        <a:pt x="277" y="65"/>
                        <a:pt x="277" y="65"/>
                        <a:pt x="277" y="65"/>
                      </a:cubicBezTo>
                      <a:cubicBezTo>
                        <a:pt x="276" y="65"/>
                        <a:pt x="276" y="65"/>
                        <a:pt x="276" y="65"/>
                      </a:cubicBezTo>
                      <a:cubicBezTo>
                        <a:pt x="275" y="64"/>
                        <a:pt x="275" y="64"/>
                        <a:pt x="275" y="64"/>
                      </a:cubicBezTo>
                      <a:cubicBezTo>
                        <a:pt x="274" y="64"/>
                        <a:pt x="274" y="64"/>
                        <a:pt x="274" y="64"/>
                      </a:cubicBezTo>
                      <a:cubicBezTo>
                        <a:pt x="273" y="64"/>
                        <a:pt x="273" y="64"/>
                        <a:pt x="273" y="64"/>
                      </a:cubicBezTo>
                      <a:cubicBezTo>
                        <a:pt x="273" y="64"/>
                        <a:pt x="273" y="64"/>
                        <a:pt x="273" y="64"/>
                      </a:cubicBezTo>
                      <a:close/>
                      <a:moveTo>
                        <a:pt x="261" y="49"/>
                      </a:moveTo>
                      <a:cubicBezTo>
                        <a:pt x="261" y="49"/>
                        <a:pt x="261" y="49"/>
                        <a:pt x="261" y="49"/>
                      </a:cubicBezTo>
                      <a:cubicBezTo>
                        <a:pt x="262" y="49"/>
                        <a:pt x="262" y="49"/>
                        <a:pt x="262" y="49"/>
                      </a:cubicBezTo>
                      <a:cubicBezTo>
                        <a:pt x="262" y="49"/>
                        <a:pt x="262" y="49"/>
                        <a:pt x="262" y="49"/>
                      </a:cubicBezTo>
                      <a:cubicBezTo>
                        <a:pt x="262" y="50"/>
                        <a:pt x="262" y="50"/>
                        <a:pt x="262" y="50"/>
                      </a:cubicBezTo>
                      <a:cubicBezTo>
                        <a:pt x="262" y="50"/>
                        <a:pt x="262" y="50"/>
                        <a:pt x="262" y="50"/>
                      </a:cubicBezTo>
                      <a:cubicBezTo>
                        <a:pt x="261" y="49"/>
                        <a:pt x="261" y="49"/>
                        <a:pt x="261" y="49"/>
                      </a:cubicBezTo>
                      <a:close/>
                      <a:moveTo>
                        <a:pt x="262" y="54"/>
                      </a:moveTo>
                      <a:cubicBezTo>
                        <a:pt x="263" y="56"/>
                        <a:pt x="263" y="56"/>
                        <a:pt x="263" y="56"/>
                      </a:cubicBezTo>
                      <a:cubicBezTo>
                        <a:pt x="263" y="56"/>
                        <a:pt x="263" y="56"/>
                        <a:pt x="263" y="56"/>
                      </a:cubicBezTo>
                      <a:cubicBezTo>
                        <a:pt x="264" y="56"/>
                        <a:pt x="264" y="56"/>
                        <a:pt x="264" y="56"/>
                      </a:cubicBezTo>
                      <a:cubicBezTo>
                        <a:pt x="264" y="56"/>
                        <a:pt x="264" y="56"/>
                        <a:pt x="264" y="56"/>
                      </a:cubicBezTo>
                      <a:cubicBezTo>
                        <a:pt x="265" y="57"/>
                        <a:pt x="265" y="57"/>
                        <a:pt x="265" y="57"/>
                      </a:cubicBezTo>
                      <a:cubicBezTo>
                        <a:pt x="266" y="57"/>
                        <a:pt x="266" y="57"/>
                        <a:pt x="266" y="57"/>
                      </a:cubicBezTo>
                      <a:cubicBezTo>
                        <a:pt x="267" y="56"/>
                        <a:pt x="267" y="56"/>
                        <a:pt x="267" y="56"/>
                      </a:cubicBezTo>
                      <a:cubicBezTo>
                        <a:pt x="267" y="55"/>
                        <a:pt x="267" y="55"/>
                        <a:pt x="267" y="55"/>
                      </a:cubicBezTo>
                      <a:cubicBezTo>
                        <a:pt x="268" y="55"/>
                        <a:pt x="268" y="55"/>
                        <a:pt x="268" y="55"/>
                      </a:cubicBezTo>
                      <a:cubicBezTo>
                        <a:pt x="268" y="54"/>
                        <a:pt x="268" y="54"/>
                        <a:pt x="268" y="54"/>
                      </a:cubicBezTo>
                      <a:cubicBezTo>
                        <a:pt x="269" y="53"/>
                        <a:pt x="269" y="53"/>
                        <a:pt x="269" y="53"/>
                      </a:cubicBezTo>
                      <a:cubicBezTo>
                        <a:pt x="269" y="52"/>
                        <a:pt x="269" y="52"/>
                        <a:pt x="269" y="52"/>
                      </a:cubicBezTo>
                      <a:cubicBezTo>
                        <a:pt x="270" y="50"/>
                        <a:pt x="270" y="50"/>
                        <a:pt x="270" y="50"/>
                      </a:cubicBezTo>
                      <a:cubicBezTo>
                        <a:pt x="269" y="50"/>
                        <a:pt x="269" y="50"/>
                        <a:pt x="269" y="50"/>
                      </a:cubicBezTo>
                      <a:cubicBezTo>
                        <a:pt x="269" y="50"/>
                        <a:pt x="269" y="50"/>
                        <a:pt x="269" y="50"/>
                      </a:cubicBezTo>
                      <a:cubicBezTo>
                        <a:pt x="270" y="49"/>
                        <a:pt x="270" y="49"/>
                        <a:pt x="270" y="49"/>
                      </a:cubicBezTo>
                      <a:cubicBezTo>
                        <a:pt x="270" y="48"/>
                        <a:pt x="270" y="48"/>
                        <a:pt x="270" y="48"/>
                      </a:cubicBezTo>
                      <a:cubicBezTo>
                        <a:pt x="271" y="48"/>
                        <a:pt x="271" y="48"/>
                        <a:pt x="271" y="48"/>
                      </a:cubicBezTo>
                      <a:cubicBezTo>
                        <a:pt x="272" y="47"/>
                        <a:pt x="272" y="47"/>
                        <a:pt x="272" y="47"/>
                      </a:cubicBezTo>
                      <a:cubicBezTo>
                        <a:pt x="273" y="47"/>
                        <a:pt x="273" y="47"/>
                        <a:pt x="273" y="47"/>
                      </a:cubicBezTo>
                      <a:cubicBezTo>
                        <a:pt x="273" y="45"/>
                        <a:pt x="273" y="45"/>
                        <a:pt x="273" y="45"/>
                      </a:cubicBezTo>
                      <a:cubicBezTo>
                        <a:pt x="273" y="45"/>
                        <a:pt x="273" y="45"/>
                        <a:pt x="273" y="45"/>
                      </a:cubicBezTo>
                      <a:cubicBezTo>
                        <a:pt x="274" y="44"/>
                        <a:pt x="274" y="44"/>
                        <a:pt x="274" y="44"/>
                      </a:cubicBezTo>
                      <a:cubicBezTo>
                        <a:pt x="274" y="44"/>
                        <a:pt x="274" y="44"/>
                        <a:pt x="274" y="44"/>
                      </a:cubicBezTo>
                      <a:cubicBezTo>
                        <a:pt x="273" y="43"/>
                        <a:pt x="273" y="43"/>
                        <a:pt x="273" y="43"/>
                      </a:cubicBezTo>
                      <a:cubicBezTo>
                        <a:pt x="273" y="42"/>
                        <a:pt x="273" y="42"/>
                        <a:pt x="273" y="42"/>
                      </a:cubicBezTo>
                      <a:cubicBezTo>
                        <a:pt x="273" y="42"/>
                        <a:pt x="273" y="42"/>
                        <a:pt x="273" y="42"/>
                      </a:cubicBezTo>
                      <a:cubicBezTo>
                        <a:pt x="272" y="41"/>
                        <a:pt x="272" y="41"/>
                        <a:pt x="272" y="41"/>
                      </a:cubicBezTo>
                      <a:cubicBezTo>
                        <a:pt x="271" y="41"/>
                        <a:pt x="271" y="41"/>
                        <a:pt x="271" y="41"/>
                      </a:cubicBezTo>
                      <a:cubicBezTo>
                        <a:pt x="270" y="41"/>
                        <a:pt x="270" y="41"/>
                        <a:pt x="270" y="41"/>
                      </a:cubicBezTo>
                      <a:cubicBezTo>
                        <a:pt x="271" y="40"/>
                        <a:pt x="271" y="40"/>
                        <a:pt x="271" y="40"/>
                      </a:cubicBezTo>
                      <a:cubicBezTo>
                        <a:pt x="272" y="40"/>
                        <a:pt x="272" y="40"/>
                        <a:pt x="272" y="40"/>
                      </a:cubicBezTo>
                      <a:cubicBezTo>
                        <a:pt x="272" y="39"/>
                        <a:pt x="272" y="39"/>
                        <a:pt x="272" y="39"/>
                      </a:cubicBezTo>
                      <a:cubicBezTo>
                        <a:pt x="272" y="39"/>
                        <a:pt x="272" y="39"/>
                        <a:pt x="272" y="39"/>
                      </a:cubicBezTo>
                      <a:cubicBezTo>
                        <a:pt x="272" y="38"/>
                        <a:pt x="272" y="38"/>
                        <a:pt x="272" y="38"/>
                      </a:cubicBezTo>
                      <a:cubicBezTo>
                        <a:pt x="272" y="37"/>
                        <a:pt x="272" y="37"/>
                        <a:pt x="272" y="37"/>
                      </a:cubicBezTo>
                      <a:cubicBezTo>
                        <a:pt x="271" y="36"/>
                        <a:pt x="271" y="36"/>
                        <a:pt x="271" y="36"/>
                      </a:cubicBezTo>
                      <a:cubicBezTo>
                        <a:pt x="271" y="36"/>
                        <a:pt x="271" y="36"/>
                        <a:pt x="271" y="36"/>
                      </a:cubicBezTo>
                      <a:cubicBezTo>
                        <a:pt x="269" y="37"/>
                        <a:pt x="269" y="37"/>
                        <a:pt x="269" y="37"/>
                      </a:cubicBezTo>
                      <a:cubicBezTo>
                        <a:pt x="268" y="37"/>
                        <a:pt x="268" y="37"/>
                        <a:pt x="268" y="37"/>
                      </a:cubicBezTo>
                      <a:cubicBezTo>
                        <a:pt x="268" y="38"/>
                        <a:pt x="268" y="38"/>
                        <a:pt x="268" y="38"/>
                      </a:cubicBezTo>
                      <a:cubicBezTo>
                        <a:pt x="267" y="38"/>
                        <a:pt x="267" y="38"/>
                        <a:pt x="267" y="38"/>
                      </a:cubicBezTo>
                      <a:cubicBezTo>
                        <a:pt x="266" y="38"/>
                        <a:pt x="266" y="38"/>
                        <a:pt x="266" y="38"/>
                      </a:cubicBezTo>
                      <a:cubicBezTo>
                        <a:pt x="266" y="37"/>
                        <a:pt x="266" y="37"/>
                        <a:pt x="266" y="37"/>
                      </a:cubicBezTo>
                      <a:cubicBezTo>
                        <a:pt x="267" y="37"/>
                        <a:pt x="267" y="37"/>
                        <a:pt x="267" y="37"/>
                      </a:cubicBezTo>
                      <a:cubicBezTo>
                        <a:pt x="268" y="36"/>
                        <a:pt x="268" y="36"/>
                        <a:pt x="268" y="36"/>
                      </a:cubicBezTo>
                      <a:cubicBezTo>
                        <a:pt x="268" y="35"/>
                        <a:pt x="268" y="35"/>
                        <a:pt x="268" y="35"/>
                      </a:cubicBezTo>
                      <a:cubicBezTo>
                        <a:pt x="268" y="34"/>
                        <a:pt x="268" y="34"/>
                        <a:pt x="268" y="34"/>
                      </a:cubicBezTo>
                      <a:cubicBezTo>
                        <a:pt x="268" y="33"/>
                        <a:pt x="268" y="33"/>
                        <a:pt x="268" y="33"/>
                      </a:cubicBezTo>
                      <a:cubicBezTo>
                        <a:pt x="267" y="32"/>
                        <a:pt x="267" y="32"/>
                        <a:pt x="267" y="32"/>
                      </a:cubicBezTo>
                      <a:cubicBezTo>
                        <a:pt x="267" y="32"/>
                        <a:pt x="267" y="32"/>
                        <a:pt x="267" y="32"/>
                      </a:cubicBezTo>
                      <a:cubicBezTo>
                        <a:pt x="266" y="31"/>
                        <a:pt x="266" y="31"/>
                        <a:pt x="266" y="31"/>
                      </a:cubicBezTo>
                      <a:cubicBezTo>
                        <a:pt x="265" y="31"/>
                        <a:pt x="265" y="31"/>
                        <a:pt x="265" y="31"/>
                      </a:cubicBezTo>
                      <a:cubicBezTo>
                        <a:pt x="264" y="31"/>
                        <a:pt x="264" y="31"/>
                        <a:pt x="264" y="31"/>
                      </a:cubicBezTo>
                      <a:cubicBezTo>
                        <a:pt x="263" y="32"/>
                        <a:pt x="263" y="32"/>
                        <a:pt x="263" y="32"/>
                      </a:cubicBezTo>
                      <a:cubicBezTo>
                        <a:pt x="262" y="32"/>
                        <a:pt x="262" y="32"/>
                        <a:pt x="262" y="32"/>
                      </a:cubicBezTo>
                      <a:cubicBezTo>
                        <a:pt x="262" y="30"/>
                        <a:pt x="262" y="30"/>
                        <a:pt x="262" y="30"/>
                      </a:cubicBezTo>
                      <a:cubicBezTo>
                        <a:pt x="262" y="30"/>
                        <a:pt x="262" y="30"/>
                        <a:pt x="262" y="30"/>
                      </a:cubicBezTo>
                      <a:cubicBezTo>
                        <a:pt x="261" y="31"/>
                        <a:pt x="261" y="31"/>
                        <a:pt x="261" y="31"/>
                      </a:cubicBezTo>
                      <a:cubicBezTo>
                        <a:pt x="261" y="31"/>
                        <a:pt x="261" y="31"/>
                        <a:pt x="261" y="31"/>
                      </a:cubicBezTo>
                      <a:cubicBezTo>
                        <a:pt x="260" y="32"/>
                        <a:pt x="260" y="32"/>
                        <a:pt x="260" y="32"/>
                      </a:cubicBezTo>
                      <a:cubicBezTo>
                        <a:pt x="259" y="33"/>
                        <a:pt x="259" y="33"/>
                        <a:pt x="259" y="33"/>
                      </a:cubicBezTo>
                      <a:cubicBezTo>
                        <a:pt x="258" y="34"/>
                        <a:pt x="258" y="34"/>
                        <a:pt x="258" y="34"/>
                      </a:cubicBezTo>
                      <a:cubicBezTo>
                        <a:pt x="258" y="35"/>
                        <a:pt x="258" y="35"/>
                        <a:pt x="258" y="35"/>
                      </a:cubicBezTo>
                      <a:cubicBezTo>
                        <a:pt x="259" y="35"/>
                        <a:pt x="259" y="35"/>
                        <a:pt x="259" y="35"/>
                      </a:cubicBezTo>
                      <a:cubicBezTo>
                        <a:pt x="260" y="35"/>
                        <a:pt x="260" y="35"/>
                        <a:pt x="260" y="35"/>
                      </a:cubicBezTo>
                      <a:cubicBezTo>
                        <a:pt x="261" y="35"/>
                        <a:pt x="261" y="35"/>
                        <a:pt x="261" y="35"/>
                      </a:cubicBezTo>
                      <a:cubicBezTo>
                        <a:pt x="261" y="35"/>
                        <a:pt x="261" y="35"/>
                        <a:pt x="261" y="35"/>
                      </a:cubicBezTo>
                      <a:cubicBezTo>
                        <a:pt x="260" y="36"/>
                        <a:pt x="260" y="36"/>
                        <a:pt x="260" y="36"/>
                      </a:cubicBezTo>
                      <a:cubicBezTo>
                        <a:pt x="259" y="36"/>
                        <a:pt x="259" y="36"/>
                        <a:pt x="259" y="36"/>
                      </a:cubicBezTo>
                      <a:cubicBezTo>
                        <a:pt x="258" y="38"/>
                        <a:pt x="258" y="38"/>
                        <a:pt x="258" y="38"/>
                      </a:cubicBezTo>
                      <a:cubicBezTo>
                        <a:pt x="258" y="38"/>
                        <a:pt x="258" y="38"/>
                        <a:pt x="258" y="38"/>
                      </a:cubicBezTo>
                      <a:cubicBezTo>
                        <a:pt x="259" y="37"/>
                        <a:pt x="259" y="37"/>
                        <a:pt x="259" y="37"/>
                      </a:cubicBezTo>
                      <a:cubicBezTo>
                        <a:pt x="260" y="36"/>
                        <a:pt x="260" y="36"/>
                        <a:pt x="260" y="36"/>
                      </a:cubicBezTo>
                      <a:cubicBezTo>
                        <a:pt x="261" y="36"/>
                        <a:pt x="261" y="36"/>
                        <a:pt x="261" y="36"/>
                      </a:cubicBezTo>
                      <a:cubicBezTo>
                        <a:pt x="262" y="36"/>
                        <a:pt x="262" y="36"/>
                        <a:pt x="262" y="36"/>
                      </a:cubicBezTo>
                      <a:cubicBezTo>
                        <a:pt x="262" y="37"/>
                        <a:pt x="262" y="37"/>
                        <a:pt x="262" y="37"/>
                      </a:cubicBezTo>
                      <a:cubicBezTo>
                        <a:pt x="262" y="38"/>
                        <a:pt x="262" y="38"/>
                        <a:pt x="262" y="38"/>
                      </a:cubicBezTo>
                      <a:cubicBezTo>
                        <a:pt x="261" y="38"/>
                        <a:pt x="261" y="38"/>
                        <a:pt x="261" y="38"/>
                      </a:cubicBezTo>
                      <a:cubicBezTo>
                        <a:pt x="260" y="39"/>
                        <a:pt x="260" y="39"/>
                        <a:pt x="260" y="39"/>
                      </a:cubicBezTo>
                      <a:cubicBezTo>
                        <a:pt x="260" y="39"/>
                        <a:pt x="260" y="39"/>
                        <a:pt x="260" y="39"/>
                      </a:cubicBezTo>
                      <a:cubicBezTo>
                        <a:pt x="260" y="40"/>
                        <a:pt x="260" y="40"/>
                        <a:pt x="260" y="40"/>
                      </a:cubicBezTo>
                      <a:cubicBezTo>
                        <a:pt x="261" y="40"/>
                        <a:pt x="261" y="40"/>
                        <a:pt x="261" y="40"/>
                      </a:cubicBezTo>
                      <a:cubicBezTo>
                        <a:pt x="262" y="40"/>
                        <a:pt x="262" y="40"/>
                        <a:pt x="262" y="40"/>
                      </a:cubicBezTo>
                      <a:cubicBezTo>
                        <a:pt x="261" y="41"/>
                        <a:pt x="261" y="41"/>
                        <a:pt x="261" y="41"/>
                      </a:cubicBezTo>
                      <a:cubicBezTo>
                        <a:pt x="260" y="41"/>
                        <a:pt x="260" y="41"/>
                        <a:pt x="260" y="41"/>
                      </a:cubicBezTo>
                      <a:cubicBezTo>
                        <a:pt x="259" y="41"/>
                        <a:pt x="259" y="41"/>
                        <a:pt x="259" y="41"/>
                      </a:cubicBezTo>
                      <a:cubicBezTo>
                        <a:pt x="259" y="41"/>
                        <a:pt x="259" y="41"/>
                        <a:pt x="259" y="41"/>
                      </a:cubicBezTo>
                      <a:cubicBezTo>
                        <a:pt x="260" y="42"/>
                        <a:pt x="260" y="42"/>
                        <a:pt x="260" y="42"/>
                      </a:cubicBezTo>
                      <a:cubicBezTo>
                        <a:pt x="260" y="42"/>
                        <a:pt x="260" y="42"/>
                        <a:pt x="260" y="42"/>
                      </a:cubicBezTo>
                      <a:cubicBezTo>
                        <a:pt x="259" y="43"/>
                        <a:pt x="259" y="43"/>
                        <a:pt x="259" y="43"/>
                      </a:cubicBezTo>
                      <a:cubicBezTo>
                        <a:pt x="258" y="43"/>
                        <a:pt x="258" y="43"/>
                        <a:pt x="258" y="43"/>
                      </a:cubicBezTo>
                      <a:cubicBezTo>
                        <a:pt x="258" y="42"/>
                        <a:pt x="258" y="42"/>
                        <a:pt x="258" y="42"/>
                      </a:cubicBezTo>
                      <a:cubicBezTo>
                        <a:pt x="257" y="42"/>
                        <a:pt x="257" y="42"/>
                        <a:pt x="257" y="42"/>
                      </a:cubicBezTo>
                      <a:cubicBezTo>
                        <a:pt x="256" y="41"/>
                        <a:pt x="256" y="41"/>
                        <a:pt x="256" y="41"/>
                      </a:cubicBezTo>
                      <a:cubicBezTo>
                        <a:pt x="254" y="42"/>
                        <a:pt x="254" y="42"/>
                        <a:pt x="254" y="42"/>
                      </a:cubicBezTo>
                      <a:cubicBezTo>
                        <a:pt x="254" y="42"/>
                        <a:pt x="254" y="42"/>
                        <a:pt x="254" y="42"/>
                      </a:cubicBezTo>
                      <a:cubicBezTo>
                        <a:pt x="253" y="44"/>
                        <a:pt x="253" y="44"/>
                        <a:pt x="253" y="44"/>
                      </a:cubicBezTo>
                      <a:cubicBezTo>
                        <a:pt x="254" y="45"/>
                        <a:pt x="254" y="45"/>
                        <a:pt x="254" y="45"/>
                      </a:cubicBezTo>
                      <a:cubicBezTo>
                        <a:pt x="254" y="46"/>
                        <a:pt x="254" y="46"/>
                        <a:pt x="254" y="46"/>
                      </a:cubicBezTo>
                      <a:cubicBezTo>
                        <a:pt x="255" y="46"/>
                        <a:pt x="255" y="46"/>
                        <a:pt x="255" y="46"/>
                      </a:cubicBezTo>
                      <a:cubicBezTo>
                        <a:pt x="256" y="45"/>
                        <a:pt x="256" y="45"/>
                        <a:pt x="256" y="45"/>
                      </a:cubicBezTo>
                      <a:cubicBezTo>
                        <a:pt x="256" y="45"/>
                        <a:pt x="256" y="45"/>
                        <a:pt x="256" y="45"/>
                      </a:cubicBezTo>
                      <a:cubicBezTo>
                        <a:pt x="258" y="46"/>
                        <a:pt x="258" y="46"/>
                        <a:pt x="258" y="46"/>
                      </a:cubicBezTo>
                      <a:cubicBezTo>
                        <a:pt x="259" y="46"/>
                        <a:pt x="259" y="46"/>
                        <a:pt x="259" y="46"/>
                      </a:cubicBezTo>
                      <a:cubicBezTo>
                        <a:pt x="260" y="46"/>
                        <a:pt x="260" y="46"/>
                        <a:pt x="260" y="46"/>
                      </a:cubicBezTo>
                      <a:cubicBezTo>
                        <a:pt x="261" y="46"/>
                        <a:pt x="261" y="46"/>
                        <a:pt x="261" y="46"/>
                      </a:cubicBezTo>
                      <a:cubicBezTo>
                        <a:pt x="261" y="46"/>
                        <a:pt x="261" y="46"/>
                        <a:pt x="261" y="46"/>
                      </a:cubicBezTo>
                      <a:cubicBezTo>
                        <a:pt x="260" y="46"/>
                        <a:pt x="260" y="46"/>
                        <a:pt x="260" y="46"/>
                      </a:cubicBezTo>
                      <a:cubicBezTo>
                        <a:pt x="260" y="47"/>
                        <a:pt x="260" y="47"/>
                        <a:pt x="260" y="47"/>
                      </a:cubicBezTo>
                      <a:cubicBezTo>
                        <a:pt x="260" y="48"/>
                        <a:pt x="260" y="48"/>
                        <a:pt x="260" y="48"/>
                      </a:cubicBezTo>
                      <a:cubicBezTo>
                        <a:pt x="261" y="48"/>
                        <a:pt x="261" y="48"/>
                        <a:pt x="261" y="48"/>
                      </a:cubicBezTo>
                      <a:cubicBezTo>
                        <a:pt x="262" y="48"/>
                        <a:pt x="262" y="48"/>
                        <a:pt x="262" y="48"/>
                      </a:cubicBezTo>
                      <a:cubicBezTo>
                        <a:pt x="263" y="50"/>
                        <a:pt x="263" y="50"/>
                        <a:pt x="263" y="50"/>
                      </a:cubicBezTo>
                      <a:cubicBezTo>
                        <a:pt x="264" y="50"/>
                        <a:pt x="264" y="50"/>
                        <a:pt x="264" y="50"/>
                      </a:cubicBezTo>
                      <a:cubicBezTo>
                        <a:pt x="264" y="50"/>
                        <a:pt x="264" y="50"/>
                        <a:pt x="264" y="50"/>
                      </a:cubicBezTo>
                      <a:cubicBezTo>
                        <a:pt x="264" y="51"/>
                        <a:pt x="264" y="51"/>
                        <a:pt x="264" y="51"/>
                      </a:cubicBezTo>
                      <a:cubicBezTo>
                        <a:pt x="264" y="52"/>
                        <a:pt x="264" y="52"/>
                        <a:pt x="264" y="52"/>
                      </a:cubicBezTo>
                      <a:cubicBezTo>
                        <a:pt x="262" y="54"/>
                        <a:pt x="262" y="54"/>
                        <a:pt x="262" y="54"/>
                      </a:cubicBezTo>
                      <a:close/>
                      <a:moveTo>
                        <a:pt x="257" y="48"/>
                      </a:moveTo>
                      <a:cubicBezTo>
                        <a:pt x="257" y="47"/>
                        <a:pt x="257" y="47"/>
                        <a:pt x="257" y="47"/>
                      </a:cubicBezTo>
                      <a:cubicBezTo>
                        <a:pt x="258" y="47"/>
                        <a:pt x="258" y="47"/>
                        <a:pt x="258" y="47"/>
                      </a:cubicBezTo>
                      <a:cubicBezTo>
                        <a:pt x="259" y="47"/>
                        <a:pt x="259" y="47"/>
                        <a:pt x="259" y="47"/>
                      </a:cubicBezTo>
                      <a:cubicBezTo>
                        <a:pt x="259" y="47"/>
                        <a:pt x="259" y="47"/>
                        <a:pt x="259" y="47"/>
                      </a:cubicBezTo>
                      <a:cubicBezTo>
                        <a:pt x="259" y="48"/>
                        <a:pt x="259" y="48"/>
                        <a:pt x="259" y="48"/>
                      </a:cubicBezTo>
                      <a:cubicBezTo>
                        <a:pt x="258" y="48"/>
                        <a:pt x="258" y="48"/>
                        <a:pt x="258" y="48"/>
                      </a:cubicBezTo>
                      <a:cubicBezTo>
                        <a:pt x="257" y="48"/>
                        <a:pt x="257" y="48"/>
                        <a:pt x="257" y="48"/>
                      </a:cubicBezTo>
                      <a:close/>
                      <a:moveTo>
                        <a:pt x="255" y="53"/>
                      </a:moveTo>
                      <a:cubicBezTo>
                        <a:pt x="255" y="52"/>
                        <a:pt x="255" y="52"/>
                        <a:pt x="255" y="52"/>
                      </a:cubicBezTo>
                      <a:cubicBezTo>
                        <a:pt x="257" y="52"/>
                        <a:pt x="257" y="52"/>
                        <a:pt x="257" y="52"/>
                      </a:cubicBezTo>
                      <a:cubicBezTo>
                        <a:pt x="258" y="52"/>
                        <a:pt x="258" y="52"/>
                        <a:pt x="258" y="52"/>
                      </a:cubicBezTo>
                      <a:cubicBezTo>
                        <a:pt x="260" y="54"/>
                        <a:pt x="260" y="54"/>
                        <a:pt x="260" y="54"/>
                      </a:cubicBezTo>
                      <a:cubicBezTo>
                        <a:pt x="260" y="54"/>
                        <a:pt x="260" y="54"/>
                        <a:pt x="260" y="54"/>
                      </a:cubicBezTo>
                      <a:cubicBezTo>
                        <a:pt x="260" y="56"/>
                        <a:pt x="260" y="56"/>
                        <a:pt x="260" y="56"/>
                      </a:cubicBezTo>
                      <a:cubicBezTo>
                        <a:pt x="259" y="56"/>
                        <a:pt x="259" y="56"/>
                        <a:pt x="259" y="56"/>
                      </a:cubicBezTo>
                      <a:cubicBezTo>
                        <a:pt x="258" y="55"/>
                        <a:pt x="258" y="55"/>
                        <a:pt x="258" y="55"/>
                      </a:cubicBezTo>
                      <a:cubicBezTo>
                        <a:pt x="257" y="56"/>
                        <a:pt x="257" y="56"/>
                        <a:pt x="257" y="56"/>
                      </a:cubicBezTo>
                      <a:cubicBezTo>
                        <a:pt x="257" y="56"/>
                        <a:pt x="257" y="56"/>
                        <a:pt x="257" y="56"/>
                      </a:cubicBezTo>
                      <a:cubicBezTo>
                        <a:pt x="256" y="55"/>
                        <a:pt x="256" y="55"/>
                        <a:pt x="256" y="55"/>
                      </a:cubicBezTo>
                      <a:cubicBezTo>
                        <a:pt x="255" y="54"/>
                        <a:pt x="255" y="54"/>
                        <a:pt x="255" y="54"/>
                      </a:cubicBezTo>
                      <a:cubicBezTo>
                        <a:pt x="255" y="53"/>
                        <a:pt x="255" y="53"/>
                        <a:pt x="255" y="53"/>
                      </a:cubicBezTo>
                      <a:close/>
                      <a:moveTo>
                        <a:pt x="243" y="60"/>
                      </a:moveTo>
                      <a:cubicBezTo>
                        <a:pt x="244" y="60"/>
                        <a:pt x="244" y="60"/>
                        <a:pt x="244" y="60"/>
                      </a:cubicBezTo>
                      <a:cubicBezTo>
                        <a:pt x="245" y="60"/>
                        <a:pt x="245" y="60"/>
                        <a:pt x="245" y="60"/>
                      </a:cubicBezTo>
                      <a:cubicBezTo>
                        <a:pt x="245" y="60"/>
                        <a:pt x="245" y="60"/>
                        <a:pt x="245" y="60"/>
                      </a:cubicBezTo>
                      <a:cubicBezTo>
                        <a:pt x="244" y="60"/>
                        <a:pt x="244" y="60"/>
                        <a:pt x="244" y="60"/>
                      </a:cubicBezTo>
                      <a:cubicBezTo>
                        <a:pt x="243" y="60"/>
                        <a:pt x="243" y="60"/>
                        <a:pt x="243" y="60"/>
                      </a:cubicBezTo>
                      <a:close/>
                      <a:moveTo>
                        <a:pt x="242" y="59"/>
                      </a:moveTo>
                      <a:cubicBezTo>
                        <a:pt x="242" y="58"/>
                        <a:pt x="242" y="58"/>
                        <a:pt x="242" y="58"/>
                      </a:cubicBezTo>
                      <a:cubicBezTo>
                        <a:pt x="242" y="57"/>
                        <a:pt x="242" y="57"/>
                        <a:pt x="242" y="57"/>
                      </a:cubicBezTo>
                      <a:cubicBezTo>
                        <a:pt x="242" y="56"/>
                        <a:pt x="242" y="56"/>
                        <a:pt x="242" y="56"/>
                      </a:cubicBezTo>
                      <a:cubicBezTo>
                        <a:pt x="242" y="55"/>
                        <a:pt x="242" y="55"/>
                        <a:pt x="242" y="55"/>
                      </a:cubicBezTo>
                      <a:cubicBezTo>
                        <a:pt x="244" y="54"/>
                        <a:pt x="244" y="54"/>
                        <a:pt x="244" y="54"/>
                      </a:cubicBezTo>
                      <a:cubicBezTo>
                        <a:pt x="244" y="54"/>
                        <a:pt x="244" y="54"/>
                        <a:pt x="244" y="54"/>
                      </a:cubicBezTo>
                      <a:cubicBezTo>
                        <a:pt x="244" y="53"/>
                        <a:pt x="244" y="53"/>
                        <a:pt x="244" y="53"/>
                      </a:cubicBezTo>
                      <a:cubicBezTo>
                        <a:pt x="244" y="53"/>
                        <a:pt x="244" y="53"/>
                        <a:pt x="244" y="53"/>
                      </a:cubicBezTo>
                      <a:cubicBezTo>
                        <a:pt x="245" y="52"/>
                        <a:pt x="245" y="52"/>
                        <a:pt x="245" y="52"/>
                      </a:cubicBezTo>
                      <a:cubicBezTo>
                        <a:pt x="245" y="51"/>
                        <a:pt x="245" y="51"/>
                        <a:pt x="245" y="51"/>
                      </a:cubicBezTo>
                      <a:cubicBezTo>
                        <a:pt x="245" y="50"/>
                        <a:pt x="245" y="50"/>
                        <a:pt x="245" y="50"/>
                      </a:cubicBezTo>
                      <a:cubicBezTo>
                        <a:pt x="246" y="51"/>
                        <a:pt x="246" y="51"/>
                        <a:pt x="246" y="51"/>
                      </a:cubicBezTo>
                      <a:cubicBezTo>
                        <a:pt x="246" y="52"/>
                        <a:pt x="246" y="52"/>
                        <a:pt x="246" y="52"/>
                      </a:cubicBezTo>
                      <a:cubicBezTo>
                        <a:pt x="246" y="53"/>
                        <a:pt x="246" y="53"/>
                        <a:pt x="246" y="53"/>
                      </a:cubicBezTo>
                      <a:cubicBezTo>
                        <a:pt x="245" y="54"/>
                        <a:pt x="245" y="54"/>
                        <a:pt x="245" y="54"/>
                      </a:cubicBezTo>
                      <a:cubicBezTo>
                        <a:pt x="246" y="55"/>
                        <a:pt x="246" y="55"/>
                        <a:pt x="246" y="55"/>
                      </a:cubicBezTo>
                      <a:cubicBezTo>
                        <a:pt x="245" y="56"/>
                        <a:pt x="245" y="56"/>
                        <a:pt x="245" y="56"/>
                      </a:cubicBezTo>
                      <a:cubicBezTo>
                        <a:pt x="245" y="56"/>
                        <a:pt x="245" y="56"/>
                        <a:pt x="245" y="56"/>
                      </a:cubicBezTo>
                      <a:cubicBezTo>
                        <a:pt x="245" y="58"/>
                        <a:pt x="245" y="58"/>
                        <a:pt x="245" y="58"/>
                      </a:cubicBezTo>
                      <a:cubicBezTo>
                        <a:pt x="244" y="59"/>
                        <a:pt x="244" y="59"/>
                        <a:pt x="244" y="59"/>
                      </a:cubicBezTo>
                      <a:cubicBezTo>
                        <a:pt x="242" y="59"/>
                        <a:pt x="242" y="59"/>
                        <a:pt x="242" y="59"/>
                      </a:cubicBezTo>
                      <a:close/>
                      <a:moveTo>
                        <a:pt x="231" y="39"/>
                      </a:moveTo>
                      <a:cubicBezTo>
                        <a:pt x="231" y="38"/>
                        <a:pt x="231" y="38"/>
                        <a:pt x="231" y="38"/>
                      </a:cubicBezTo>
                      <a:cubicBezTo>
                        <a:pt x="231" y="37"/>
                        <a:pt x="231" y="37"/>
                        <a:pt x="231" y="37"/>
                      </a:cubicBezTo>
                      <a:cubicBezTo>
                        <a:pt x="231" y="37"/>
                        <a:pt x="231" y="37"/>
                        <a:pt x="231" y="37"/>
                      </a:cubicBezTo>
                      <a:cubicBezTo>
                        <a:pt x="230" y="36"/>
                        <a:pt x="230" y="36"/>
                        <a:pt x="230" y="36"/>
                      </a:cubicBezTo>
                      <a:cubicBezTo>
                        <a:pt x="230" y="36"/>
                        <a:pt x="230" y="36"/>
                        <a:pt x="230" y="36"/>
                      </a:cubicBezTo>
                      <a:cubicBezTo>
                        <a:pt x="229" y="36"/>
                        <a:pt x="229" y="36"/>
                        <a:pt x="229" y="36"/>
                      </a:cubicBezTo>
                      <a:cubicBezTo>
                        <a:pt x="228" y="36"/>
                        <a:pt x="228" y="36"/>
                        <a:pt x="228" y="36"/>
                      </a:cubicBezTo>
                      <a:cubicBezTo>
                        <a:pt x="227" y="36"/>
                        <a:pt x="227" y="36"/>
                        <a:pt x="227" y="36"/>
                      </a:cubicBezTo>
                      <a:cubicBezTo>
                        <a:pt x="226" y="37"/>
                        <a:pt x="226" y="37"/>
                        <a:pt x="226" y="37"/>
                      </a:cubicBezTo>
                      <a:cubicBezTo>
                        <a:pt x="226" y="36"/>
                        <a:pt x="226" y="36"/>
                        <a:pt x="226" y="36"/>
                      </a:cubicBezTo>
                      <a:cubicBezTo>
                        <a:pt x="227" y="35"/>
                        <a:pt x="227" y="35"/>
                        <a:pt x="227" y="35"/>
                      </a:cubicBezTo>
                      <a:cubicBezTo>
                        <a:pt x="227" y="34"/>
                        <a:pt x="227" y="34"/>
                        <a:pt x="227" y="34"/>
                      </a:cubicBezTo>
                      <a:cubicBezTo>
                        <a:pt x="228" y="34"/>
                        <a:pt x="228" y="34"/>
                        <a:pt x="228" y="34"/>
                      </a:cubicBezTo>
                      <a:cubicBezTo>
                        <a:pt x="229" y="34"/>
                        <a:pt x="229" y="34"/>
                        <a:pt x="229" y="34"/>
                      </a:cubicBezTo>
                      <a:cubicBezTo>
                        <a:pt x="232" y="34"/>
                        <a:pt x="232" y="34"/>
                        <a:pt x="232" y="34"/>
                      </a:cubicBezTo>
                      <a:cubicBezTo>
                        <a:pt x="233" y="34"/>
                        <a:pt x="233" y="34"/>
                        <a:pt x="233" y="34"/>
                      </a:cubicBezTo>
                      <a:cubicBezTo>
                        <a:pt x="234" y="34"/>
                        <a:pt x="234" y="34"/>
                        <a:pt x="234" y="34"/>
                      </a:cubicBezTo>
                      <a:cubicBezTo>
                        <a:pt x="234" y="34"/>
                        <a:pt x="234" y="34"/>
                        <a:pt x="234" y="34"/>
                      </a:cubicBezTo>
                      <a:cubicBezTo>
                        <a:pt x="236" y="34"/>
                        <a:pt x="236" y="34"/>
                        <a:pt x="236" y="34"/>
                      </a:cubicBezTo>
                      <a:cubicBezTo>
                        <a:pt x="237" y="33"/>
                        <a:pt x="237" y="33"/>
                        <a:pt x="237" y="33"/>
                      </a:cubicBezTo>
                      <a:cubicBezTo>
                        <a:pt x="238" y="33"/>
                        <a:pt x="238" y="33"/>
                        <a:pt x="238" y="33"/>
                      </a:cubicBezTo>
                      <a:cubicBezTo>
                        <a:pt x="239" y="34"/>
                        <a:pt x="239" y="34"/>
                        <a:pt x="239" y="34"/>
                      </a:cubicBezTo>
                      <a:cubicBezTo>
                        <a:pt x="239" y="33"/>
                        <a:pt x="239" y="33"/>
                        <a:pt x="239" y="33"/>
                      </a:cubicBezTo>
                      <a:cubicBezTo>
                        <a:pt x="240" y="33"/>
                        <a:pt x="240" y="33"/>
                        <a:pt x="240" y="33"/>
                      </a:cubicBezTo>
                      <a:cubicBezTo>
                        <a:pt x="240" y="34"/>
                        <a:pt x="240" y="34"/>
                        <a:pt x="240" y="34"/>
                      </a:cubicBezTo>
                      <a:cubicBezTo>
                        <a:pt x="240" y="35"/>
                        <a:pt x="240" y="35"/>
                        <a:pt x="240" y="35"/>
                      </a:cubicBezTo>
                      <a:cubicBezTo>
                        <a:pt x="240" y="36"/>
                        <a:pt x="240" y="36"/>
                        <a:pt x="240" y="36"/>
                      </a:cubicBezTo>
                      <a:cubicBezTo>
                        <a:pt x="240" y="37"/>
                        <a:pt x="240" y="37"/>
                        <a:pt x="240" y="37"/>
                      </a:cubicBezTo>
                      <a:cubicBezTo>
                        <a:pt x="240" y="38"/>
                        <a:pt x="240" y="38"/>
                        <a:pt x="240" y="38"/>
                      </a:cubicBezTo>
                      <a:cubicBezTo>
                        <a:pt x="239" y="40"/>
                        <a:pt x="239" y="40"/>
                        <a:pt x="239" y="40"/>
                      </a:cubicBezTo>
                      <a:cubicBezTo>
                        <a:pt x="238" y="40"/>
                        <a:pt x="238" y="40"/>
                        <a:pt x="238" y="40"/>
                      </a:cubicBezTo>
                      <a:cubicBezTo>
                        <a:pt x="238" y="41"/>
                        <a:pt x="238" y="41"/>
                        <a:pt x="238" y="41"/>
                      </a:cubicBezTo>
                      <a:cubicBezTo>
                        <a:pt x="237" y="41"/>
                        <a:pt x="237" y="41"/>
                        <a:pt x="237" y="41"/>
                      </a:cubicBezTo>
                      <a:cubicBezTo>
                        <a:pt x="236" y="41"/>
                        <a:pt x="236" y="41"/>
                        <a:pt x="236" y="41"/>
                      </a:cubicBezTo>
                      <a:cubicBezTo>
                        <a:pt x="235" y="40"/>
                        <a:pt x="235" y="40"/>
                        <a:pt x="235" y="40"/>
                      </a:cubicBezTo>
                      <a:cubicBezTo>
                        <a:pt x="235" y="41"/>
                        <a:pt x="235" y="41"/>
                        <a:pt x="235" y="41"/>
                      </a:cubicBezTo>
                      <a:cubicBezTo>
                        <a:pt x="233" y="39"/>
                        <a:pt x="233" y="39"/>
                        <a:pt x="233" y="39"/>
                      </a:cubicBezTo>
                      <a:cubicBezTo>
                        <a:pt x="233" y="38"/>
                        <a:pt x="233" y="38"/>
                        <a:pt x="233" y="38"/>
                      </a:cubicBezTo>
                      <a:cubicBezTo>
                        <a:pt x="233" y="37"/>
                        <a:pt x="233" y="37"/>
                        <a:pt x="233" y="37"/>
                      </a:cubicBezTo>
                      <a:cubicBezTo>
                        <a:pt x="232" y="38"/>
                        <a:pt x="232" y="38"/>
                        <a:pt x="232" y="38"/>
                      </a:cubicBezTo>
                      <a:cubicBezTo>
                        <a:pt x="232" y="38"/>
                        <a:pt x="232" y="38"/>
                        <a:pt x="232" y="38"/>
                      </a:cubicBezTo>
                      <a:cubicBezTo>
                        <a:pt x="231" y="39"/>
                        <a:pt x="231" y="39"/>
                        <a:pt x="231" y="39"/>
                      </a:cubicBezTo>
                      <a:close/>
                      <a:moveTo>
                        <a:pt x="218" y="46"/>
                      </a:moveTo>
                      <a:cubicBezTo>
                        <a:pt x="219" y="45"/>
                        <a:pt x="219" y="45"/>
                        <a:pt x="219" y="45"/>
                      </a:cubicBezTo>
                      <a:cubicBezTo>
                        <a:pt x="219" y="44"/>
                        <a:pt x="219" y="44"/>
                        <a:pt x="219" y="44"/>
                      </a:cubicBezTo>
                      <a:cubicBezTo>
                        <a:pt x="220" y="43"/>
                        <a:pt x="220" y="43"/>
                        <a:pt x="220" y="43"/>
                      </a:cubicBezTo>
                      <a:cubicBezTo>
                        <a:pt x="220" y="42"/>
                        <a:pt x="220" y="42"/>
                        <a:pt x="220" y="42"/>
                      </a:cubicBezTo>
                      <a:cubicBezTo>
                        <a:pt x="221" y="42"/>
                        <a:pt x="221" y="42"/>
                        <a:pt x="221" y="42"/>
                      </a:cubicBezTo>
                      <a:cubicBezTo>
                        <a:pt x="222" y="42"/>
                        <a:pt x="222" y="42"/>
                        <a:pt x="222" y="42"/>
                      </a:cubicBezTo>
                      <a:cubicBezTo>
                        <a:pt x="223" y="42"/>
                        <a:pt x="223" y="42"/>
                        <a:pt x="223" y="42"/>
                      </a:cubicBezTo>
                      <a:cubicBezTo>
                        <a:pt x="225" y="41"/>
                        <a:pt x="225" y="41"/>
                        <a:pt x="225" y="41"/>
                      </a:cubicBezTo>
                      <a:cubicBezTo>
                        <a:pt x="226" y="41"/>
                        <a:pt x="226" y="41"/>
                        <a:pt x="226" y="41"/>
                      </a:cubicBezTo>
                      <a:cubicBezTo>
                        <a:pt x="226" y="41"/>
                        <a:pt x="226" y="41"/>
                        <a:pt x="226" y="41"/>
                      </a:cubicBezTo>
                      <a:cubicBezTo>
                        <a:pt x="227" y="42"/>
                        <a:pt x="227" y="42"/>
                        <a:pt x="227" y="42"/>
                      </a:cubicBezTo>
                      <a:cubicBezTo>
                        <a:pt x="228" y="42"/>
                        <a:pt x="228" y="42"/>
                        <a:pt x="228" y="42"/>
                      </a:cubicBezTo>
                      <a:cubicBezTo>
                        <a:pt x="229" y="42"/>
                        <a:pt x="229" y="42"/>
                        <a:pt x="229" y="42"/>
                      </a:cubicBezTo>
                      <a:cubicBezTo>
                        <a:pt x="230" y="42"/>
                        <a:pt x="230" y="42"/>
                        <a:pt x="230" y="42"/>
                      </a:cubicBezTo>
                      <a:cubicBezTo>
                        <a:pt x="230" y="42"/>
                        <a:pt x="230" y="42"/>
                        <a:pt x="230" y="42"/>
                      </a:cubicBezTo>
                      <a:cubicBezTo>
                        <a:pt x="232" y="42"/>
                        <a:pt x="232" y="42"/>
                        <a:pt x="232" y="42"/>
                      </a:cubicBezTo>
                      <a:cubicBezTo>
                        <a:pt x="233" y="42"/>
                        <a:pt x="233" y="42"/>
                        <a:pt x="233" y="42"/>
                      </a:cubicBezTo>
                      <a:cubicBezTo>
                        <a:pt x="233" y="43"/>
                        <a:pt x="233" y="43"/>
                        <a:pt x="233" y="43"/>
                      </a:cubicBezTo>
                      <a:cubicBezTo>
                        <a:pt x="234" y="43"/>
                        <a:pt x="234" y="43"/>
                        <a:pt x="234" y="43"/>
                      </a:cubicBezTo>
                      <a:cubicBezTo>
                        <a:pt x="234" y="43"/>
                        <a:pt x="234" y="43"/>
                        <a:pt x="234" y="43"/>
                      </a:cubicBezTo>
                      <a:cubicBezTo>
                        <a:pt x="233" y="45"/>
                        <a:pt x="233" y="45"/>
                        <a:pt x="233" y="45"/>
                      </a:cubicBezTo>
                      <a:cubicBezTo>
                        <a:pt x="233" y="44"/>
                        <a:pt x="233" y="44"/>
                        <a:pt x="233" y="44"/>
                      </a:cubicBezTo>
                      <a:cubicBezTo>
                        <a:pt x="230" y="45"/>
                        <a:pt x="230" y="45"/>
                        <a:pt x="230" y="45"/>
                      </a:cubicBezTo>
                      <a:cubicBezTo>
                        <a:pt x="230" y="45"/>
                        <a:pt x="230" y="45"/>
                        <a:pt x="230" y="45"/>
                      </a:cubicBezTo>
                      <a:cubicBezTo>
                        <a:pt x="228" y="46"/>
                        <a:pt x="228" y="46"/>
                        <a:pt x="228" y="46"/>
                      </a:cubicBezTo>
                      <a:cubicBezTo>
                        <a:pt x="228" y="47"/>
                        <a:pt x="228" y="47"/>
                        <a:pt x="228" y="47"/>
                      </a:cubicBezTo>
                      <a:cubicBezTo>
                        <a:pt x="229" y="47"/>
                        <a:pt x="229" y="47"/>
                        <a:pt x="229" y="47"/>
                      </a:cubicBezTo>
                      <a:cubicBezTo>
                        <a:pt x="230" y="47"/>
                        <a:pt x="230" y="47"/>
                        <a:pt x="230" y="47"/>
                      </a:cubicBezTo>
                      <a:cubicBezTo>
                        <a:pt x="230" y="47"/>
                        <a:pt x="230" y="47"/>
                        <a:pt x="230" y="47"/>
                      </a:cubicBezTo>
                      <a:cubicBezTo>
                        <a:pt x="229" y="49"/>
                        <a:pt x="229" y="49"/>
                        <a:pt x="229" y="49"/>
                      </a:cubicBezTo>
                      <a:cubicBezTo>
                        <a:pt x="228" y="49"/>
                        <a:pt x="228" y="49"/>
                        <a:pt x="228" y="49"/>
                      </a:cubicBezTo>
                      <a:cubicBezTo>
                        <a:pt x="228" y="49"/>
                        <a:pt x="228" y="49"/>
                        <a:pt x="228" y="49"/>
                      </a:cubicBezTo>
                      <a:cubicBezTo>
                        <a:pt x="228" y="50"/>
                        <a:pt x="228" y="50"/>
                        <a:pt x="228" y="50"/>
                      </a:cubicBezTo>
                      <a:cubicBezTo>
                        <a:pt x="227" y="50"/>
                        <a:pt x="227" y="50"/>
                        <a:pt x="227" y="50"/>
                      </a:cubicBezTo>
                      <a:cubicBezTo>
                        <a:pt x="226" y="50"/>
                        <a:pt x="226" y="50"/>
                        <a:pt x="226" y="50"/>
                      </a:cubicBezTo>
                      <a:cubicBezTo>
                        <a:pt x="225" y="51"/>
                        <a:pt x="225" y="51"/>
                        <a:pt x="225" y="51"/>
                      </a:cubicBezTo>
                      <a:cubicBezTo>
                        <a:pt x="224" y="51"/>
                        <a:pt x="224" y="51"/>
                        <a:pt x="224" y="51"/>
                      </a:cubicBezTo>
                      <a:cubicBezTo>
                        <a:pt x="223" y="50"/>
                        <a:pt x="223" y="50"/>
                        <a:pt x="223" y="50"/>
                      </a:cubicBezTo>
                      <a:cubicBezTo>
                        <a:pt x="223" y="51"/>
                        <a:pt x="223" y="51"/>
                        <a:pt x="223" y="51"/>
                      </a:cubicBezTo>
                      <a:cubicBezTo>
                        <a:pt x="222" y="50"/>
                        <a:pt x="222" y="50"/>
                        <a:pt x="222" y="50"/>
                      </a:cubicBezTo>
                      <a:cubicBezTo>
                        <a:pt x="221" y="50"/>
                        <a:pt x="221" y="50"/>
                        <a:pt x="221" y="50"/>
                      </a:cubicBezTo>
                      <a:cubicBezTo>
                        <a:pt x="220" y="50"/>
                        <a:pt x="220" y="50"/>
                        <a:pt x="220" y="50"/>
                      </a:cubicBezTo>
                      <a:cubicBezTo>
                        <a:pt x="221" y="50"/>
                        <a:pt x="221" y="50"/>
                        <a:pt x="221" y="50"/>
                      </a:cubicBezTo>
                      <a:cubicBezTo>
                        <a:pt x="220" y="48"/>
                        <a:pt x="220" y="48"/>
                        <a:pt x="220" y="48"/>
                      </a:cubicBezTo>
                      <a:cubicBezTo>
                        <a:pt x="219" y="48"/>
                        <a:pt x="219" y="48"/>
                        <a:pt x="219" y="48"/>
                      </a:cubicBezTo>
                      <a:cubicBezTo>
                        <a:pt x="219" y="48"/>
                        <a:pt x="219" y="48"/>
                        <a:pt x="219" y="48"/>
                      </a:cubicBezTo>
                      <a:cubicBezTo>
                        <a:pt x="218" y="47"/>
                        <a:pt x="218" y="47"/>
                        <a:pt x="218" y="47"/>
                      </a:cubicBezTo>
                      <a:cubicBezTo>
                        <a:pt x="218" y="46"/>
                        <a:pt x="218" y="46"/>
                        <a:pt x="218" y="46"/>
                      </a:cubicBezTo>
                      <a:close/>
                      <a:moveTo>
                        <a:pt x="217" y="43"/>
                      </a:moveTo>
                      <a:cubicBezTo>
                        <a:pt x="218" y="43"/>
                        <a:pt x="218" y="43"/>
                        <a:pt x="218" y="43"/>
                      </a:cubicBezTo>
                      <a:cubicBezTo>
                        <a:pt x="219" y="43"/>
                        <a:pt x="219" y="43"/>
                        <a:pt x="219" y="43"/>
                      </a:cubicBezTo>
                      <a:cubicBezTo>
                        <a:pt x="220" y="42"/>
                        <a:pt x="220" y="42"/>
                        <a:pt x="220" y="42"/>
                      </a:cubicBezTo>
                      <a:cubicBezTo>
                        <a:pt x="220" y="41"/>
                        <a:pt x="220" y="41"/>
                        <a:pt x="220" y="41"/>
                      </a:cubicBezTo>
                      <a:cubicBezTo>
                        <a:pt x="220" y="40"/>
                        <a:pt x="220" y="40"/>
                        <a:pt x="220" y="40"/>
                      </a:cubicBezTo>
                      <a:cubicBezTo>
                        <a:pt x="220" y="39"/>
                        <a:pt x="220" y="39"/>
                        <a:pt x="220" y="39"/>
                      </a:cubicBezTo>
                      <a:cubicBezTo>
                        <a:pt x="220" y="38"/>
                        <a:pt x="220" y="38"/>
                        <a:pt x="220" y="38"/>
                      </a:cubicBezTo>
                      <a:cubicBezTo>
                        <a:pt x="219" y="39"/>
                        <a:pt x="219" y="39"/>
                        <a:pt x="219" y="39"/>
                      </a:cubicBezTo>
                      <a:cubicBezTo>
                        <a:pt x="219" y="39"/>
                        <a:pt x="219" y="39"/>
                        <a:pt x="219" y="39"/>
                      </a:cubicBezTo>
                      <a:cubicBezTo>
                        <a:pt x="218" y="38"/>
                        <a:pt x="218" y="38"/>
                        <a:pt x="218" y="38"/>
                      </a:cubicBezTo>
                      <a:cubicBezTo>
                        <a:pt x="217" y="39"/>
                        <a:pt x="217" y="39"/>
                        <a:pt x="217" y="39"/>
                      </a:cubicBezTo>
                      <a:cubicBezTo>
                        <a:pt x="217" y="39"/>
                        <a:pt x="217" y="39"/>
                        <a:pt x="217" y="39"/>
                      </a:cubicBezTo>
                      <a:cubicBezTo>
                        <a:pt x="216" y="40"/>
                        <a:pt x="216" y="40"/>
                        <a:pt x="216" y="40"/>
                      </a:cubicBezTo>
                      <a:cubicBezTo>
                        <a:pt x="217" y="41"/>
                        <a:pt x="217" y="41"/>
                        <a:pt x="217" y="41"/>
                      </a:cubicBezTo>
                      <a:cubicBezTo>
                        <a:pt x="216" y="41"/>
                        <a:pt x="216" y="41"/>
                        <a:pt x="216" y="41"/>
                      </a:cubicBezTo>
                      <a:cubicBezTo>
                        <a:pt x="217" y="43"/>
                        <a:pt x="217" y="43"/>
                        <a:pt x="217" y="43"/>
                      </a:cubicBezTo>
                      <a:close/>
                      <a:moveTo>
                        <a:pt x="298" y="106"/>
                      </a:moveTo>
                      <a:cubicBezTo>
                        <a:pt x="299" y="107"/>
                        <a:pt x="299" y="107"/>
                        <a:pt x="299" y="107"/>
                      </a:cubicBezTo>
                      <a:cubicBezTo>
                        <a:pt x="299" y="106"/>
                        <a:pt x="299" y="106"/>
                        <a:pt x="299" y="106"/>
                      </a:cubicBezTo>
                      <a:cubicBezTo>
                        <a:pt x="300" y="107"/>
                        <a:pt x="300" y="107"/>
                        <a:pt x="300" y="107"/>
                      </a:cubicBezTo>
                      <a:cubicBezTo>
                        <a:pt x="301" y="107"/>
                        <a:pt x="301" y="107"/>
                        <a:pt x="301" y="107"/>
                      </a:cubicBezTo>
                      <a:cubicBezTo>
                        <a:pt x="301" y="108"/>
                        <a:pt x="301" y="108"/>
                        <a:pt x="301" y="108"/>
                      </a:cubicBezTo>
                      <a:cubicBezTo>
                        <a:pt x="302" y="108"/>
                        <a:pt x="302" y="108"/>
                        <a:pt x="302" y="108"/>
                      </a:cubicBezTo>
                      <a:cubicBezTo>
                        <a:pt x="303" y="107"/>
                        <a:pt x="303" y="107"/>
                        <a:pt x="303" y="107"/>
                      </a:cubicBezTo>
                      <a:cubicBezTo>
                        <a:pt x="304" y="106"/>
                        <a:pt x="304" y="106"/>
                        <a:pt x="304" y="106"/>
                      </a:cubicBezTo>
                      <a:cubicBezTo>
                        <a:pt x="306" y="107"/>
                        <a:pt x="306" y="107"/>
                        <a:pt x="306" y="107"/>
                      </a:cubicBezTo>
                      <a:cubicBezTo>
                        <a:pt x="306" y="107"/>
                        <a:pt x="306" y="107"/>
                        <a:pt x="306" y="107"/>
                      </a:cubicBezTo>
                      <a:cubicBezTo>
                        <a:pt x="307" y="107"/>
                        <a:pt x="307" y="107"/>
                        <a:pt x="307" y="107"/>
                      </a:cubicBezTo>
                      <a:cubicBezTo>
                        <a:pt x="307" y="107"/>
                        <a:pt x="307" y="107"/>
                        <a:pt x="307" y="107"/>
                      </a:cubicBezTo>
                      <a:cubicBezTo>
                        <a:pt x="307" y="106"/>
                        <a:pt x="307" y="106"/>
                        <a:pt x="307" y="106"/>
                      </a:cubicBezTo>
                      <a:cubicBezTo>
                        <a:pt x="308" y="105"/>
                        <a:pt x="308" y="105"/>
                        <a:pt x="308" y="105"/>
                      </a:cubicBezTo>
                      <a:cubicBezTo>
                        <a:pt x="309" y="105"/>
                        <a:pt x="309" y="105"/>
                        <a:pt x="309" y="105"/>
                      </a:cubicBezTo>
                      <a:cubicBezTo>
                        <a:pt x="309" y="105"/>
                        <a:pt x="309" y="105"/>
                        <a:pt x="309" y="105"/>
                      </a:cubicBezTo>
                      <a:cubicBezTo>
                        <a:pt x="308" y="104"/>
                        <a:pt x="308" y="104"/>
                        <a:pt x="308" y="104"/>
                      </a:cubicBezTo>
                      <a:cubicBezTo>
                        <a:pt x="308" y="103"/>
                        <a:pt x="308" y="103"/>
                        <a:pt x="308" y="103"/>
                      </a:cubicBezTo>
                      <a:cubicBezTo>
                        <a:pt x="309" y="103"/>
                        <a:pt x="309" y="103"/>
                        <a:pt x="309" y="103"/>
                      </a:cubicBezTo>
                      <a:cubicBezTo>
                        <a:pt x="309" y="104"/>
                        <a:pt x="309" y="104"/>
                        <a:pt x="309" y="104"/>
                      </a:cubicBezTo>
                      <a:cubicBezTo>
                        <a:pt x="310" y="105"/>
                        <a:pt x="310" y="105"/>
                        <a:pt x="310" y="105"/>
                      </a:cubicBezTo>
                      <a:cubicBezTo>
                        <a:pt x="310" y="104"/>
                        <a:pt x="310" y="104"/>
                        <a:pt x="310" y="104"/>
                      </a:cubicBezTo>
                      <a:cubicBezTo>
                        <a:pt x="311" y="104"/>
                        <a:pt x="311" y="104"/>
                        <a:pt x="311" y="104"/>
                      </a:cubicBezTo>
                      <a:cubicBezTo>
                        <a:pt x="311" y="104"/>
                        <a:pt x="311" y="104"/>
                        <a:pt x="311" y="104"/>
                      </a:cubicBezTo>
                      <a:cubicBezTo>
                        <a:pt x="312" y="105"/>
                        <a:pt x="312" y="105"/>
                        <a:pt x="312" y="105"/>
                      </a:cubicBezTo>
                      <a:cubicBezTo>
                        <a:pt x="312" y="104"/>
                        <a:pt x="312" y="104"/>
                        <a:pt x="312" y="104"/>
                      </a:cubicBezTo>
                      <a:cubicBezTo>
                        <a:pt x="311" y="103"/>
                        <a:pt x="311" y="103"/>
                        <a:pt x="311" y="103"/>
                      </a:cubicBezTo>
                      <a:cubicBezTo>
                        <a:pt x="312" y="103"/>
                        <a:pt x="312" y="103"/>
                        <a:pt x="312" y="103"/>
                      </a:cubicBezTo>
                      <a:cubicBezTo>
                        <a:pt x="311" y="102"/>
                        <a:pt x="311" y="102"/>
                        <a:pt x="311" y="102"/>
                      </a:cubicBezTo>
                      <a:cubicBezTo>
                        <a:pt x="310" y="103"/>
                        <a:pt x="310" y="103"/>
                        <a:pt x="310" y="103"/>
                      </a:cubicBezTo>
                      <a:cubicBezTo>
                        <a:pt x="309" y="103"/>
                        <a:pt x="309" y="103"/>
                        <a:pt x="309" y="103"/>
                      </a:cubicBezTo>
                      <a:cubicBezTo>
                        <a:pt x="309" y="102"/>
                        <a:pt x="309" y="102"/>
                        <a:pt x="309" y="102"/>
                      </a:cubicBezTo>
                      <a:cubicBezTo>
                        <a:pt x="309" y="102"/>
                        <a:pt x="309" y="102"/>
                        <a:pt x="309" y="102"/>
                      </a:cubicBezTo>
                      <a:cubicBezTo>
                        <a:pt x="310" y="102"/>
                        <a:pt x="310" y="102"/>
                        <a:pt x="310" y="102"/>
                      </a:cubicBezTo>
                      <a:cubicBezTo>
                        <a:pt x="311" y="102"/>
                        <a:pt x="311" y="102"/>
                        <a:pt x="311" y="102"/>
                      </a:cubicBezTo>
                      <a:cubicBezTo>
                        <a:pt x="311" y="101"/>
                        <a:pt x="311" y="101"/>
                        <a:pt x="311" y="101"/>
                      </a:cubicBezTo>
                      <a:cubicBezTo>
                        <a:pt x="312" y="101"/>
                        <a:pt x="312" y="101"/>
                        <a:pt x="312" y="101"/>
                      </a:cubicBezTo>
                      <a:cubicBezTo>
                        <a:pt x="312" y="101"/>
                        <a:pt x="312" y="101"/>
                        <a:pt x="312" y="101"/>
                      </a:cubicBezTo>
                      <a:cubicBezTo>
                        <a:pt x="313" y="100"/>
                        <a:pt x="313" y="100"/>
                        <a:pt x="313" y="100"/>
                      </a:cubicBezTo>
                      <a:cubicBezTo>
                        <a:pt x="313" y="100"/>
                        <a:pt x="313" y="100"/>
                        <a:pt x="313" y="100"/>
                      </a:cubicBezTo>
                      <a:cubicBezTo>
                        <a:pt x="313" y="99"/>
                        <a:pt x="313" y="99"/>
                        <a:pt x="313" y="99"/>
                      </a:cubicBezTo>
                      <a:cubicBezTo>
                        <a:pt x="313" y="98"/>
                        <a:pt x="313" y="98"/>
                        <a:pt x="313" y="98"/>
                      </a:cubicBezTo>
                      <a:cubicBezTo>
                        <a:pt x="314" y="98"/>
                        <a:pt x="314" y="98"/>
                        <a:pt x="314" y="98"/>
                      </a:cubicBezTo>
                      <a:cubicBezTo>
                        <a:pt x="314" y="98"/>
                        <a:pt x="314" y="98"/>
                        <a:pt x="314" y="98"/>
                      </a:cubicBezTo>
                      <a:cubicBezTo>
                        <a:pt x="313" y="98"/>
                        <a:pt x="313" y="98"/>
                        <a:pt x="313" y="98"/>
                      </a:cubicBezTo>
                      <a:cubicBezTo>
                        <a:pt x="312" y="98"/>
                        <a:pt x="312" y="98"/>
                        <a:pt x="312" y="98"/>
                      </a:cubicBezTo>
                      <a:cubicBezTo>
                        <a:pt x="312" y="97"/>
                        <a:pt x="312" y="97"/>
                        <a:pt x="312" y="97"/>
                      </a:cubicBezTo>
                      <a:cubicBezTo>
                        <a:pt x="313" y="97"/>
                        <a:pt x="313" y="97"/>
                        <a:pt x="313" y="97"/>
                      </a:cubicBezTo>
                      <a:cubicBezTo>
                        <a:pt x="313" y="96"/>
                        <a:pt x="313" y="96"/>
                        <a:pt x="313" y="96"/>
                      </a:cubicBezTo>
                      <a:cubicBezTo>
                        <a:pt x="312" y="96"/>
                        <a:pt x="312" y="96"/>
                        <a:pt x="312" y="96"/>
                      </a:cubicBezTo>
                      <a:cubicBezTo>
                        <a:pt x="310" y="96"/>
                        <a:pt x="310" y="96"/>
                        <a:pt x="310" y="96"/>
                      </a:cubicBezTo>
                      <a:cubicBezTo>
                        <a:pt x="310" y="95"/>
                        <a:pt x="310" y="95"/>
                        <a:pt x="310" y="95"/>
                      </a:cubicBezTo>
                      <a:cubicBezTo>
                        <a:pt x="310" y="95"/>
                        <a:pt x="310" y="95"/>
                        <a:pt x="310" y="95"/>
                      </a:cubicBezTo>
                      <a:cubicBezTo>
                        <a:pt x="310" y="94"/>
                        <a:pt x="310" y="94"/>
                        <a:pt x="310" y="94"/>
                      </a:cubicBezTo>
                      <a:cubicBezTo>
                        <a:pt x="310" y="94"/>
                        <a:pt x="310" y="94"/>
                        <a:pt x="310" y="94"/>
                      </a:cubicBezTo>
                      <a:cubicBezTo>
                        <a:pt x="308" y="93"/>
                        <a:pt x="308" y="93"/>
                        <a:pt x="308" y="93"/>
                      </a:cubicBezTo>
                      <a:cubicBezTo>
                        <a:pt x="308" y="93"/>
                        <a:pt x="308" y="93"/>
                        <a:pt x="308" y="93"/>
                      </a:cubicBezTo>
                      <a:cubicBezTo>
                        <a:pt x="307" y="93"/>
                        <a:pt x="307" y="93"/>
                        <a:pt x="307" y="93"/>
                      </a:cubicBezTo>
                      <a:cubicBezTo>
                        <a:pt x="306" y="93"/>
                        <a:pt x="306" y="93"/>
                        <a:pt x="306" y="93"/>
                      </a:cubicBezTo>
                      <a:cubicBezTo>
                        <a:pt x="304" y="93"/>
                        <a:pt x="304" y="93"/>
                        <a:pt x="304" y="93"/>
                      </a:cubicBezTo>
                      <a:cubicBezTo>
                        <a:pt x="303" y="92"/>
                        <a:pt x="303" y="92"/>
                        <a:pt x="303" y="92"/>
                      </a:cubicBezTo>
                      <a:cubicBezTo>
                        <a:pt x="302" y="92"/>
                        <a:pt x="302" y="92"/>
                        <a:pt x="302" y="92"/>
                      </a:cubicBezTo>
                      <a:cubicBezTo>
                        <a:pt x="302" y="91"/>
                        <a:pt x="302" y="91"/>
                        <a:pt x="302" y="91"/>
                      </a:cubicBezTo>
                      <a:cubicBezTo>
                        <a:pt x="301" y="92"/>
                        <a:pt x="301" y="92"/>
                        <a:pt x="301" y="92"/>
                      </a:cubicBezTo>
                      <a:cubicBezTo>
                        <a:pt x="300" y="92"/>
                        <a:pt x="300" y="92"/>
                        <a:pt x="300" y="92"/>
                      </a:cubicBezTo>
                      <a:cubicBezTo>
                        <a:pt x="300" y="92"/>
                        <a:pt x="300" y="92"/>
                        <a:pt x="300" y="92"/>
                      </a:cubicBezTo>
                      <a:cubicBezTo>
                        <a:pt x="299" y="92"/>
                        <a:pt x="299" y="92"/>
                        <a:pt x="299" y="92"/>
                      </a:cubicBezTo>
                      <a:cubicBezTo>
                        <a:pt x="298" y="93"/>
                        <a:pt x="298" y="93"/>
                        <a:pt x="298" y="93"/>
                      </a:cubicBezTo>
                      <a:cubicBezTo>
                        <a:pt x="298" y="92"/>
                        <a:pt x="298" y="92"/>
                        <a:pt x="298" y="92"/>
                      </a:cubicBezTo>
                      <a:cubicBezTo>
                        <a:pt x="297" y="92"/>
                        <a:pt x="297" y="92"/>
                        <a:pt x="297" y="92"/>
                      </a:cubicBezTo>
                      <a:cubicBezTo>
                        <a:pt x="296" y="92"/>
                        <a:pt x="296" y="92"/>
                        <a:pt x="296" y="92"/>
                      </a:cubicBezTo>
                      <a:cubicBezTo>
                        <a:pt x="295" y="92"/>
                        <a:pt x="295" y="92"/>
                        <a:pt x="295" y="92"/>
                      </a:cubicBezTo>
                      <a:cubicBezTo>
                        <a:pt x="295" y="93"/>
                        <a:pt x="295" y="93"/>
                        <a:pt x="295" y="93"/>
                      </a:cubicBezTo>
                      <a:cubicBezTo>
                        <a:pt x="295" y="93"/>
                        <a:pt x="295" y="93"/>
                        <a:pt x="295" y="93"/>
                      </a:cubicBezTo>
                      <a:cubicBezTo>
                        <a:pt x="295" y="93"/>
                        <a:pt x="295" y="93"/>
                        <a:pt x="295" y="93"/>
                      </a:cubicBezTo>
                      <a:cubicBezTo>
                        <a:pt x="294" y="92"/>
                        <a:pt x="294" y="92"/>
                        <a:pt x="294" y="92"/>
                      </a:cubicBezTo>
                      <a:cubicBezTo>
                        <a:pt x="293" y="93"/>
                        <a:pt x="293" y="93"/>
                        <a:pt x="293" y="93"/>
                      </a:cubicBezTo>
                      <a:cubicBezTo>
                        <a:pt x="291" y="92"/>
                        <a:pt x="291" y="92"/>
                        <a:pt x="291" y="92"/>
                      </a:cubicBezTo>
                      <a:cubicBezTo>
                        <a:pt x="291" y="93"/>
                        <a:pt x="291" y="93"/>
                        <a:pt x="291" y="93"/>
                      </a:cubicBezTo>
                      <a:cubicBezTo>
                        <a:pt x="292" y="93"/>
                        <a:pt x="292" y="93"/>
                        <a:pt x="292" y="93"/>
                      </a:cubicBezTo>
                      <a:cubicBezTo>
                        <a:pt x="292" y="94"/>
                        <a:pt x="292" y="94"/>
                        <a:pt x="292" y="94"/>
                      </a:cubicBezTo>
                      <a:cubicBezTo>
                        <a:pt x="292" y="94"/>
                        <a:pt x="292" y="94"/>
                        <a:pt x="292" y="94"/>
                      </a:cubicBezTo>
                      <a:cubicBezTo>
                        <a:pt x="291" y="94"/>
                        <a:pt x="291" y="94"/>
                        <a:pt x="291" y="94"/>
                      </a:cubicBezTo>
                      <a:cubicBezTo>
                        <a:pt x="291" y="94"/>
                        <a:pt x="291" y="94"/>
                        <a:pt x="291" y="94"/>
                      </a:cubicBezTo>
                      <a:cubicBezTo>
                        <a:pt x="290" y="93"/>
                        <a:pt x="290" y="93"/>
                        <a:pt x="290" y="93"/>
                      </a:cubicBezTo>
                      <a:cubicBezTo>
                        <a:pt x="289" y="94"/>
                        <a:pt x="289" y="94"/>
                        <a:pt x="289" y="94"/>
                      </a:cubicBezTo>
                      <a:cubicBezTo>
                        <a:pt x="289" y="93"/>
                        <a:pt x="289" y="93"/>
                        <a:pt x="289" y="93"/>
                      </a:cubicBezTo>
                      <a:cubicBezTo>
                        <a:pt x="290" y="93"/>
                        <a:pt x="290" y="93"/>
                        <a:pt x="290" y="93"/>
                      </a:cubicBezTo>
                      <a:cubicBezTo>
                        <a:pt x="290" y="92"/>
                        <a:pt x="290" y="92"/>
                        <a:pt x="290" y="92"/>
                      </a:cubicBezTo>
                      <a:cubicBezTo>
                        <a:pt x="289" y="91"/>
                        <a:pt x="289" y="91"/>
                        <a:pt x="289" y="91"/>
                      </a:cubicBezTo>
                      <a:cubicBezTo>
                        <a:pt x="289" y="91"/>
                        <a:pt x="289" y="91"/>
                        <a:pt x="289" y="91"/>
                      </a:cubicBezTo>
                      <a:cubicBezTo>
                        <a:pt x="288" y="90"/>
                        <a:pt x="288" y="90"/>
                        <a:pt x="288" y="90"/>
                      </a:cubicBezTo>
                      <a:cubicBezTo>
                        <a:pt x="287" y="91"/>
                        <a:pt x="287" y="91"/>
                        <a:pt x="287" y="91"/>
                      </a:cubicBezTo>
                      <a:cubicBezTo>
                        <a:pt x="287" y="92"/>
                        <a:pt x="287" y="92"/>
                        <a:pt x="287" y="92"/>
                      </a:cubicBezTo>
                      <a:cubicBezTo>
                        <a:pt x="287" y="92"/>
                        <a:pt x="287" y="92"/>
                        <a:pt x="287" y="92"/>
                      </a:cubicBezTo>
                      <a:cubicBezTo>
                        <a:pt x="286" y="92"/>
                        <a:pt x="286" y="92"/>
                        <a:pt x="286" y="92"/>
                      </a:cubicBezTo>
                      <a:cubicBezTo>
                        <a:pt x="287" y="91"/>
                        <a:pt x="287" y="91"/>
                        <a:pt x="287" y="91"/>
                      </a:cubicBezTo>
                      <a:cubicBezTo>
                        <a:pt x="287" y="91"/>
                        <a:pt x="287" y="91"/>
                        <a:pt x="287" y="91"/>
                      </a:cubicBezTo>
                      <a:cubicBezTo>
                        <a:pt x="286" y="91"/>
                        <a:pt x="286" y="91"/>
                        <a:pt x="286" y="91"/>
                      </a:cubicBezTo>
                      <a:cubicBezTo>
                        <a:pt x="285" y="91"/>
                        <a:pt x="285" y="91"/>
                        <a:pt x="285" y="91"/>
                      </a:cubicBezTo>
                      <a:cubicBezTo>
                        <a:pt x="285" y="91"/>
                        <a:pt x="285" y="91"/>
                        <a:pt x="285" y="91"/>
                      </a:cubicBezTo>
                      <a:cubicBezTo>
                        <a:pt x="285" y="90"/>
                        <a:pt x="285" y="90"/>
                        <a:pt x="285" y="90"/>
                      </a:cubicBezTo>
                      <a:cubicBezTo>
                        <a:pt x="285" y="90"/>
                        <a:pt x="285" y="90"/>
                        <a:pt x="285" y="90"/>
                      </a:cubicBezTo>
                      <a:cubicBezTo>
                        <a:pt x="285" y="89"/>
                        <a:pt x="285" y="89"/>
                        <a:pt x="285" y="89"/>
                      </a:cubicBezTo>
                      <a:cubicBezTo>
                        <a:pt x="284" y="89"/>
                        <a:pt x="284" y="89"/>
                        <a:pt x="284" y="89"/>
                      </a:cubicBezTo>
                      <a:cubicBezTo>
                        <a:pt x="283" y="90"/>
                        <a:pt x="283" y="90"/>
                        <a:pt x="283" y="90"/>
                      </a:cubicBezTo>
                      <a:cubicBezTo>
                        <a:pt x="283" y="91"/>
                        <a:pt x="283" y="91"/>
                        <a:pt x="283" y="91"/>
                      </a:cubicBezTo>
                      <a:cubicBezTo>
                        <a:pt x="282" y="91"/>
                        <a:pt x="282" y="91"/>
                        <a:pt x="282" y="91"/>
                      </a:cubicBezTo>
                      <a:cubicBezTo>
                        <a:pt x="282" y="90"/>
                        <a:pt x="282" y="90"/>
                        <a:pt x="282" y="90"/>
                      </a:cubicBezTo>
                      <a:cubicBezTo>
                        <a:pt x="282" y="90"/>
                        <a:pt x="282" y="90"/>
                        <a:pt x="282" y="90"/>
                      </a:cubicBezTo>
                      <a:cubicBezTo>
                        <a:pt x="282" y="89"/>
                        <a:pt x="282" y="89"/>
                        <a:pt x="282" y="89"/>
                      </a:cubicBezTo>
                      <a:cubicBezTo>
                        <a:pt x="283" y="88"/>
                        <a:pt x="283" y="88"/>
                        <a:pt x="283" y="88"/>
                      </a:cubicBezTo>
                      <a:cubicBezTo>
                        <a:pt x="282" y="87"/>
                        <a:pt x="282" y="87"/>
                        <a:pt x="282" y="87"/>
                      </a:cubicBezTo>
                      <a:cubicBezTo>
                        <a:pt x="281" y="88"/>
                        <a:pt x="281" y="88"/>
                        <a:pt x="281" y="88"/>
                      </a:cubicBezTo>
                      <a:cubicBezTo>
                        <a:pt x="281" y="87"/>
                        <a:pt x="281" y="87"/>
                        <a:pt x="281" y="87"/>
                      </a:cubicBezTo>
                      <a:cubicBezTo>
                        <a:pt x="282" y="87"/>
                        <a:pt x="282" y="87"/>
                        <a:pt x="282" y="87"/>
                      </a:cubicBezTo>
                      <a:cubicBezTo>
                        <a:pt x="282" y="86"/>
                        <a:pt x="282" y="86"/>
                        <a:pt x="282" y="86"/>
                      </a:cubicBezTo>
                      <a:cubicBezTo>
                        <a:pt x="282" y="85"/>
                        <a:pt x="282" y="85"/>
                        <a:pt x="282" y="85"/>
                      </a:cubicBezTo>
                      <a:cubicBezTo>
                        <a:pt x="281" y="86"/>
                        <a:pt x="281" y="86"/>
                        <a:pt x="281" y="86"/>
                      </a:cubicBezTo>
                      <a:cubicBezTo>
                        <a:pt x="281" y="85"/>
                        <a:pt x="281" y="85"/>
                        <a:pt x="281" y="85"/>
                      </a:cubicBezTo>
                      <a:cubicBezTo>
                        <a:pt x="280" y="86"/>
                        <a:pt x="280" y="86"/>
                        <a:pt x="280" y="86"/>
                      </a:cubicBezTo>
                      <a:cubicBezTo>
                        <a:pt x="279" y="86"/>
                        <a:pt x="279" y="86"/>
                        <a:pt x="279" y="86"/>
                      </a:cubicBezTo>
                      <a:cubicBezTo>
                        <a:pt x="280" y="85"/>
                        <a:pt x="280" y="85"/>
                        <a:pt x="280" y="85"/>
                      </a:cubicBezTo>
                      <a:cubicBezTo>
                        <a:pt x="280" y="85"/>
                        <a:pt x="280" y="85"/>
                        <a:pt x="280" y="85"/>
                      </a:cubicBezTo>
                      <a:cubicBezTo>
                        <a:pt x="279" y="85"/>
                        <a:pt x="279" y="85"/>
                        <a:pt x="279" y="85"/>
                      </a:cubicBezTo>
                      <a:cubicBezTo>
                        <a:pt x="279" y="85"/>
                        <a:pt x="279" y="85"/>
                        <a:pt x="279" y="85"/>
                      </a:cubicBezTo>
                      <a:cubicBezTo>
                        <a:pt x="277" y="86"/>
                        <a:pt x="277" y="86"/>
                        <a:pt x="277" y="86"/>
                      </a:cubicBezTo>
                      <a:cubicBezTo>
                        <a:pt x="277" y="85"/>
                        <a:pt x="277" y="85"/>
                        <a:pt x="277" y="85"/>
                      </a:cubicBezTo>
                      <a:cubicBezTo>
                        <a:pt x="278" y="85"/>
                        <a:pt x="278" y="85"/>
                        <a:pt x="278" y="85"/>
                      </a:cubicBezTo>
                      <a:cubicBezTo>
                        <a:pt x="278" y="84"/>
                        <a:pt x="278" y="84"/>
                        <a:pt x="278" y="84"/>
                      </a:cubicBezTo>
                      <a:cubicBezTo>
                        <a:pt x="279" y="83"/>
                        <a:pt x="279" y="83"/>
                        <a:pt x="279" y="83"/>
                      </a:cubicBezTo>
                      <a:cubicBezTo>
                        <a:pt x="279" y="84"/>
                        <a:pt x="279" y="84"/>
                        <a:pt x="279" y="84"/>
                      </a:cubicBezTo>
                      <a:cubicBezTo>
                        <a:pt x="280" y="84"/>
                        <a:pt x="280" y="84"/>
                        <a:pt x="280" y="84"/>
                      </a:cubicBezTo>
                      <a:cubicBezTo>
                        <a:pt x="281" y="84"/>
                        <a:pt x="281" y="84"/>
                        <a:pt x="281" y="84"/>
                      </a:cubicBezTo>
                      <a:cubicBezTo>
                        <a:pt x="281" y="84"/>
                        <a:pt x="281" y="84"/>
                        <a:pt x="281" y="84"/>
                      </a:cubicBezTo>
                      <a:cubicBezTo>
                        <a:pt x="280" y="83"/>
                        <a:pt x="280" y="83"/>
                        <a:pt x="280" y="83"/>
                      </a:cubicBezTo>
                      <a:cubicBezTo>
                        <a:pt x="280" y="83"/>
                        <a:pt x="280" y="83"/>
                        <a:pt x="280" y="83"/>
                      </a:cubicBezTo>
                      <a:cubicBezTo>
                        <a:pt x="280" y="83"/>
                        <a:pt x="280" y="83"/>
                        <a:pt x="280" y="83"/>
                      </a:cubicBezTo>
                      <a:cubicBezTo>
                        <a:pt x="279" y="81"/>
                        <a:pt x="279" y="81"/>
                        <a:pt x="279" y="81"/>
                      </a:cubicBezTo>
                      <a:cubicBezTo>
                        <a:pt x="278" y="81"/>
                        <a:pt x="278" y="81"/>
                        <a:pt x="278" y="81"/>
                      </a:cubicBezTo>
                      <a:cubicBezTo>
                        <a:pt x="278" y="81"/>
                        <a:pt x="278" y="81"/>
                        <a:pt x="278" y="81"/>
                      </a:cubicBezTo>
                      <a:cubicBezTo>
                        <a:pt x="279" y="80"/>
                        <a:pt x="279" y="80"/>
                        <a:pt x="279" y="80"/>
                      </a:cubicBezTo>
                      <a:cubicBezTo>
                        <a:pt x="279" y="80"/>
                        <a:pt x="279" y="80"/>
                        <a:pt x="279" y="80"/>
                      </a:cubicBezTo>
                      <a:cubicBezTo>
                        <a:pt x="279" y="81"/>
                        <a:pt x="279" y="81"/>
                        <a:pt x="279" y="81"/>
                      </a:cubicBezTo>
                      <a:cubicBezTo>
                        <a:pt x="280" y="82"/>
                        <a:pt x="280" y="82"/>
                        <a:pt x="280" y="82"/>
                      </a:cubicBezTo>
                      <a:cubicBezTo>
                        <a:pt x="282" y="82"/>
                        <a:pt x="282" y="82"/>
                        <a:pt x="282" y="82"/>
                      </a:cubicBezTo>
                      <a:cubicBezTo>
                        <a:pt x="282" y="83"/>
                        <a:pt x="282" y="83"/>
                        <a:pt x="282" y="83"/>
                      </a:cubicBezTo>
                      <a:cubicBezTo>
                        <a:pt x="283" y="83"/>
                        <a:pt x="283" y="83"/>
                        <a:pt x="283" y="83"/>
                      </a:cubicBezTo>
                      <a:cubicBezTo>
                        <a:pt x="283" y="83"/>
                        <a:pt x="283" y="83"/>
                        <a:pt x="283" y="83"/>
                      </a:cubicBezTo>
                      <a:cubicBezTo>
                        <a:pt x="285" y="83"/>
                        <a:pt x="285" y="83"/>
                        <a:pt x="285" y="83"/>
                      </a:cubicBezTo>
                      <a:cubicBezTo>
                        <a:pt x="286" y="83"/>
                        <a:pt x="286" y="83"/>
                        <a:pt x="286" y="83"/>
                      </a:cubicBezTo>
                      <a:cubicBezTo>
                        <a:pt x="286" y="83"/>
                        <a:pt x="286" y="83"/>
                        <a:pt x="286" y="83"/>
                      </a:cubicBezTo>
                      <a:cubicBezTo>
                        <a:pt x="286" y="82"/>
                        <a:pt x="286" y="82"/>
                        <a:pt x="286" y="82"/>
                      </a:cubicBezTo>
                      <a:cubicBezTo>
                        <a:pt x="284" y="80"/>
                        <a:pt x="284" y="80"/>
                        <a:pt x="284" y="80"/>
                      </a:cubicBezTo>
                      <a:cubicBezTo>
                        <a:pt x="283" y="80"/>
                        <a:pt x="283" y="80"/>
                        <a:pt x="283" y="80"/>
                      </a:cubicBezTo>
                      <a:cubicBezTo>
                        <a:pt x="283" y="80"/>
                        <a:pt x="283" y="80"/>
                        <a:pt x="283" y="80"/>
                      </a:cubicBezTo>
                      <a:cubicBezTo>
                        <a:pt x="282" y="79"/>
                        <a:pt x="282" y="79"/>
                        <a:pt x="282" y="79"/>
                      </a:cubicBezTo>
                      <a:cubicBezTo>
                        <a:pt x="281" y="78"/>
                        <a:pt x="281" y="78"/>
                        <a:pt x="281" y="78"/>
                      </a:cubicBezTo>
                      <a:cubicBezTo>
                        <a:pt x="281" y="78"/>
                        <a:pt x="281" y="78"/>
                        <a:pt x="281" y="78"/>
                      </a:cubicBezTo>
                      <a:cubicBezTo>
                        <a:pt x="281" y="78"/>
                        <a:pt x="281" y="78"/>
                        <a:pt x="281" y="78"/>
                      </a:cubicBezTo>
                      <a:cubicBezTo>
                        <a:pt x="281" y="77"/>
                        <a:pt x="281" y="77"/>
                        <a:pt x="281" y="77"/>
                      </a:cubicBezTo>
                      <a:cubicBezTo>
                        <a:pt x="282" y="77"/>
                        <a:pt x="282" y="77"/>
                        <a:pt x="282" y="77"/>
                      </a:cubicBezTo>
                      <a:cubicBezTo>
                        <a:pt x="282" y="78"/>
                        <a:pt x="282" y="78"/>
                        <a:pt x="282" y="78"/>
                      </a:cubicBezTo>
                      <a:cubicBezTo>
                        <a:pt x="283" y="78"/>
                        <a:pt x="283" y="78"/>
                        <a:pt x="283" y="78"/>
                      </a:cubicBezTo>
                      <a:cubicBezTo>
                        <a:pt x="283" y="79"/>
                        <a:pt x="283" y="79"/>
                        <a:pt x="283" y="79"/>
                      </a:cubicBezTo>
                      <a:cubicBezTo>
                        <a:pt x="284" y="79"/>
                        <a:pt x="284" y="79"/>
                        <a:pt x="284" y="79"/>
                      </a:cubicBezTo>
                      <a:cubicBezTo>
                        <a:pt x="284" y="78"/>
                        <a:pt x="284" y="78"/>
                        <a:pt x="284" y="78"/>
                      </a:cubicBezTo>
                      <a:cubicBezTo>
                        <a:pt x="284" y="77"/>
                        <a:pt x="284" y="77"/>
                        <a:pt x="284" y="77"/>
                      </a:cubicBezTo>
                      <a:cubicBezTo>
                        <a:pt x="283" y="76"/>
                        <a:pt x="283" y="76"/>
                        <a:pt x="283" y="76"/>
                      </a:cubicBezTo>
                      <a:cubicBezTo>
                        <a:pt x="282" y="76"/>
                        <a:pt x="282" y="76"/>
                        <a:pt x="282" y="76"/>
                      </a:cubicBezTo>
                      <a:cubicBezTo>
                        <a:pt x="282" y="76"/>
                        <a:pt x="282" y="76"/>
                        <a:pt x="282" y="76"/>
                      </a:cubicBezTo>
                      <a:cubicBezTo>
                        <a:pt x="281" y="76"/>
                        <a:pt x="281" y="76"/>
                        <a:pt x="281" y="76"/>
                      </a:cubicBezTo>
                      <a:cubicBezTo>
                        <a:pt x="280" y="76"/>
                        <a:pt x="280" y="76"/>
                        <a:pt x="280" y="76"/>
                      </a:cubicBezTo>
                      <a:cubicBezTo>
                        <a:pt x="279" y="76"/>
                        <a:pt x="279" y="76"/>
                        <a:pt x="279" y="76"/>
                      </a:cubicBezTo>
                      <a:cubicBezTo>
                        <a:pt x="278" y="76"/>
                        <a:pt x="278" y="76"/>
                        <a:pt x="278" y="76"/>
                      </a:cubicBezTo>
                      <a:cubicBezTo>
                        <a:pt x="277" y="76"/>
                        <a:pt x="277" y="76"/>
                        <a:pt x="277" y="76"/>
                      </a:cubicBezTo>
                      <a:cubicBezTo>
                        <a:pt x="277" y="75"/>
                        <a:pt x="277" y="75"/>
                        <a:pt x="277" y="75"/>
                      </a:cubicBezTo>
                      <a:cubicBezTo>
                        <a:pt x="276" y="76"/>
                        <a:pt x="276" y="76"/>
                        <a:pt x="276" y="76"/>
                      </a:cubicBezTo>
                      <a:cubicBezTo>
                        <a:pt x="274" y="77"/>
                        <a:pt x="274" y="77"/>
                        <a:pt x="274" y="77"/>
                      </a:cubicBezTo>
                      <a:cubicBezTo>
                        <a:pt x="274" y="78"/>
                        <a:pt x="274" y="78"/>
                        <a:pt x="274" y="78"/>
                      </a:cubicBezTo>
                      <a:cubicBezTo>
                        <a:pt x="273" y="78"/>
                        <a:pt x="273" y="78"/>
                        <a:pt x="273" y="78"/>
                      </a:cubicBezTo>
                      <a:cubicBezTo>
                        <a:pt x="273" y="77"/>
                        <a:pt x="273" y="77"/>
                        <a:pt x="273" y="77"/>
                      </a:cubicBezTo>
                      <a:cubicBezTo>
                        <a:pt x="274" y="77"/>
                        <a:pt x="274" y="77"/>
                        <a:pt x="274" y="77"/>
                      </a:cubicBezTo>
                      <a:cubicBezTo>
                        <a:pt x="275" y="77"/>
                        <a:pt x="275" y="77"/>
                        <a:pt x="275" y="77"/>
                      </a:cubicBezTo>
                      <a:cubicBezTo>
                        <a:pt x="276" y="75"/>
                        <a:pt x="276" y="75"/>
                        <a:pt x="276" y="75"/>
                      </a:cubicBezTo>
                      <a:cubicBezTo>
                        <a:pt x="277" y="74"/>
                        <a:pt x="277" y="74"/>
                        <a:pt x="277" y="74"/>
                      </a:cubicBezTo>
                      <a:cubicBezTo>
                        <a:pt x="276" y="73"/>
                        <a:pt x="276" y="73"/>
                        <a:pt x="276" y="73"/>
                      </a:cubicBezTo>
                      <a:cubicBezTo>
                        <a:pt x="276" y="72"/>
                        <a:pt x="276" y="72"/>
                        <a:pt x="276" y="72"/>
                      </a:cubicBezTo>
                      <a:cubicBezTo>
                        <a:pt x="277" y="71"/>
                        <a:pt x="277" y="71"/>
                        <a:pt x="277" y="71"/>
                      </a:cubicBezTo>
                      <a:cubicBezTo>
                        <a:pt x="276" y="71"/>
                        <a:pt x="276" y="71"/>
                        <a:pt x="276" y="71"/>
                      </a:cubicBezTo>
                      <a:cubicBezTo>
                        <a:pt x="275" y="71"/>
                        <a:pt x="275" y="71"/>
                        <a:pt x="275" y="71"/>
                      </a:cubicBezTo>
                      <a:cubicBezTo>
                        <a:pt x="274" y="71"/>
                        <a:pt x="274" y="71"/>
                        <a:pt x="274" y="71"/>
                      </a:cubicBezTo>
                      <a:cubicBezTo>
                        <a:pt x="274" y="70"/>
                        <a:pt x="274" y="70"/>
                        <a:pt x="274" y="70"/>
                      </a:cubicBezTo>
                      <a:cubicBezTo>
                        <a:pt x="274" y="70"/>
                        <a:pt x="274" y="70"/>
                        <a:pt x="274" y="70"/>
                      </a:cubicBezTo>
                      <a:cubicBezTo>
                        <a:pt x="274" y="69"/>
                        <a:pt x="274" y="69"/>
                        <a:pt x="274" y="69"/>
                      </a:cubicBezTo>
                      <a:cubicBezTo>
                        <a:pt x="272" y="69"/>
                        <a:pt x="272" y="69"/>
                        <a:pt x="272" y="69"/>
                      </a:cubicBezTo>
                      <a:cubicBezTo>
                        <a:pt x="271" y="68"/>
                        <a:pt x="271" y="68"/>
                        <a:pt x="271" y="68"/>
                      </a:cubicBezTo>
                      <a:cubicBezTo>
                        <a:pt x="270" y="68"/>
                        <a:pt x="270" y="68"/>
                        <a:pt x="270" y="68"/>
                      </a:cubicBezTo>
                      <a:cubicBezTo>
                        <a:pt x="269" y="67"/>
                        <a:pt x="269" y="67"/>
                        <a:pt x="269" y="67"/>
                      </a:cubicBezTo>
                      <a:cubicBezTo>
                        <a:pt x="269" y="68"/>
                        <a:pt x="269" y="68"/>
                        <a:pt x="269" y="68"/>
                      </a:cubicBezTo>
                      <a:cubicBezTo>
                        <a:pt x="267" y="68"/>
                        <a:pt x="267" y="68"/>
                        <a:pt x="267" y="68"/>
                      </a:cubicBezTo>
                      <a:cubicBezTo>
                        <a:pt x="267" y="68"/>
                        <a:pt x="267" y="68"/>
                        <a:pt x="267" y="68"/>
                      </a:cubicBezTo>
                      <a:cubicBezTo>
                        <a:pt x="267" y="68"/>
                        <a:pt x="267" y="68"/>
                        <a:pt x="267" y="68"/>
                      </a:cubicBezTo>
                      <a:cubicBezTo>
                        <a:pt x="266" y="69"/>
                        <a:pt x="266" y="69"/>
                        <a:pt x="266" y="69"/>
                      </a:cubicBezTo>
                      <a:cubicBezTo>
                        <a:pt x="267" y="70"/>
                        <a:pt x="267" y="70"/>
                        <a:pt x="267" y="70"/>
                      </a:cubicBezTo>
                      <a:cubicBezTo>
                        <a:pt x="267" y="71"/>
                        <a:pt x="267" y="71"/>
                        <a:pt x="267" y="71"/>
                      </a:cubicBezTo>
                      <a:cubicBezTo>
                        <a:pt x="267" y="71"/>
                        <a:pt x="267" y="71"/>
                        <a:pt x="267" y="71"/>
                      </a:cubicBezTo>
                      <a:cubicBezTo>
                        <a:pt x="266" y="69"/>
                        <a:pt x="266" y="69"/>
                        <a:pt x="266" y="69"/>
                      </a:cubicBezTo>
                      <a:cubicBezTo>
                        <a:pt x="265" y="70"/>
                        <a:pt x="265" y="70"/>
                        <a:pt x="265" y="70"/>
                      </a:cubicBezTo>
                      <a:cubicBezTo>
                        <a:pt x="266" y="71"/>
                        <a:pt x="266" y="71"/>
                        <a:pt x="266" y="71"/>
                      </a:cubicBezTo>
                      <a:cubicBezTo>
                        <a:pt x="267" y="71"/>
                        <a:pt x="267" y="71"/>
                        <a:pt x="267" y="71"/>
                      </a:cubicBezTo>
                      <a:cubicBezTo>
                        <a:pt x="268" y="73"/>
                        <a:pt x="268" y="73"/>
                        <a:pt x="268" y="73"/>
                      </a:cubicBezTo>
                      <a:cubicBezTo>
                        <a:pt x="268" y="73"/>
                        <a:pt x="268" y="73"/>
                        <a:pt x="268" y="73"/>
                      </a:cubicBezTo>
                      <a:cubicBezTo>
                        <a:pt x="268" y="73"/>
                        <a:pt x="268" y="73"/>
                        <a:pt x="268" y="73"/>
                      </a:cubicBezTo>
                      <a:cubicBezTo>
                        <a:pt x="267" y="73"/>
                        <a:pt x="267" y="73"/>
                        <a:pt x="267" y="73"/>
                      </a:cubicBezTo>
                      <a:cubicBezTo>
                        <a:pt x="267" y="74"/>
                        <a:pt x="267" y="74"/>
                        <a:pt x="267" y="74"/>
                      </a:cubicBezTo>
                      <a:cubicBezTo>
                        <a:pt x="268" y="76"/>
                        <a:pt x="268" y="76"/>
                        <a:pt x="268" y="76"/>
                      </a:cubicBezTo>
                      <a:cubicBezTo>
                        <a:pt x="269" y="76"/>
                        <a:pt x="269" y="76"/>
                        <a:pt x="269" y="76"/>
                      </a:cubicBezTo>
                      <a:cubicBezTo>
                        <a:pt x="269" y="77"/>
                        <a:pt x="269" y="77"/>
                        <a:pt x="269" y="77"/>
                      </a:cubicBezTo>
                      <a:cubicBezTo>
                        <a:pt x="269" y="76"/>
                        <a:pt x="269" y="76"/>
                        <a:pt x="269" y="76"/>
                      </a:cubicBezTo>
                      <a:cubicBezTo>
                        <a:pt x="267" y="76"/>
                        <a:pt x="267" y="76"/>
                        <a:pt x="267" y="76"/>
                      </a:cubicBezTo>
                      <a:cubicBezTo>
                        <a:pt x="267" y="77"/>
                        <a:pt x="267" y="77"/>
                        <a:pt x="267" y="77"/>
                      </a:cubicBezTo>
                      <a:cubicBezTo>
                        <a:pt x="267" y="77"/>
                        <a:pt x="267" y="77"/>
                        <a:pt x="267" y="77"/>
                      </a:cubicBezTo>
                      <a:cubicBezTo>
                        <a:pt x="266" y="78"/>
                        <a:pt x="266" y="78"/>
                        <a:pt x="266" y="78"/>
                      </a:cubicBezTo>
                      <a:cubicBezTo>
                        <a:pt x="268" y="77"/>
                        <a:pt x="268" y="77"/>
                        <a:pt x="268" y="77"/>
                      </a:cubicBezTo>
                      <a:cubicBezTo>
                        <a:pt x="268" y="78"/>
                        <a:pt x="268" y="78"/>
                        <a:pt x="268" y="78"/>
                      </a:cubicBezTo>
                      <a:cubicBezTo>
                        <a:pt x="270" y="77"/>
                        <a:pt x="270" y="77"/>
                        <a:pt x="270" y="77"/>
                      </a:cubicBezTo>
                      <a:cubicBezTo>
                        <a:pt x="270" y="78"/>
                        <a:pt x="270" y="78"/>
                        <a:pt x="270" y="78"/>
                      </a:cubicBezTo>
                      <a:cubicBezTo>
                        <a:pt x="271" y="78"/>
                        <a:pt x="271" y="78"/>
                        <a:pt x="271" y="78"/>
                      </a:cubicBezTo>
                      <a:cubicBezTo>
                        <a:pt x="271" y="78"/>
                        <a:pt x="271" y="78"/>
                        <a:pt x="271" y="78"/>
                      </a:cubicBezTo>
                      <a:cubicBezTo>
                        <a:pt x="272" y="79"/>
                        <a:pt x="272" y="79"/>
                        <a:pt x="272" y="79"/>
                      </a:cubicBezTo>
                      <a:cubicBezTo>
                        <a:pt x="273" y="79"/>
                        <a:pt x="273" y="79"/>
                        <a:pt x="273" y="79"/>
                      </a:cubicBezTo>
                      <a:cubicBezTo>
                        <a:pt x="273" y="79"/>
                        <a:pt x="273" y="79"/>
                        <a:pt x="273" y="79"/>
                      </a:cubicBezTo>
                      <a:cubicBezTo>
                        <a:pt x="273" y="79"/>
                        <a:pt x="273" y="79"/>
                        <a:pt x="273" y="79"/>
                      </a:cubicBezTo>
                      <a:cubicBezTo>
                        <a:pt x="274" y="79"/>
                        <a:pt x="274" y="79"/>
                        <a:pt x="274" y="79"/>
                      </a:cubicBezTo>
                      <a:cubicBezTo>
                        <a:pt x="275" y="79"/>
                        <a:pt x="275" y="79"/>
                        <a:pt x="275" y="79"/>
                      </a:cubicBezTo>
                      <a:cubicBezTo>
                        <a:pt x="275" y="79"/>
                        <a:pt x="275" y="79"/>
                        <a:pt x="275" y="79"/>
                      </a:cubicBezTo>
                      <a:cubicBezTo>
                        <a:pt x="275" y="80"/>
                        <a:pt x="275" y="80"/>
                        <a:pt x="275" y="80"/>
                      </a:cubicBezTo>
                      <a:cubicBezTo>
                        <a:pt x="275" y="82"/>
                        <a:pt x="275" y="82"/>
                        <a:pt x="275" y="82"/>
                      </a:cubicBezTo>
                      <a:cubicBezTo>
                        <a:pt x="274" y="83"/>
                        <a:pt x="274" y="83"/>
                        <a:pt x="274" y="83"/>
                      </a:cubicBezTo>
                      <a:cubicBezTo>
                        <a:pt x="274" y="83"/>
                        <a:pt x="274" y="83"/>
                        <a:pt x="274" y="83"/>
                      </a:cubicBezTo>
                      <a:cubicBezTo>
                        <a:pt x="275" y="84"/>
                        <a:pt x="275" y="84"/>
                        <a:pt x="275" y="84"/>
                      </a:cubicBezTo>
                      <a:cubicBezTo>
                        <a:pt x="275" y="85"/>
                        <a:pt x="275" y="85"/>
                        <a:pt x="275" y="85"/>
                      </a:cubicBezTo>
                      <a:cubicBezTo>
                        <a:pt x="275" y="86"/>
                        <a:pt x="275" y="86"/>
                        <a:pt x="275" y="86"/>
                      </a:cubicBezTo>
                      <a:cubicBezTo>
                        <a:pt x="274" y="87"/>
                        <a:pt x="274" y="87"/>
                        <a:pt x="274" y="87"/>
                      </a:cubicBezTo>
                      <a:cubicBezTo>
                        <a:pt x="273" y="88"/>
                        <a:pt x="273" y="88"/>
                        <a:pt x="273" y="88"/>
                      </a:cubicBezTo>
                      <a:cubicBezTo>
                        <a:pt x="272" y="88"/>
                        <a:pt x="272" y="88"/>
                        <a:pt x="272" y="88"/>
                      </a:cubicBezTo>
                      <a:cubicBezTo>
                        <a:pt x="271" y="89"/>
                        <a:pt x="271" y="89"/>
                        <a:pt x="271" y="89"/>
                      </a:cubicBezTo>
                      <a:cubicBezTo>
                        <a:pt x="270" y="90"/>
                        <a:pt x="270" y="90"/>
                        <a:pt x="270" y="90"/>
                      </a:cubicBezTo>
                      <a:cubicBezTo>
                        <a:pt x="271" y="90"/>
                        <a:pt x="271" y="90"/>
                        <a:pt x="271" y="90"/>
                      </a:cubicBezTo>
                      <a:cubicBezTo>
                        <a:pt x="270" y="91"/>
                        <a:pt x="270" y="91"/>
                        <a:pt x="270" y="91"/>
                      </a:cubicBezTo>
                      <a:cubicBezTo>
                        <a:pt x="269" y="92"/>
                        <a:pt x="269" y="92"/>
                        <a:pt x="269" y="92"/>
                      </a:cubicBezTo>
                      <a:cubicBezTo>
                        <a:pt x="269" y="92"/>
                        <a:pt x="269" y="92"/>
                        <a:pt x="269" y="92"/>
                      </a:cubicBezTo>
                      <a:cubicBezTo>
                        <a:pt x="270" y="93"/>
                        <a:pt x="270" y="93"/>
                        <a:pt x="270" y="93"/>
                      </a:cubicBezTo>
                      <a:cubicBezTo>
                        <a:pt x="270" y="93"/>
                        <a:pt x="270" y="93"/>
                        <a:pt x="270" y="93"/>
                      </a:cubicBezTo>
                      <a:cubicBezTo>
                        <a:pt x="269" y="94"/>
                        <a:pt x="269" y="94"/>
                        <a:pt x="269" y="94"/>
                      </a:cubicBezTo>
                      <a:cubicBezTo>
                        <a:pt x="269" y="94"/>
                        <a:pt x="269" y="94"/>
                        <a:pt x="269" y="94"/>
                      </a:cubicBezTo>
                      <a:cubicBezTo>
                        <a:pt x="269" y="95"/>
                        <a:pt x="269" y="95"/>
                        <a:pt x="269" y="95"/>
                      </a:cubicBezTo>
                      <a:cubicBezTo>
                        <a:pt x="269" y="95"/>
                        <a:pt x="269" y="95"/>
                        <a:pt x="269" y="95"/>
                      </a:cubicBezTo>
                      <a:cubicBezTo>
                        <a:pt x="268" y="96"/>
                        <a:pt x="268" y="96"/>
                        <a:pt x="268" y="96"/>
                      </a:cubicBezTo>
                      <a:cubicBezTo>
                        <a:pt x="269" y="97"/>
                        <a:pt x="269" y="97"/>
                        <a:pt x="269" y="97"/>
                      </a:cubicBezTo>
                      <a:cubicBezTo>
                        <a:pt x="269" y="97"/>
                        <a:pt x="269" y="97"/>
                        <a:pt x="269" y="97"/>
                      </a:cubicBezTo>
                      <a:cubicBezTo>
                        <a:pt x="269" y="98"/>
                        <a:pt x="269" y="98"/>
                        <a:pt x="269" y="98"/>
                      </a:cubicBezTo>
                      <a:cubicBezTo>
                        <a:pt x="270" y="98"/>
                        <a:pt x="270" y="98"/>
                        <a:pt x="270" y="98"/>
                      </a:cubicBezTo>
                      <a:cubicBezTo>
                        <a:pt x="271" y="98"/>
                        <a:pt x="271" y="98"/>
                        <a:pt x="271" y="98"/>
                      </a:cubicBezTo>
                      <a:cubicBezTo>
                        <a:pt x="271" y="98"/>
                        <a:pt x="271" y="98"/>
                        <a:pt x="271" y="98"/>
                      </a:cubicBezTo>
                      <a:cubicBezTo>
                        <a:pt x="271" y="97"/>
                        <a:pt x="271" y="97"/>
                        <a:pt x="271" y="97"/>
                      </a:cubicBezTo>
                      <a:cubicBezTo>
                        <a:pt x="272" y="97"/>
                        <a:pt x="272" y="97"/>
                        <a:pt x="272" y="97"/>
                      </a:cubicBezTo>
                      <a:cubicBezTo>
                        <a:pt x="272" y="97"/>
                        <a:pt x="272" y="97"/>
                        <a:pt x="272" y="97"/>
                      </a:cubicBezTo>
                      <a:cubicBezTo>
                        <a:pt x="273" y="96"/>
                        <a:pt x="273" y="96"/>
                        <a:pt x="273" y="96"/>
                      </a:cubicBezTo>
                      <a:cubicBezTo>
                        <a:pt x="273" y="97"/>
                        <a:pt x="273" y="97"/>
                        <a:pt x="273" y="97"/>
                      </a:cubicBezTo>
                      <a:cubicBezTo>
                        <a:pt x="273" y="98"/>
                        <a:pt x="273" y="98"/>
                        <a:pt x="273" y="98"/>
                      </a:cubicBezTo>
                      <a:cubicBezTo>
                        <a:pt x="272" y="98"/>
                        <a:pt x="272" y="98"/>
                        <a:pt x="272" y="98"/>
                      </a:cubicBezTo>
                      <a:cubicBezTo>
                        <a:pt x="272" y="98"/>
                        <a:pt x="272" y="98"/>
                        <a:pt x="272" y="98"/>
                      </a:cubicBezTo>
                      <a:cubicBezTo>
                        <a:pt x="272" y="99"/>
                        <a:pt x="272" y="99"/>
                        <a:pt x="272" y="99"/>
                      </a:cubicBezTo>
                      <a:cubicBezTo>
                        <a:pt x="272" y="99"/>
                        <a:pt x="272" y="99"/>
                        <a:pt x="272" y="99"/>
                      </a:cubicBezTo>
                      <a:cubicBezTo>
                        <a:pt x="273" y="100"/>
                        <a:pt x="273" y="100"/>
                        <a:pt x="273" y="100"/>
                      </a:cubicBezTo>
                      <a:cubicBezTo>
                        <a:pt x="274" y="100"/>
                        <a:pt x="274" y="100"/>
                        <a:pt x="274" y="100"/>
                      </a:cubicBezTo>
                      <a:cubicBezTo>
                        <a:pt x="274" y="100"/>
                        <a:pt x="274" y="100"/>
                        <a:pt x="274" y="100"/>
                      </a:cubicBezTo>
                      <a:cubicBezTo>
                        <a:pt x="275" y="100"/>
                        <a:pt x="275" y="100"/>
                        <a:pt x="275" y="100"/>
                      </a:cubicBezTo>
                      <a:cubicBezTo>
                        <a:pt x="276" y="100"/>
                        <a:pt x="276" y="100"/>
                        <a:pt x="276" y="100"/>
                      </a:cubicBezTo>
                      <a:cubicBezTo>
                        <a:pt x="277" y="100"/>
                        <a:pt x="277" y="100"/>
                        <a:pt x="277" y="100"/>
                      </a:cubicBezTo>
                      <a:cubicBezTo>
                        <a:pt x="277" y="99"/>
                        <a:pt x="277" y="99"/>
                        <a:pt x="277" y="99"/>
                      </a:cubicBezTo>
                      <a:cubicBezTo>
                        <a:pt x="277" y="99"/>
                        <a:pt x="277" y="99"/>
                        <a:pt x="277" y="99"/>
                      </a:cubicBezTo>
                      <a:cubicBezTo>
                        <a:pt x="278" y="98"/>
                        <a:pt x="278" y="98"/>
                        <a:pt x="278" y="98"/>
                      </a:cubicBezTo>
                      <a:cubicBezTo>
                        <a:pt x="278" y="99"/>
                        <a:pt x="278" y="99"/>
                        <a:pt x="278" y="99"/>
                      </a:cubicBezTo>
                      <a:cubicBezTo>
                        <a:pt x="278" y="99"/>
                        <a:pt x="278" y="99"/>
                        <a:pt x="278" y="99"/>
                      </a:cubicBezTo>
                      <a:cubicBezTo>
                        <a:pt x="278" y="100"/>
                        <a:pt x="278" y="100"/>
                        <a:pt x="278" y="100"/>
                      </a:cubicBezTo>
                      <a:cubicBezTo>
                        <a:pt x="278" y="99"/>
                        <a:pt x="278" y="99"/>
                        <a:pt x="278" y="99"/>
                      </a:cubicBezTo>
                      <a:cubicBezTo>
                        <a:pt x="279" y="98"/>
                        <a:pt x="279" y="98"/>
                        <a:pt x="279" y="98"/>
                      </a:cubicBezTo>
                      <a:cubicBezTo>
                        <a:pt x="279" y="98"/>
                        <a:pt x="279" y="98"/>
                        <a:pt x="279" y="98"/>
                      </a:cubicBezTo>
                      <a:cubicBezTo>
                        <a:pt x="280" y="98"/>
                        <a:pt x="280" y="98"/>
                        <a:pt x="280" y="98"/>
                      </a:cubicBezTo>
                      <a:cubicBezTo>
                        <a:pt x="280" y="99"/>
                        <a:pt x="280" y="99"/>
                        <a:pt x="280" y="99"/>
                      </a:cubicBezTo>
                      <a:cubicBezTo>
                        <a:pt x="278" y="101"/>
                        <a:pt x="278" y="101"/>
                        <a:pt x="278" y="101"/>
                      </a:cubicBezTo>
                      <a:cubicBezTo>
                        <a:pt x="278" y="101"/>
                        <a:pt x="278" y="101"/>
                        <a:pt x="278" y="101"/>
                      </a:cubicBezTo>
                      <a:cubicBezTo>
                        <a:pt x="278" y="102"/>
                        <a:pt x="278" y="102"/>
                        <a:pt x="278" y="102"/>
                      </a:cubicBezTo>
                      <a:cubicBezTo>
                        <a:pt x="279" y="102"/>
                        <a:pt x="279" y="102"/>
                        <a:pt x="279" y="102"/>
                      </a:cubicBezTo>
                      <a:cubicBezTo>
                        <a:pt x="280" y="103"/>
                        <a:pt x="280" y="103"/>
                        <a:pt x="280" y="103"/>
                      </a:cubicBezTo>
                      <a:cubicBezTo>
                        <a:pt x="280" y="103"/>
                        <a:pt x="280" y="103"/>
                        <a:pt x="280" y="103"/>
                      </a:cubicBezTo>
                      <a:cubicBezTo>
                        <a:pt x="281" y="103"/>
                        <a:pt x="281" y="103"/>
                        <a:pt x="281" y="103"/>
                      </a:cubicBezTo>
                      <a:cubicBezTo>
                        <a:pt x="282" y="103"/>
                        <a:pt x="282" y="103"/>
                        <a:pt x="282" y="103"/>
                      </a:cubicBezTo>
                      <a:cubicBezTo>
                        <a:pt x="282" y="103"/>
                        <a:pt x="282" y="103"/>
                        <a:pt x="282" y="103"/>
                      </a:cubicBezTo>
                      <a:cubicBezTo>
                        <a:pt x="283" y="103"/>
                        <a:pt x="283" y="103"/>
                        <a:pt x="283" y="103"/>
                      </a:cubicBezTo>
                      <a:cubicBezTo>
                        <a:pt x="283" y="103"/>
                        <a:pt x="283" y="103"/>
                        <a:pt x="283" y="103"/>
                      </a:cubicBezTo>
                      <a:cubicBezTo>
                        <a:pt x="283" y="104"/>
                        <a:pt x="283" y="104"/>
                        <a:pt x="283" y="104"/>
                      </a:cubicBezTo>
                      <a:cubicBezTo>
                        <a:pt x="283" y="104"/>
                        <a:pt x="283" y="104"/>
                        <a:pt x="283" y="104"/>
                      </a:cubicBezTo>
                      <a:cubicBezTo>
                        <a:pt x="284" y="104"/>
                        <a:pt x="284" y="104"/>
                        <a:pt x="284" y="104"/>
                      </a:cubicBezTo>
                      <a:cubicBezTo>
                        <a:pt x="285" y="104"/>
                        <a:pt x="285" y="104"/>
                        <a:pt x="285" y="104"/>
                      </a:cubicBezTo>
                      <a:cubicBezTo>
                        <a:pt x="284" y="103"/>
                        <a:pt x="284" y="103"/>
                        <a:pt x="284" y="103"/>
                      </a:cubicBezTo>
                      <a:cubicBezTo>
                        <a:pt x="284" y="103"/>
                        <a:pt x="284" y="103"/>
                        <a:pt x="284" y="103"/>
                      </a:cubicBezTo>
                      <a:cubicBezTo>
                        <a:pt x="285" y="102"/>
                        <a:pt x="285" y="102"/>
                        <a:pt x="285" y="102"/>
                      </a:cubicBezTo>
                      <a:cubicBezTo>
                        <a:pt x="285" y="103"/>
                        <a:pt x="285" y="103"/>
                        <a:pt x="285" y="103"/>
                      </a:cubicBezTo>
                      <a:cubicBezTo>
                        <a:pt x="285" y="103"/>
                        <a:pt x="285" y="103"/>
                        <a:pt x="285" y="103"/>
                      </a:cubicBezTo>
                      <a:cubicBezTo>
                        <a:pt x="285" y="104"/>
                        <a:pt x="285" y="104"/>
                        <a:pt x="285" y="104"/>
                      </a:cubicBezTo>
                      <a:cubicBezTo>
                        <a:pt x="286" y="104"/>
                        <a:pt x="286" y="104"/>
                        <a:pt x="286" y="104"/>
                      </a:cubicBezTo>
                      <a:cubicBezTo>
                        <a:pt x="286" y="103"/>
                        <a:pt x="286" y="103"/>
                        <a:pt x="286" y="103"/>
                      </a:cubicBezTo>
                      <a:cubicBezTo>
                        <a:pt x="286" y="103"/>
                        <a:pt x="286" y="103"/>
                        <a:pt x="286" y="103"/>
                      </a:cubicBezTo>
                      <a:cubicBezTo>
                        <a:pt x="287" y="103"/>
                        <a:pt x="287" y="103"/>
                        <a:pt x="287" y="103"/>
                      </a:cubicBezTo>
                      <a:cubicBezTo>
                        <a:pt x="287" y="103"/>
                        <a:pt x="287" y="103"/>
                        <a:pt x="287" y="103"/>
                      </a:cubicBezTo>
                      <a:cubicBezTo>
                        <a:pt x="287" y="104"/>
                        <a:pt x="287" y="104"/>
                        <a:pt x="287" y="104"/>
                      </a:cubicBezTo>
                      <a:cubicBezTo>
                        <a:pt x="287" y="104"/>
                        <a:pt x="287" y="104"/>
                        <a:pt x="287" y="104"/>
                      </a:cubicBezTo>
                      <a:cubicBezTo>
                        <a:pt x="288" y="104"/>
                        <a:pt x="288" y="104"/>
                        <a:pt x="288" y="104"/>
                      </a:cubicBezTo>
                      <a:cubicBezTo>
                        <a:pt x="289" y="104"/>
                        <a:pt x="289" y="104"/>
                        <a:pt x="289" y="104"/>
                      </a:cubicBezTo>
                      <a:cubicBezTo>
                        <a:pt x="289" y="103"/>
                        <a:pt x="289" y="103"/>
                        <a:pt x="289" y="103"/>
                      </a:cubicBezTo>
                      <a:cubicBezTo>
                        <a:pt x="289" y="103"/>
                        <a:pt x="289" y="103"/>
                        <a:pt x="289" y="103"/>
                      </a:cubicBezTo>
                      <a:cubicBezTo>
                        <a:pt x="289" y="104"/>
                        <a:pt x="289" y="104"/>
                        <a:pt x="289" y="104"/>
                      </a:cubicBezTo>
                      <a:cubicBezTo>
                        <a:pt x="289" y="104"/>
                        <a:pt x="289" y="104"/>
                        <a:pt x="289" y="104"/>
                      </a:cubicBezTo>
                      <a:cubicBezTo>
                        <a:pt x="290" y="104"/>
                        <a:pt x="290" y="104"/>
                        <a:pt x="290" y="104"/>
                      </a:cubicBezTo>
                      <a:cubicBezTo>
                        <a:pt x="290" y="103"/>
                        <a:pt x="290" y="103"/>
                        <a:pt x="290" y="103"/>
                      </a:cubicBezTo>
                      <a:cubicBezTo>
                        <a:pt x="291" y="102"/>
                        <a:pt x="291" y="102"/>
                        <a:pt x="291" y="102"/>
                      </a:cubicBezTo>
                      <a:cubicBezTo>
                        <a:pt x="291" y="104"/>
                        <a:pt x="291" y="104"/>
                        <a:pt x="291" y="104"/>
                      </a:cubicBezTo>
                      <a:cubicBezTo>
                        <a:pt x="291" y="105"/>
                        <a:pt x="291" y="105"/>
                        <a:pt x="291" y="105"/>
                      </a:cubicBezTo>
                      <a:cubicBezTo>
                        <a:pt x="292" y="105"/>
                        <a:pt x="292" y="105"/>
                        <a:pt x="292" y="105"/>
                      </a:cubicBezTo>
                      <a:cubicBezTo>
                        <a:pt x="293" y="106"/>
                        <a:pt x="293" y="106"/>
                        <a:pt x="293" y="106"/>
                      </a:cubicBezTo>
                      <a:cubicBezTo>
                        <a:pt x="294" y="105"/>
                        <a:pt x="294" y="105"/>
                        <a:pt x="294" y="105"/>
                      </a:cubicBezTo>
                      <a:cubicBezTo>
                        <a:pt x="294" y="105"/>
                        <a:pt x="294" y="105"/>
                        <a:pt x="294" y="105"/>
                      </a:cubicBezTo>
                      <a:cubicBezTo>
                        <a:pt x="295" y="106"/>
                        <a:pt x="295" y="106"/>
                        <a:pt x="295" y="106"/>
                      </a:cubicBezTo>
                      <a:cubicBezTo>
                        <a:pt x="296" y="105"/>
                        <a:pt x="296" y="105"/>
                        <a:pt x="296" y="105"/>
                      </a:cubicBezTo>
                      <a:cubicBezTo>
                        <a:pt x="296" y="105"/>
                        <a:pt x="296" y="105"/>
                        <a:pt x="296" y="105"/>
                      </a:cubicBezTo>
                      <a:cubicBezTo>
                        <a:pt x="296" y="104"/>
                        <a:pt x="296" y="104"/>
                        <a:pt x="296" y="104"/>
                      </a:cubicBezTo>
                      <a:cubicBezTo>
                        <a:pt x="297" y="103"/>
                        <a:pt x="297" y="103"/>
                        <a:pt x="297" y="103"/>
                      </a:cubicBezTo>
                      <a:cubicBezTo>
                        <a:pt x="298" y="103"/>
                        <a:pt x="298" y="103"/>
                        <a:pt x="298" y="103"/>
                      </a:cubicBezTo>
                      <a:cubicBezTo>
                        <a:pt x="297" y="102"/>
                        <a:pt x="297" y="102"/>
                        <a:pt x="297" y="102"/>
                      </a:cubicBezTo>
                      <a:cubicBezTo>
                        <a:pt x="298" y="101"/>
                        <a:pt x="298" y="101"/>
                        <a:pt x="298" y="101"/>
                      </a:cubicBezTo>
                      <a:cubicBezTo>
                        <a:pt x="298" y="101"/>
                        <a:pt x="298" y="101"/>
                        <a:pt x="298" y="101"/>
                      </a:cubicBezTo>
                      <a:cubicBezTo>
                        <a:pt x="298" y="102"/>
                        <a:pt x="298" y="102"/>
                        <a:pt x="298" y="102"/>
                      </a:cubicBezTo>
                      <a:cubicBezTo>
                        <a:pt x="299" y="102"/>
                        <a:pt x="299" y="102"/>
                        <a:pt x="299" y="102"/>
                      </a:cubicBezTo>
                      <a:cubicBezTo>
                        <a:pt x="299" y="103"/>
                        <a:pt x="299" y="103"/>
                        <a:pt x="299" y="103"/>
                      </a:cubicBezTo>
                      <a:cubicBezTo>
                        <a:pt x="298" y="103"/>
                        <a:pt x="298" y="103"/>
                        <a:pt x="298" y="103"/>
                      </a:cubicBezTo>
                      <a:cubicBezTo>
                        <a:pt x="297" y="105"/>
                        <a:pt x="297" y="105"/>
                        <a:pt x="297" y="105"/>
                      </a:cubicBezTo>
                      <a:cubicBezTo>
                        <a:pt x="298" y="106"/>
                        <a:pt x="298" y="106"/>
                        <a:pt x="298" y="106"/>
                      </a:cubicBezTo>
                      <a:close/>
                      <a:moveTo>
                        <a:pt x="265" y="67"/>
                      </a:moveTo>
                      <a:cubicBezTo>
                        <a:pt x="266" y="67"/>
                        <a:pt x="266" y="67"/>
                        <a:pt x="266" y="67"/>
                      </a:cubicBezTo>
                      <a:cubicBezTo>
                        <a:pt x="266" y="67"/>
                        <a:pt x="266" y="67"/>
                        <a:pt x="266" y="67"/>
                      </a:cubicBezTo>
                      <a:cubicBezTo>
                        <a:pt x="265" y="67"/>
                        <a:pt x="265" y="67"/>
                        <a:pt x="265" y="67"/>
                      </a:cubicBezTo>
                      <a:cubicBezTo>
                        <a:pt x="264" y="67"/>
                        <a:pt x="264" y="67"/>
                        <a:pt x="264" y="67"/>
                      </a:cubicBezTo>
                      <a:cubicBezTo>
                        <a:pt x="265" y="67"/>
                        <a:pt x="265" y="67"/>
                        <a:pt x="265" y="67"/>
                      </a:cubicBezTo>
                      <a:close/>
                      <a:moveTo>
                        <a:pt x="263" y="73"/>
                      </a:moveTo>
                      <a:cubicBezTo>
                        <a:pt x="264" y="72"/>
                        <a:pt x="264" y="72"/>
                        <a:pt x="264" y="72"/>
                      </a:cubicBezTo>
                      <a:cubicBezTo>
                        <a:pt x="264" y="71"/>
                        <a:pt x="264" y="71"/>
                        <a:pt x="264" y="71"/>
                      </a:cubicBezTo>
                      <a:cubicBezTo>
                        <a:pt x="264" y="72"/>
                        <a:pt x="264" y="72"/>
                        <a:pt x="264" y="72"/>
                      </a:cubicBezTo>
                      <a:cubicBezTo>
                        <a:pt x="264" y="72"/>
                        <a:pt x="264" y="72"/>
                        <a:pt x="264" y="72"/>
                      </a:cubicBezTo>
                      <a:cubicBezTo>
                        <a:pt x="263" y="73"/>
                        <a:pt x="263" y="73"/>
                        <a:pt x="263" y="73"/>
                      </a:cubicBezTo>
                      <a:close/>
                      <a:moveTo>
                        <a:pt x="240" y="80"/>
                      </a:moveTo>
                      <a:cubicBezTo>
                        <a:pt x="240" y="80"/>
                        <a:pt x="240" y="80"/>
                        <a:pt x="240" y="80"/>
                      </a:cubicBezTo>
                      <a:cubicBezTo>
                        <a:pt x="240" y="81"/>
                        <a:pt x="240" y="81"/>
                        <a:pt x="240" y="81"/>
                      </a:cubicBezTo>
                      <a:cubicBezTo>
                        <a:pt x="241" y="80"/>
                        <a:pt x="241" y="80"/>
                        <a:pt x="241" y="80"/>
                      </a:cubicBezTo>
                      <a:cubicBezTo>
                        <a:pt x="240" y="80"/>
                        <a:pt x="240" y="80"/>
                        <a:pt x="240" y="80"/>
                      </a:cubicBezTo>
                      <a:close/>
                      <a:moveTo>
                        <a:pt x="255" y="67"/>
                      </a:moveTo>
                      <a:cubicBezTo>
                        <a:pt x="255" y="67"/>
                        <a:pt x="255" y="67"/>
                        <a:pt x="255" y="67"/>
                      </a:cubicBezTo>
                      <a:cubicBezTo>
                        <a:pt x="256" y="68"/>
                        <a:pt x="256" y="68"/>
                        <a:pt x="256" y="68"/>
                      </a:cubicBezTo>
                      <a:cubicBezTo>
                        <a:pt x="256" y="69"/>
                        <a:pt x="256" y="69"/>
                        <a:pt x="256" y="69"/>
                      </a:cubicBezTo>
                      <a:cubicBezTo>
                        <a:pt x="256" y="68"/>
                        <a:pt x="256" y="68"/>
                        <a:pt x="256" y="68"/>
                      </a:cubicBezTo>
                      <a:cubicBezTo>
                        <a:pt x="256" y="68"/>
                        <a:pt x="256" y="68"/>
                        <a:pt x="256" y="68"/>
                      </a:cubicBezTo>
                      <a:cubicBezTo>
                        <a:pt x="256" y="67"/>
                        <a:pt x="256" y="67"/>
                        <a:pt x="256" y="67"/>
                      </a:cubicBezTo>
                      <a:cubicBezTo>
                        <a:pt x="255" y="67"/>
                        <a:pt x="255" y="67"/>
                        <a:pt x="255" y="67"/>
                      </a:cubicBezTo>
                      <a:close/>
                      <a:moveTo>
                        <a:pt x="248" y="67"/>
                      </a:moveTo>
                      <a:cubicBezTo>
                        <a:pt x="248" y="68"/>
                        <a:pt x="248" y="68"/>
                        <a:pt x="248" y="68"/>
                      </a:cubicBezTo>
                      <a:cubicBezTo>
                        <a:pt x="248" y="68"/>
                        <a:pt x="248" y="68"/>
                        <a:pt x="248" y="68"/>
                      </a:cubicBezTo>
                      <a:cubicBezTo>
                        <a:pt x="249" y="68"/>
                        <a:pt x="249" y="68"/>
                        <a:pt x="249" y="68"/>
                      </a:cubicBezTo>
                      <a:cubicBezTo>
                        <a:pt x="250" y="68"/>
                        <a:pt x="250" y="68"/>
                        <a:pt x="250" y="68"/>
                      </a:cubicBezTo>
                      <a:cubicBezTo>
                        <a:pt x="251" y="68"/>
                        <a:pt x="251" y="68"/>
                        <a:pt x="251" y="68"/>
                      </a:cubicBezTo>
                      <a:cubicBezTo>
                        <a:pt x="252" y="67"/>
                        <a:pt x="252" y="67"/>
                        <a:pt x="252" y="67"/>
                      </a:cubicBezTo>
                      <a:cubicBezTo>
                        <a:pt x="253" y="67"/>
                        <a:pt x="253" y="67"/>
                        <a:pt x="253" y="67"/>
                      </a:cubicBezTo>
                      <a:cubicBezTo>
                        <a:pt x="254" y="67"/>
                        <a:pt x="254" y="67"/>
                        <a:pt x="254" y="67"/>
                      </a:cubicBezTo>
                      <a:cubicBezTo>
                        <a:pt x="253" y="66"/>
                        <a:pt x="253" y="66"/>
                        <a:pt x="253" y="66"/>
                      </a:cubicBezTo>
                      <a:cubicBezTo>
                        <a:pt x="252" y="66"/>
                        <a:pt x="252" y="66"/>
                        <a:pt x="252" y="66"/>
                      </a:cubicBezTo>
                      <a:cubicBezTo>
                        <a:pt x="251" y="66"/>
                        <a:pt x="251" y="66"/>
                        <a:pt x="251" y="66"/>
                      </a:cubicBezTo>
                      <a:cubicBezTo>
                        <a:pt x="251" y="66"/>
                        <a:pt x="250" y="67"/>
                        <a:pt x="250" y="67"/>
                      </a:cubicBezTo>
                      <a:cubicBezTo>
                        <a:pt x="250" y="67"/>
                        <a:pt x="249" y="67"/>
                        <a:pt x="249" y="67"/>
                      </a:cubicBezTo>
                      <a:cubicBezTo>
                        <a:pt x="248" y="67"/>
                        <a:pt x="248" y="67"/>
                        <a:pt x="248" y="67"/>
                      </a:cubicBezTo>
                      <a:cubicBezTo>
                        <a:pt x="248" y="67"/>
                        <a:pt x="248" y="67"/>
                        <a:pt x="248" y="67"/>
                      </a:cubicBezTo>
                      <a:close/>
                      <a:moveTo>
                        <a:pt x="241" y="70"/>
                      </a:moveTo>
                      <a:cubicBezTo>
                        <a:pt x="240" y="69"/>
                        <a:pt x="240" y="69"/>
                        <a:pt x="240" y="69"/>
                      </a:cubicBezTo>
                      <a:cubicBezTo>
                        <a:pt x="239" y="69"/>
                        <a:pt x="239" y="69"/>
                        <a:pt x="239" y="69"/>
                      </a:cubicBezTo>
                      <a:cubicBezTo>
                        <a:pt x="238" y="69"/>
                        <a:pt x="238" y="69"/>
                        <a:pt x="238" y="69"/>
                      </a:cubicBezTo>
                      <a:cubicBezTo>
                        <a:pt x="238" y="68"/>
                        <a:pt x="238" y="68"/>
                        <a:pt x="238" y="68"/>
                      </a:cubicBezTo>
                      <a:cubicBezTo>
                        <a:pt x="238" y="67"/>
                        <a:pt x="238" y="67"/>
                        <a:pt x="238" y="67"/>
                      </a:cubicBezTo>
                      <a:cubicBezTo>
                        <a:pt x="238" y="66"/>
                        <a:pt x="238" y="66"/>
                        <a:pt x="238" y="66"/>
                      </a:cubicBezTo>
                      <a:cubicBezTo>
                        <a:pt x="238" y="66"/>
                        <a:pt x="238" y="66"/>
                        <a:pt x="238" y="66"/>
                      </a:cubicBezTo>
                      <a:cubicBezTo>
                        <a:pt x="238" y="65"/>
                        <a:pt x="238" y="65"/>
                        <a:pt x="238" y="65"/>
                      </a:cubicBezTo>
                      <a:cubicBezTo>
                        <a:pt x="239" y="65"/>
                        <a:pt x="239" y="65"/>
                        <a:pt x="239" y="65"/>
                      </a:cubicBezTo>
                      <a:cubicBezTo>
                        <a:pt x="240" y="65"/>
                        <a:pt x="240" y="65"/>
                        <a:pt x="240" y="65"/>
                      </a:cubicBezTo>
                      <a:cubicBezTo>
                        <a:pt x="241" y="65"/>
                        <a:pt x="241" y="65"/>
                        <a:pt x="241" y="65"/>
                      </a:cubicBezTo>
                      <a:cubicBezTo>
                        <a:pt x="241" y="65"/>
                        <a:pt x="241" y="65"/>
                        <a:pt x="241" y="65"/>
                      </a:cubicBezTo>
                      <a:cubicBezTo>
                        <a:pt x="241" y="65"/>
                        <a:pt x="241" y="65"/>
                        <a:pt x="241" y="65"/>
                      </a:cubicBezTo>
                      <a:cubicBezTo>
                        <a:pt x="241" y="66"/>
                        <a:pt x="241" y="66"/>
                        <a:pt x="241" y="66"/>
                      </a:cubicBezTo>
                      <a:cubicBezTo>
                        <a:pt x="240" y="66"/>
                        <a:pt x="240" y="66"/>
                        <a:pt x="240" y="66"/>
                      </a:cubicBezTo>
                      <a:cubicBezTo>
                        <a:pt x="241" y="66"/>
                        <a:pt x="241" y="66"/>
                        <a:pt x="241" y="66"/>
                      </a:cubicBezTo>
                      <a:cubicBezTo>
                        <a:pt x="242" y="66"/>
                        <a:pt x="242" y="66"/>
                        <a:pt x="242" y="66"/>
                      </a:cubicBezTo>
                      <a:cubicBezTo>
                        <a:pt x="242" y="67"/>
                        <a:pt x="242" y="67"/>
                        <a:pt x="242" y="67"/>
                      </a:cubicBezTo>
                      <a:cubicBezTo>
                        <a:pt x="241" y="67"/>
                        <a:pt x="241" y="67"/>
                        <a:pt x="241" y="67"/>
                      </a:cubicBezTo>
                      <a:cubicBezTo>
                        <a:pt x="242" y="68"/>
                        <a:pt x="242" y="68"/>
                        <a:pt x="242" y="68"/>
                      </a:cubicBezTo>
                      <a:cubicBezTo>
                        <a:pt x="242" y="69"/>
                        <a:pt x="242" y="69"/>
                        <a:pt x="242" y="69"/>
                      </a:cubicBezTo>
                      <a:cubicBezTo>
                        <a:pt x="241" y="69"/>
                        <a:pt x="241" y="69"/>
                        <a:pt x="241" y="69"/>
                      </a:cubicBezTo>
                      <a:cubicBezTo>
                        <a:pt x="241" y="70"/>
                        <a:pt x="241" y="70"/>
                        <a:pt x="241" y="70"/>
                      </a:cubicBezTo>
                      <a:close/>
                      <a:moveTo>
                        <a:pt x="239" y="73"/>
                      </a:moveTo>
                      <a:cubicBezTo>
                        <a:pt x="241" y="73"/>
                        <a:pt x="241" y="73"/>
                        <a:pt x="241" y="73"/>
                      </a:cubicBezTo>
                      <a:cubicBezTo>
                        <a:pt x="242" y="72"/>
                        <a:pt x="242" y="72"/>
                        <a:pt x="242" y="72"/>
                      </a:cubicBezTo>
                      <a:cubicBezTo>
                        <a:pt x="243" y="71"/>
                        <a:pt x="243" y="71"/>
                        <a:pt x="243" y="71"/>
                      </a:cubicBezTo>
                      <a:cubicBezTo>
                        <a:pt x="242" y="70"/>
                        <a:pt x="242" y="70"/>
                        <a:pt x="242" y="70"/>
                      </a:cubicBezTo>
                      <a:cubicBezTo>
                        <a:pt x="241" y="70"/>
                        <a:pt x="241" y="70"/>
                        <a:pt x="241" y="70"/>
                      </a:cubicBezTo>
                      <a:cubicBezTo>
                        <a:pt x="240" y="70"/>
                        <a:pt x="240" y="70"/>
                        <a:pt x="240" y="70"/>
                      </a:cubicBezTo>
                      <a:cubicBezTo>
                        <a:pt x="239" y="70"/>
                        <a:pt x="239" y="70"/>
                        <a:pt x="239" y="70"/>
                      </a:cubicBezTo>
                      <a:cubicBezTo>
                        <a:pt x="238" y="70"/>
                        <a:pt x="238" y="70"/>
                        <a:pt x="238" y="70"/>
                      </a:cubicBezTo>
                      <a:cubicBezTo>
                        <a:pt x="237" y="70"/>
                        <a:pt x="237" y="70"/>
                        <a:pt x="237" y="70"/>
                      </a:cubicBezTo>
                      <a:cubicBezTo>
                        <a:pt x="237" y="70"/>
                        <a:pt x="237" y="70"/>
                        <a:pt x="237" y="70"/>
                      </a:cubicBezTo>
                      <a:cubicBezTo>
                        <a:pt x="236" y="71"/>
                        <a:pt x="236" y="71"/>
                        <a:pt x="236" y="71"/>
                      </a:cubicBezTo>
                      <a:cubicBezTo>
                        <a:pt x="236" y="71"/>
                        <a:pt x="236" y="71"/>
                        <a:pt x="236" y="71"/>
                      </a:cubicBezTo>
                      <a:cubicBezTo>
                        <a:pt x="236" y="72"/>
                        <a:pt x="236" y="72"/>
                        <a:pt x="236" y="72"/>
                      </a:cubicBezTo>
                      <a:cubicBezTo>
                        <a:pt x="236" y="72"/>
                        <a:pt x="236" y="72"/>
                        <a:pt x="236" y="72"/>
                      </a:cubicBezTo>
                      <a:cubicBezTo>
                        <a:pt x="237" y="72"/>
                        <a:pt x="237" y="72"/>
                        <a:pt x="237" y="72"/>
                      </a:cubicBezTo>
                      <a:cubicBezTo>
                        <a:pt x="237" y="72"/>
                        <a:pt x="237" y="72"/>
                        <a:pt x="237" y="72"/>
                      </a:cubicBezTo>
                      <a:cubicBezTo>
                        <a:pt x="238" y="73"/>
                        <a:pt x="238" y="73"/>
                        <a:pt x="238" y="73"/>
                      </a:cubicBezTo>
                      <a:cubicBezTo>
                        <a:pt x="239" y="73"/>
                        <a:pt x="239" y="73"/>
                        <a:pt x="239" y="73"/>
                      </a:cubicBezTo>
                      <a:close/>
                      <a:moveTo>
                        <a:pt x="236" y="74"/>
                      </a:moveTo>
                      <a:cubicBezTo>
                        <a:pt x="238" y="74"/>
                        <a:pt x="238" y="74"/>
                        <a:pt x="238" y="74"/>
                      </a:cubicBezTo>
                      <a:cubicBezTo>
                        <a:pt x="239" y="74"/>
                        <a:pt x="239" y="74"/>
                        <a:pt x="239" y="74"/>
                      </a:cubicBezTo>
                      <a:cubicBezTo>
                        <a:pt x="240" y="74"/>
                        <a:pt x="240" y="74"/>
                        <a:pt x="240" y="74"/>
                      </a:cubicBezTo>
                      <a:cubicBezTo>
                        <a:pt x="240" y="74"/>
                        <a:pt x="240" y="74"/>
                        <a:pt x="240" y="74"/>
                      </a:cubicBezTo>
                      <a:cubicBezTo>
                        <a:pt x="241" y="74"/>
                        <a:pt x="241" y="74"/>
                        <a:pt x="241" y="74"/>
                      </a:cubicBezTo>
                      <a:cubicBezTo>
                        <a:pt x="242" y="74"/>
                        <a:pt x="242" y="74"/>
                        <a:pt x="242" y="74"/>
                      </a:cubicBezTo>
                      <a:cubicBezTo>
                        <a:pt x="242" y="73"/>
                        <a:pt x="242" y="73"/>
                        <a:pt x="242" y="73"/>
                      </a:cubicBezTo>
                      <a:cubicBezTo>
                        <a:pt x="241" y="73"/>
                        <a:pt x="241" y="73"/>
                        <a:pt x="241" y="73"/>
                      </a:cubicBezTo>
                      <a:cubicBezTo>
                        <a:pt x="239" y="73"/>
                        <a:pt x="239" y="73"/>
                        <a:pt x="239" y="73"/>
                      </a:cubicBezTo>
                      <a:cubicBezTo>
                        <a:pt x="238" y="74"/>
                        <a:pt x="238" y="74"/>
                        <a:pt x="238" y="74"/>
                      </a:cubicBezTo>
                      <a:cubicBezTo>
                        <a:pt x="238" y="73"/>
                        <a:pt x="238" y="73"/>
                        <a:pt x="238" y="73"/>
                      </a:cubicBezTo>
                      <a:cubicBezTo>
                        <a:pt x="236" y="73"/>
                        <a:pt x="236" y="73"/>
                        <a:pt x="236" y="73"/>
                      </a:cubicBezTo>
                      <a:cubicBezTo>
                        <a:pt x="236" y="74"/>
                        <a:pt x="236" y="74"/>
                        <a:pt x="236" y="74"/>
                      </a:cubicBezTo>
                      <a:cubicBezTo>
                        <a:pt x="236" y="74"/>
                        <a:pt x="236" y="74"/>
                        <a:pt x="236" y="74"/>
                      </a:cubicBezTo>
                      <a:close/>
                      <a:moveTo>
                        <a:pt x="236" y="76"/>
                      </a:moveTo>
                      <a:cubicBezTo>
                        <a:pt x="236" y="76"/>
                        <a:pt x="236" y="76"/>
                        <a:pt x="236" y="76"/>
                      </a:cubicBezTo>
                      <a:cubicBezTo>
                        <a:pt x="237" y="76"/>
                        <a:pt x="237" y="76"/>
                        <a:pt x="237" y="76"/>
                      </a:cubicBezTo>
                      <a:cubicBezTo>
                        <a:pt x="238" y="75"/>
                        <a:pt x="238" y="75"/>
                        <a:pt x="238" y="75"/>
                      </a:cubicBezTo>
                      <a:cubicBezTo>
                        <a:pt x="240" y="75"/>
                        <a:pt x="240" y="75"/>
                        <a:pt x="240" y="75"/>
                      </a:cubicBezTo>
                      <a:cubicBezTo>
                        <a:pt x="240" y="75"/>
                        <a:pt x="240" y="75"/>
                        <a:pt x="240" y="75"/>
                      </a:cubicBezTo>
                      <a:cubicBezTo>
                        <a:pt x="241" y="75"/>
                        <a:pt x="241" y="75"/>
                        <a:pt x="241" y="75"/>
                      </a:cubicBezTo>
                      <a:cubicBezTo>
                        <a:pt x="242" y="75"/>
                        <a:pt x="242" y="75"/>
                        <a:pt x="242" y="75"/>
                      </a:cubicBezTo>
                      <a:cubicBezTo>
                        <a:pt x="242" y="75"/>
                        <a:pt x="242" y="75"/>
                        <a:pt x="242" y="75"/>
                      </a:cubicBezTo>
                      <a:cubicBezTo>
                        <a:pt x="241" y="76"/>
                        <a:pt x="241" y="76"/>
                        <a:pt x="241" y="76"/>
                      </a:cubicBezTo>
                      <a:cubicBezTo>
                        <a:pt x="240" y="76"/>
                        <a:pt x="240" y="76"/>
                        <a:pt x="240" y="76"/>
                      </a:cubicBezTo>
                      <a:cubicBezTo>
                        <a:pt x="239" y="76"/>
                        <a:pt x="239" y="76"/>
                        <a:pt x="239" y="76"/>
                      </a:cubicBezTo>
                      <a:cubicBezTo>
                        <a:pt x="239" y="76"/>
                        <a:pt x="239" y="76"/>
                        <a:pt x="239" y="76"/>
                      </a:cubicBezTo>
                      <a:cubicBezTo>
                        <a:pt x="238" y="77"/>
                        <a:pt x="238" y="77"/>
                        <a:pt x="238" y="77"/>
                      </a:cubicBezTo>
                      <a:cubicBezTo>
                        <a:pt x="237" y="76"/>
                        <a:pt x="237" y="76"/>
                        <a:pt x="237" y="76"/>
                      </a:cubicBezTo>
                      <a:cubicBezTo>
                        <a:pt x="236" y="76"/>
                        <a:pt x="236" y="76"/>
                        <a:pt x="236" y="76"/>
                      </a:cubicBezTo>
                      <a:cubicBezTo>
                        <a:pt x="236" y="77"/>
                        <a:pt x="236" y="77"/>
                        <a:pt x="236" y="77"/>
                      </a:cubicBezTo>
                      <a:cubicBezTo>
                        <a:pt x="235" y="77"/>
                        <a:pt x="235" y="77"/>
                        <a:pt x="235" y="77"/>
                      </a:cubicBezTo>
                      <a:cubicBezTo>
                        <a:pt x="236" y="76"/>
                        <a:pt x="236" y="76"/>
                        <a:pt x="236" y="76"/>
                      </a:cubicBezTo>
                      <a:close/>
                      <a:moveTo>
                        <a:pt x="213" y="50"/>
                      </a:moveTo>
                      <a:cubicBezTo>
                        <a:pt x="213" y="50"/>
                        <a:pt x="213" y="50"/>
                        <a:pt x="213" y="50"/>
                      </a:cubicBezTo>
                      <a:cubicBezTo>
                        <a:pt x="213" y="49"/>
                        <a:pt x="213" y="49"/>
                        <a:pt x="213" y="49"/>
                      </a:cubicBezTo>
                      <a:cubicBezTo>
                        <a:pt x="214" y="49"/>
                        <a:pt x="214" y="49"/>
                        <a:pt x="214" y="49"/>
                      </a:cubicBezTo>
                      <a:cubicBezTo>
                        <a:pt x="214" y="50"/>
                        <a:pt x="214" y="50"/>
                        <a:pt x="214" y="50"/>
                      </a:cubicBezTo>
                      <a:cubicBezTo>
                        <a:pt x="213" y="50"/>
                        <a:pt x="213" y="50"/>
                        <a:pt x="213" y="50"/>
                      </a:cubicBezTo>
                      <a:close/>
                      <a:moveTo>
                        <a:pt x="207" y="53"/>
                      </a:moveTo>
                      <a:cubicBezTo>
                        <a:pt x="207" y="53"/>
                        <a:pt x="207" y="53"/>
                        <a:pt x="207" y="53"/>
                      </a:cubicBezTo>
                      <a:cubicBezTo>
                        <a:pt x="208" y="52"/>
                        <a:pt x="208" y="52"/>
                        <a:pt x="208" y="52"/>
                      </a:cubicBezTo>
                      <a:cubicBezTo>
                        <a:pt x="209" y="53"/>
                        <a:pt x="209" y="53"/>
                        <a:pt x="209" y="53"/>
                      </a:cubicBezTo>
                      <a:cubicBezTo>
                        <a:pt x="210" y="53"/>
                        <a:pt x="210" y="53"/>
                        <a:pt x="210" y="53"/>
                      </a:cubicBezTo>
                      <a:cubicBezTo>
                        <a:pt x="211" y="53"/>
                        <a:pt x="211" y="53"/>
                        <a:pt x="211" y="53"/>
                      </a:cubicBezTo>
                      <a:cubicBezTo>
                        <a:pt x="211" y="54"/>
                        <a:pt x="211" y="54"/>
                        <a:pt x="211" y="54"/>
                      </a:cubicBezTo>
                      <a:cubicBezTo>
                        <a:pt x="211" y="54"/>
                        <a:pt x="211" y="54"/>
                        <a:pt x="211" y="54"/>
                      </a:cubicBezTo>
                      <a:cubicBezTo>
                        <a:pt x="211" y="55"/>
                        <a:pt x="211" y="55"/>
                        <a:pt x="211" y="55"/>
                      </a:cubicBezTo>
                      <a:cubicBezTo>
                        <a:pt x="210" y="55"/>
                        <a:pt x="210" y="55"/>
                        <a:pt x="210" y="55"/>
                      </a:cubicBezTo>
                      <a:cubicBezTo>
                        <a:pt x="209" y="55"/>
                        <a:pt x="209" y="55"/>
                        <a:pt x="209" y="55"/>
                      </a:cubicBezTo>
                      <a:cubicBezTo>
                        <a:pt x="208" y="55"/>
                        <a:pt x="208" y="55"/>
                        <a:pt x="208" y="55"/>
                      </a:cubicBezTo>
                      <a:cubicBezTo>
                        <a:pt x="208" y="54"/>
                        <a:pt x="208" y="54"/>
                        <a:pt x="208" y="54"/>
                      </a:cubicBezTo>
                      <a:cubicBezTo>
                        <a:pt x="207" y="53"/>
                        <a:pt x="207" y="53"/>
                        <a:pt x="207" y="53"/>
                      </a:cubicBezTo>
                      <a:cubicBezTo>
                        <a:pt x="207" y="53"/>
                        <a:pt x="207" y="53"/>
                        <a:pt x="207" y="53"/>
                      </a:cubicBezTo>
                      <a:cubicBezTo>
                        <a:pt x="207" y="53"/>
                        <a:pt x="207" y="53"/>
                        <a:pt x="207" y="53"/>
                      </a:cubicBezTo>
                      <a:close/>
                      <a:moveTo>
                        <a:pt x="173" y="54"/>
                      </a:moveTo>
                      <a:cubicBezTo>
                        <a:pt x="172" y="54"/>
                        <a:pt x="172" y="54"/>
                        <a:pt x="172" y="54"/>
                      </a:cubicBezTo>
                      <a:cubicBezTo>
                        <a:pt x="172" y="54"/>
                        <a:pt x="172" y="54"/>
                        <a:pt x="172" y="54"/>
                      </a:cubicBezTo>
                      <a:cubicBezTo>
                        <a:pt x="172" y="53"/>
                        <a:pt x="172" y="53"/>
                        <a:pt x="172" y="53"/>
                      </a:cubicBezTo>
                      <a:cubicBezTo>
                        <a:pt x="173" y="54"/>
                        <a:pt x="173" y="54"/>
                        <a:pt x="173" y="54"/>
                      </a:cubicBezTo>
                      <a:cubicBezTo>
                        <a:pt x="173" y="54"/>
                        <a:pt x="173" y="54"/>
                        <a:pt x="173" y="54"/>
                      </a:cubicBezTo>
                      <a:cubicBezTo>
                        <a:pt x="173" y="54"/>
                        <a:pt x="173" y="54"/>
                        <a:pt x="173" y="54"/>
                      </a:cubicBezTo>
                      <a:close/>
                      <a:moveTo>
                        <a:pt x="177" y="59"/>
                      </a:moveTo>
                      <a:cubicBezTo>
                        <a:pt x="178" y="58"/>
                        <a:pt x="178" y="58"/>
                        <a:pt x="178" y="58"/>
                      </a:cubicBezTo>
                      <a:cubicBezTo>
                        <a:pt x="178" y="58"/>
                        <a:pt x="178" y="58"/>
                        <a:pt x="178" y="58"/>
                      </a:cubicBezTo>
                      <a:cubicBezTo>
                        <a:pt x="177" y="59"/>
                        <a:pt x="177" y="59"/>
                        <a:pt x="177" y="59"/>
                      </a:cubicBezTo>
                      <a:cubicBezTo>
                        <a:pt x="177" y="59"/>
                        <a:pt x="177" y="59"/>
                        <a:pt x="177" y="59"/>
                      </a:cubicBezTo>
                      <a:close/>
                      <a:moveTo>
                        <a:pt x="178" y="57"/>
                      </a:moveTo>
                      <a:cubicBezTo>
                        <a:pt x="179" y="57"/>
                        <a:pt x="179" y="57"/>
                        <a:pt x="179" y="57"/>
                      </a:cubicBezTo>
                      <a:cubicBezTo>
                        <a:pt x="179" y="56"/>
                        <a:pt x="179" y="56"/>
                        <a:pt x="179" y="56"/>
                      </a:cubicBezTo>
                      <a:cubicBezTo>
                        <a:pt x="179" y="56"/>
                        <a:pt x="179" y="56"/>
                        <a:pt x="179" y="56"/>
                      </a:cubicBezTo>
                      <a:cubicBezTo>
                        <a:pt x="180" y="55"/>
                        <a:pt x="180" y="55"/>
                        <a:pt x="180" y="55"/>
                      </a:cubicBezTo>
                      <a:cubicBezTo>
                        <a:pt x="180" y="55"/>
                        <a:pt x="180" y="55"/>
                        <a:pt x="180" y="55"/>
                      </a:cubicBezTo>
                      <a:cubicBezTo>
                        <a:pt x="181" y="54"/>
                        <a:pt x="181" y="54"/>
                        <a:pt x="181" y="54"/>
                      </a:cubicBezTo>
                      <a:cubicBezTo>
                        <a:pt x="182" y="55"/>
                        <a:pt x="182" y="55"/>
                        <a:pt x="182" y="55"/>
                      </a:cubicBezTo>
                      <a:cubicBezTo>
                        <a:pt x="182" y="55"/>
                        <a:pt x="182" y="55"/>
                        <a:pt x="182" y="55"/>
                      </a:cubicBezTo>
                      <a:cubicBezTo>
                        <a:pt x="181" y="56"/>
                        <a:pt x="181" y="56"/>
                        <a:pt x="181" y="56"/>
                      </a:cubicBezTo>
                      <a:cubicBezTo>
                        <a:pt x="180" y="57"/>
                        <a:pt x="180" y="57"/>
                        <a:pt x="180" y="57"/>
                      </a:cubicBezTo>
                      <a:cubicBezTo>
                        <a:pt x="181" y="57"/>
                        <a:pt x="181" y="57"/>
                        <a:pt x="181" y="57"/>
                      </a:cubicBezTo>
                      <a:cubicBezTo>
                        <a:pt x="180" y="58"/>
                        <a:pt x="180" y="58"/>
                        <a:pt x="180" y="58"/>
                      </a:cubicBezTo>
                      <a:cubicBezTo>
                        <a:pt x="180" y="59"/>
                        <a:pt x="180" y="59"/>
                        <a:pt x="180" y="59"/>
                      </a:cubicBezTo>
                      <a:cubicBezTo>
                        <a:pt x="180" y="59"/>
                        <a:pt x="180" y="59"/>
                        <a:pt x="180" y="59"/>
                      </a:cubicBezTo>
                      <a:cubicBezTo>
                        <a:pt x="180" y="59"/>
                        <a:pt x="180" y="59"/>
                        <a:pt x="180" y="59"/>
                      </a:cubicBezTo>
                      <a:cubicBezTo>
                        <a:pt x="181" y="59"/>
                        <a:pt x="181" y="59"/>
                        <a:pt x="181" y="59"/>
                      </a:cubicBezTo>
                      <a:cubicBezTo>
                        <a:pt x="181" y="59"/>
                        <a:pt x="181" y="59"/>
                        <a:pt x="181" y="59"/>
                      </a:cubicBezTo>
                      <a:cubicBezTo>
                        <a:pt x="181" y="59"/>
                        <a:pt x="181" y="59"/>
                        <a:pt x="181" y="59"/>
                      </a:cubicBezTo>
                      <a:cubicBezTo>
                        <a:pt x="183" y="59"/>
                        <a:pt x="183" y="59"/>
                        <a:pt x="183" y="59"/>
                      </a:cubicBezTo>
                      <a:cubicBezTo>
                        <a:pt x="184" y="58"/>
                        <a:pt x="184" y="58"/>
                        <a:pt x="184" y="58"/>
                      </a:cubicBezTo>
                      <a:cubicBezTo>
                        <a:pt x="184" y="58"/>
                        <a:pt x="184" y="58"/>
                        <a:pt x="184" y="58"/>
                      </a:cubicBezTo>
                      <a:cubicBezTo>
                        <a:pt x="185" y="57"/>
                        <a:pt x="185" y="57"/>
                        <a:pt x="185" y="57"/>
                      </a:cubicBezTo>
                      <a:cubicBezTo>
                        <a:pt x="185" y="56"/>
                        <a:pt x="185" y="56"/>
                        <a:pt x="185" y="56"/>
                      </a:cubicBezTo>
                      <a:cubicBezTo>
                        <a:pt x="185" y="56"/>
                        <a:pt x="185" y="56"/>
                        <a:pt x="185" y="56"/>
                      </a:cubicBezTo>
                      <a:cubicBezTo>
                        <a:pt x="186" y="55"/>
                        <a:pt x="186" y="55"/>
                        <a:pt x="186" y="55"/>
                      </a:cubicBezTo>
                      <a:cubicBezTo>
                        <a:pt x="186" y="54"/>
                        <a:pt x="186" y="54"/>
                        <a:pt x="186" y="54"/>
                      </a:cubicBezTo>
                      <a:cubicBezTo>
                        <a:pt x="186" y="54"/>
                        <a:pt x="186" y="54"/>
                        <a:pt x="186" y="54"/>
                      </a:cubicBezTo>
                      <a:cubicBezTo>
                        <a:pt x="187" y="54"/>
                        <a:pt x="187" y="54"/>
                        <a:pt x="187" y="54"/>
                      </a:cubicBezTo>
                      <a:cubicBezTo>
                        <a:pt x="186" y="55"/>
                        <a:pt x="186" y="55"/>
                        <a:pt x="186" y="55"/>
                      </a:cubicBezTo>
                      <a:cubicBezTo>
                        <a:pt x="187" y="56"/>
                        <a:pt x="187" y="56"/>
                        <a:pt x="187" y="56"/>
                      </a:cubicBezTo>
                      <a:cubicBezTo>
                        <a:pt x="186" y="57"/>
                        <a:pt x="186" y="57"/>
                        <a:pt x="186" y="57"/>
                      </a:cubicBezTo>
                      <a:cubicBezTo>
                        <a:pt x="187" y="57"/>
                        <a:pt x="187" y="57"/>
                        <a:pt x="187" y="57"/>
                      </a:cubicBezTo>
                      <a:cubicBezTo>
                        <a:pt x="187" y="57"/>
                        <a:pt x="187" y="57"/>
                        <a:pt x="187" y="57"/>
                      </a:cubicBezTo>
                      <a:cubicBezTo>
                        <a:pt x="188" y="57"/>
                        <a:pt x="188" y="57"/>
                        <a:pt x="188" y="57"/>
                      </a:cubicBezTo>
                      <a:cubicBezTo>
                        <a:pt x="188" y="56"/>
                        <a:pt x="188" y="56"/>
                        <a:pt x="188" y="56"/>
                      </a:cubicBezTo>
                      <a:cubicBezTo>
                        <a:pt x="188" y="55"/>
                        <a:pt x="188" y="55"/>
                        <a:pt x="188" y="55"/>
                      </a:cubicBezTo>
                      <a:cubicBezTo>
                        <a:pt x="189" y="55"/>
                        <a:pt x="189" y="55"/>
                        <a:pt x="189" y="55"/>
                      </a:cubicBezTo>
                      <a:cubicBezTo>
                        <a:pt x="190" y="54"/>
                        <a:pt x="190" y="54"/>
                        <a:pt x="190" y="54"/>
                      </a:cubicBezTo>
                      <a:cubicBezTo>
                        <a:pt x="190" y="53"/>
                        <a:pt x="190" y="53"/>
                        <a:pt x="190" y="53"/>
                      </a:cubicBezTo>
                      <a:cubicBezTo>
                        <a:pt x="190" y="52"/>
                        <a:pt x="190" y="52"/>
                        <a:pt x="190" y="52"/>
                      </a:cubicBezTo>
                      <a:cubicBezTo>
                        <a:pt x="191" y="51"/>
                        <a:pt x="191" y="51"/>
                        <a:pt x="191" y="51"/>
                      </a:cubicBezTo>
                      <a:cubicBezTo>
                        <a:pt x="191" y="52"/>
                        <a:pt x="191" y="52"/>
                        <a:pt x="191" y="52"/>
                      </a:cubicBezTo>
                      <a:cubicBezTo>
                        <a:pt x="193" y="51"/>
                        <a:pt x="193" y="51"/>
                        <a:pt x="193" y="51"/>
                      </a:cubicBezTo>
                      <a:cubicBezTo>
                        <a:pt x="193" y="50"/>
                        <a:pt x="193" y="50"/>
                        <a:pt x="193" y="50"/>
                      </a:cubicBezTo>
                      <a:cubicBezTo>
                        <a:pt x="193" y="49"/>
                        <a:pt x="193" y="49"/>
                        <a:pt x="193" y="49"/>
                      </a:cubicBezTo>
                      <a:cubicBezTo>
                        <a:pt x="194" y="49"/>
                        <a:pt x="194" y="49"/>
                        <a:pt x="194" y="49"/>
                      </a:cubicBezTo>
                      <a:cubicBezTo>
                        <a:pt x="195" y="49"/>
                        <a:pt x="195" y="49"/>
                        <a:pt x="195" y="49"/>
                      </a:cubicBezTo>
                      <a:cubicBezTo>
                        <a:pt x="195" y="49"/>
                        <a:pt x="195" y="49"/>
                        <a:pt x="195" y="49"/>
                      </a:cubicBezTo>
                      <a:cubicBezTo>
                        <a:pt x="196" y="49"/>
                        <a:pt x="196" y="49"/>
                        <a:pt x="196" y="49"/>
                      </a:cubicBezTo>
                      <a:cubicBezTo>
                        <a:pt x="197" y="49"/>
                        <a:pt x="197" y="49"/>
                        <a:pt x="197" y="49"/>
                      </a:cubicBezTo>
                      <a:cubicBezTo>
                        <a:pt x="196" y="50"/>
                        <a:pt x="196" y="50"/>
                        <a:pt x="196" y="50"/>
                      </a:cubicBezTo>
                      <a:cubicBezTo>
                        <a:pt x="195" y="52"/>
                        <a:pt x="195" y="52"/>
                        <a:pt x="195" y="52"/>
                      </a:cubicBezTo>
                      <a:cubicBezTo>
                        <a:pt x="195" y="53"/>
                        <a:pt x="195" y="53"/>
                        <a:pt x="195" y="53"/>
                      </a:cubicBezTo>
                      <a:cubicBezTo>
                        <a:pt x="194" y="53"/>
                        <a:pt x="194" y="53"/>
                        <a:pt x="194" y="53"/>
                      </a:cubicBezTo>
                      <a:cubicBezTo>
                        <a:pt x="194" y="54"/>
                        <a:pt x="194" y="54"/>
                        <a:pt x="194" y="54"/>
                      </a:cubicBezTo>
                      <a:cubicBezTo>
                        <a:pt x="193" y="54"/>
                        <a:pt x="193" y="54"/>
                        <a:pt x="193" y="54"/>
                      </a:cubicBezTo>
                      <a:cubicBezTo>
                        <a:pt x="192" y="56"/>
                        <a:pt x="192" y="56"/>
                        <a:pt x="192" y="56"/>
                      </a:cubicBezTo>
                      <a:cubicBezTo>
                        <a:pt x="192" y="56"/>
                        <a:pt x="192" y="56"/>
                        <a:pt x="192" y="56"/>
                      </a:cubicBezTo>
                      <a:cubicBezTo>
                        <a:pt x="192" y="57"/>
                        <a:pt x="192" y="57"/>
                        <a:pt x="192" y="57"/>
                      </a:cubicBezTo>
                      <a:cubicBezTo>
                        <a:pt x="192" y="58"/>
                        <a:pt x="192" y="58"/>
                        <a:pt x="192" y="58"/>
                      </a:cubicBezTo>
                      <a:cubicBezTo>
                        <a:pt x="193" y="58"/>
                        <a:pt x="193" y="58"/>
                        <a:pt x="193" y="58"/>
                      </a:cubicBezTo>
                      <a:cubicBezTo>
                        <a:pt x="194" y="58"/>
                        <a:pt x="194" y="58"/>
                        <a:pt x="194" y="58"/>
                      </a:cubicBezTo>
                      <a:cubicBezTo>
                        <a:pt x="194" y="58"/>
                        <a:pt x="194" y="58"/>
                        <a:pt x="194" y="58"/>
                      </a:cubicBezTo>
                      <a:cubicBezTo>
                        <a:pt x="195" y="57"/>
                        <a:pt x="195" y="57"/>
                        <a:pt x="195" y="57"/>
                      </a:cubicBezTo>
                      <a:cubicBezTo>
                        <a:pt x="196" y="56"/>
                        <a:pt x="196" y="56"/>
                        <a:pt x="196" y="56"/>
                      </a:cubicBezTo>
                      <a:cubicBezTo>
                        <a:pt x="195" y="56"/>
                        <a:pt x="195" y="56"/>
                        <a:pt x="195" y="56"/>
                      </a:cubicBezTo>
                      <a:cubicBezTo>
                        <a:pt x="196" y="55"/>
                        <a:pt x="196" y="55"/>
                        <a:pt x="196" y="55"/>
                      </a:cubicBezTo>
                      <a:cubicBezTo>
                        <a:pt x="197" y="54"/>
                        <a:pt x="197" y="54"/>
                        <a:pt x="197" y="54"/>
                      </a:cubicBezTo>
                      <a:cubicBezTo>
                        <a:pt x="197" y="54"/>
                        <a:pt x="197" y="54"/>
                        <a:pt x="197" y="54"/>
                      </a:cubicBezTo>
                      <a:cubicBezTo>
                        <a:pt x="198" y="54"/>
                        <a:pt x="198" y="54"/>
                        <a:pt x="198" y="54"/>
                      </a:cubicBezTo>
                      <a:cubicBezTo>
                        <a:pt x="198" y="55"/>
                        <a:pt x="198" y="55"/>
                        <a:pt x="198" y="55"/>
                      </a:cubicBezTo>
                      <a:cubicBezTo>
                        <a:pt x="199" y="55"/>
                        <a:pt x="199" y="55"/>
                        <a:pt x="199" y="55"/>
                      </a:cubicBezTo>
                      <a:cubicBezTo>
                        <a:pt x="200" y="54"/>
                        <a:pt x="200" y="54"/>
                        <a:pt x="200" y="54"/>
                      </a:cubicBezTo>
                      <a:cubicBezTo>
                        <a:pt x="201" y="54"/>
                        <a:pt x="201" y="54"/>
                        <a:pt x="201" y="54"/>
                      </a:cubicBezTo>
                      <a:cubicBezTo>
                        <a:pt x="202" y="53"/>
                        <a:pt x="202" y="53"/>
                        <a:pt x="202" y="53"/>
                      </a:cubicBezTo>
                      <a:cubicBezTo>
                        <a:pt x="202" y="52"/>
                        <a:pt x="202" y="52"/>
                        <a:pt x="202" y="52"/>
                      </a:cubicBezTo>
                      <a:cubicBezTo>
                        <a:pt x="203" y="51"/>
                        <a:pt x="203" y="51"/>
                        <a:pt x="203" y="51"/>
                      </a:cubicBezTo>
                      <a:cubicBezTo>
                        <a:pt x="203" y="50"/>
                        <a:pt x="203" y="50"/>
                        <a:pt x="203" y="50"/>
                      </a:cubicBezTo>
                      <a:cubicBezTo>
                        <a:pt x="203" y="49"/>
                        <a:pt x="203" y="49"/>
                        <a:pt x="203" y="49"/>
                      </a:cubicBezTo>
                      <a:cubicBezTo>
                        <a:pt x="204" y="50"/>
                        <a:pt x="204" y="50"/>
                        <a:pt x="204" y="50"/>
                      </a:cubicBezTo>
                      <a:cubicBezTo>
                        <a:pt x="205" y="50"/>
                        <a:pt x="205" y="50"/>
                        <a:pt x="205" y="50"/>
                      </a:cubicBezTo>
                      <a:cubicBezTo>
                        <a:pt x="205" y="50"/>
                        <a:pt x="205" y="50"/>
                        <a:pt x="205" y="50"/>
                      </a:cubicBezTo>
                      <a:cubicBezTo>
                        <a:pt x="205" y="50"/>
                        <a:pt x="205" y="50"/>
                        <a:pt x="205" y="50"/>
                      </a:cubicBezTo>
                      <a:cubicBezTo>
                        <a:pt x="204" y="48"/>
                        <a:pt x="204" y="48"/>
                        <a:pt x="204" y="48"/>
                      </a:cubicBezTo>
                      <a:cubicBezTo>
                        <a:pt x="204" y="48"/>
                        <a:pt x="204" y="48"/>
                        <a:pt x="204" y="48"/>
                      </a:cubicBezTo>
                      <a:cubicBezTo>
                        <a:pt x="205" y="47"/>
                        <a:pt x="205" y="47"/>
                        <a:pt x="205" y="47"/>
                      </a:cubicBezTo>
                      <a:cubicBezTo>
                        <a:pt x="206" y="47"/>
                        <a:pt x="206" y="47"/>
                        <a:pt x="206" y="47"/>
                      </a:cubicBezTo>
                      <a:cubicBezTo>
                        <a:pt x="207" y="46"/>
                        <a:pt x="207" y="46"/>
                        <a:pt x="207" y="46"/>
                      </a:cubicBezTo>
                      <a:cubicBezTo>
                        <a:pt x="208" y="47"/>
                        <a:pt x="208" y="47"/>
                        <a:pt x="208" y="47"/>
                      </a:cubicBezTo>
                      <a:cubicBezTo>
                        <a:pt x="208" y="47"/>
                        <a:pt x="208" y="47"/>
                        <a:pt x="208" y="47"/>
                      </a:cubicBezTo>
                      <a:cubicBezTo>
                        <a:pt x="209" y="46"/>
                        <a:pt x="209" y="46"/>
                        <a:pt x="209" y="46"/>
                      </a:cubicBezTo>
                      <a:cubicBezTo>
                        <a:pt x="209" y="45"/>
                        <a:pt x="209" y="45"/>
                        <a:pt x="209" y="45"/>
                      </a:cubicBezTo>
                      <a:cubicBezTo>
                        <a:pt x="209" y="43"/>
                        <a:pt x="209" y="43"/>
                        <a:pt x="209" y="43"/>
                      </a:cubicBezTo>
                      <a:cubicBezTo>
                        <a:pt x="209" y="43"/>
                        <a:pt x="209" y="43"/>
                        <a:pt x="209" y="43"/>
                      </a:cubicBezTo>
                      <a:cubicBezTo>
                        <a:pt x="209" y="42"/>
                        <a:pt x="209" y="42"/>
                        <a:pt x="209" y="42"/>
                      </a:cubicBezTo>
                      <a:cubicBezTo>
                        <a:pt x="209" y="41"/>
                        <a:pt x="209" y="41"/>
                        <a:pt x="209" y="41"/>
                      </a:cubicBezTo>
                      <a:cubicBezTo>
                        <a:pt x="208" y="41"/>
                        <a:pt x="208" y="41"/>
                        <a:pt x="208" y="41"/>
                      </a:cubicBezTo>
                      <a:cubicBezTo>
                        <a:pt x="207" y="41"/>
                        <a:pt x="207" y="41"/>
                        <a:pt x="207" y="41"/>
                      </a:cubicBezTo>
                      <a:cubicBezTo>
                        <a:pt x="206" y="42"/>
                        <a:pt x="206" y="42"/>
                        <a:pt x="206" y="42"/>
                      </a:cubicBezTo>
                      <a:cubicBezTo>
                        <a:pt x="206" y="43"/>
                        <a:pt x="206" y="43"/>
                        <a:pt x="206" y="43"/>
                      </a:cubicBezTo>
                      <a:cubicBezTo>
                        <a:pt x="206" y="44"/>
                        <a:pt x="206" y="44"/>
                        <a:pt x="206" y="44"/>
                      </a:cubicBezTo>
                      <a:cubicBezTo>
                        <a:pt x="206" y="44"/>
                        <a:pt x="206" y="44"/>
                        <a:pt x="206" y="44"/>
                      </a:cubicBezTo>
                      <a:cubicBezTo>
                        <a:pt x="206" y="44"/>
                        <a:pt x="206" y="44"/>
                        <a:pt x="206" y="44"/>
                      </a:cubicBezTo>
                      <a:cubicBezTo>
                        <a:pt x="205" y="43"/>
                        <a:pt x="205" y="43"/>
                        <a:pt x="205" y="43"/>
                      </a:cubicBezTo>
                      <a:cubicBezTo>
                        <a:pt x="205" y="44"/>
                        <a:pt x="205" y="44"/>
                        <a:pt x="205" y="44"/>
                      </a:cubicBezTo>
                      <a:cubicBezTo>
                        <a:pt x="205" y="44"/>
                        <a:pt x="205" y="44"/>
                        <a:pt x="205" y="44"/>
                      </a:cubicBezTo>
                      <a:cubicBezTo>
                        <a:pt x="205" y="44"/>
                        <a:pt x="205" y="44"/>
                        <a:pt x="205" y="44"/>
                      </a:cubicBezTo>
                      <a:cubicBezTo>
                        <a:pt x="204" y="44"/>
                        <a:pt x="204" y="44"/>
                        <a:pt x="204" y="44"/>
                      </a:cubicBezTo>
                      <a:cubicBezTo>
                        <a:pt x="204" y="43"/>
                        <a:pt x="204" y="43"/>
                        <a:pt x="204" y="43"/>
                      </a:cubicBezTo>
                      <a:cubicBezTo>
                        <a:pt x="203" y="42"/>
                        <a:pt x="203" y="42"/>
                        <a:pt x="203" y="42"/>
                      </a:cubicBezTo>
                      <a:cubicBezTo>
                        <a:pt x="203" y="42"/>
                        <a:pt x="203" y="42"/>
                        <a:pt x="203" y="42"/>
                      </a:cubicBezTo>
                      <a:cubicBezTo>
                        <a:pt x="202" y="42"/>
                        <a:pt x="202" y="42"/>
                        <a:pt x="202" y="42"/>
                      </a:cubicBezTo>
                      <a:cubicBezTo>
                        <a:pt x="201" y="42"/>
                        <a:pt x="201" y="42"/>
                        <a:pt x="201" y="42"/>
                      </a:cubicBezTo>
                      <a:cubicBezTo>
                        <a:pt x="200" y="42"/>
                        <a:pt x="200" y="42"/>
                        <a:pt x="200" y="42"/>
                      </a:cubicBezTo>
                      <a:cubicBezTo>
                        <a:pt x="199" y="42"/>
                        <a:pt x="199" y="42"/>
                        <a:pt x="199" y="42"/>
                      </a:cubicBezTo>
                      <a:cubicBezTo>
                        <a:pt x="197" y="42"/>
                        <a:pt x="197" y="42"/>
                        <a:pt x="197" y="42"/>
                      </a:cubicBezTo>
                      <a:cubicBezTo>
                        <a:pt x="196" y="42"/>
                        <a:pt x="196" y="42"/>
                        <a:pt x="196" y="42"/>
                      </a:cubicBezTo>
                      <a:cubicBezTo>
                        <a:pt x="196" y="43"/>
                        <a:pt x="196" y="43"/>
                        <a:pt x="196" y="43"/>
                      </a:cubicBezTo>
                      <a:cubicBezTo>
                        <a:pt x="196" y="43"/>
                        <a:pt x="196" y="43"/>
                        <a:pt x="196" y="43"/>
                      </a:cubicBezTo>
                      <a:cubicBezTo>
                        <a:pt x="195" y="43"/>
                        <a:pt x="195" y="43"/>
                        <a:pt x="195" y="43"/>
                      </a:cubicBezTo>
                      <a:cubicBezTo>
                        <a:pt x="195" y="43"/>
                        <a:pt x="195" y="43"/>
                        <a:pt x="195" y="43"/>
                      </a:cubicBezTo>
                      <a:cubicBezTo>
                        <a:pt x="192" y="45"/>
                        <a:pt x="192" y="45"/>
                        <a:pt x="192" y="45"/>
                      </a:cubicBezTo>
                      <a:cubicBezTo>
                        <a:pt x="192" y="45"/>
                        <a:pt x="192" y="45"/>
                        <a:pt x="192" y="45"/>
                      </a:cubicBezTo>
                      <a:cubicBezTo>
                        <a:pt x="191" y="45"/>
                        <a:pt x="191" y="45"/>
                        <a:pt x="191" y="45"/>
                      </a:cubicBezTo>
                      <a:cubicBezTo>
                        <a:pt x="190" y="46"/>
                        <a:pt x="190" y="46"/>
                        <a:pt x="190" y="46"/>
                      </a:cubicBezTo>
                      <a:cubicBezTo>
                        <a:pt x="189" y="46"/>
                        <a:pt x="189" y="46"/>
                        <a:pt x="189" y="46"/>
                      </a:cubicBezTo>
                      <a:cubicBezTo>
                        <a:pt x="188" y="47"/>
                        <a:pt x="188" y="47"/>
                        <a:pt x="188" y="47"/>
                      </a:cubicBezTo>
                      <a:cubicBezTo>
                        <a:pt x="188" y="47"/>
                        <a:pt x="188" y="47"/>
                        <a:pt x="188" y="47"/>
                      </a:cubicBezTo>
                      <a:cubicBezTo>
                        <a:pt x="186" y="47"/>
                        <a:pt x="186" y="47"/>
                        <a:pt x="186" y="47"/>
                      </a:cubicBezTo>
                      <a:cubicBezTo>
                        <a:pt x="186" y="48"/>
                        <a:pt x="186" y="48"/>
                        <a:pt x="186" y="48"/>
                      </a:cubicBezTo>
                      <a:cubicBezTo>
                        <a:pt x="185" y="48"/>
                        <a:pt x="185" y="48"/>
                        <a:pt x="185" y="48"/>
                      </a:cubicBezTo>
                      <a:cubicBezTo>
                        <a:pt x="185" y="48"/>
                        <a:pt x="185" y="48"/>
                        <a:pt x="185" y="48"/>
                      </a:cubicBezTo>
                      <a:cubicBezTo>
                        <a:pt x="184" y="48"/>
                        <a:pt x="184" y="48"/>
                        <a:pt x="184" y="48"/>
                      </a:cubicBezTo>
                      <a:cubicBezTo>
                        <a:pt x="182" y="49"/>
                        <a:pt x="182" y="49"/>
                        <a:pt x="182" y="49"/>
                      </a:cubicBezTo>
                      <a:cubicBezTo>
                        <a:pt x="181" y="50"/>
                        <a:pt x="181" y="50"/>
                        <a:pt x="181" y="50"/>
                      </a:cubicBezTo>
                      <a:cubicBezTo>
                        <a:pt x="180" y="49"/>
                        <a:pt x="180" y="49"/>
                        <a:pt x="180" y="49"/>
                      </a:cubicBezTo>
                      <a:cubicBezTo>
                        <a:pt x="179" y="50"/>
                        <a:pt x="179" y="50"/>
                        <a:pt x="179" y="50"/>
                      </a:cubicBezTo>
                      <a:cubicBezTo>
                        <a:pt x="177" y="50"/>
                        <a:pt x="177" y="50"/>
                        <a:pt x="177" y="50"/>
                      </a:cubicBezTo>
                      <a:cubicBezTo>
                        <a:pt x="176" y="51"/>
                        <a:pt x="176" y="51"/>
                        <a:pt x="176" y="51"/>
                      </a:cubicBezTo>
                      <a:cubicBezTo>
                        <a:pt x="175" y="51"/>
                        <a:pt x="175" y="51"/>
                        <a:pt x="175" y="51"/>
                      </a:cubicBezTo>
                      <a:cubicBezTo>
                        <a:pt x="174" y="52"/>
                        <a:pt x="174" y="52"/>
                        <a:pt x="174" y="52"/>
                      </a:cubicBezTo>
                      <a:cubicBezTo>
                        <a:pt x="174" y="53"/>
                        <a:pt x="174" y="53"/>
                        <a:pt x="174" y="53"/>
                      </a:cubicBezTo>
                      <a:cubicBezTo>
                        <a:pt x="174" y="53"/>
                        <a:pt x="174" y="53"/>
                        <a:pt x="174" y="53"/>
                      </a:cubicBezTo>
                      <a:cubicBezTo>
                        <a:pt x="175" y="53"/>
                        <a:pt x="175" y="53"/>
                        <a:pt x="175" y="53"/>
                      </a:cubicBezTo>
                      <a:cubicBezTo>
                        <a:pt x="174" y="53"/>
                        <a:pt x="174" y="53"/>
                        <a:pt x="174" y="53"/>
                      </a:cubicBezTo>
                      <a:cubicBezTo>
                        <a:pt x="174" y="53"/>
                        <a:pt x="174" y="53"/>
                        <a:pt x="174" y="53"/>
                      </a:cubicBezTo>
                      <a:cubicBezTo>
                        <a:pt x="174" y="54"/>
                        <a:pt x="174" y="54"/>
                        <a:pt x="174" y="54"/>
                      </a:cubicBezTo>
                      <a:cubicBezTo>
                        <a:pt x="174" y="55"/>
                        <a:pt x="174" y="55"/>
                        <a:pt x="174" y="55"/>
                      </a:cubicBezTo>
                      <a:cubicBezTo>
                        <a:pt x="173" y="55"/>
                        <a:pt x="173" y="55"/>
                        <a:pt x="173" y="55"/>
                      </a:cubicBezTo>
                      <a:cubicBezTo>
                        <a:pt x="173" y="55"/>
                        <a:pt x="173" y="55"/>
                        <a:pt x="173" y="55"/>
                      </a:cubicBezTo>
                      <a:cubicBezTo>
                        <a:pt x="174" y="56"/>
                        <a:pt x="174" y="56"/>
                        <a:pt x="174" y="56"/>
                      </a:cubicBezTo>
                      <a:cubicBezTo>
                        <a:pt x="175" y="55"/>
                        <a:pt x="175" y="55"/>
                        <a:pt x="175" y="55"/>
                      </a:cubicBezTo>
                      <a:cubicBezTo>
                        <a:pt x="175" y="55"/>
                        <a:pt x="175" y="55"/>
                        <a:pt x="175" y="55"/>
                      </a:cubicBezTo>
                      <a:cubicBezTo>
                        <a:pt x="176" y="55"/>
                        <a:pt x="176" y="55"/>
                        <a:pt x="176" y="55"/>
                      </a:cubicBezTo>
                      <a:cubicBezTo>
                        <a:pt x="177" y="55"/>
                        <a:pt x="177" y="55"/>
                        <a:pt x="177" y="55"/>
                      </a:cubicBezTo>
                      <a:cubicBezTo>
                        <a:pt x="177" y="56"/>
                        <a:pt x="177" y="56"/>
                        <a:pt x="177" y="56"/>
                      </a:cubicBezTo>
                      <a:cubicBezTo>
                        <a:pt x="178" y="57"/>
                        <a:pt x="178" y="57"/>
                        <a:pt x="178" y="57"/>
                      </a:cubicBezTo>
                      <a:cubicBezTo>
                        <a:pt x="178" y="57"/>
                        <a:pt x="178" y="57"/>
                        <a:pt x="178" y="57"/>
                      </a:cubicBezTo>
                      <a:close/>
                      <a:moveTo>
                        <a:pt x="269" y="106"/>
                      </a:moveTo>
                      <a:cubicBezTo>
                        <a:pt x="270" y="105"/>
                        <a:pt x="270" y="105"/>
                        <a:pt x="270" y="105"/>
                      </a:cubicBezTo>
                      <a:cubicBezTo>
                        <a:pt x="271" y="106"/>
                        <a:pt x="271" y="106"/>
                        <a:pt x="271" y="106"/>
                      </a:cubicBezTo>
                      <a:cubicBezTo>
                        <a:pt x="271" y="106"/>
                        <a:pt x="271" y="106"/>
                        <a:pt x="271" y="106"/>
                      </a:cubicBezTo>
                      <a:cubicBezTo>
                        <a:pt x="270" y="106"/>
                        <a:pt x="270" y="106"/>
                        <a:pt x="270" y="106"/>
                      </a:cubicBezTo>
                      <a:cubicBezTo>
                        <a:pt x="270" y="106"/>
                        <a:pt x="270" y="106"/>
                        <a:pt x="270" y="106"/>
                      </a:cubicBezTo>
                      <a:cubicBezTo>
                        <a:pt x="269" y="106"/>
                        <a:pt x="269" y="106"/>
                        <a:pt x="269" y="106"/>
                      </a:cubicBezTo>
                      <a:close/>
                      <a:moveTo>
                        <a:pt x="259" y="87"/>
                      </a:moveTo>
                      <a:cubicBezTo>
                        <a:pt x="258" y="86"/>
                        <a:pt x="258" y="86"/>
                        <a:pt x="258" y="86"/>
                      </a:cubicBezTo>
                      <a:cubicBezTo>
                        <a:pt x="257" y="86"/>
                        <a:pt x="257" y="86"/>
                        <a:pt x="257" y="86"/>
                      </a:cubicBezTo>
                      <a:cubicBezTo>
                        <a:pt x="257" y="87"/>
                        <a:pt x="257" y="87"/>
                        <a:pt x="257" y="87"/>
                      </a:cubicBezTo>
                      <a:cubicBezTo>
                        <a:pt x="258" y="87"/>
                        <a:pt x="258" y="87"/>
                        <a:pt x="258" y="87"/>
                      </a:cubicBezTo>
                      <a:cubicBezTo>
                        <a:pt x="258" y="87"/>
                        <a:pt x="258" y="87"/>
                        <a:pt x="258" y="87"/>
                      </a:cubicBezTo>
                      <a:cubicBezTo>
                        <a:pt x="258" y="87"/>
                        <a:pt x="258" y="87"/>
                        <a:pt x="258" y="87"/>
                      </a:cubicBezTo>
                      <a:cubicBezTo>
                        <a:pt x="257" y="88"/>
                        <a:pt x="257" y="88"/>
                        <a:pt x="257" y="88"/>
                      </a:cubicBezTo>
                      <a:cubicBezTo>
                        <a:pt x="256" y="88"/>
                        <a:pt x="256" y="88"/>
                        <a:pt x="256" y="88"/>
                      </a:cubicBezTo>
                      <a:cubicBezTo>
                        <a:pt x="257" y="89"/>
                        <a:pt x="257" y="89"/>
                        <a:pt x="257" y="89"/>
                      </a:cubicBezTo>
                      <a:cubicBezTo>
                        <a:pt x="257" y="89"/>
                        <a:pt x="257" y="89"/>
                        <a:pt x="257" y="89"/>
                      </a:cubicBezTo>
                      <a:cubicBezTo>
                        <a:pt x="257" y="89"/>
                        <a:pt x="257" y="89"/>
                        <a:pt x="257" y="89"/>
                      </a:cubicBezTo>
                      <a:cubicBezTo>
                        <a:pt x="256" y="89"/>
                        <a:pt x="256" y="89"/>
                        <a:pt x="256" y="89"/>
                      </a:cubicBezTo>
                      <a:cubicBezTo>
                        <a:pt x="255" y="89"/>
                        <a:pt x="255" y="89"/>
                        <a:pt x="255" y="89"/>
                      </a:cubicBezTo>
                      <a:cubicBezTo>
                        <a:pt x="254" y="90"/>
                        <a:pt x="254" y="90"/>
                        <a:pt x="254" y="90"/>
                      </a:cubicBezTo>
                      <a:cubicBezTo>
                        <a:pt x="254" y="90"/>
                        <a:pt x="254" y="90"/>
                        <a:pt x="254" y="90"/>
                      </a:cubicBezTo>
                      <a:cubicBezTo>
                        <a:pt x="254" y="91"/>
                        <a:pt x="254" y="91"/>
                        <a:pt x="254" y="91"/>
                      </a:cubicBezTo>
                      <a:cubicBezTo>
                        <a:pt x="254" y="91"/>
                        <a:pt x="254" y="91"/>
                        <a:pt x="254" y="91"/>
                      </a:cubicBezTo>
                      <a:cubicBezTo>
                        <a:pt x="254" y="91"/>
                        <a:pt x="254" y="91"/>
                        <a:pt x="254" y="91"/>
                      </a:cubicBezTo>
                      <a:cubicBezTo>
                        <a:pt x="254" y="91"/>
                        <a:pt x="254" y="91"/>
                        <a:pt x="254" y="91"/>
                      </a:cubicBezTo>
                      <a:cubicBezTo>
                        <a:pt x="254" y="92"/>
                        <a:pt x="254" y="92"/>
                        <a:pt x="254" y="92"/>
                      </a:cubicBezTo>
                      <a:cubicBezTo>
                        <a:pt x="254" y="92"/>
                        <a:pt x="254" y="92"/>
                        <a:pt x="254" y="92"/>
                      </a:cubicBezTo>
                      <a:cubicBezTo>
                        <a:pt x="255" y="91"/>
                        <a:pt x="255" y="91"/>
                        <a:pt x="255" y="91"/>
                      </a:cubicBezTo>
                      <a:cubicBezTo>
                        <a:pt x="255" y="92"/>
                        <a:pt x="255" y="92"/>
                        <a:pt x="255" y="92"/>
                      </a:cubicBezTo>
                      <a:cubicBezTo>
                        <a:pt x="255" y="92"/>
                        <a:pt x="255" y="92"/>
                        <a:pt x="255" y="92"/>
                      </a:cubicBezTo>
                      <a:cubicBezTo>
                        <a:pt x="255" y="93"/>
                        <a:pt x="255" y="93"/>
                        <a:pt x="255" y="93"/>
                      </a:cubicBezTo>
                      <a:cubicBezTo>
                        <a:pt x="255" y="93"/>
                        <a:pt x="255" y="93"/>
                        <a:pt x="255" y="93"/>
                      </a:cubicBezTo>
                      <a:cubicBezTo>
                        <a:pt x="256" y="93"/>
                        <a:pt x="256" y="93"/>
                        <a:pt x="256" y="93"/>
                      </a:cubicBezTo>
                      <a:cubicBezTo>
                        <a:pt x="256" y="93"/>
                        <a:pt x="256" y="93"/>
                        <a:pt x="256" y="93"/>
                      </a:cubicBezTo>
                      <a:cubicBezTo>
                        <a:pt x="256" y="94"/>
                        <a:pt x="256" y="94"/>
                        <a:pt x="256" y="94"/>
                      </a:cubicBezTo>
                      <a:cubicBezTo>
                        <a:pt x="256" y="94"/>
                        <a:pt x="256" y="94"/>
                        <a:pt x="256" y="94"/>
                      </a:cubicBezTo>
                      <a:cubicBezTo>
                        <a:pt x="257" y="93"/>
                        <a:pt x="257" y="93"/>
                        <a:pt x="257" y="93"/>
                      </a:cubicBezTo>
                      <a:cubicBezTo>
                        <a:pt x="257" y="94"/>
                        <a:pt x="257" y="94"/>
                        <a:pt x="257" y="94"/>
                      </a:cubicBezTo>
                      <a:cubicBezTo>
                        <a:pt x="257" y="95"/>
                        <a:pt x="257" y="95"/>
                        <a:pt x="257" y="95"/>
                      </a:cubicBezTo>
                      <a:cubicBezTo>
                        <a:pt x="258" y="95"/>
                        <a:pt x="258" y="95"/>
                        <a:pt x="258" y="95"/>
                      </a:cubicBezTo>
                      <a:cubicBezTo>
                        <a:pt x="258" y="95"/>
                        <a:pt x="258" y="95"/>
                        <a:pt x="258" y="95"/>
                      </a:cubicBezTo>
                      <a:cubicBezTo>
                        <a:pt x="259" y="96"/>
                        <a:pt x="259" y="96"/>
                        <a:pt x="259" y="96"/>
                      </a:cubicBezTo>
                      <a:cubicBezTo>
                        <a:pt x="260" y="96"/>
                        <a:pt x="260" y="96"/>
                        <a:pt x="260" y="96"/>
                      </a:cubicBezTo>
                      <a:cubicBezTo>
                        <a:pt x="261" y="96"/>
                        <a:pt x="261" y="96"/>
                        <a:pt x="261" y="96"/>
                      </a:cubicBezTo>
                      <a:cubicBezTo>
                        <a:pt x="262" y="96"/>
                        <a:pt x="262" y="96"/>
                        <a:pt x="262" y="96"/>
                      </a:cubicBezTo>
                      <a:cubicBezTo>
                        <a:pt x="262" y="97"/>
                        <a:pt x="262" y="97"/>
                        <a:pt x="262" y="97"/>
                      </a:cubicBezTo>
                      <a:cubicBezTo>
                        <a:pt x="262" y="96"/>
                        <a:pt x="262" y="96"/>
                        <a:pt x="262" y="96"/>
                      </a:cubicBezTo>
                      <a:cubicBezTo>
                        <a:pt x="262" y="96"/>
                        <a:pt x="262" y="96"/>
                        <a:pt x="262" y="96"/>
                      </a:cubicBezTo>
                      <a:cubicBezTo>
                        <a:pt x="263" y="96"/>
                        <a:pt x="263" y="96"/>
                        <a:pt x="263" y="96"/>
                      </a:cubicBezTo>
                      <a:cubicBezTo>
                        <a:pt x="263" y="94"/>
                        <a:pt x="263" y="94"/>
                        <a:pt x="263" y="94"/>
                      </a:cubicBezTo>
                      <a:cubicBezTo>
                        <a:pt x="263" y="93"/>
                        <a:pt x="263" y="93"/>
                        <a:pt x="263" y="93"/>
                      </a:cubicBezTo>
                      <a:cubicBezTo>
                        <a:pt x="264" y="92"/>
                        <a:pt x="264" y="92"/>
                        <a:pt x="264" y="92"/>
                      </a:cubicBezTo>
                      <a:cubicBezTo>
                        <a:pt x="264" y="92"/>
                        <a:pt x="264" y="92"/>
                        <a:pt x="264" y="92"/>
                      </a:cubicBezTo>
                      <a:cubicBezTo>
                        <a:pt x="264" y="91"/>
                        <a:pt x="264" y="91"/>
                        <a:pt x="264" y="91"/>
                      </a:cubicBezTo>
                      <a:cubicBezTo>
                        <a:pt x="264" y="89"/>
                        <a:pt x="264" y="89"/>
                        <a:pt x="264" y="89"/>
                      </a:cubicBezTo>
                      <a:cubicBezTo>
                        <a:pt x="265" y="89"/>
                        <a:pt x="265" y="89"/>
                        <a:pt x="265" y="89"/>
                      </a:cubicBezTo>
                      <a:cubicBezTo>
                        <a:pt x="265" y="88"/>
                        <a:pt x="265" y="88"/>
                        <a:pt x="265" y="88"/>
                      </a:cubicBezTo>
                      <a:cubicBezTo>
                        <a:pt x="264" y="88"/>
                        <a:pt x="264" y="88"/>
                        <a:pt x="264" y="88"/>
                      </a:cubicBezTo>
                      <a:cubicBezTo>
                        <a:pt x="264" y="87"/>
                        <a:pt x="264" y="87"/>
                        <a:pt x="264" y="87"/>
                      </a:cubicBezTo>
                      <a:cubicBezTo>
                        <a:pt x="263" y="86"/>
                        <a:pt x="263" y="86"/>
                        <a:pt x="263" y="86"/>
                      </a:cubicBezTo>
                      <a:cubicBezTo>
                        <a:pt x="263" y="86"/>
                        <a:pt x="263" y="86"/>
                        <a:pt x="263" y="86"/>
                      </a:cubicBezTo>
                      <a:cubicBezTo>
                        <a:pt x="262" y="85"/>
                        <a:pt x="262" y="85"/>
                        <a:pt x="262" y="85"/>
                      </a:cubicBezTo>
                      <a:cubicBezTo>
                        <a:pt x="261" y="86"/>
                        <a:pt x="261" y="86"/>
                        <a:pt x="261" y="86"/>
                      </a:cubicBezTo>
                      <a:cubicBezTo>
                        <a:pt x="260" y="85"/>
                        <a:pt x="260" y="85"/>
                        <a:pt x="260" y="85"/>
                      </a:cubicBezTo>
                      <a:cubicBezTo>
                        <a:pt x="259" y="85"/>
                        <a:pt x="259" y="85"/>
                        <a:pt x="259" y="85"/>
                      </a:cubicBezTo>
                      <a:cubicBezTo>
                        <a:pt x="259" y="86"/>
                        <a:pt x="259" y="86"/>
                        <a:pt x="259" y="86"/>
                      </a:cubicBezTo>
                      <a:cubicBezTo>
                        <a:pt x="259" y="86"/>
                        <a:pt x="259" y="86"/>
                        <a:pt x="259" y="86"/>
                      </a:cubicBezTo>
                      <a:cubicBezTo>
                        <a:pt x="259" y="87"/>
                        <a:pt x="259" y="87"/>
                        <a:pt x="259" y="87"/>
                      </a:cubicBezTo>
                      <a:cubicBezTo>
                        <a:pt x="259" y="87"/>
                        <a:pt x="259" y="87"/>
                        <a:pt x="259" y="87"/>
                      </a:cubicBezTo>
                      <a:close/>
                      <a:moveTo>
                        <a:pt x="265" y="80"/>
                      </a:moveTo>
                      <a:cubicBezTo>
                        <a:pt x="264" y="80"/>
                        <a:pt x="264" y="80"/>
                        <a:pt x="264" y="80"/>
                      </a:cubicBezTo>
                      <a:cubicBezTo>
                        <a:pt x="265" y="79"/>
                        <a:pt x="265" y="79"/>
                        <a:pt x="265" y="79"/>
                      </a:cubicBezTo>
                      <a:cubicBezTo>
                        <a:pt x="265" y="79"/>
                        <a:pt x="265" y="79"/>
                        <a:pt x="265" y="79"/>
                      </a:cubicBezTo>
                      <a:cubicBezTo>
                        <a:pt x="265" y="79"/>
                        <a:pt x="265" y="80"/>
                        <a:pt x="265" y="80"/>
                      </a:cubicBezTo>
                      <a:close/>
                      <a:moveTo>
                        <a:pt x="264" y="84"/>
                      </a:moveTo>
                      <a:cubicBezTo>
                        <a:pt x="264" y="84"/>
                        <a:pt x="264" y="84"/>
                        <a:pt x="264" y="84"/>
                      </a:cubicBezTo>
                      <a:cubicBezTo>
                        <a:pt x="263" y="84"/>
                        <a:pt x="263" y="84"/>
                        <a:pt x="263" y="84"/>
                      </a:cubicBezTo>
                      <a:cubicBezTo>
                        <a:pt x="263" y="83"/>
                        <a:pt x="263" y="83"/>
                        <a:pt x="263" y="83"/>
                      </a:cubicBezTo>
                      <a:cubicBezTo>
                        <a:pt x="264" y="83"/>
                        <a:pt x="264" y="83"/>
                        <a:pt x="264" y="83"/>
                      </a:cubicBezTo>
                      <a:cubicBezTo>
                        <a:pt x="264" y="82"/>
                        <a:pt x="264" y="82"/>
                        <a:pt x="264" y="82"/>
                      </a:cubicBezTo>
                      <a:cubicBezTo>
                        <a:pt x="264" y="82"/>
                        <a:pt x="264" y="82"/>
                        <a:pt x="264" y="82"/>
                      </a:cubicBezTo>
                      <a:cubicBezTo>
                        <a:pt x="265" y="82"/>
                        <a:pt x="265" y="82"/>
                        <a:pt x="265" y="82"/>
                      </a:cubicBezTo>
                      <a:cubicBezTo>
                        <a:pt x="265" y="83"/>
                        <a:pt x="265" y="83"/>
                        <a:pt x="265" y="83"/>
                      </a:cubicBezTo>
                      <a:cubicBezTo>
                        <a:pt x="264" y="84"/>
                        <a:pt x="264" y="84"/>
                        <a:pt x="264" y="84"/>
                      </a:cubicBezTo>
                      <a:cubicBezTo>
                        <a:pt x="264" y="84"/>
                        <a:pt x="264" y="84"/>
                        <a:pt x="264" y="84"/>
                      </a:cubicBezTo>
                      <a:close/>
                      <a:moveTo>
                        <a:pt x="257" y="83"/>
                      </a:moveTo>
                      <a:cubicBezTo>
                        <a:pt x="257" y="82"/>
                        <a:pt x="257" y="82"/>
                        <a:pt x="257" y="82"/>
                      </a:cubicBezTo>
                      <a:cubicBezTo>
                        <a:pt x="257" y="82"/>
                        <a:pt x="257" y="82"/>
                        <a:pt x="257" y="82"/>
                      </a:cubicBezTo>
                      <a:cubicBezTo>
                        <a:pt x="258" y="82"/>
                        <a:pt x="258" y="82"/>
                        <a:pt x="258" y="82"/>
                      </a:cubicBezTo>
                      <a:cubicBezTo>
                        <a:pt x="258" y="82"/>
                        <a:pt x="258" y="82"/>
                        <a:pt x="258" y="82"/>
                      </a:cubicBezTo>
                      <a:cubicBezTo>
                        <a:pt x="258" y="82"/>
                        <a:pt x="258" y="82"/>
                        <a:pt x="258" y="82"/>
                      </a:cubicBezTo>
                      <a:cubicBezTo>
                        <a:pt x="258" y="82"/>
                        <a:pt x="258" y="82"/>
                        <a:pt x="258" y="82"/>
                      </a:cubicBezTo>
                      <a:cubicBezTo>
                        <a:pt x="257" y="83"/>
                        <a:pt x="257" y="83"/>
                        <a:pt x="257" y="83"/>
                      </a:cubicBezTo>
                      <a:close/>
                      <a:moveTo>
                        <a:pt x="256" y="84"/>
                      </a:moveTo>
                      <a:cubicBezTo>
                        <a:pt x="255" y="83"/>
                        <a:pt x="255" y="83"/>
                        <a:pt x="255" y="83"/>
                      </a:cubicBezTo>
                      <a:cubicBezTo>
                        <a:pt x="256" y="83"/>
                        <a:pt x="256" y="83"/>
                        <a:pt x="256" y="83"/>
                      </a:cubicBezTo>
                      <a:cubicBezTo>
                        <a:pt x="256" y="83"/>
                        <a:pt x="256" y="83"/>
                        <a:pt x="256" y="83"/>
                      </a:cubicBezTo>
                      <a:cubicBezTo>
                        <a:pt x="256" y="83"/>
                        <a:pt x="256" y="83"/>
                        <a:pt x="256" y="83"/>
                      </a:cubicBezTo>
                      <a:cubicBezTo>
                        <a:pt x="256" y="84"/>
                        <a:pt x="256" y="84"/>
                        <a:pt x="256" y="84"/>
                      </a:cubicBezTo>
                      <a:close/>
                      <a:moveTo>
                        <a:pt x="257" y="86"/>
                      </a:moveTo>
                      <a:cubicBezTo>
                        <a:pt x="257" y="85"/>
                        <a:pt x="257" y="85"/>
                        <a:pt x="257" y="85"/>
                      </a:cubicBezTo>
                      <a:cubicBezTo>
                        <a:pt x="257" y="85"/>
                        <a:pt x="257" y="85"/>
                        <a:pt x="257" y="85"/>
                      </a:cubicBezTo>
                      <a:cubicBezTo>
                        <a:pt x="257" y="84"/>
                        <a:pt x="257" y="84"/>
                        <a:pt x="257" y="84"/>
                      </a:cubicBezTo>
                      <a:cubicBezTo>
                        <a:pt x="257" y="84"/>
                        <a:pt x="257" y="84"/>
                        <a:pt x="257" y="84"/>
                      </a:cubicBezTo>
                      <a:cubicBezTo>
                        <a:pt x="258" y="84"/>
                        <a:pt x="258" y="84"/>
                        <a:pt x="258" y="84"/>
                      </a:cubicBezTo>
                      <a:cubicBezTo>
                        <a:pt x="258" y="85"/>
                        <a:pt x="258" y="85"/>
                        <a:pt x="258" y="85"/>
                      </a:cubicBezTo>
                      <a:cubicBezTo>
                        <a:pt x="257" y="86"/>
                        <a:pt x="257" y="86"/>
                        <a:pt x="257" y="86"/>
                      </a:cubicBezTo>
                      <a:cubicBezTo>
                        <a:pt x="257" y="86"/>
                        <a:pt x="257" y="86"/>
                        <a:pt x="257" y="86"/>
                      </a:cubicBezTo>
                      <a:close/>
                      <a:moveTo>
                        <a:pt x="255" y="86"/>
                      </a:moveTo>
                      <a:cubicBezTo>
                        <a:pt x="254" y="86"/>
                        <a:pt x="254" y="86"/>
                        <a:pt x="254" y="86"/>
                      </a:cubicBezTo>
                      <a:cubicBezTo>
                        <a:pt x="254" y="85"/>
                        <a:pt x="254" y="85"/>
                        <a:pt x="254" y="85"/>
                      </a:cubicBezTo>
                      <a:cubicBezTo>
                        <a:pt x="255" y="85"/>
                        <a:pt x="255" y="85"/>
                        <a:pt x="255" y="85"/>
                      </a:cubicBezTo>
                      <a:cubicBezTo>
                        <a:pt x="255" y="84"/>
                        <a:pt x="255" y="84"/>
                        <a:pt x="255" y="84"/>
                      </a:cubicBezTo>
                      <a:cubicBezTo>
                        <a:pt x="256" y="84"/>
                        <a:pt x="256" y="84"/>
                        <a:pt x="256" y="84"/>
                      </a:cubicBezTo>
                      <a:cubicBezTo>
                        <a:pt x="256" y="85"/>
                        <a:pt x="256" y="85"/>
                        <a:pt x="256" y="85"/>
                      </a:cubicBezTo>
                      <a:cubicBezTo>
                        <a:pt x="256" y="85"/>
                        <a:pt x="256" y="85"/>
                        <a:pt x="256" y="85"/>
                      </a:cubicBezTo>
                      <a:cubicBezTo>
                        <a:pt x="256" y="85"/>
                        <a:pt x="256" y="85"/>
                        <a:pt x="256" y="85"/>
                      </a:cubicBezTo>
                      <a:cubicBezTo>
                        <a:pt x="256" y="86"/>
                        <a:pt x="256" y="86"/>
                        <a:pt x="256" y="86"/>
                      </a:cubicBezTo>
                      <a:cubicBezTo>
                        <a:pt x="256" y="86"/>
                        <a:pt x="256" y="86"/>
                        <a:pt x="256" y="86"/>
                      </a:cubicBezTo>
                      <a:cubicBezTo>
                        <a:pt x="255" y="86"/>
                        <a:pt x="255" y="86"/>
                        <a:pt x="255" y="86"/>
                      </a:cubicBezTo>
                      <a:cubicBezTo>
                        <a:pt x="255" y="86"/>
                        <a:pt x="255" y="86"/>
                        <a:pt x="255" y="86"/>
                      </a:cubicBezTo>
                      <a:close/>
                      <a:moveTo>
                        <a:pt x="253" y="87"/>
                      </a:moveTo>
                      <a:cubicBezTo>
                        <a:pt x="252" y="86"/>
                        <a:pt x="252" y="86"/>
                        <a:pt x="252" y="86"/>
                      </a:cubicBezTo>
                      <a:cubicBezTo>
                        <a:pt x="253" y="86"/>
                        <a:pt x="253" y="86"/>
                        <a:pt x="253" y="86"/>
                      </a:cubicBezTo>
                      <a:cubicBezTo>
                        <a:pt x="253" y="86"/>
                        <a:pt x="253" y="86"/>
                        <a:pt x="253" y="86"/>
                      </a:cubicBezTo>
                      <a:cubicBezTo>
                        <a:pt x="253" y="87"/>
                        <a:pt x="253" y="87"/>
                        <a:pt x="253" y="87"/>
                      </a:cubicBezTo>
                      <a:cubicBezTo>
                        <a:pt x="253" y="87"/>
                        <a:pt x="253" y="87"/>
                        <a:pt x="253" y="87"/>
                      </a:cubicBezTo>
                      <a:close/>
                      <a:moveTo>
                        <a:pt x="243" y="88"/>
                      </a:moveTo>
                      <a:cubicBezTo>
                        <a:pt x="242" y="87"/>
                        <a:pt x="242" y="87"/>
                        <a:pt x="242" y="87"/>
                      </a:cubicBezTo>
                      <a:cubicBezTo>
                        <a:pt x="241" y="88"/>
                        <a:pt x="241" y="88"/>
                        <a:pt x="241" y="88"/>
                      </a:cubicBezTo>
                      <a:cubicBezTo>
                        <a:pt x="241" y="87"/>
                        <a:pt x="241" y="87"/>
                        <a:pt x="241" y="87"/>
                      </a:cubicBezTo>
                      <a:cubicBezTo>
                        <a:pt x="241" y="86"/>
                        <a:pt x="241" y="86"/>
                        <a:pt x="241" y="86"/>
                      </a:cubicBezTo>
                      <a:cubicBezTo>
                        <a:pt x="241" y="86"/>
                        <a:pt x="241" y="86"/>
                        <a:pt x="241" y="86"/>
                      </a:cubicBezTo>
                      <a:cubicBezTo>
                        <a:pt x="241" y="85"/>
                        <a:pt x="241" y="85"/>
                        <a:pt x="241" y="85"/>
                      </a:cubicBezTo>
                      <a:cubicBezTo>
                        <a:pt x="241" y="85"/>
                        <a:pt x="241" y="85"/>
                        <a:pt x="241" y="85"/>
                      </a:cubicBezTo>
                      <a:cubicBezTo>
                        <a:pt x="242" y="85"/>
                        <a:pt x="242" y="85"/>
                        <a:pt x="242" y="85"/>
                      </a:cubicBezTo>
                      <a:cubicBezTo>
                        <a:pt x="242" y="85"/>
                        <a:pt x="242" y="85"/>
                        <a:pt x="242" y="85"/>
                      </a:cubicBezTo>
                      <a:cubicBezTo>
                        <a:pt x="243" y="85"/>
                        <a:pt x="243" y="85"/>
                        <a:pt x="243" y="85"/>
                      </a:cubicBezTo>
                      <a:cubicBezTo>
                        <a:pt x="242" y="85"/>
                        <a:pt x="242" y="85"/>
                        <a:pt x="242" y="85"/>
                      </a:cubicBezTo>
                      <a:cubicBezTo>
                        <a:pt x="242" y="84"/>
                        <a:pt x="242" y="84"/>
                        <a:pt x="242" y="84"/>
                      </a:cubicBezTo>
                      <a:cubicBezTo>
                        <a:pt x="242" y="84"/>
                        <a:pt x="242" y="84"/>
                        <a:pt x="242" y="84"/>
                      </a:cubicBezTo>
                      <a:cubicBezTo>
                        <a:pt x="241" y="83"/>
                        <a:pt x="241" y="83"/>
                        <a:pt x="241" y="83"/>
                      </a:cubicBezTo>
                      <a:cubicBezTo>
                        <a:pt x="241" y="83"/>
                        <a:pt x="241" y="83"/>
                        <a:pt x="241" y="83"/>
                      </a:cubicBezTo>
                      <a:cubicBezTo>
                        <a:pt x="241" y="83"/>
                        <a:pt x="241" y="83"/>
                        <a:pt x="241" y="83"/>
                      </a:cubicBezTo>
                      <a:cubicBezTo>
                        <a:pt x="241" y="83"/>
                        <a:pt x="241" y="83"/>
                        <a:pt x="241" y="83"/>
                      </a:cubicBezTo>
                      <a:cubicBezTo>
                        <a:pt x="242" y="83"/>
                        <a:pt x="242" y="83"/>
                        <a:pt x="242" y="83"/>
                      </a:cubicBezTo>
                      <a:cubicBezTo>
                        <a:pt x="242" y="83"/>
                        <a:pt x="242" y="83"/>
                        <a:pt x="242" y="83"/>
                      </a:cubicBezTo>
                      <a:cubicBezTo>
                        <a:pt x="242" y="82"/>
                        <a:pt x="242" y="82"/>
                        <a:pt x="242" y="82"/>
                      </a:cubicBezTo>
                      <a:cubicBezTo>
                        <a:pt x="243" y="82"/>
                        <a:pt x="243" y="82"/>
                        <a:pt x="243" y="82"/>
                      </a:cubicBezTo>
                      <a:cubicBezTo>
                        <a:pt x="243" y="82"/>
                        <a:pt x="243" y="82"/>
                        <a:pt x="243" y="82"/>
                      </a:cubicBezTo>
                      <a:cubicBezTo>
                        <a:pt x="245" y="83"/>
                        <a:pt x="245" y="83"/>
                        <a:pt x="245" y="83"/>
                      </a:cubicBezTo>
                      <a:cubicBezTo>
                        <a:pt x="245" y="82"/>
                        <a:pt x="245" y="82"/>
                        <a:pt x="245" y="82"/>
                      </a:cubicBezTo>
                      <a:cubicBezTo>
                        <a:pt x="245" y="82"/>
                        <a:pt x="245" y="82"/>
                        <a:pt x="245" y="82"/>
                      </a:cubicBezTo>
                      <a:cubicBezTo>
                        <a:pt x="244" y="82"/>
                        <a:pt x="244" y="82"/>
                        <a:pt x="244" y="82"/>
                      </a:cubicBezTo>
                      <a:cubicBezTo>
                        <a:pt x="244" y="82"/>
                        <a:pt x="244" y="82"/>
                        <a:pt x="244" y="82"/>
                      </a:cubicBezTo>
                      <a:cubicBezTo>
                        <a:pt x="246" y="82"/>
                        <a:pt x="246" y="82"/>
                        <a:pt x="246" y="82"/>
                      </a:cubicBezTo>
                      <a:cubicBezTo>
                        <a:pt x="247" y="81"/>
                        <a:pt x="247" y="81"/>
                        <a:pt x="247" y="81"/>
                      </a:cubicBezTo>
                      <a:cubicBezTo>
                        <a:pt x="248" y="81"/>
                        <a:pt x="248" y="81"/>
                        <a:pt x="248" y="81"/>
                      </a:cubicBezTo>
                      <a:cubicBezTo>
                        <a:pt x="249" y="81"/>
                        <a:pt x="249" y="81"/>
                        <a:pt x="249" y="81"/>
                      </a:cubicBezTo>
                      <a:cubicBezTo>
                        <a:pt x="250" y="81"/>
                        <a:pt x="250" y="81"/>
                        <a:pt x="250" y="81"/>
                      </a:cubicBezTo>
                      <a:cubicBezTo>
                        <a:pt x="249" y="81"/>
                        <a:pt x="249" y="81"/>
                        <a:pt x="249" y="81"/>
                      </a:cubicBezTo>
                      <a:cubicBezTo>
                        <a:pt x="245" y="80"/>
                        <a:pt x="245" y="80"/>
                        <a:pt x="245" y="80"/>
                      </a:cubicBezTo>
                      <a:cubicBezTo>
                        <a:pt x="244" y="80"/>
                        <a:pt x="244" y="80"/>
                        <a:pt x="244" y="80"/>
                      </a:cubicBezTo>
                      <a:cubicBezTo>
                        <a:pt x="244" y="80"/>
                        <a:pt x="244" y="80"/>
                        <a:pt x="244" y="80"/>
                      </a:cubicBezTo>
                      <a:cubicBezTo>
                        <a:pt x="242" y="80"/>
                        <a:pt x="242" y="80"/>
                        <a:pt x="242" y="80"/>
                      </a:cubicBezTo>
                      <a:cubicBezTo>
                        <a:pt x="241" y="79"/>
                        <a:pt x="241" y="79"/>
                        <a:pt x="241" y="79"/>
                      </a:cubicBezTo>
                      <a:cubicBezTo>
                        <a:pt x="241" y="79"/>
                        <a:pt x="241" y="79"/>
                        <a:pt x="241" y="79"/>
                      </a:cubicBezTo>
                      <a:cubicBezTo>
                        <a:pt x="240" y="79"/>
                        <a:pt x="240" y="79"/>
                        <a:pt x="240" y="79"/>
                      </a:cubicBezTo>
                      <a:cubicBezTo>
                        <a:pt x="239" y="79"/>
                        <a:pt x="239" y="79"/>
                        <a:pt x="239" y="79"/>
                      </a:cubicBezTo>
                      <a:cubicBezTo>
                        <a:pt x="239" y="79"/>
                        <a:pt x="239" y="79"/>
                        <a:pt x="239" y="79"/>
                      </a:cubicBezTo>
                      <a:cubicBezTo>
                        <a:pt x="238" y="79"/>
                        <a:pt x="238" y="79"/>
                        <a:pt x="238" y="79"/>
                      </a:cubicBezTo>
                      <a:cubicBezTo>
                        <a:pt x="238" y="79"/>
                        <a:pt x="238" y="79"/>
                        <a:pt x="238" y="79"/>
                      </a:cubicBezTo>
                      <a:cubicBezTo>
                        <a:pt x="237" y="79"/>
                        <a:pt x="237" y="79"/>
                        <a:pt x="237" y="79"/>
                      </a:cubicBezTo>
                      <a:cubicBezTo>
                        <a:pt x="237" y="78"/>
                        <a:pt x="237" y="78"/>
                        <a:pt x="237" y="78"/>
                      </a:cubicBezTo>
                      <a:cubicBezTo>
                        <a:pt x="238" y="78"/>
                        <a:pt x="238" y="78"/>
                        <a:pt x="238" y="78"/>
                      </a:cubicBezTo>
                      <a:cubicBezTo>
                        <a:pt x="239" y="78"/>
                        <a:pt x="239" y="78"/>
                        <a:pt x="239" y="78"/>
                      </a:cubicBezTo>
                      <a:cubicBezTo>
                        <a:pt x="239" y="78"/>
                        <a:pt x="239" y="78"/>
                        <a:pt x="239" y="78"/>
                      </a:cubicBezTo>
                      <a:cubicBezTo>
                        <a:pt x="240" y="78"/>
                        <a:pt x="240" y="78"/>
                        <a:pt x="240" y="78"/>
                      </a:cubicBezTo>
                      <a:cubicBezTo>
                        <a:pt x="239" y="77"/>
                        <a:pt x="239" y="77"/>
                        <a:pt x="239" y="77"/>
                      </a:cubicBezTo>
                      <a:cubicBezTo>
                        <a:pt x="240" y="77"/>
                        <a:pt x="240" y="77"/>
                        <a:pt x="240" y="77"/>
                      </a:cubicBezTo>
                      <a:cubicBezTo>
                        <a:pt x="240" y="76"/>
                        <a:pt x="240" y="76"/>
                        <a:pt x="240" y="76"/>
                      </a:cubicBezTo>
                      <a:cubicBezTo>
                        <a:pt x="241" y="76"/>
                        <a:pt x="241" y="76"/>
                        <a:pt x="241" y="76"/>
                      </a:cubicBezTo>
                      <a:cubicBezTo>
                        <a:pt x="242" y="76"/>
                        <a:pt x="242" y="76"/>
                        <a:pt x="242" y="76"/>
                      </a:cubicBezTo>
                      <a:cubicBezTo>
                        <a:pt x="242" y="77"/>
                        <a:pt x="242" y="77"/>
                        <a:pt x="242" y="77"/>
                      </a:cubicBezTo>
                      <a:cubicBezTo>
                        <a:pt x="242" y="77"/>
                        <a:pt x="242" y="77"/>
                        <a:pt x="242" y="77"/>
                      </a:cubicBezTo>
                      <a:cubicBezTo>
                        <a:pt x="242" y="78"/>
                        <a:pt x="242" y="78"/>
                        <a:pt x="242" y="78"/>
                      </a:cubicBezTo>
                      <a:cubicBezTo>
                        <a:pt x="243" y="79"/>
                        <a:pt x="243" y="79"/>
                        <a:pt x="243" y="79"/>
                      </a:cubicBezTo>
                      <a:cubicBezTo>
                        <a:pt x="243" y="78"/>
                        <a:pt x="243" y="78"/>
                        <a:pt x="243" y="78"/>
                      </a:cubicBezTo>
                      <a:cubicBezTo>
                        <a:pt x="243" y="77"/>
                        <a:pt x="243" y="77"/>
                        <a:pt x="243" y="77"/>
                      </a:cubicBezTo>
                      <a:cubicBezTo>
                        <a:pt x="242" y="77"/>
                        <a:pt x="242" y="77"/>
                        <a:pt x="242" y="77"/>
                      </a:cubicBezTo>
                      <a:cubicBezTo>
                        <a:pt x="243" y="76"/>
                        <a:pt x="243" y="76"/>
                        <a:pt x="243" y="76"/>
                      </a:cubicBezTo>
                      <a:cubicBezTo>
                        <a:pt x="244" y="76"/>
                        <a:pt x="244" y="76"/>
                        <a:pt x="244" y="76"/>
                      </a:cubicBezTo>
                      <a:cubicBezTo>
                        <a:pt x="244" y="75"/>
                        <a:pt x="244" y="75"/>
                        <a:pt x="244" y="75"/>
                      </a:cubicBezTo>
                      <a:cubicBezTo>
                        <a:pt x="243" y="75"/>
                        <a:pt x="243" y="75"/>
                        <a:pt x="243" y="75"/>
                      </a:cubicBezTo>
                      <a:cubicBezTo>
                        <a:pt x="243" y="74"/>
                        <a:pt x="243" y="74"/>
                        <a:pt x="243" y="74"/>
                      </a:cubicBezTo>
                      <a:cubicBezTo>
                        <a:pt x="244" y="73"/>
                        <a:pt x="244" y="73"/>
                        <a:pt x="244" y="73"/>
                      </a:cubicBezTo>
                      <a:cubicBezTo>
                        <a:pt x="244" y="73"/>
                        <a:pt x="244" y="73"/>
                        <a:pt x="244" y="73"/>
                      </a:cubicBezTo>
                      <a:cubicBezTo>
                        <a:pt x="245" y="73"/>
                        <a:pt x="245" y="73"/>
                        <a:pt x="245" y="73"/>
                      </a:cubicBezTo>
                      <a:cubicBezTo>
                        <a:pt x="245" y="72"/>
                        <a:pt x="245" y="72"/>
                        <a:pt x="245" y="72"/>
                      </a:cubicBezTo>
                      <a:cubicBezTo>
                        <a:pt x="244" y="72"/>
                        <a:pt x="244" y="72"/>
                        <a:pt x="244" y="72"/>
                      </a:cubicBezTo>
                      <a:cubicBezTo>
                        <a:pt x="244" y="72"/>
                        <a:pt x="244" y="72"/>
                        <a:pt x="244" y="72"/>
                      </a:cubicBezTo>
                      <a:cubicBezTo>
                        <a:pt x="244" y="71"/>
                        <a:pt x="244" y="71"/>
                        <a:pt x="244" y="71"/>
                      </a:cubicBezTo>
                      <a:cubicBezTo>
                        <a:pt x="245" y="71"/>
                        <a:pt x="245" y="71"/>
                        <a:pt x="245" y="71"/>
                      </a:cubicBezTo>
                      <a:cubicBezTo>
                        <a:pt x="245" y="70"/>
                        <a:pt x="245" y="70"/>
                        <a:pt x="245" y="70"/>
                      </a:cubicBezTo>
                      <a:cubicBezTo>
                        <a:pt x="246" y="70"/>
                        <a:pt x="246" y="70"/>
                        <a:pt x="246" y="70"/>
                      </a:cubicBezTo>
                      <a:cubicBezTo>
                        <a:pt x="246" y="70"/>
                        <a:pt x="246" y="70"/>
                        <a:pt x="246" y="70"/>
                      </a:cubicBezTo>
                      <a:cubicBezTo>
                        <a:pt x="247" y="71"/>
                        <a:pt x="247" y="71"/>
                        <a:pt x="247" y="71"/>
                      </a:cubicBezTo>
                      <a:cubicBezTo>
                        <a:pt x="247" y="72"/>
                        <a:pt x="247" y="72"/>
                        <a:pt x="247" y="72"/>
                      </a:cubicBezTo>
                      <a:cubicBezTo>
                        <a:pt x="247" y="72"/>
                        <a:pt x="247" y="72"/>
                        <a:pt x="247" y="72"/>
                      </a:cubicBezTo>
                      <a:cubicBezTo>
                        <a:pt x="247" y="73"/>
                        <a:pt x="247" y="73"/>
                        <a:pt x="247" y="73"/>
                      </a:cubicBezTo>
                      <a:cubicBezTo>
                        <a:pt x="247" y="73"/>
                        <a:pt x="247" y="73"/>
                        <a:pt x="247" y="73"/>
                      </a:cubicBezTo>
                      <a:cubicBezTo>
                        <a:pt x="248" y="74"/>
                        <a:pt x="248" y="74"/>
                        <a:pt x="248" y="74"/>
                      </a:cubicBezTo>
                      <a:cubicBezTo>
                        <a:pt x="248" y="76"/>
                        <a:pt x="248" y="76"/>
                        <a:pt x="248" y="76"/>
                      </a:cubicBezTo>
                      <a:cubicBezTo>
                        <a:pt x="248" y="77"/>
                        <a:pt x="248" y="77"/>
                        <a:pt x="248" y="77"/>
                      </a:cubicBezTo>
                      <a:cubicBezTo>
                        <a:pt x="248" y="77"/>
                        <a:pt x="248" y="77"/>
                        <a:pt x="248" y="77"/>
                      </a:cubicBezTo>
                      <a:cubicBezTo>
                        <a:pt x="249" y="78"/>
                        <a:pt x="249" y="78"/>
                        <a:pt x="249" y="78"/>
                      </a:cubicBezTo>
                      <a:cubicBezTo>
                        <a:pt x="250" y="77"/>
                        <a:pt x="250" y="77"/>
                        <a:pt x="250" y="77"/>
                      </a:cubicBezTo>
                      <a:cubicBezTo>
                        <a:pt x="249" y="77"/>
                        <a:pt x="249" y="77"/>
                        <a:pt x="249" y="77"/>
                      </a:cubicBezTo>
                      <a:cubicBezTo>
                        <a:pt x="249" y="75"/>
                        <a:pt x="249" y="75"/>
                        <a:pt x="249" y="75"/>
                      </a:cubicBezTo>
                      <a:cubicBezTo>
                        <a:pt x="250" y="75"/>
                        <a:pt x="250" y="75"/>
                        <a:pt x="250" y="75"/>
                      </a:cubicBezTo>
                      <a:cubicBezTo>
                        <a:pt x="250" y="74"/>
                        <a:pt x="250" y="74"/>
                        <a:pt x="250" y="74"/>
                      </a:cubicBezTo>
                      <a:cubicBezTo>
                        <a:pt x="249" y="73"/>
                        <a:pt x="249" y="73"/>
                        <a:pt x="249" y="73"/>
                      </a:cubicBezTo>
                      <a:cubicBezTo>
                        <a:pt x="249" y="73"/>
                        <a:pt x="249" y="73"/>
                        <a:pt x="249" y="73"/>
                      </a:cubicBezTo>
                      <a:cubicBezTo>
                        <a:pt x="250" y="73"/>
                        <a:pt x="250" y="73"/>
                        <a:pt x="250" y="73"/>
                      </a:cubicBezTo>
                      <a:cubicBezTo>
                        <a:pt x="250" y="74"/>
                        <a:pt x="250" y="74"/>
                        <a:pt x="250" y="74"/>
                      </a:cubicBezTo>
                      <a:cubicBezTo>
                        <a:pt x="250" y="73"/>
                        <a:pt x="250" y="73"/>
                        <a:pt x="250" y="73"/>
                      </a:cubicBezTo>
                      <a:cubicBezTo>
                        <a:pt x="249" y="72"/>
                        <a:pt x="249" y="72"/>
                        <a:pt x="249" y="72"/>
                      </a:cubicBezTo>
                      <a:cubicBezTo>
                        <a:pt x="249" y="71"/>
                        <a:pt x="249" y="71"/>
                        <a:pt x="249" y="71"/>
                      </a:cubicBezTo>
                      <a:cubicBezTo>
                        <a:pt x="249" y="71"/>
                        <a:pt x="249" y="71"/>
                        <a:pt x="249" y="71"/>
                      </a:cubicBezTo>
                      <a:cubicBezTo>
                        <a:pt x="250" y="69"/>
                        <a:pt x="250" y="69"/>
                        <a:pt x="250" y="69"/>
                      </a:cubicBezTo>
                      <a:cubicBezTo>
                        <a:pt x="250" y="69"/>
                        <a:pt x="250" y="69"/>
                        <a:pt x="250" y="69"/>
                      </a:cubicBezTo>
                      <a:cubicBezTo>
                        <a:pt x="251" y="69"/>
                        <a:pt x="251" y="69"/>
                        <a:pt x="251" y="69"/>
                      </a:cubicBezTo>
                      <a:cubicBezTo>
                        <a:pt x="251" y="69"/>
                        <a:pt x="251" y="69"/>
                        <a:pt x="251" y="69"/>
                      </a:cubicBezTo>
                      <a:cubicBezTo>
                        <a:pt x="252" y="69"/>
                        <a:pt x="252" y="69"/>
                        <a:pt x="252" y="69"/>
                      </a:cubicBezTo>
                      <a:cubicBezTo>
                        <a:pt x="252" y="69"/>
                        <a:pt x="253" y="68"/>
                        <a:pt x="253" y="68"/>
                      </a:cubicBezTo>
                      <a:cubicBezTo>
                        <a:pt x="253" y="68"/>
                        <a:pt x="254" y="68"/>
                        <a:pt x="254" y="68"/>
                      </a:cubicBezTo>
                      <a:cubicBezTo>
                        <a:pt x="254" y="69"/>
                        <a:pt x="254" y="69"/>
                        <a:pt x="254" y="69"/>
                      </a:cubicBezTo>
                      <a:cubicBezTo>
                        <a:pt x="255" y="69"/>
                        <a:pt x="255" y="69"/>
                        <a:pt x="255" y="69"/>
                      </a:cubicBezTo>
                      <a:cubicBezTo>
                        <a:pt x="255" y="69"/>
                        <a:pt x="255" y="69"/>
                        <a:pt x="255" y="69"/>
                      </a:cubicBezTo>
                      <a:cubicBezTo>
                        <a:pt x="256" y="69"/>
                        <a:pt x="256" y="69"/>
                        <a:pt x="256" y="69"/>
                      </a:cubicBezTo>
                      <a:cubicBezTo>
                        <a:pt x="255" y="71"/>
                        <a:pt x="255" y="71"/>
                        <a:pt x="255" y="71"/>
                      </a:cubicBezTo>
                      <a:cubicBezTo>
                        <a:pt x="255" y="72"/>
                        <a:pt x="255" y="72"/>
                        <a:pt x="255" y="72"/>
                      </a:cubicBezTo>
                      <a:cubicBezTo>
                        <a:pt x="255" y="72"/>
                        <a:pt x="255" y="72"/>
                        <a:pt x="255" y="72"/>
                      </a:cubicBezTo>
                      <a:cubicBezTo>
                        <a:pt x="255" y="72"/>
                        <a:pt x="255" y="72"/>
                        <a:pt x="255" y="72"/>
                      </a:cubicBezTo>
                      <a:cubicBezTo>
                        <a:pt x="256" y="72"/>
                        <a:pt x="256" y="72"/>
                        <a:pt x="256" y="72"/>
                      </a:cubicBezTo>
                      <a:cubicBezTo>
                        <a:pt x="256" y="72"/>
                        <a:pt x="256" y="72"/>
                        <a:pt x="256" y="72"/>
                      </a:cubicBezTo>
                      <a:cubicBezTo>
                        <a:pt x="257" y="72"/>
                        <a:pt x="257" y="72"/>
                        <a:pt x="257" y="72"/>
                      </a:cubicBezTo>
                      <a:cubicBezTo>
                        <a:pt x="257" y="70"/>
                        <a:pt x="257" y="70"/>
                        <a:pt x="257" y="70"/>
                      </a:cubicBezTo>
                      <a:cubicBezTo>
                        <a:pt x="257" y="70"/>
                        <a:pt x="257" y="70"/>
                        <a:pt x="257" y="70"/>
                      </a:cubicBezTo>
                      <a:cubicBezTo>
                        <a:pt x="258" y="70"/>
                        <a:pt x="258" y="70"/>
                        <a:pt x="258" y="70"/>
                      </a:cubicBezTo>
                      <a:cubicBezTo>
                        <a:pt x="259" y="70"/>
                        <a:pt x="259" y="70"/>
                        <a:pt x="259" y="70"/>
                      </a:cubicBezTo>
                      <a:cubicBezTo>
                        <a:pt x="259" y="69"/>
                        <a:pt x="259" y="69"/>
                        <a:pt x="259" y="69"/>
                      </a:cubicBezTo>
                      <a:cubicBezTo>
                        <a:pt x="259" y="69"/>
                        <a:pt x="259" y="69"/>
                        <a:pt x="259" y="69"/>
                      </a:cubicBezTo>
                      <a:cubicBezTo>
                        <a:pt x="259" y="69"/>
                        <a:pt x="259" y="69"/>
                        <a:pt x="259" y="69"/>
                      </a:cubicBezTo>
                      <a:cubicBezTo>
                        <a:pt x="260" y="70"/>
                        <a:pt x="260" y="70"/>
                        <a:pt x="260" y="70"/>
                      </a:cubicBezTo>
                      <a:cubicBezTo>
                        <a:pt x="259" y="70"/>
                        <a:pt x="259" y="70"/>
                        <a:pt x="259" y="70"/>
                      </a:cubicBezTo>
                      <a:cubicBezTo>
                        <a:pt x="260" y="71"/>
                        <a:pt x="260" y="71"/>
                        <a:pt x="260" y="71"/>
                      </a:cubicBezTo>
                      <a:cubicBezTo>
                        <a:pt x="259" y="71"/>
                        <a:pt x="259" y="71"/>
                        <a:pt x="259" y="71"/>
                      </a:cubicBezTo>
                      <a:cubicBezTo>
                        <a:pt x="259" y="71"/>
                        <a:pt x="259" y="71"/>
                        <a:pt x="259" y="71"/>
                      </a:cubicBezTo>
                      <a:cubicBezTo>
                        <a:pt x="259" y="72"/>
                        <a:pt x="259" y="72"/>
                        <a:pt x="259" y="72"/>
                      </a:cubicBezTo>
                      <a:cubicBezTo>
                        <a:pt x="260" y="72"/>
                        <a:pt x="260" y="72"/>
                        <a:pt x="260" y="72"/>
                      </a:cubicBezTo>
                      <a:cubicBezTo>
                        <a:pt x="261" y="73"/>
                        <a:pt x="261" y="73"/>
                        <a:pt x="261" y="73"/>
                      </a:cubicBezTo>
                      <a:cubicBezTo>
                        <a:pt x="260" y="74"/>
                        <a:pt x="260" y="74"/>
                        <a:pt x="260" y="74"/>
                      </a:cubicBezTo>
                      <a:cubicBezTo>
                        <a:pt x="259" y="74"/>
                        <a:pt x="259" y="74"/>
                        <a:pt x="259" y="74"/>
                      </a:cubicBezTo>
                      <a:cubicBezTo>
                        <a:pt x="259" y="75"/>
                        <a:pt x="259" y="75"/>
                        <a:pt x="259" y="75"/>
                      </a:cubicBezTo>
                      <a:cubicBezTo>
                        <a:pt x="259" y="76"/>
                        <a:pt x="259" y="76"/>
                        <a:pt x="259" y="76"/>
                      </a:cubicBezTo>
                      <a:cubicBezTo>
                        <a:pt x="259" y="77"/>
                        <a:pt x="259" y="77"/>
                        <a:pt x="259" y="77"/>
                      </a:cubicBezTo>
                      <a:cubicBezTo>
                        <a:pt x="258" y="77"/>
                        <a:pt x="258" y="77"/>
                        <a:pt x="258" y="77"/>
                      </a:cubicBezTo>
                      <a:cubicBezTo>
                        <a:pt x="257" y="78"/>
                        <a:pt x="257" y="78"/>
                        <a:pt x="257" y="78"/>
                      </a:cubicBezTo>
                      <a:cubicBezTo>
                        <a:pt x="256" y="79"/>
                        <a:pt x="256" y="79"/>
                        <a:pt x="256" y="79"/>
                      </a:cubicBezTo>
                      <a:cubicBezTo>
                        <a:pt x="255" y="80"/>
                        <a:pt x="255" y="80"/>
                        <a:pt x="255" y="80"/>
                      </a:cubicBezTo>
                      <a:cubicBezTo>
                        <a:pt x="255" y="80"/>
                        <a:pt x="255" y="80"/>
                        <a:pt x="255" y="80"/>
                      </a:cubicBezTo>
                      <a:cubicBezTo>
                        <a:pt x="255" y="81"/>
                        <a:pt x="255" y="81"/>
                        <a:pt x="255" y="81"/>
                      </a:cubicBezTo>
                      <a:cubicBezTo>
                        <a:pt x="254" y="81"/>
                        <a:pt x="254" y="81"/>
                        <a:pt x="254" y="81"/>
                      </a:cubicBezTo>
                      <a:cubicBezTo>
                        <a:pt x="254" y="81"/>
                        <a:pt x="254" y="81"/>
                        <a:pt x="254" y="81"/>
                      </a:cubicBezTo>
                      <a:cubicBezTo>
                        <a:pt x="253" y="81"/>
                        <a:pt x="253" y="81"/>
                        <a:pt x="253" y="81"/>
                      </a:cubicBezTo>
                      <a:cubicBezTo>
                        <a:pt x="254" y="82"/>
                        <a:pt x="254" y="82"/>
                        <a:pt x="254" y="82"/>
                      </a:cubicBezTo>
                      <a:cubicBezTo>
                        <a:pt x="255" y="82"/>
                        <a:pt x="255" y="82"/>
                        <a:pt x="255" y="82"/>
                      </a:cubicBezTo>
                      <a:cubicBezTo>
                        <a:pt x="255" y="83"/>
                        <a:pt x="255" y="83"/>
                        <a:pt x="255" y="83"/>
                      </a:cubicBezTo>
                      <a:cubicBezTo>
                        <a:pt x="253" y="84"/>
                        <a:pt x="253" y="84"/>
                        <a:pt x="253" y="84"/>
                      </a:cubicBezTo>
                      <a:cubicBezTo>
                        <a:pt x="253" y="85"/>
                        <a:pt x="253" y="85"/>
                        <a:pt x="253" y="85"/>
                      </a:cubicBezTo>
                      <a:cubicBezTo>
                        <a:pt x="253" y="84"/>
                        <a:pt x="253" y="84"/>
                        <a:pt x="253" y="84"/>
                      </a:cubicBezTo>
                      <a:cubicBezTo>
                        <a:pt x="253" y="83"/>
                        <a:pt x="253" y="83"/>
                        <a:pt x="253" y="83"/>
                      </a:cubicBezTo>
                      <a:cubicBezTo>
                        <a:pt x="252" y="83"/>
                        <a:pt x="252" y="83"/>
                        <a:pt x="252" y="83"/>
                      </a:cubicBezTo>
                      <a:cubicBezTo>
                        <a:pt x="252" y="83"/>
                        <a:pt x="252" y="83"/>
                        <a:pt x="252" y="83"/>
                      </a:cubicBezTo>
                      <a:cubicBezTo>
                        <a:pt x="252" y="84"/>
                        <a:pt x="252" y="84"/>
                        <a:pt x="252" y="84"/>
                      </a:cubicBezTo>
                      <a:cubicBezTo>
                        <a:pt x="251" y="84"/>
                        <a:pt x="251" y="84"/>
                        <a:pt x="251" y="84"/>
                      </a:cubicBezTo>
                      <a:cubicBezTo>
                        <a:pt x="251" y="85"/>
                        <a:pt x="251" y="85"/>
                        <a:pt x="251" y="85"/>
                      </a:cubicBezTo>
                      <a:cubicBezTo>
                        <a:pt x="250" y="85"/>
                        <a:pt x="250" y="85"/>
                        <a:pt x="250" y="85"/>
                      </a:cubicBezTo>
                      <a:cubicBezTo>
                        <a:pt x="250" y="86"/>
                        <a:pt x="250" y="86"/>
                        <a:pt x="250" y="86"/>
                      </a:cubicBezTo>
                      <a:cubicBezTo>
                        <a:pt x="250" y="86"/>
                        <a:pt x="250" y="86"/>
                        <a:pt x="250" y="86"/>
                      </a:cubicBezTo>
                      <a:cubicBezTo>
                        <a:pt x="251" y="86"/>
                        <a:pt x="251" y="86"/>
                        <a:pt x="251" y="86"/>
                      </a:cubicBezTo>
                      <a:cubicBezTo>
                        <a:pt x="251" y="86"/>
                        <a:pt x="251" y="86"/>
                        <a:pt x="251" y="86"/>
                      </a:cubicBezTo>
                      <a:cubicBezTo>
                        <a:pt x="250" y="87"/>
                        <a:pt x="250" y="87"/>
                        <a:pt x="250" y="87"/>
                      </a:cubicBezTo>
                      <a:cubicBezTo>
                        <a:pt x="250" y="87"/>
                        <a:pt x="250" y="87"/>
                        <a:pt x="250" y="87"/>
                      </a:cubicBezTo>
                      <a:cubicBezTo>
                        <a:pt x="250" y="88"/>
                        <a:pt x="250" y="88"/>
                        <a:pt x="250" y="88"/>
                      </a:cubicBezTo>
                      <a:cubicBezTo>
                        <a:pt x="250" y="88"/>
                        <a:pt x="250" y="88"/>
                        <a:pt x="250" y="88"/>
                      </a:cubicBezTo>
                      <a:cubicBezTo>
                        <a:pt x="250" y="88"/>
                        <a:pt x="250" y="88"/>
                        <a:pt x="250" y="88"/>
                      </a:cubicBezTo>
                      <a:cubicBezTo>
                        <a:pt x="249" y="87"/>
                        <a:pt x="249" y="87"/>
                        <a:pt x="249" y="87"/>
                      </a:cubicBezTo>
                      <a:cubicBezTo>
                        <a:pt x="249" y="86"/>
                        <a:pt x="249" y="86"/>
                        <a:pt x="249" y="86"/>
                      </a:cubicBezTo>
                      <a:cubicBezTo>
                        <a:pt x="249" y="87"/>
                        <a:pt x="249" y="87"/>
                        <a:pt x="249" y="87"/>
                      </a:cubicBezTo>
                      <a:cubicBezTo>
                        <a:pt x="249" y="87"/>
                        <a:pt x="249" y="87"/>
                        <a:pt x="249" y="87"/>
                      </a:cubicBezTo>
                      <a:cubicBezTo>
                        <a:pt x="249" y="88"/>
                        <a:pt x="249" y="88"/>
                        <a:pt x="249" y="88"/>
                      </a:cubicBezTo>
                      <a:cubicBezTo>
                        <a:pt x="248" y="89"/>
                        <a:pt x="248" y="89"/>
                        <a:pt x="248" y="89"/>
                      </a:cubicBezTo>
                      <a:cubicBezTo>
                        <a:pt x="246" y="89"/>
                        <a:pt x="246" y="89"/>
                        <a:pt x="246" y="89"/>
                      </a:cubicBezTo>
                      <a:cubicBezTo>
                        <a:pt x="246" y="88"/>
                        <a:pt x="246" y="88"/>
                        <a:pt x="246" y="88"/>
                      </a:cubicBezTo>
                      <a:cubicBezTo>
                        <a:pt x="245" y="87"/>
                        <a:pt x="245" y="87"/>
                        <a:pt x="245" y="87"/>
                      </a:cubicBezTo>
                      <a:cubicBezTo>
                        <a:pt x="245" y="88"/>
                        <a:pt x="245" y="88"/>
                        <a:pt x="245" y="88"/>
                      </a:cubicBezTo>
                      <a:cubicBezTo>
                        <a:pt x="244" y="88"/>
                        <a:pt x="244" y="88"/>
                        <a:pt x="244" y="88"/>
                      </a:cubicBezTo>
                      <a:cubicBezTo>
                        <a:pt x="244" y="88"/>
                        <a:pt x="244" y="88"/>
                        <a:pt x="244" y="88"/>
                      </a:cubicBezTo>
                      <a:cubicBezTo>
                        <a:pt x="245" y="87"/>
                        <a:pt x="245" y="87"/>
                        <a:pt x="245" y="87"/>
                      </a:cubicBezTo>
                      <a:cubicBezTo>
                        <a:pt x="243" y="87"/>
                        <a:pt x="243" y="87"/>
                        <a:pt x="243" y="87"/>
                      </a:cubicBezTo>
                      <a:cubicBezTo>
                        <a:pt x="243" y="88"/>
                        <a:pt x="243" y="88"/>
                        <a:pt x="243" y="88"/>
                      </a:cubicBezTo>
                      <a:cubicBezTo>
                        <a:pt x="243" y="88"/>
                        <a:pt x="243" y="88"/>
                        <a:pt x="243" y="88"/>
                      </a:cubicBezTo>
                      <a:close/>
                      <a:moveTo>
                        <a:pt x="181" y="64"/>
                      </a:moveTo>
                      <a:cubicBezTo>
                        <a:pt x="180" y="64"/>
                        <a:pt x="180" y="64"/>
                        <a:pt x="180" y="64"/>
                      </a:cubicBezTo>
                      <a:cubicBezTo>
                        <a:pt x="181" y="63"/>
                        <a:pt x="181" y="63"/>
                        <a:pt x="181" y="63"/>
                      </a:cubicBezTo>
                      <a:cubicBezTo>
                        <a:pt x="183" y="62"/>
                        <a:pt x="183" y="62"/>
                        <a:pt x="183" y="62"/>
                      </a:cubicBezTo>
                      <a:cubicBezTo>
                        <a:pt x="184" y="61"/>
                        <a:pt x="184" y="61"/>
                        <a:pt x="184" y="61"/>
                      </a:cubicBezTo>
                      <a:cubicBezTo>
                        <a:pt x="185" y="61"/>
                        <a:pt x="185" y="61"/>
                        <a:pt x="185" y="61"/>
                      </a:cubicBezTo>
                      <a:cubicBezTo>
                        <a:pt x="185" y="61"/>
                        <a:pt x="185" y="61"/>
                        <a:pt x="185" y="61"/>
                      </a:cubicBezTo>
                      <a:cubicBezTo>
                        <a:pt x="187" y="60"/>
                        <a:pt x="187" y="60"/>
                        <a:pt x="187" y="60"/>
                      </a:cubicBezTo>
                      <a:cubicBezTo>
                        <a:pt x="188" y="60"/>
                        <a:pt x="188" y="60"/>
                        <a:pt x="188" y="60"/>
                      </a:cubicBezTo>
                      <a:cubicBezTo>
                        <a:pt x="189" y="59"/>
                        <a:pt x="189" y="59"/>
                        <a:pt x="189" y="59"/>
                      </a:cubicBezTo>
                      <a:cubicBezTo>
                        <a:pt x="189" y="59"/>
                        <a:pt x="189" y="59"/>
                        <a:pt x="189" y="59"/>
                      </a:cubicBezTo>
                      <a:cubicBezTo>
                        <a:pt x="191" y="59"/>
                        <a:pt x="191" y="59"/>
                        <a:pt x="191" y="59"/>
                      </a:cubicBezTo>
                      <a:cubicBezTo>
                        <a:pt x="191" y="59"/>
                        <a:pt x="191" y="59"/>
                        <a:pt x="191" y="59"/>
                      </a:cubicBezTo>
                      <a:cubicBezTo>
                        <a:pt x="191" y="60"/>
                        <a:pt x="191" y="60"/>
                        <a:pt x="191" y="60"/>
                      </a:cubicBezTo>
                      <a:cubicBezTo>
                        <a:pt x="189" y="61"/>
                        <a:pt x="189" y="61"/>
                        <a:pt x="189" y="61"/>
                      </a:cubicBezTo>
                      <a:cubicBezTo>
                        <a:pt x="188" y="61"/>
                        <a:pt x="188" y="61"/>
                        <a:pt x="188" y="61"/>
                      </a:cubicBezTo>
                      <a:cubicBezTo>
                        <a:pt x="185" y="63"/>
                        <a:pt x="185" y="63"/>
                        <a:pt x="185" y="63"/>
                      </a:cubicBezTo>
                      <a:cubicBezTo>
                        <a:pt x="184" y="64"/>
                        <a:pt x="184" y="64"/>
                        <a:pt x="184" y="64"/>
                      </a:cubicBezTo>
                      <a:cubicBezTo>
                        <a:pt x="184" y="65"/>
                        <a:pt x="184" y="65"/>
                        <a:pt x="184" y="65"/>
                      </a:cubicBezTo>
                      <a:cubicBezTo>
                        <a:pt x="183" y="65"/>
                        <a:pt x="183" y="65"/>
                        <a:pt x="183" y="65"/>
                      </a:cubicBezTo>
                      <a:cubicBezTo>
                        <a:pt x="183" y="65"/>
                        <a:pt x="183" y="65"/>
                        <a:pt x="183" y="65"/>
                      </a:cubicBezTo>
                      <a:cubicBezTo>
                        <a:pt x="182" y="65"/>
                        <a:pt x="182" y="65"/>
                        <a:pt x="182" y="65"/>
                      </a:cubicBezTo>
                      <a:cubicBezTo>
                        <a:pt x="182" y="64"/>
                        <a:pt x="182" y="64"/>
                        <a:pt x="182" y="64"/>
                      </a:cubicBezTo>
                      <a:cubicBezTo>
                        <a:pt x="181" y="64"/>
                        <a:pt x="181" y="64"/>
                        <a:pt x="181" y="64"/>
                      </a:cubicBezTo>
                      <a:cubicBezTo>
                        <a:pt x="181" y="64"/>
                        <a:pt x="181" y="64"/>
                        <a:pt x="181" y="64"/>
                      </a:cubicBezTo>
                      <a:close/>
                      <a:moveTo>
                        <a:pt x="227" y="82"/>
                      </a:moveTo>
                      <a:cubicBezTo>
                        <a:pt x="226" y="82"/>
                        <a:pt x="226" y="82"/>
                        <a:pt x="226" y="82"/>
                      </a:cubicBezTo>
                      <a:cubicBezTo>
                        <a:pt x="227" y="81"/>
                        <a:pt x="227" y="81"/>
                        <a:pt x="227" y="81"/>
                      </a:cubicBezTo>
                      <a:cubicBezTo>
                        <a:pt x="228" y="81"/>
                        <a:pt x="228" y="81"/>
                        <a:pt x="228" y="81"/>
                      </a:cubicBezTo>
                      <a:cubicBezTo>
                        <a:pt x="228" y="80"/>
                        <a:pt x="228" y="80"/>
                        <a:pt x="228" y="80"/>
                      </a:cubicBezTo>
                      <a:cubicBezTo>
                        <a:pt x="228" y="80"/>
                        <a:pt x="228" y="80"/>
                        <a:pt x="228" y="80"/>
                      </a:cubicBezTo>
                      <a:cubicBezTo>
                        <a:pt x="229" y="79"/>
                        <a:pt x="229" y="79"/>
                        <a:pt x="229" y="79"/>
                      </a:cubicBezTo>
                      <a:cubicBezTo>
                        <a:pt x="230" y="79"/>
                        <a:pt x="230" y="79"/>
                        <a:pt x="230" y="79"/>
                      </a:cubicBezTo>
                      <a:cubicBezTo>
                        <a:pt x="231" y="79"/>
                        <a:pt x="231" y="79"/>
                        <a:pt x="231" y="79"/>
                      </a:cubicBezTo>
                      <a:cubicBezTo>
                        <a:pt x="231" y="80"/>
                        <a:pt x="231" y="80"/>
                        <a:pt x="231" y="80"/>
                      </a:cubicBezTo>
                      <a:cubicBezTo>
                        <a:pt x="231" y="80"/>
                        <a:pt x="231" y="80"/>
                        <a:pt x="231" y="80"/>
                      </a:cubicBezTo>
                      <a:cubicBezTo>
                        <a:pt x="231" y="81"/>
                        <a:pt x="231" y="81"/>
                        <a:pt x="231" y="81"/>
                      </a:cubicBezTo>
                      <a:cubicBezTo>
                        <a:pt x="230" y="82"/>
                        <a:pt x="230" y="82"/>
                        <a:pt x="230" y="82"/>
                      </a:cubicBezTo>
                      <a:cubicBezTo>
                        <a:pt x="230" y="83"/>
                        <a:pt x="230" y="83"/>
                        <a:pt x="230" y="83"/>
                      </a:cubicBezTo>
                      <a:cubicBezTo>
                        <a:pt x="229" y="83"/>
                        <a:pt x="229" y="83"/>
                        <a:pt x="229" y="83"/>
                      </a:cubicBezTo>
                      <a:cubicBezTo>
                        <a:pt x="228" y="83"/>
                        <a:pt x="228" y="83"/>
                        <a:pt x="228" y="83"/>
                      </a:cubicBezTo>
                      <a:cubicBezTo>
                        <a:pt x="228" y="83"/>
                        <a:pt x="228" y="83"/>
                        <a:pt x="228" y="83"/>
                      </a:cubicBezTo>
                      <a:cubicBezTo>
                        <a:pt x="227" y="82"/>
                        <a:pt x="227" y="82"/>
                        <a:pt x="227" y="82"/>
                      </a:cubicBezTo>
                      <a:cubicBezTo>
                        <a:pt x="227" y="82"/>
                        <a:pt x="227" y="82"/>
                        <a:pt x="227" y="82"/>
                      </a:cubicBezTo>
                      <a:close/>
                      <a:moveTo>
                        <a:pt x="190" y="81"/>
                      </a:moveTo>
                      <a:cubicBezTo>
                        <a:pt x="190" y="80"/>
                        <a:pt x="190" y="80"/>
                        <a:pt x="190" y="80"/>
                      </a:cubicBezTo>
                      <a:cubicBezTo>
                        <a:pt x="190" y="79"/>
                        <a:pt x="190" y="79"/>
                        <a:pt x="190" y="79"/>
                      </a:cubicBezTo>
                      <a:cubicBezTo>
                        <a:pt x="190" y="78"/>
                        <a:pt x="190" y="78"/>
                        <a:pt x="190" y="78"/>
                      </a:cubicBezTo>
                      <a:cubicBezTo>
                        <a:pt x="192" y="77"/>
                        <a:pt x="192" y="77"/>
                        <a:pt x="192" y="77"/>
                      </a:cubicBezTo>
                      <a:cubicBezTo>
                        <a:pt x="193" y="78"/>
                        <a:pt x="193" y="78"/>
                        <a:pt x="193" y="78"/>
                      </a:cubicBezTo>
                      <a:cubicBezTo>
                        <a:pt x="194" y="77"/>
                        <a:pt x="194" y="77"/>
                        <a:pt x="194" y="77"/>
                      </a:cubicBezTo>
                      <a:cubicBezTo>
                        <a:pt x="195" y="78"/>
                        <a:pt x="195" y="78"/>
                        <a:pt x="195" y="78"/>
                      </a:cubicBezTo>
                      <a:cubicBezTo>
                        <a:pt x="196" y="78"/>
                        <a:pt x="196" y="78"/>
                        <a:pt x="196" y="78"/>
                      </a:cubicBezTo>
                      <a:cubicBezTo>
                        <a:pt x="197" y="77"/>
                        <a:pt x="197" y="77"/>
                        <a:pt x="197" y="77"/>
                      </a:cubicBezTo>
                      <a:cubicBezTo>
                        <a:pt x="198" y="77"/>
                        <a:pt x="198" y="77"/>
                        <a:pt x="198" y="77"/>
                      </a:cubicBezTo>
                      <a:cubicBezTo>
                        <a:pt x="200" y="77"/>
                        <a:pt x="200" y="77"/>
                        <a:pt x="200" y="77"/>
                      </a:cubicBezTo>
                      <a:cubicBezTo>
                        <a:pt x="201" y="77"/>
                        <a:pt x="201" y="77"/>
                        <a:pt x="201" y="77"/>
                      </a:cubicBezTo>
                      <a:cubicBezTo>
                        <a:pt x="202" y="78"/>
                        <a:pt x="202" y="78"/>
                        <a:pt x="202" y="78"/>
                      </a:cubicBezTo>
                      <a:cubicBezTo>
                        <a:pt x="202" y="77"/>
                        <a:pt x="202" y="77"/>
                        <a:pt x="202" y="77"/>
                      </a:cubicBezTo>
                      <a:cubicBezTo>
                        <a:pt x="205" y="77"/>
                        <a:pt x="205" y="77"/>
                        <a:pt x="205" y="77"/>
                      </a:cubicBezTo>
                      <a:cubicBezTo>
                        <a:pt x="205" y="76"/>
                        <a:pt x="205" y="76"/>
                        <a:pt x="205" y="76"/>
                      </a:cubicBezTo>
                      <a:cubicBezTo>
                        <a:pt x="205" y="76"/>
                        <a:pt x="205" y="76"/>
                        <a:pt x="205" y="76"/>
                      </a:cubicBezTo>
                      <a:cubicBezTo>
                        <a:pt x="205" y="76"/>
                        <a:pt x="205" y="76"/>
                        <a:pt x="205" y="76"/>
                      </a:cubicBezTo>
                      <a:cubicBezTo>
                        <a:pt x="205" y="76"/>
                        <a:pt x="205" y="76"/>
                        <a:pt x="205" y="76"/>
                      </a:cubicBezTo>
                      <a:cubicBezTo>
                        <a:pt x="203" y="76"/>
                        <a:pt x="203" y="76"/>
                        <a:pt x="203" y="76"/>
                      </a:cubicBezTo>
                      <a:cubicBezTo>
                        <a:pt x="203" y="76"/>
                        <a:pt x="203" y="76"/>
                        <a:pt x="203" y="76"/>
                      </a:cubicBezTo>
                      <a:cubicBezTo>
                        <a:pt x="202" y="76"/>
                        <a:pt x="202" y="76"/>
                        <a:pt x="202" y="76"/>
                      </a:cubicBezTo>
                      <a:cubicBezTo>
                        <a:pt x="201" y="76"/>
                        <a:pt x="201" y="76"/>
                        <a:pt x="201" y="76"/>
                      </a:cubicBezTo>
                      <a:cubicBezTo>
                        <a:pt x="201" y="76"/>
                        <a:pt x="201" y="76"/>
                        <a:pt x="201" y="76"/>
                      </a:cubicBezTo>
                      <a:cubicBezTo>
                        <a:pt x="200" y="75"/>
                        <a:pt x="200" y="75"/>
                        <a:pt x="200" y="75"/>
                      </a:cubicBezTo>
                      <a:cubicBezTo>
                        <a:pt x="199" y="76"/>
                        <a:pt x="199" y="76"/>
                        <a:pt x="199" y="76"/>
                      </a:cubicBezTo>
                      <a:cubicBezTo>
                        <a:pt x="198" y="76"/>
                        <a:pt x="198" y="76"/>
                        <a:pt x="198" y="76"/>
                      </a:cubicBezTo>
                      <a:cubicBezTo>
                        <a:pt x="198" y="76"/>
                        <a:pt x="198" y="76"/>
                        <a:pt x="198" y="76"/>
                      </a:cubicBezTo>
                      <a:cubicBezTo>
                        <a:pt x="197" y="76"/>
                        <a:pt x="197" y="76"/>
                        <a:pt x="197" y="76"/>
                      </a:cubicBezTo>
                      <a:cubicBezTo>
                        <a:pt x="196" y="76"/>
                        <a:pt x="196" y="76"/>
                        <a:pt x="196" y="76"/>
                      </a:cubicBezTo>
                      <a:cubicBezTo>
                        <a:pt x="195" y="75"/>
                        <a:pt x="195" y="75"/>
                        <a:pt x="195" y="75"/>
                      </a:cubicBezTo>
                      <a:cubicBezTo>
                        <a:pt x="195" y="75"/>
                        <a:pt x="195" y="75"/>
                        <a:pt x="195" y="75"/>
                      </a:cubicBezTo>
                      <a:cubicBezTo>
                        <a:pt x="196" y="74"/>
                        <a:pt x="196" y="74"/>
                        <a:pt x="196" y="74"/>
                      </a:cubicBezTo>
                      <a:cubicBezTo>
                        <a:pt x="197" y="73"/>
                        <a:pt x="197" y="73"/>
                        <a:pt x="197" y="73"/>
                      </a:cubicBezTo>
                      <a:cubicBezTo>
                        <a:pt x="196" y="73"/>
                        <a:pt x="196" y="73"/>
                        <a:pt x="196" y="73"/>
                      </a:cubicBezTo>
                      <a:cubicBezTo>
                        <a:pt x="195" y="73"/>
                        <a:pt x="195" y="73"/>
                        <a:pt x="195" y="73"/>
                      </a:cubicBezTo>
                      <a:cubicBezTo>
                        <a:pt x="195" y="74"/>
                        <a:pt x="195" y="74"/>
                        <a:pt x="195" y="74"/>
                      </a:cubicBezTo>
                      <a:cubicBezTo>
                        <a:pt x="194" y="73"/>
                        <a:pt x="194" y="73"/>
                        <a:pt x="194" y="73"/>
                      </a:cubicBezTo>
                      <a:cubicBezTo>
                        <a:pt x="194" y="74"/>
                        <a:pt x="194" y="74"/>
                        <a:pt x="194" y="74"/>
                      </a:cubicBezTo>
                      <a:cubicBezTo>
                        <a:pt x="194" y="74"/>
                        <a:pt x="194" y="74"/>
                        <a:pt x="194" y="74"/>
                      </a:cubicBezTo>
                      <a:cubicBezTo>
                        <a:pt x="192" y="75"/>
                        <a:pt x="192" y="75"/>
                        <a:pt x="192" y="75"/>
                      </a:cubicBezTo>
                      <a:cubicBezTo>
                        <a:pt x="192" y="76"/>
                        <a:pt x="192" y="76"/>
                        <a:pt x="192" y="76"/>
                      </a:cubicBezTo>
                      <a:cubicBezTo>
                        <a:pt x="191" y="76"/>
                        <a:pt x="191" y="76"/>
                        <a:pt x="191" y="76"/>
                      </a:cubicBezTo>
                      <a:cubicBezTo>
                        <a:pt x="190" y="75"/>
                        <a:pt x="190" y="75"/>
                        <a:pt x="190" y="75"/>
                      </a:cubicBezTo>
                      <a:cubicBezTo>
                        <a:pt x="190" y="74"/>
                        <a:pt x="190" y="74"/>
                        <a:pt x="190" y="74"/>
                      </a:cubicBezTo>
                      <a:cubicBezTo>
                        <a:pt x="191" y="74"/>
                        <a:pt x="191" y="74"/>
                        <a:pt x="191" y="74"/>
                      </a:cubicBezTo>
                      <a:cubicBezTo>
                        <a:pt x="190" y="74"/>
                        <a:pt x="190" y="74"/>
                        <a:pt x="190" y="74"/>
                      </a:cubicBezTo>
                      <a:cubicBezTo>
                        <a:pt x="189" y="74"/>
                        <a:pt x="189" y="74"/>
                        <a:pt x="189" y="74"/>
                      </a:cubicBezTo>
                      <a:cubicBezTo>
                        <a:pt x="189" y="75"/>
                        <a:pt x="189" y="75"/>
                        <a:pt x="189" y="75"/>
                      </a:cubicBezTo>
                      <a:cubicBezTo>
                        <a:pt x="189" y="75"/>
                        <a:pt x="189" y="75"/>
                        <a:pt x="189" y="75"/>
                      </a:cubicBezTo>
                      <a:cubicBezTo>
                        <a:pt x="188" y="75"/>
                        <a:pt x="188" y="75"/>
                        <a:pt x="188" y="75"/>
                      </a:cubicBezTo>
                      <a:cubicBezTo>
                        <a:pt x="188" y="74"/>
                        <a:pt x="188" y="74"/>
                        <a:pt x="188" y="74"/>
                      </a:cubicBezTo>
                      <a:cubicBezTo>
                        <a:pt x="187" y="73"/>
                        <a:pt x="187" y="73"/>
                        <a:pt x="187" y="73"/>
                      </a:cubicBezTo>
                      <a:cubicBezTo>
                        <a:pt x="187" y="72"/>
                        <a:pt x="187" y="72"/>
                        <a:pt x="187" y="72"/>
                      </a:cubicBezTo>
                      <a:cubicBezTo>
                        <a:pt x="186" y="72"/>
                        <a:pt x="186" y="72"/>
                        <a:pt x="186" y="72"/>
                      </a:cubicBezTo>
                      <a:cubicBezTo>
                        <a:pt x="186" y="73"/>
                        <a:pt x="186" y="73"/>
                        <a:pt x="186" y="73"/>
                      </a:cubicBezTo>
                      <a:cubicBezTo>
                        <a:pt x="186" y="73"/>
                        <a:pt x="186" y="73"/>
                        <a:pt x="186" y="73"/>
                      </a:cubicBezTo>
                      <a:cubicBezTo>
                        <a:pt x="185" y="72"/>
                        <a:pt x="185" y="72"/>
                        <a:pt x="185" y="72"/>
                      </a:cubicBezTo>
                      <a:cubicBezTo>
                        <a:pt x="183" y="71"/>
                        <a:pt x="183" y="71"/>
                        <a:pt x="183" y="71"/>
                      </a:cubicBezTo>
                      <a:cubicBezTo>
                        <a:pt x="183" y="70"/>
                        <a:pt x="183" y="70"/>
                        <a:pt x="183" y="70"/>
                      </a:cubicBezTo>
                      <a:cubicBezTo>
                        <a:pt x="184" y="70"/>
                        <a:pt x="184" y="70"/>
                        <a:pt x="184" y="70"/>
                      </a:cubicBezTo>
                      <a:cubicBezTo>
                        <a:pt x="184" y="70"/>
                        <a:pt x="184" y="70"/>
                        <a:pt x="184" y="70"/>
                      </a:cubicBezTo>
                      <a:cubicBezTo>
                        <a:pt x="184" y="69"/>
                        <a:pt x="184" y="69"/>
                        <a:pt x="184" y="69"/>
                      </a:cubicBezTo>
                      <a:cubicBezTo>
                        <a:pt x="186" y="68"/>
                        <a:pt x="186" y="68"/>
                        <a:pt x="186" y="68"/>
                      </a:cubicBezTo>
                      <a:cubicBezTo>
                        <a:pt x="187" y="68"/>
                        <a:pt x="187" y="68"/>
                        <a:pt x="187" y="68"/>
                      </a:cubicBezTo>
                      <a:cubicBezTo>
                        <a:pt x="187" y="68"/>
                        <a:pt x="187" y="68"/>
                        <a:pt x="187" y="68"/>
                      </a:cubicBezTo>
                      <a:cubicBezTo>
                        <a:pt x="189" y="68"/>
                        <a:pt x="189" y="68"/>
                        <a:pt x="189" y="68"/>
                      </a:cubicBezTo>
                      <a:cubicBezTo>
                        <a:pt x="190" y="69"/>
                        <a:pt x="190" y="69"/>
                        <a:pt x="190" y="69"/>
                      </a:cubicBezTo>
                      <a:cubicBezTo>
                        <a:pt x="191" y="69"/>
                        <a:pt x="191" y="69"/>
                        <a:pt x="191" y="69"/>
                      </a:cubicBezTo>
                      <a:cubicBezTo>
                        <a:pt x="192" y="68"/>
                        <a:pt x="192" y="68"/>
                        <a:pt x="192" y="68"/>
                      </a:cubicBezTo>
                      <a:cubicBezTo>
                        <a:pt x="193" y="68"/>
                        <a:pt x="193" y="68"/>
                        <a:pt x="193" y="68"/>
                      </a:cubicBezTo>
                      <a:cubicBezTo>
                        <a:pt x="194" y="67"/>
                        <a:pt x="194" y="67"/>
                        <a:pt x="194" y="67"/>
                      </a:cubicBezTo>
                      <a:cubicBezTo>
                        <a:pt x="194" y="67"/>
                        <a:pt x="194" y="67"/>
                        <a:pt x="194" y="67"/>
                      </a:cubicBezTo>
                      <a:cubicBezTo>
                        <a:pt x="193" y="67"/>
                        <a:pt x="193" y="67"/>
                        <a:pt x="193" y="67"/>
                      </a:cubicBezTo>
                      <a:cubicBezTo>
                        <a:pt x="192" y="67"/>
                        <a:pt x="192" y="67"/>
                        <a:pt x="192" y="67"/>
                      </a:cubicBezTo>
                      <a:cubicBezTo>
                        <a:pt x="191" y="67"/>
                        <a:pt x="191" y="67"/>
                        <a:pt x="191" y="67"/>
                      </a:cubicBezTo>
                      <a:cubicBezTo>
                        <a:pt x="190" y="66"/>
                        <a:pt x="190" y="66"/>
                        <a:pt x="190" y="66"/>
                      </a:cubicBezTo>
                      <a:cubicBezTo>
                        <a:pt x="188" y="66"/>
                        <a:pt x="188" y="66"/>
                        <a:pt x="188" y="66"/>
                      </a:cubicBezTo>
                      <a:cubicBezTo>
                        <a:pt x="188" y="66"/>
                        <a:pt x="188" y="66"/>
                        <a:pt x="188" y="66"/>
                      </a:cubicBezTo>
                      <a:cubicBezTo>
                        <a:pt x="190" y="65"/>
                        <a:pt x="190" y="65"/>
                        <a:pt x="190" y="65"/>
                      </a:cubicBezTo>
                      <a:cubicBezTo>
                        <a:pt x="191" y="64"/>
                        <a:pt x="191" y="64"/>
                        <a:pt x="191" y="64"/>
                      </a:cubicBezTo>
                      <a:cubicBezTo>
                        <a:pt x="192" y="64"/>
                        <a:pt x="192" y="64"/>
                        <a:pt x="192" y="64"/>
                      </a:cubicBezTo>
                      <a:cubicBezTo>
                        <a:pt x="192" y="64"/>
                        <a:pt x="192" y="64"/>
                        <a:pt x="192" y="64"/>
                      </a:cubicBezTo>
                      <a:cubicBezTo>
                        <a:pt x="194" y="63"/>
                        <a:pt x="194" y="63"/>
                        <a:pt x="194" y="63"/>
                      </a:cubicBezTo>
                      <a:cubicBezTo>
                        <a:pt x="196" y="64"/>
                        <a:pt x="196" y="64"/>
                        <a:pt x="196" y="64"/>
                      </a:cubicBezTo>
                      <a:cubicBezTo>
                        <a:pt x="197" y="64"/>
                        <a:pt x="197" y="64"/>
                        <a:pt x="197" y="64"/>
                      </a:cubicBezTo>
                      <a:cubicBezTo>
                        <a:pt x="198" y="64"/>
                        <a:pt x="198" y="64"/>
                        <a:pt x="198" y="64"/>
                      </a:cubicBezTo>
                      <a:cubicBezTo>
                        <a:pt x="198" y="63"/>
                        <a:pt x="198" y="63"/>
                        <a:pt x="198" y="63"/>
                      </a:cubicBezTo>
                      <a:cubicBezTo>
                        <a:pt x="197" y="63"/>
                        <a:pt x="197" y="63"/>
                        <a:pt x="197" y="63"/>
                      </a:cubicBezTo>
                      <a:cubicBezTo>
                        <a:pt x="196" y="63"/>
                        <a:pt x="196" y="63"/>
                        <a:pt x="196" y="63"/>
                      </a:cubicBezTo>
                      <a:cubicBezTo>
                        <a:pt x="195" y="63"/>
                        <a:pt x="195" y="63"/>
                        <a:pt x="195" y="63"/>
                      </a:cubicBezTo>
                      <a:cubicBezTo>
                        <a:pt x="193" y="62"/>
                        <a:pt x="193" y="62"/>
                        <a:pt x="193" y="62"/>
                      </a:cubicBezTo>
                      <a:cubicBezTo>
                        <a:pt x="192" y="62"/>
                        <a:pt x="192" y="62"/>
                        <a:pt x="192" y="62"/>
                      </a:cubicBezTo>
                      <a:cubicBezTo>
                        <a:pt x="194" y="61"/>
                        <a:pt x="194" y="61"/>
                        <a:pt x="194" y="61"/>
                      </a:cubicBezTo>
                      <a:cubicBezTo>
                        <a:pt x="194" y="60"/>
                        <a:pt x="194" y="60"/>
                        <a:pt x="194" y="60"/>
                      </a:cubicBezTo>
                      <a:cubicBezTo>
                        <a:pt x="195" y="60"/>
                        <a:pt x="195" y="60"/>
                        <a:pt x="195" y="60"/>
                      </a:cubicBezTo>
                      <a:cubicBezTo>
                        <a:pt x="195" y="60"/>
                        <a:pt x="195" y="60"/>
                        <a:pt x="195" y="60"/>
                      </a:cubicBezTo>
                      <a:cubicBezTo>
                        <a:pt x="196" y="59"/>
                        <a:pt x="196" y="59"/>
                        <a:pt x="196" y="59"/>
                      </a:cubicBezTo>
                      <a:cubicBezTo>
                        <a:pt x="197" y="59"/>
                        <a:pt x="197" y="59"/>
                        <a:pt x="197" y="59"/>
                      </a:cubicBezTo>
                      <a:cubicBezTo>
                        <a:pt x="198" y="60"/>
                        <a:pt x="198" y="60"/>
                        <a:pt x="198" y="60"/>
                      </a:cubicBezTo>
                      <a:cubicBezTo>
                        <a:pt x="198" y="60"/>
                        <a:pt x="198" y="60"/>
                        <a:pt x="198" y="60"/>
                      </a:cubicBezTo>
                      <a:cubicBezTo>
                        <a:pt x="200" y="60"/>
                        <a:pt x="200" y="60"/>
                        <a:pt x="200" y="60"/>
                      </a:cubicBezTo>
                      <a:cubicBezTo>
                        <a:pt x="200" y="61"/>
                        <a:pt x="200" y="61"/>
                        <a:pt x="200" y="61"/>
                      </a:cubicBezTo>
                      <a:cubicBezTo>
                        <a:pt x="200" y="60"/>
                        <a:pt x="200" y="60"/>
                        <a:pt x="200" y="60"/>
                      </a:cubicBezTo>
                      <a:cubicBezTo>
                        <a:pt x="199" y="59"/>
                        <a:pt x="199" y="59"/>
                        <a:pt x="199" y="59"/>
                      </a:cubicBezTo>
                      <a:cubicBezTo>
                        <a:pt x="199" y="58"/>
                        <a:pt x="199" y="58"/>
                        <a:pt x="199" y="58"/>
                      </a:cubicBezTo>
                      <a:cubicBezTo>
                        <a:pt x="198" y="58"/>
                        <a:pt x="198" y="58"/>
                        <a:pt x="198" y="58"/>
                      </a:cubicBezTo>
                      <a:cubicBezTo>
                        <a:pt x="199" y="58"/>
                        <a:pt x="199" y="58"/>
                        <a:pt x="199" y="58"/>
                      </a:cubicBezTo>
                      <a:cubicBezTo>
                        <a:pt x="201" y="57"/>
                        <a:pt x="201" y="57"/>
                        <a:pt x="201" y="57"/>
                      </a:cubicBezTo>
                      <a:cubicBezTo>
                        <a:pt x="202" y="57"/>
                        <a:pt x="202" y="57"/>
                        <a:pt x="202" y="57"/>
                      </a:cubicBezTo>
                      <a:cubicBezTo>
                        <a:pt x="204" y="57"/>
                        <a:pt x="204" y="57"/>
                        <a:pt x="204" y="57"/>
                      </a:cubicBezTo>
                      <a:cubicBezTo>
                        <a:pt x="205" y="58"/>
                        <a:pt x="205" y="58"/>
                        <a:pt x="205" y="58"/>
                      </a:cubicBezTo>
                      <a:cubicBezTo>
                        <a:pt x="205" y="59"/>
                        <a:pt x="205" y="59"/>
                        <a:pt x="205" y="59"/>
                      </a:cubicBezTo>
                      <a:cubicBezTo>
                        <a:pt x="204" y="60"/>
                        <a:pt x="204" y="60"/>
                        <a:pt x="204" y="60"/>
                      </a:cubicBezTo>
                      <a:cubicBezTo>
                        <a:pt x="203" y="61"/>
                        <a:pt x="203" y="61"/>
                        <a:pt x="203" y="61"/>
                      </a:cubicBezTo>
                      <a:cubicBezTo>
                        <a:pt x="204" y="61"/>
                        <a:pt x="204" y="61"/>
                        <a:pt x="204" y="61"/>
                      </a:cubicBezTo>
                      <a:cubicBezTo>
                        <a:pt x="206" y="61"/>
                        <a:pt x="206" y="61"/>
                        <a:pt x="206" y="61"/>
                      </a:cubicBezTo>
                      <a:cubicBezTo>
                        <a:pt x="206" y="61"/>
                        <a:pt x="206" y="61"/>
                        <a:pt x="206" y="61"/>
                      </a:cubicBezTo>
                      <a:cubicBezTo>
                        <a:pt x="207" y="61"/>
                        <a:pt x="207" y="61"/>
                        <a:pt x="207" y="61"/>
                      </a:cubicBezTo>
                      <a:cubicBezTo>
                        <a:pt x="207" y="61"/>
                        <a:pt x="207" y="61"/>
                        <a:pt x="207" y="61"/>
                      </a:cubicBezTo>
                      <a:cubicBezTo>
                        <a:pt x="208" y="62"/>
                        <a:pt x="208" y="62"/>
                        <a:pt x="208" y="62"/>
                      </a:cubicBezTo>
                      <a:cubicBezTo>
                        <a:pt x="208" y="62"/>
                        <a:pt x="208" y="62"/>
                        <a:pt x="208" y="62"/>
                      </a:cubicBezTo>
                      <a:cubicBezTo>
                        <a:pt x="208" y="63"/>
                        <a:pt x="208" y="63"/>
                        <a:pt x="208" y="63"/>
                      </a:cubicBezTo>
                      <a:cubicBezTo>
                        <a:pt x="208" y="63"/>
                        <a:pt x="208" y="63"/>
                        <a:pt x="208" y="63"/>
                      </a:cubicBezTo>
                      <a:cubicBezTo>
                        <a:pt x="208" y="64"/>
                        <a:pt x="208" y="64"/>
                        <a:pt x="208" y="64"/>
                      </a:cubicBezTo>
                      <a:cubicBezTo>
                        <a:pt x="207" y="64"/>
                        <a:pt x="207" y="64"/>
                        <a:pt x="207" y="64"/>
                      </a:cubicBezTo>
                      <a:cubicBezTo>
                        <a:pt x="208" y="65"/>
                        <a:pt x="208" y="65"/>
                        <a:pt x="208" y="65"/>
                      </a:cubicBezTo>
                      <a:cubicBezTo>
                        <a:pt x="208" y="67"/>
                        <a:pt x="208" y="67"/>
                        <a:pt x="208" y="67"/>
                      </a:cubicBezTo>
                      <a:cubicBezTo>
                        <a:pt x="208" y="68"/>
                        <a:pt x="208" y="68"/>
                        <a:pt x="208" y="68"/>
                      </a:cubicBezTo>
                      <a:cubicBezTo>
                        <a:pt x="207" y="67"/>
                        <a:pt x="207" y="67"/>
                        <a:pt x="207" y="67"/>
                      </a:cubicBezTo>
                      <a:cubicBezTo>
                        <a:pt x="206" y="68"/>
                        <a:pt x="206" y="68"/>
                        <a:pt x="206" y="68"/>
                      </a:cubicBezTo>
                      <a:cubicBezTo>
                        <a:pt x="206" y="68"/>
                        <a:pt x="206" y="68"/>
                        <a:pt x="206" y="68"/>
                      </a:cubicBezTo>
                      <a:cubicBezTo>
                        <a:pt x="207" y="68"/>
                        <a:pt x="207" y="68"/>
                        <a:pt x="207" y="68"/>
                      </a:cubicBezTo>
                      <a:cubicBezTo>
                        <a:pt x="208" y="68"/>
                        <a:pt x="208" y="68"/>
                        <a:pt x="208" y="68"/>
                      </a:cubicBezTo>
                      <a:cubicBezTo>
                        <a:pt x="209" y="68"/>
                        <a:pt x="209" y="68"/>
                        <a:pt x="209" y="68"/>
                      </a:cubicBezTo>
                      <a:cubicBezTo>
                        <a:pt x="208" y="70"/>
                        <a:pt x="208" y="70"/>
                        <a:pt x="208" y="70"/>
                      </a:cubicBezTo>
                      <a:cubicBezTo>
                        <a:pt x="208" y="71"/>
                        <a:pt x="208" y="71"/>
                        <a:pt x="208" y="71"/>
                      </a:cubicBezTo>
                      <a:cubicBezTo>
                        <a:pt x="207" y="72"/>
                        <a:pt x="207" y="72"/>
                        <a:pt x="207" y="72"/>
                      </a:cubicBezTo>
                      <a:cubicBezTo>
                        <a:pt x="208" y="73"/>
                        <a:pt x="208" y="73"/>
                        <a:pt x="208" y="73"/>
                      </a:cubicBezTo>
                      <a:cubicBezTo>
                        <a:pt x="209" y="72"/>
                        <a:pt x="209" y="72"/>
                        <a:pt x="209" y="72"/>
                      </a:cubicBezTo>
                      <a:cubicBezTo>
                        <a:pt x="210" y="72"/>
                        <a:pt x="210" y="72"/>
                        <a:pt x="210" y="72"/>
                      </a:cubicBezTo>
                      <a:cubicBezTo>
                        <a:pt x="210" y="72"/>
                        <a:pt x="210" y="72"/>
                        <a:pt x="210" y="72"/>
                      </a:cubicBezTo>
                      <a:cubicBezTo>
                        <a:pt x="210" y="73"/>
                        <a:pt x="210" y="73"/>
                        <a:pt x="210" y="73"/>
                      </a:cubicBezTo>
                      <a:cubicBezTo>
                        <a:pt x="211" y="73"/>
                        <a:pt x="211" y="73"/>
                        <a:pt x="211" y="73"/>
                      </a:cubicBezTo>
                      <a:cubicBezTo>
                        <a:pt x="212" y="73"/>
                        <a:pt x="212" y="73"/>
                        <a:pt x="212" y="73"/>
                      </a:cubicBezTo>
                      <a:cubicBezTo>
                        <a:pt x="214" y="73"/>
                        <a:pt x="214" y="73"/>
                        <a:pt x="214" y="73"/>
                      </a:cubicBezTo>
                      <a:cubicBezTo>
                        <a:pt x="214" y="74"/>
                        <a:pt x="214" y="74"/>
                        <a:pt x="214" y="74"/>
                      </a:cubicBezTo>
                      <a:cubicBezTo>
                        <a:pt x="215" y="74"/>
                        <a:pt x="215" y="74"/>
                        <a:pt x="215" y="74"/>
                      </a:cubicBezTo>
                      <a:cubicBezTo>
                        <a:pt x="215" y="73"/>
                        <a:pt x="215" y="73"/>
                        <a:pt x="215" y="73"/>
                      </a:cubicBezTo>
                      <a:cubicBezTo>
                        <a:pt x="214" y="73"/>
                        <a:pt x="214" y="73"/>
                        <a:pt x="214" y="73"/>
                      </a:cubicBezTo>
                      <a:cubicBezTo>
                        <a:pt x="216" y="72"/>
                        <a:pt x="216" y="72"/>
                        <a:pt x="216" y="72"/>
                      </a:cubicBezTo>
                      <a:cubicBezTo>
                        <a:pt x="215" y="71"/>
                        <a:pt x="215" y="71"/>
                        <a:pt x="215" y="71"/>
                      </a:cubicBezTo>
                      <a:cubicBezTo>
                        <a:pt x="215" y="70"/>
                        <a:pt x="215" y="70"/>
                        <a:pt x="215" y="70"/>
                      </a:cubicBezTo>
                      <a:cubicBezTo>
                        <a:pt x="215" y="70"/>
                        <a:pt x="215" y="70"/>
                        <a:pt x="215" y="70"/>
                      </a:cubicBezTo>
                      <a:cubicBezTo>
                        <a:pt x="214" y="69"/>
                        <a:pt x="214" y="69"/>
                        <a:pt x="214" y="69"/>
                      </a:cubicBezTo>
                      <a:cubicBezTo>
                        <a:pt x="215" y="68"/>
                        <a:pt x="215" y="68"/>
                        <a:pt x="215" y="68"/>
                      </a:cubicBezTo>
                      <a:cubicBezTo>
                        <a:pt x="215" y="68"/>
                        <a:pt x="215" y="68"/>
                        <a:pt x="215" y="68"/>
                      </a:cubicBezTo>
                      <a:cubicBezTo>
                        <a:pt x="217" y="68"/>
                        <a:pt x="217" y="68"/>
                        <a:pt x="217" y="68"/>
                      </a:cubicBezTo>
                      <a:cubicBezTo>
                        <a:pt x="218" y="68"/>
                        <a:pt x="218" y="68"/>
                        <a:pt x="218" y="68"/>
                      </a:cubicBezTo>
                      <a:cubicBezTo>
                        <a:pt x="218" y="67"/>
                        <a:pt x="218" y="67"/>
                        <a:pt x="218" y="67"/>
                      </a:cubicBezTo>
                      <a:cubicBezTo>
                        <a:pt x="217" y="65"/>
                        <a:pt x="217" y="65"/>
                        <a:pt x="217" y="65"/>
                      </a:cubicBezTo>
                      <a:cubicBezTo>
                        <a:pt x="217" y="65"/>
                        <a:pt x="217" y="65"/>
                        <a:pt x="217" y="65"/>
                      </a:cubicBezTo>
                      <a:cubicBezTo>
                        <a:pt x="217" y="64"/>
                        <a:pt x="217" y="64"/>
                        <a:pt x="217" y="64"/>
                      </a:cubicBezTo>
                      <a:cubicBezTo>
                        <a:pt x="217" y="63"/>
                        <a:pt x="217" y="63"/>
                        <a:pt x="217" y="63"/>
                      </a:cubicBezTo>
                      <a:cubicBezTo>
                        <a:pt x="217" y="62"/>
                        <a:pt x="217" y="62"/>
                        <a:pt x="217" y="62"/>
                      </a:cubicBezTo>
                      <a:cubicBezTo>
                        <a:pt x="218" y="62"/>
                        <a:pt x="218" y="62"/>
                        <a:pt x="218" y="62"/>
                      </a:cubicBezTo>
                      <a:cubicBezTo>
                        <a:pt x="219" y="62"/>
                        <a:pt x="219" y="62"/>
                        <a:pt x="219" y="62"/>
                      </a:cubicBezTo>
                      <a:cubicBezTo>
                        <a:pt x="220" y="62"/>
                        <a:pt x="220" y="62"/>
                        <a:pt x="220" y="62"/>
                      </a:cubicBezTo>
                      <a:cubicBezTo>
                        <a:pt x="219" y="61"/>
                        <a:pt x="219" y="61"/>
                        <a:pt x="219" y="61"/>
                      </a:cubicBezTo>
                      <a:cubicBezTo>
                        <a:pt x="220" y="60"/>
                        <a:pt x="220" y="60"/>
                        <a:pt x="220" y="60"/>
                      </a:cubicBezTo>
                      <a:cubicBezTo>
                        <a:pt x="221" y="60"/>
                        <a:pt x="221" y="60"/>
                        <a:pt x="221" y="60"/>
                      </a:cubicBezTo>
                      <a:cubicBezTo>
                        <a:pt x="223" y="58"/>
                        <a:pt x="223" y="58"/>
                        <a:pt x="223" y="58"/>
                      </a:cubicBezTo>
                      <a:cubicBezTo>
                        <a:pt x="224" y="58"/>
                        <a:pt x="224" y="58"/>
                        <a:pt x="224" y="58"/>
                      </a:cubicBezTo>
                      <a:cubicBezTo>
                        <a:pt x="225" y="59"/>
                        <a:pt x="225" y="59"/>
                        <a:pt x="225" y="59"/>
                      </a:cubicBezTo>
                      <a:cubicBezTo>
                        <a:pt x="225" y="59"/>
                        <a:pt x="225" y="59"/>
                        <a:pt x="225" y="59"/>
                      </a:cubicBezTo>
                      <a:cubicBezTo>
                        <a:pt x="225" y="60"/>
                        <a:pt x="225" y="60"/>
                        <a:pt x="225" y="60"/>
                      </a:cubicBezTo>
                      <a:cubicBezTo>
                        <a:pt x="225" y="61"/>
                        <a:pt x="225" y="61"/>
                        <a:pt x="225" y="61"/>
                      </a:cubicBezTo>
                      <a:cubicBezTo>
                        <a:pt x="224" y="61"/>
                        <a:pt x="224" y="61"/>
                        <a:pt x="224" y="61"/>
                      </a:cubicBezTo>
                      <a:cubicBezTo>
                        <a:pt x="224" y="61"/>
                        <a:pt x="224" y="61"/>
                        <a:pt x="224" y="61"/>
                      </a:cubicBezTo>
                      <a:cubicBezTo>
                        <a:pt x="224" y="62"/>
                        <a:pt x="224" y="62"/>
                        <a:pt x="224" y="62"/>
                      </a:cubicBezTo>
                      <a:cubicBezTo>
                        <a:pt x="223" y="63"/>
                        <a:pt x="223" y="63"/>
                        <a:pt x="223" y="63"/>
                      </a:cubicBezTo>
                      <a:cubicBezTo>
                        <a:pt x="223" y="64"/>
                        <a:pt x="223" y="64"/>
                        <a:pt x="223" y="64"/>
                      </a:cubicBezTo>
                      <a:cubicBezTo>
                        <a:pt x="224" y="64"/>
                        <a:pt x="224" y="64"/>
                        <a:pt x="224" y="64"/>
                      </a:cubicBezTo>
                      <a:cubicBezTo>
                        <a:pt x="224" y="66"/>
                        <a:pt x="224" y="66"/>
                        <a:pt x="224" y="66"/>
                      </a:cubicBezTo>
                      <a:cubicBezTo>
                        <a:pt x="223" y="67"/>
                        <a:pt x="223" y="67"/>
                        <a:pt x="223" y="67"/>
                      </a:cubicBezTo>
                      <a:cubicBezTo>
                        <a:pt x="223" y="67"/>
                        <a:pt x="223" y="67"/>
                        <a:pt x="223" y="67"/>
                      </a:cubicBezTo>
                      <a:cubicBezTo>
                        <a:pt x="221" y="68"/>
                        <a:pt x="221" y="68"/>
                        <a:pt x="221" y="68"/>
                      </a:cubicBezTo>
                      <a:cubicBezTo>
                        <a:pt x="220" y="68"/>
                        <a:pt x="220" y="68"/>
                        <a:pt x="220" y="68"/>
                      </a:cubicBezTo>
                      <a:cubicBezTo>
                        <a:pt x="220" y="68"/>
                        <a:pt x="220" y="68"/>
                        <a:pt x="220" y="68"/>
                      </a:cubicBezTo>
                      <a:cubicBezTo>
                        <a:pt x="221" y="69"/>
                        <a:pt x="221" y="69"/>
                        <a:pt x="221" y="69"/>
                      </a:cubicBezTo>
                      <a:cubicBezTo>
                        <a:pt x="222" y="68"/>
                        <a:pt x="222" y="68"/>
                        <a:pt x="222" y="68"/>
                      </a:cubicBezTo>
                      <a:cubicBezTo>
                        <a:pt x="223" y="68"/>
                        <a:pt x="223" y="68"/>
                        <a:pt x="223" y="68"/>
                      </a:cubicBezTo>
                      <a:cubicBezTo>
                        <a:pt x="223" y="69"/>
                        <a:pt x="223" y="69"/>
                        <a:pt x="223" y="69"/>
                      </a:cubicBezTo>
                      <a:cubicBezTo>
                        <a:pt x="223" y="70"/>
                        <a:pt x="223" y="70"/>
                        <a:pt x="223" y="70"/>
                      </a:cubicBezTo>
                      <a:cubicBezTo>
                        <a:pt x="221" y="71"/>
                        <a:pt x="221" y="71"/>
                        <a:pt x="221" y="71"/>
                      </a:cubicBezTo>
                      <a:cubicBezTo>
                        <a:pt x="220" y="72"/>
                        <a:pt x="220" y="72"/>
                        <a:pt x="220" y="72"/>
                      </a:cubicBezTo>
                      <a:cubicBezTo>
                        <a:pt x="220" y="72"/>
                        <a:pt x="220" y="72"/>
                        <a:pt x="220" y="72"/>
                      </a:cubicBezTo>
                      <a:cubicBezTo>
                        <a:pt x="220" y="73"/>
                        <a:pt x="220" y="73"/>
                        <a:pt x="220" y="73"/>
                      </a:cubicBezTo>
                      <a:cubicBezTo>
                        <a:pt x="220" y="72"/>
                        <a:pt x="220" y="72"/>
                        <a:pt x="220" y="72"/>
                      </a:cubicBezTo>
                      <a:cubicBezTo>
                        <a:pt x="222" y="71"/>
                        <a:pt x="222" y="71"/>
                        <a:pt x="222" y="71"/>
                      </a:cubicBezTo>
                      <a:cubicBezTo>
                        <a:pt x="223" y="71"/>
                        <a:pt x="223" y="71"/>
                        <a:pt x="223" y="71"/>
                      </a:cubicBezTo>
                      <a:cubicBezTo>
                        <a:pt x="223" y="71"/>
                        <a:pt x="223" y="71"/>
                        <a:pt x="223" y="71"/>
                      </a:cubicBezTo>
                      <a:cubicBezTo>
                        <a:pt x="225" y="71"/>
                        <a:pt x="225" y="71"/>
                        <a:pt x="225" y="71"/>
                      </a:cubicBezTo>
                      <a:cubicBezTo>
                        <a:pt x="224" y="72"/>
                        <a:pt x="224" y="72"/>
                        <a:pt x="224" y="72"/>
                      </a:cubicBezTo>
                      <a:cubicBezTo>
                        <a:pt x="224" y="73"/>
                        <a:pt x="224" y="73"/>
                        <a:pt x="224" y="73"/>
                      </a:cubicBezTo>
                      <a:cubicBezTo>
                        <a:pt x="224" y="74"/>
                        <a:pt x="224" y="74"/>
                        <a:pt x="224" y="74"/>
                      </a:cubicBezTo>
                      <a:cubicBezTo>
                        <a:pt x="225" y="73"/>
                        <a:pt x="225" y="73"/>
                        <a:pt x="225" y="73"/>
                      </a:cubicBezTo>
                      <a:cubicBezTo>
                        <a:pt x="226" y="73"/>
                        <a:pt x="226" y="73"/>
                        <a:pt x="226" y="73"/>
                      </a:cubicBezTo>
                      <a:cubicBezTo>
                        <a:pt x="226" y="73"/>
                        <a:pt x="226" y="73"/>
                        <a:pt x="226" y="73"/>
                      </a:cubicBezTo>
                      <a:cubicBezTo>
                        <a:pt x="226" y="72"/>
                        <a:pt x="226" y="72"/>
                        <a:pt x="226" y="72"/>
                      </a:cubicBezTo>
                      <a:cubicBezTo>
                        <a:pt x="226" y="72"/>
                        <a:pt x="226" y="72"/>
                        <a:pt x="226" y="72"/>
                      </a:cubicBezTo>
                      <a:cubicBezTo>
                        <a:pt x="226" y="71"/>
                        <a:pt x="226" y="71"/>
                        <a:pt x="226" y="71"/>
                      </a:cubicBezTo>
                      <a:cubicBezTo>
                        <a:pt x="228" y="70"/>
                        <a:pt x="228" y="70"/>
                        <a:pt x="228" y="70"/>
                      </a:cubicBezTo>
                      <a:cubicBezTo>
                        <a:pt x="228" y="70"/>
                        <a:pt x="228" y="70"/>
                        <a:pt x="228" y="70"/>
                      </a:cubicBezTo>
                      <a:cubicBezTo>
                        <a:pt x="229" y="70"/>
                        <a:pt x="229" y="70"/>
                        <a:pt x="229" y="70"/>
                      </a:cubicBezTo>
                      <a:cubicBezTo>
                        <a:pt x="230" y="72"/>
                        <a:pt x="230" y="72"/>
                        <a:pt x="230" y="72"/>
                      </a:cubicBezTo>
                      <a:cubicBezTo>
                        <a:pt x="230" y="72"/>
                        <a:pt x="230" y="72"/>
                        <a:pt x="230" y="72"/>
                      </a:cubicBezTo>
                      <a:cubicBezTo>
                        <a:pt x="230" y="74"/>
                        <a:pt x="230" y="74"/>
                        <a:pt x="230" y="74"/>
                      </a:cubicBezTo>
                      <a:cubicBezTo>
                        <a:pt x="229" y="76"/>
                        <a:pt x="229" y="76"/>
                        <a:pt x="229" y="76"/>
                      </a:cubicBezTo>
                      <a:cubicBezTo>
                        <a:pt x="228" y="77"/>
                        <a:pt x="228" y="77"/>
                        <a:pt x="228" y="77"/>
                      </a:cubicBezTo>
                      <a:cubicBezTo>
                        <a:pt x="227" y="77"/>
                        <a:pt x="227" y="77"/>
                        <a:pt x="227" y="77"/>
                      </a:cubicBezTo>
                      <a:cubicBezTo>
                        <a:pt x="226" y="77"/>
                        <a:pt x="226" y="77"/>
                        <a:pt x="226" y="77"/>
                      </a:cubicBezTo>
                      <a:cubicBezTo>
                        <a:pt x="226" y="77"/>
                        <a:pt x="226" y="77"/>
                        <a:pt x="226" y="77"/>
                      </a:cubicBezTo>
                      <a:cubicBezTo>
                        <a:pt x="226" y="78"/>
                        <a:pt x="226" y="78"/>
                        <a:pt x="226" y="78"/>
                      </a:cubicBezTo>
                      <a:cubicBezTo>
                        <a:pt x="225" y="79"/>
                        <a:pt x="225" y="79"/>
                        <a:pt x="225" y="79"/>
                      </a:cubicBezTo>
                      <a:cubicBezTo>
                        <a:pt x="224" y="79"/>
                        <a:pt x="224" y="79"/>
                        <a:pt x="224" y="79"/>
                      </a:cubicBezTo>
                      <a:cubicBezTo>
                        <a:pt x="224" y="80"/>
                        <a:pt x="224" y="80"/>
                        <a:pt x="224" y="80"/>
                      </a:cubicBezTo>
                      <a:cubicBezTo>
                        <a:pt x="224" y="81"/>
                        <a:pt x="224" y="81"/>
                        <a:pt x="224" y="81"/>
                      </a:cubicBezTo>
                      <a:cubicBezTo>
                        <a:pt x="223" y="81"/>
                        <a:pt x="223" y="81"/>
                        <a:pt x="223" y="81"/>
                      </a:cubicBezTo>
                      <a:cubicBezTo>
                        <a:pt x="223" y="81"/>
                        <a:pt x="223" y="81"/>
                        <a:pt x="223" y="81"/>
                      </a:cubicBezTo>
                      <a:cubicBezTo>
                        <a:pt x="222" y="81"/>
                        <a:pt x="222" y="81"/>
                        <a:pt x="222" y="81"/>
                      </a:cubicBezTo>
                      <a:cubicBezTo>
                        <a:pt x="222" y="82"/>
                        <a:pt x="222" y="82"/>
                        <a:pt x="222" y="82"/>
                      </a:cubicBezTo>
                      <a:cubicBezTo>
                        <a:pt x="222" y="82"/>
                        <a:pt x="222" y="82"/>
                        <a:pt x="222" y="82"/>
                      </a:cubicBezTo>
                      <a:cubicBezTo>
                        <a:pt x="221" y="81"/>
                        <a:pt x="221" y="81"/>
                        <a:pt x="221" y="81"/>
                      </a:cubicBezTo>
                      <a:cubicBezTo>
                        <a:pt x="220" y="82"/>
                        <a:pt x="220" y="82"/>
                        <a:pt x="220" y="82"/>
                      </a:cubicBezTo>
                      <a:cubicBezTo>
                        <a:pt x="220" y="82"/>
                        <a:pt x="220" y="82"/>
                        <a:pt x="220" y="82"/>
                      </a:cubicBezTo>
                      <a:cubicBezTo>
                        <a:pt x="218" y="82"/>
                        <a:pt x="218" y="82"/>
                        <a:pt x="218" y="82"/>
                      </a:cubicBezTo>
                      <a:cubicBezTo>
                        <a:pt x="217" y="83"/>
                        <a:pt x="217" y="83"/>
                        <a:pt x="217" y="83"/>
                      </a:cubicBezTo>
                      <a:cubicBezTo>
                        <a:pt x="216" y="82"/>
                        <a:pt x="216" y="82"/>
                        <a:pt x="216" y="82"/>
                      </a:cubicBezTo>
                      <a:cubicBezTo>
                        <a:pt x="215" y="82"/>
                        <a:pt x="215" y="82"/>
                        <a:pt x="215" y="82"/>
                      </a:cubicBezTo>
                      <a:cubicBezTo>
                        <a:pt x="216" y="81"/>
                        <a:pt x="216" y="81"/>
                        <a:pt x="216" y="81"/>
                      </a:cubicBezTo>
                      <a:cubicBezTo>
                        <a:pt x="216" y="80"/>
                        <a:pt x="216" y="80"/>
                        <a:pt x="216" y="80"/>
                      </a:cubicBezTo>
                      <a:cubicBezTo>
                        <a:pt x="215" y="80"/>
                        <a:pt x="215" y="80"/>
                        <a:pt x="215" y="80"/>
                      </a:cubicBezTo>
                      <a:cubicBezTo>
                        <a:pt x="214" y="81"/>
                        <a:pt x="214" y="81"/>
                        <a:pt x="214" y="81"/>
                      </a:cubicBezTo>
                      <a:cubicBezTo>
                        <a:pt x="214" y="81"/>
                        <a:pt x="214" y="81"/>
                        <a:pt x="214" y="81"/>
                      </a:cubicBezTo>
                      <a:cubicBezTo>
                        <a:pt x="213" y="81"/>
                        <a:pt x="213" y="81"/>
                        <a:pt x="213" y="81"/>
                      </a:cubicBezTo>
                      <a:cubicBezTo>
                        <a:pt x="212" y="81"/>
                        <a:pt x="212" y="81"/>
                        <a:pt x="212" y="81"/>
                      </a:cubicBezTo>
                      <a:cubicBezTo>
                        <a:pt x="212" y="81"/>
                        <a:pt x="212" y="81"/>
                        <a:pt x="212" y="81"/>
                      </a:cubicBezTo>
                      <a:cubicBezTo>
                        <a:pt x="213" y="80"/>
                        <a:pt x="213" y="80"/>
                        <a:pt x="213" y="80"/>
                      </a:cubicBezTo>
                      <a:cubicBezTo>
                        <a:pt x="212" y="80"/>
                        <a:pt x="212" y="80"/>
                        <a:pt x="212" y="80"/>
                      </a:cubicBezTo>
                      <a:cubicBezTo>
                        <a:pt x="212" y="79"/>
                        <a:pt x="212" y="79"/>
                        <a:pt x="212" y="79"/>
                      </a:cubicBezTo>
                      <a:cubicBezTo>
                        <a:pt x="212" y="80"/>
                        <a:pt x="212" y="80"/>
                        <a:pt x="212" y="80"/>
                      </a:cubicBezTo>
                      <a:cubicBezTo>
                        <a:pt x="211" y="80"/>
                        <a:pt x="211" y="80"/>
                        <a:pt x="211" y="80"/>
                      </a:cubicBezTo>
                      <a:cubicBezTo>
                        <a:pt x="210" y="80"/>
                        <a:pt x="210" y="80"/>
                        <a:pt x="210" y="80"/>
                      </a:cubicBezTo>
                      <a:cubicBezTo>
                        <a:pt x="209" y="81"/>
                        <a:pt x="209" y="81"/>
                        <a:pt x="209" y="81"/>
                      </a:cubicBezTo>
                      <a:cubicBezTo>
                        <a:pt x="208" y="81"/>
                        <a:pt x="208" y="81"/>
                        <a:pt x="208" y="81"/>
                      </a:cubicBezTo>
                      <a:cubicBezTo>
                        <a:pt x="207" y="81"/>
                        <a:pt x="207" y="81"/>
                        <a:pt x="207" y="81"/>
                      </a:cubicBezTo>
                      <a:cubicBezTo>
                        <a:pt x="207" y="81"/>
                        <a:pt x="207" y="81"/>
                        <a:pt x="207" y="81"/>
                      </a:cubicBezTo>
                      <a:cubicBezTo>
                        <a:pt x="206" y="81"/>
                        <a:pt x="206" y="81"/>
                        <a:pt x="206" y="81"/>
                      </a:cubicBezTo>
                      <a:cubicBezTo>
                        <a:pt x="205" y="81"/>
                        <a:pt x="205" y="81"/>
                        <a:pt x="205" y="81"/>
                      </a:cubicBezTo>
                      <a:cubicBezTo>
                        <a:pt x="205" y="81"/>
                        <a:pt x="205" y="81"/>
                        <a:pt x="205" y="81"/>
                      </a:cubicBezTo>
                      <a:cubicBezTo>
                        <a:pt x="204" y="81"/>
                        <a:pt x="204" y="81"/>
                        <a:pt x="204" y="81"/>
                      </a:cubicBezTo>
                      <a:cubicBezTo>
                        <a:pt x="204" y="81"/>
                        <a:pt x="204" y="81"/>
                        <a:pt x="204" y="81"/>
                      </a:cubicBezTo>
                      <a:cubicBezTo>
                        <a:pt x="203" y="82"/>
                        <a:pt x="203" y="82"/>
                        <a:pt x="203" y="82"/>
                      </a:cubicBezTo>
                      <a:cubicBezTo>
                        <a:pt x="203" y="82"/>
                        <a:pt x="203" y="82"/>
                        <a:pt x="203" y="82"/>
                      </a:cubicBezTo>
                      <a:cubicBezTo>
                        <a:pt x="202" y="82"/>
                        <a:pt x="202" y="82"/>
                        <a:pt x="202" y="82"/>
                      </a:cubicBezTo>
                      <a:cubicBezTo>
                        <a:pt x="202" y="83"/>
                        <a:pt x="202" y="83"/>
                        <a:pt x="202" y="83"/>
                      </a:cubicBezTo>
                      <a:cubicBezTo>
                        <a:pt x="201" y="83"/>
                        <a:pt x="201" y="83"/>
                        <a:pt x="201" y="83"/>
                      </a:cubicBezTo>
                      <a:cubicBezTo>
                        <a:pt x="200" y="83"/>
                        <a:pt x="200" y="83"/>
                        <a:pt x="200" y="83"/>
                      </a:cubicBezTo>
                      <a:cubicBezTo>
                        <a:pt x="199" y="83"/>
                        <a:pt x="199" y="83"/>
                        <a:pt x="199" y="83"/>
                      </a:cubicBezTo>
                      <a:cubicBezTo>
                        <a:pt x="198" y="83"/>
                        <a:pt x="198" y="83"/>
                        <a:pt x="198" y="83"/>
                      </a:cubicBezTo>
                      <a:cubicBezTo>
                        <a:pt x="198" y="83"/>
                        <a:pt x="198" y="83"/>
                        <a:pt x="198" y="83"/>
                      </a:cubicBezTo>
                      <a:cubicBezTo>
                        <a:pt x="197" y="83"/>
                        <a:pt x="197" y="83"/>
                        <a:pt x="197" y="83"/>
                      </a:cubicBezTo>
                      <a:cubicBezTo>
                        <a:pt x="195" y="83"/>
                        <a:pt x="195" y="83"/>
                        <a:pt x="195" y="83"/>
                      </a:cubicBezTo>
                      <a:cubicBezTo>
                        <a:pt x="194" y="83"/>
                        <a:pt x="194" y="83"/>
                        <a:pt x="194" y="83"/>
                      </a:cubicBezTo>
                      <a:cubicBezTo>
                        <a:pt x="193" y="83"/>
                        <a:pt x="193" y="83"/>
                        <a:pt x="193" y="83"/>
                      </a:cubicBezTo>
                      <a:cubicBezTo>
                        <a:pt x="191" y="82"/>
                        <a:pt x="191" y="82"/>
                        <a:pt x="191" y="82"/>
                      </a:cubicBezTo>
                      <a:cubicBezTo>
                        <a:pt x="191" y="82"/>
                        <a:pt x="191" y="82"/>
                        <a:pt x="191" y="82"/>
                      </a:cubicBezTo>
                      <a:cubicBezTo>
                        <a:pt x="190" y="81"/>
                        <a:pt x="190" y="81"/>
                        <a:pt x="190" y="81"/>
                      </a:cubicBezTo>
                      <a:close/>
                      <a:moveTo>
                        <a:pt x="133" y="108"/>
                      </a:moveTo>
                      <a:cubicBezTo>
                        <a:pt x="133" y="106"/>
                        <a:pt x="133" y="106"/>
                        <a:pt x="133" y="106"/>
                      </a:cubicBezTo>
                      <a:cubicBezTo>
                        <a:pt x="134" y="105"/>
                        <a:pt x="134" y="105"/>
                        <a:pt x="134" y="105"/>
                      </a:cubicBezTo>
                      <a:cubicBezTo>
                        <a:pt x="133" y="104"/>
                        <a:pt x="133" y="104"/>
                        <a:pt x="133" y="104"/>
                      </a:cubicBezTo>
                      <a:cubicBezTo>
                        <a:pt x="134" y="102"/>
                        <a:pt x="134" y="102"/>
                        <a:pt x="134" y="102"/>
                      </a:cubicBezTo>
                      <a:cubicBezTo>
                        <a:pt x="134" y="101"/>
                        <a:pt x="134" y="101"/>
                        <a:pt x="134" y="101"/>
                      </a:cubicBezTo>
                      <a:cubicBezTo>
                        <a:pt x="133" y="101"/>
                        <a:pt x="133" y="101"/>
                        <a:pt x="133" y="101"/>
                      </a:cubicBezTo>
                      <a:cubicBezTo>
                        <a:pt x="132" y="99"/>
                        <a:pt x="132" y="99"/>
                        <a:pt x="132" y="99"/>
                      </a:cubicBezTo>
                      <a:cubicBezTo>
                        <a:pt x="134" y="99"/>
                        <a:pt x="134" y="99"/>
                        <a:pt x="134" y="99"/>
                      </a:cubicBezTo>
                      <a:cubicBezTo>
                        <a:pt x="134" y="98"/>
                        <a:pt x="134" y="98"/>
                        <a:pt x="134" y="98"/>
                      </a:cubicBezTo>
                      <a:cubicBezTo>
                        <a:pt x="132" y="98"/>
                        <a:pt x="132" y="98"/>
                        <a:pt x="132" y="98"/>
                      </a:cubicBezTo>
                      <a:cubicBezTo>
                        <a:pt x="130" y="98"/>
                        <a:pt x="130" y="98"/>
                        <a:pt x="130" y="98"/>
                      </a:cubicBezTo>
                      <a:cubicBezTo>
                        <a:pt x="130" y="97"/>
                        <a:pt x="130" y="97"/>
                        <a:pt x="130" y="97"/>
                      </a:cubicBezTo>
                      <a:cubicBezTo>
                        <a:pt x="131" y="97"/>
                        <a:pt x="131" y="97"/>
                        <a:pt x="131" y="97"/>
                      </a:cubicBezTo>
                      <a:cubicBezTo>
                        <a:pt x="132" y="97"/>
                        <a:pt x="132" y="97"/>
                        <a:pt x="132" y="97"/>
                      </a:cubicBezTo>
                      <a:cubicBezTo>
                        <a:pt x="133" y="96"/>
                        <a:pt x="133" y="96"/>
                        <a:pt x="133" y="96"/>
                      </a:cubicBezTo>
                      <a:cubicBezTo>
                        <a:pt x="133" y="95"/>
                        <a:pt x="133" y="95"/>
                        <a:pt x="133" y="95"/>
                      </a:cubicBezTo>
                      <a:cubicBezTo>
                        <a:pt x="134" y="95"/>
                        <a:pt x="134" y="95"/>
                        <a:pt x="134" y="95"/>
                      </a:cubicBezTo>
                      <a:cubicBezTo>
                        <a:pt x="135" y="94"/>
                        <a:pt x="135" y="94"/>
                        <a:pt x="135" y="94"/>
                      </a:cubicBezTo>
                      <a:cubicBezTo>
                        <a:pt x="135" y="94"/>
                        <a:pt x="135" y="94"/>
                        <a:pt x="135" y="94"/>
                      </a:cubicBezTo>
                      <a:cubicBezTo>
                        <a:pt x="136" y="93"/>
                        <a:pt x="136" y="93"/>
                        <a:pt x="136" y="93"/>
                      </a:cubicBezTo>
                      <a:cubicBezTo>
                        <a:pt x="138" y="93"/>
                        <a:pt x="138" y="93"/>
                        <a:pt x="138" y="93"/>
                      </a:cubicBezTo>
                      <a:cubicBezTo>
                        <a:pt x="138" y="92"/>
                        <a:pt x="138" y="92"/>
                        <a:pt x="138" y="92"/>
                      </a:cubicBezTo>
                      <a:cubicBezTo>
                        <a:pt x="138" y="92"/>
                        <a:pt x="138" y="92"/>
                        <a:pt x="138" y="92"/>
                      </a:cubicBezTo>
                      <a:cubicBezTo>
                        <a:pt x="139" y="91"/>
                        <a:pt x="139" y="91"/>
                        <a:pt x="139" y="91"/>
                      </a:cubicBezTo>
                      <a:cubicBezTo>
                        <a:pt x="139" y="90"/>
                        <a:pt x="139" y="90"/>
                        <a:pt x="139" y="90"/>
                      </a:cubicBezTo>
                      <a:cubicBezTo>
                        <a:pt x="140" y="90"/>
                        <a:pt x="140" y="90"/>
                        <a:pt x="140" y="90"/>
                      </a:cubicBezTo>
                      <a:cubicBezTo>
                        <a:pt x="142" y="90"/>
                        <a:pt x="142" y="90"/>
                        <a:pt x="142" y="90"/>
                      </a:cubicBezTo>
                      <a:cubicBezTo>
                        <a:pt x="142" y="89"/>
                        <a:pt x="142" y="89"/>
                        <a:pt x="142" y="89"/>
                      </a:cubicBezTo>
                      <a:cubicBezTo>
                        <a:pt x="142" y="88"/>
                        <a:pt x="142" y="88"/>
                        <a:pt x="142" y="88"/>
                      </a:cubicBezTo>
                      <a:cubicBezTo>
                        <a:pt x="142" y="87"/>
                        <a:pt x="142" y="87"/>
                        <a:pt x="142" y="87"/>
                      </a:cubicBezTo>
                      <a:cubicBezTo>
                        <a:pt x="143" y="87"/>
                        <a:pt x="143" y="87"/>
                        <a:pt x="143" y="87"/>
                      </a:cubicBezTo>
                      <a:cubicBezTo>
                        <a:pt x="145" y="86"/>
                        <a:pt x="145" y="86"/>
                        <a:pt x="145" y="86"/>
                      </a:cubicBezTo>
                      <a:cubicBezTo>
                        <a:pt x="146" y="84"/>
                        <a:pt x="146" y="84"/>
                        <a:pt x="146" y="84"/>
                      </a:cubicBezTo>
                      <a:cubicBezTo>
                        <a:pt x="148" y="84"/>
                        <a:pt x="148" y="84"/>
                        <a:pt x="148" y="84"/>
                      </a:cubicBezTo>
                      <a:cubicBezTo>
                        <a:pt x="148" y="83"/>
                        <a:pt x="148" y="83"/>
                        <a:pt x="148" y="83"/>
                      </a:cubicBezTo>
                      <a:cubicBezTo>
                        <a:pt x="150" y="82"/>
                        <a:pt x="150" y="82"/>
                        <a:pt x="150" y="82"/>
                      </a:cubicBezTo>
                      <a:cubicBezTo>
                        <a:pt x="151" y="82"/>
                        <a:pt x="151" y="82"/>
                        <a:pt x="151" y="82"/>
                      </a:cubicBezTo>
                      <a:cubicBezTo>
                        <a:pt x="151" y="81"/>
                        <a:pt x="151" y="81"/>
                        <a:pt x="151" y="81"/>
                      </a:cubicBezTo>
                      <a:cubicBezTo>
                        <a:pt x="151" y="80"/>
                        <a:pt x="151" y="80"/>
                        <a:pt x="151" y="80"/>
                      </a:cubicBezTo>
                      <a:cubicBezTo>
                        <a:pt x="151" y="79"/>
                        <a:pt x="151" y="79"/>
                        <a:pt x="151" y="79"/>
                      </a:cubicBezTo>
                      <a:cubicBezTo>
                        <a:pt x="151" y="77"/>
                        <a:pt x="151" y="77"/>
                        <a:pt x="151" y="77"/>
                      </a:cubicBezTo>
                      <a:cubicBezTo>
                        <a:pt x="151" y="77"/>
                        <a:pt x="151" y="77"/>
                        <a:pt x="151" y="77"/>
                      </a:cubicBezTo>
                      <a:cubicBezTo>
                        <a:pt x="151" y="76"/>
                        <a:pt x="151" y="76"/>
                        <a:pt x="151" y="76"/>
                      </a:cubicBezTo>
                      <a:cubicBezTo>
                        <a:pt x="151" y="75"/>
                        <a:pt x="151" y="75"/>
                        <a:pt x="151" y="75"/>
                      </a:cubicBezTo>
                      <a:cubicBezTo>
                        <a:pt x="153" y="75"/>
                        <a:pt x="153" y="75"/>
                        <a:pt x="153" y="75"/>
                      </a:cubicBezTo>
                      <a:cubicBezTo>
                        <a:pt x="153" y="75"/>
                        <a:pt x="153" y="75"/>
                        <a:pt x="153" y="75"/>
                      </a:cubicBezTo>
                      <a:cubicBezTo>
                        <a:pt x="156" y="75"/>
                        <a:pt x="156" y="75"/>
                        <a:pt x="156" y="75"/>
                      </a:cubicBezTo>
                      <a:cubicBezTo>
                        <a:pt x="157" y="75"/>
                        <a:pt x="157" y="75"/>
                        <a:pt x="157" y="75"/>
                      </a:cubicBezTo>
                      <a:cubicBezTo>
                        <a:pt x="160" y="75"/>
                        <a:pt x="160" y="75"/>
                        <a:pt x="160" y="75"/>
                      </a:cubicBezTo>
                      <a:cubicBezTo>
                        <a:pt x="162" y="75"/>
                        <a:pt x="162" y="75"/>
                        <a:pt x="162" y="75"/>
                      </a:cubicBezTo>
                      <a:cubicBezTo>
                        <a:pt x="165" y="75"/>
                        <a:pt x="165" y="75"/>
                        <a:pt x="165" y="75"/>
                      </a:cubicBezTo>
                      <a:cubicBezTo>
                        <a:pt x="165" y="76"/>
                        <a:pt x="165" y="76"/>
                        <a:pt x="165" y="76"/>
                      </a:cubicBezTo>
                      <a:cubicBezTo>
                        <a:pt x="165" y="77"/>
                        <a:pt x="165" y="77"/>
                        <a:pt x="165" y="77"/>
                      </a:cubicBezTo>
                      <a:cubicBezTo>
                        <a:pt x="166" y="78"/>
                        <a:pt x="166" y="78"/>
                        <a:pt x="166" y="78"/>
                      </a:cubicBezTo>
                      <a:cubicBezTo>
                        <a:pt x="168" y="79"/>
                        <a:pt x="168" y="79"/>
                        <a:pt x="168" y="79"/>
                      </a:cubicBezTo>
                      <a:cubicBezTo>
                        <a:pt x="169" y="79"/>
                        <a:pt x="169" y="79"/>
                        <a:pt x="169" y="79"/>
                      </a:cubicBezTo>
                      <a:cubicBezTo>
                        <a:pt x="168" y="80"/>
                        <a:pt x="168" y="80"/>
                        <a:pt x="168" y="80"/>
                      </a:cubicBezTo>
                      <a:cubicBezTo>
                        <a:pt x="169" y="80"/>
                        <a:pt x="169" y="80"/>
                        <a:pt x="169" y="80"/>
                      </a:cubicBezTo>
                      <a:cubicBezTo>
                        <a:pt x="170" y="80"/>
                        <a:pt x="170" y="80"/>
                        <a:pt x="170" y="80"/>
                      </a:cubicBezTo>
                      <a:cubicBezTo>
                        <a:pt x="171" y="80"/>
                        <a:pt x="171" y="80"/>
                        <a:pt x="171" y="80"/>
                      </a:cubicBezTo>
                      <a:cubicBezTo>
                        <a:pt x="170" y="81"/>
                        <a:pt x="170" y="81"/>
                        <a:pt x="170" y="81"/>
                      </a:cubicBezTo>
                      <a:cubicBezTo>
                        <a:pt x="169" y="82"/>
                        <a:pt x="169" y="82"/>
                        <a:pt x="169" y="82"/>
                      </a:cubicBezTo>
                      <a:cubicBezTo>
                        <a:pt x="169" y="83"/>
                        <a:pt x="169" y="83"/>
                        <a:pt x="169" y="83"/>
                      </a:cubicBezTo>
                      <a:cubicBezTo>
                        <a:pt x="171" y="82"/>
                        <a:pt x="171" y="82"/>
                        <a:pt x="171" y="82"/>
                      </a:cubicBezTo>
                      <a:cubicBezTo>
                        <a:pt x="171" y="81"/>
                        <a:pt x="171" y="81"/>
                        <a:pt x="171" y="81"/>
                      </a:cubicBezTo>
                      <a:cubicBezTo>
                        <a:pt x="172" y="80"/>
                        <a:pt x="172" y="80"/>
                        <a:pt x="172" y="80"/>
                      </a:cubicBezTo>
                      <a:cubicBezTo>
                        <a:pt x="173" y="80"/>
                        <a:pt x="173" y="80"/>
                        <a:pt x="173" y="80"/>
                      </a:cubicBezTo>
                      <a:cubicBezTo>
                        <a:pt x="174" y="80"/>
                        <a:pt x="174" y="80"/>
                        <a:pt x="174" y="80"/>
                      </a:cubicBezTo>
                      <a:cubicBezTo>
                        <a:pt x="175" y="80"/>
                        <a:pt x="175" y="80"/>
                        <a:pt x="175" y="80"/>
                      </a:cubicBezTo>
                      <a:cubicBezTo>
                        <a:pt x="175" y="81"/>
                        <a:pt x="175" y="81"/>
                        <a:pt x="175" y="81"/>
                      </a:cubicBezTo>
                      <a:cubicBezTo>
                        <a:pt x="177" y="83"/>
                        <a:pt x="177" y="83"/>
                        <a:pt x="177" y="83"/>
                      </a:cubicBezTo>
                      <a:cubicBezTo>
                        <a:pt x="177" y="85"/>
                        <a:pt x="177" y="85"/>
                        <a:pt x="177" y="85"/>
                      </a:cubicBezTo>
                      <a:cubicBezTo>
                        <a:pt x="176" y="86"/>
                        <a:pt x="176" y="86"/>
                        <a:pt x="176" y="86"/>
                      </a:cubicBezTo>
                      <a:cubicBezTo>
                        <a:pt x="177" y="87"/>
                        <a:pt x="177" y="87"/>
                        <a:pt x="177" y="87"/>
                      </a:cubicBezTo>
                      <a:cubicBezTo>
                        <a:pt x="177" y="88"/>
                        <a:pt x="177" y="88"/>
                        <a:pt x="177" y="88"/>
                      </a:cubicBezTo>
                      <a:cubicBezTo>
                        <a:pt x="177" y="89"/>
                        <a:pt x="177" y="89"/>
                        <a:pt x="177" y="89"/>
                      </a:cubicBezTo>
                      <a:cubicBezTo>
                        <a:pt x="177" y="89"/>
                        <a:pt x="177" y="89"/>
                        <a:pt x="177" y="89"/>
                      </a:cubicBezTo>
                      <a:cubicBezTo>
                        <a:pt x="177" y="90"/>
                        <a:pt x="177" y="90"/>
                        <a:pt x="177" y="90"/>
                      </a:cubicBezTo>
                      <a:cubicBezTo>
                        <a:pt x="177" y="91"/>
                        <a:pt x="177" y="91"/>
                        <a:pt x="177" y="91"/>
                      </a:cubicBezTo>
                      <a:cubicBezTo>
                        <a:pt x="177" y="92"/>
                        <a:pt x="177" y="92"/>
                        <a:pt x="177" y="92"/>
                      </a:cubicBezTo>
                      <a:cubicBezTo>
                        <a:pt x="175" y="92"/>
                        <a:pt x="175" y="92"/>
                        <a:pt x="175" y="92"/>
                      </a:cubicBezTo>
                      <a:cubicBezTo>
                        <a:pt x="174" y="93"/>
                        <a:pt x="174" y="93"/>
                        <a:pt x="174" y="93"/>
                      </a:cubicBezTo>
                      <a:cubicBezTo>
                        <a:pt x="172" y="93"/>
                        <a:pt x="172" y="93"/>
                        <a:pt x="172" y="93"/>
                      </a:cubicBezTo>
                      <a:cubicBezTo>
                        <a:pt x="171" y="93"/>
                        <a:pt x="171" y="93"/>
                        <a:pt x="171" y="93"/>
                      </a:cubicBezTo>
                      <a:cubicBezTo>
                        <a:pt x="168" y="94"/>
                        <a:pt x="168" y="94"/>
                        <a:pt x="168" y="94"/>
                      </a:cubicBezTo>
                      <a:cubicBezTo>
                        <a:pt x="166" y="94"/>
                        <a:pt x="166" y="94"/>
                        <a:pt x="166" y="94"/>
                      </a:cubicBezTo>
                      <a:cubicBezTo>
                        <a:pt x="164" y="95"/>
                        <a:pt x="164" y="95"/>
                        <a:pt x="164" y="95"/>
                      </a:cubicBezTo>
                      <a:cubicBezTo>
                        <a:pt x="163" y="95"/>
                        <a:pt x="163" y="95"/>
                        <a:pt x="163" y="95"/>
                      </a:cubicBezTo>
                      <a:cubicBezTo>
                        <a:pt x="162" y="96"/>
                        <a:pt x="162" y="96"/>
                        <a:pt x="162" y="96"/>
                      </a:cubicBezTo>
                      <a:cubicBezTo>
                        <a:pt x="161" y="96"/>
                        <a:pt x="161" y="96"/>
                        <a:pt x="161" y="96"/>
                      </a:cubicBezTo>
                      <a:cubicBezTo>
                        <a:pt x="160" y="96"/>
                        <a:pt x="160" y="96"/>
                        <a:pt x="160" y="96"/>
                      </a:cubicBezTo>
                      <a:cubicBezTo>
                        <a:pt x="160" y="96"/>
                        <a:pt x="160" y="96"/>
                        <a:pt x="160" y="96"/>
                      </a:cubicBezTo>
                      <a:cubicBezTo>
                        <a:pt x="159" y="96"/>
                        <a:pt x="159" y="96"/>
                        <a:pt x="159" y="96"/>
                      </a:cubicBezTo>
                      <a:cubicBezTo>
                        <a:pt x="157" y="96"/>
                        <a:pt x="157" y="96"/>
                        <a:pt x="157" y="96"/>
                      </a:cubicBezTo>
                      <a:cubicBezTo>
                        <a:pt x="157" y="97"/>
                        <a:pt x="157" y="97"/>
                        <a:pt x="157" y="97"/>
                      </a:cubicBezTo>
                      <a:cubicBezTo>
                        <a:pt x="156" y="98"/>
                        <a:pt x="156" y="98"/>
                        <a:pt x="156" y="98"/>
                      </a:cubicBezTo>
                      <a:cubicBezTo>
                        <a:pt x="156" y="98"/>
                        <a:pt x="156" y="98"/>
                        <a:pt x="156" y="98"/>
                      </a:cubicBezTo>
                      <a:cubicBezTo>
                        <a:pt x="155" y="99"/>
                        <a:pt x="155" y="99"/>
                        <a:pt x="155" y="99"/>
                      </a:cubicBezTo>
                      <a:cubicBezTo>
                        <a:pt x="154" y="100"/>
                        <a:pt x="154" y="100"/>
                        <a:pt x="154" y="100"/>
                      </a:cubicBezTo>
                      <a:cubicBezTo>
                        <a:pt x="153" y="100"/>
                        <a:pt x="153" y="100"/>
                        <a:pt x="153" y="100"/>
                      </a:cubicBezTo>
                      <a:cubicBezTo>
                        <a:pt x="152" y="100"/>
                        <a:pt x="152" y="100"/>
                        <a:pt x="152" y="100"/>
                      </a:cubicBezTo>
                      <a:cubicBezTo>
                        <a:pt x="151" y="99"/>
                        <a:pt x="151" y="99"/>
                        <a:pt x="151" y="99"/>
                      </a:cubicBezTo>
                      <a:cubicBezTo>
                        <a:pt x="150" y="100"/>
                        <a:pt x="150" y="100"/>
                        <a:pt x="150" y="100"/>
                      </a:cubicBezTo>
                      <a:cubicBezTo>
                        <a:pt x="150" y="101"/>
                        <a:pt x="150" y="101"/>
                        <a:pt x="150" y="101"/>
                      </a:cubicBezTo>
                      <a:cubicBezTo>
                        <a:pt x="149" y="102"/>
                        <a:pt x="149" y="102"/>
                        <a:pt x="149" y="102"/>
                      </a:cubicBezTo>
                      <a:cubicBezTo>
                        <a:pt x="148" y="103"/>
                        <a:pt x="148" y="103"/>
                        <a:pt x="148" y="103"/>
                      </a:cubicBezTo>
                      <a:cubicBezTo>
                        <a:pt x="148" y="103"/>
                        <a:pt x="148" y="103"/>
                        <a:pt x="148" y="103"/>
                      </a:cubicBezTo>
                      <a:cubicBezTo>
                        <a:pt x="147" y="104"/>
                        <a:pt x="147" y="104"/>
                        <a:pt x="147" y="104"/>
                      </a:cubicBezTo>
                      <a:cubicBezTo>
                        <a:pt x="147" y="105"/>
                        <a:pt x="147" y="105"/>
                        <a:pt x="147" y="105"/>
                      </a:cubicBezTo>
                      <a:cubicBezTo>
                        <a:pt x="145" y="106"/>
                        <a:pt x="145" y="106"/>
                        <a:pt x="145" y="106"/>
                      </a:cubicBezTo>
                      <a:cubicBezTo>
                        <a:pt x="144" y="107"/>
                        <a:pt x="144" y="107"/>
                        <a:pt x="144" y="107"/>
                      </a:cubicBezTo>
                      <a:cubicBezTo>
                        <a:pt x="143" y="107"/>
                        <a:pt x="143" y="107"/>
                        <a:pt x="143" y="107"/>
                      </a:cubicBezTo>
                      <a:cubicBezTo>
                        <a:pt x="142" y="108"/>
                        <a:pt x="142" y="108"/>
                        <a:pt x="142" y="108"/>
                      </a:cubicBezTo>
                      <a:cubicBezTo>
                        <a:pt x="141" y="108"/>
                        <a:pt x="141" y="108"/>
                        <a:pt x="141" y="108"/>
                      </a:cubicBezTo>
                      <a:cubicBezTo>
                        <a:pt x="140" y="107"/>
                        <a:pt x="140" y="107"/>
                        <a:pt x="140" y="107"/>
                      </a:cubicBezTo>
                      <a:cubicBezTo>
                        <a:pt x="141" y="106"/>
                        <a:pt x="141" y="106"/>
                        <a:pt x="141" y="106"/>
                      </a:cubicBezTo>
                      <a:cubicBezTo>
                        <a:pt x="141" y="105"/>
                        <a:pt x="141" y="105"/>
                        <a:pt x="141" y="105"/>
                      </a:cubicBezTo>
                      <a:cubicBezTo>
                        <a:pt x="141" y="105"/>
                        <a:pt x="141" y="105"/>
                        <a:pt x="141" y="105"/>
                      </a:cubicBezTo>
                      <a:cubicBezTo>
                        <a:pt x="140" y="105"/>
                        <a:pt x="140" y="105"/>
                        <a:pt x="140" y="105"/>
                      </a:cubicBezTo>
                      <a:cubicBezTo>
                        <a:pt x="140" y="106"/>
                        <a:pt x="140" y="106"/>
                        <a:pt x="140" y="106"/>
                      </a:cubicBezTo>
                      <a:cubicBezTo>
                        <a:pt x="139" y="106"/>
                        <a:pt x="139" y="106"/>
                        <a:pt x="139" y="106"/>
                      </a:cubicBezTo>
                      <a:cubicBezTo>
                        <a:pt x="138" y="107"/>
                        <a:pt x="138" y="107"/>
                        <a:pt x="138" y="107"/>
                      </a:cubicBezTo>
                      <a:cubicBezTo>
                        <a:pt x="137" y="108"/>
                        <a:pt x="137" y="108"/>
                        <a:pt x="137" y="108"/>
                      </a:cubicBezTo>
                      <a:cubicBezTo>
                        <a:pt x="136" y="107"/>
                        <a:pt x="136" y="107"/>
                        <a:pt x="136" y="107"/>
                      </a:cubicBezTo>
                      <a:cubicBezTo>
                        <a:pt x="135" y="108"/>
                        <a:pt x="135" y="108"/>
                        <a:pt x="135" y="108"/>
                      </a:cubicBezTo>
                      <a:cubicBezTo>
                        <a:pt x="134" y="108"/>
                        <a:pt x="134" y="108"/>
                        <a:pt x="134" y="108"/>
                      </a:cubicBezTo>
                      <a:cubicBezTo>
                        <a:pt x="134" y="108"/>
                        <a:pt x="134" y="108"/>
                        <a:pt x="134" y="108"/>
                      </a:cubicBezTo>
                      <a:cubicBezTo>
                        <a:pt x="133" y="108"/>
                        <a:pt x="133" y="108"/>
                        <a:pt x="133" y="108"/>
                      </a:cubicBezTo>
                      <a:cubicBezTo>
                        <a:pt x="133" y="108"/>
                        <a:pt x="133" y="108"/>
                        <a:pt x="133" y="108"/>
                      </a:cubicBezTo>
                      <a:close/>
                      <a:moveTo>
                        <a:pt x="254" y="95"/>
                      </a:moveTo>
                      <a:cubicBezTo>
                        <a:pt x="255" y="95"/>
                        <a:pt x="255" y="95"/>
                        <a:pt x="255" y="95"/>
                      </a:cubicBezTo>
                      <a:cubicBezTo>
                        <a:pt x="255" y="96"/>
                        <a:pt x="255" y="96"/>
                        <a:pt x="255" y="96"/>
                      </a:cubicBezTo>
                      <a:cubicBezTo>
                        <a:pt x="255" y="96"/>
                        <a:pt x="255" y="96"/>
                        <a:pt x="255" y="96"/>
                      </a:cubicBezTo>
                      <a:cubicBezTo>
                        <a:pt x="255" y="97"/>
                        <a:pt x="255" y="97"/>
                        <a:pt x="255" y="97"/>
                      </a:cubicBezTo>
                      <a:cubicBezTo>
                        <a:pt x="254" y="96"/>
                        <a:pt x="254" y="96"/>
                        <a:pt x="254" y="96"/>
                      </a:cubicBezTo>
                      <a:cubicBezTo>
                        <a:pt x="254" y="95"/>
                        <a:pt x="254" y="95"/>
                        <a:pt x="254" y="95"/>
                      </a:cubicBezTo>
                      <a:cubicBezTo>
                        <a:pt x="254" y="95"/>
                        <a:pt x="254" y="95"/>
                        <a:pt x="254" y="95"/>
                      </a:cubicBezTo>
                      <a:close/>
                      <a:moveTo>
                        <a:pt x="245" y="95"/>
                      </a:moveTo>
                      <a:cubicBezTo>
                        <a:pt x="246" y="94"/>
                        <a:pt x="246" y="94"/>
                        <a:pt x="246" y="94"/>
                      </a:cubicBezTo>
                      <a:cubicBezTo>
                        <a:pt x="247" y="94"/>
                        <a:pt x="247" y="94"/>
                        <a:pt x="247" y="94"/>
                      </a:cubicBezTo>
                      <a:cubicBezTo>
                        <a:pt x="247" y="94"/>
                        <a:pt x="247" y="94"/>
                        <a:pt x="247" y="94"/>
                      </a:cubicBezTo>
                      <a:cubicBezTo>
                        <a:pt x="247" y="95"/>
                        <a:pt x="247" y="95"/>
                        <a:pt x="247" y="95"/>
                      </a:cubicBezTo>
                      <a:cubicBezTo>
                        <a:pt x="246" y="95"/>
                        <a:pt x="246" y="95"/>
                        <a:pt x="246" y="95"/>
                      </a:cubicBezTo>
                      <a:cubicBezTo>
                        <a:pt x="246" y="95"/>
                        <a:pt x="246" y="95"/>
                        <a:pt x="246" y="95"/>
                      </a:cubicBezTo>
                      <a:cubicBezTo>
                        <a:pt x="245" y="95"/>
                        <a:pt x="245" y="95"/>
                        <a:pt x="245" y="95"/>
                      </a:cubicBezTo>
                      <a:close/>
                      <a:moveTo>
                        <a:pt x="236" y="100"/>
                      </a:moveTo>
                      <a:cubicBezTo>
                        <a:pt x="236" y="100"/>
                        <a:pt x="236" y="100"/>
                        <a:pt x="236" y="100"/>
                      </a:cubicBezTo>
                      <a:cubicBezTo>
                        <a:pt x="238" y="100"/>
                        <a:pt x="238" y="100"/>
                        <a:pt x="238" y="100"/>
                      </a:cubicBezTo>
                      <a:cubicBezTo>
                        <a:pt x="239" y="101"/>
                        <a:pt x="239" y="101"/>
                        <a:pt x="239" y="101"/>
                      </a:cubicBezTo>
                      <a:cubicBezTo>
                        <a:pt x="239" y="101"/>
                        <a:pt x="239" y="101"/>
                        <a:pt x="239" y="101"/>
                      </a:cubicBezTo>
                      <a:cubicBezTo>
                        <a:pt x="240" y="101"/>
                        <a:pt x="240" y="101"/>
                        <a:pt x="240" y="101"/>
                      </a:cubicBezTo>
                      <a:cubicBezTo>
                        <a:pt x="241" y="101"/>
                        <a:pt x="241" y="101"/>
                        <a:pt x="241" y="101"/>
                      </a:cubicBezTo>
                      <a:cubicBezTo>
                        <a:pt x="242" y="101"/>
                        <a:pt x="242" y="101"/>
                        <a:pt x="242" y="101"/>
                      </a:cubicBezTo>
                      <a:cubicBezTo>
                        <a:pt x="243" y="101"/>
                        <a:pt x="243" y="101"/>
                        <a:pt x="243" y="101"/>
                      </a:cubicBezTo>
                      <a:cubicBezTo>
                        <a:pt x="243" y="100"/>
                        <a:pt x="243" y="100"/>
                        <a:pt x="243" y="100"/>
                      </a:cubicBezTo>
                      <a:cubicBezTo>
                        <a:pt x="244" y="100"/>
                        <a:pt x="244" y="100"/>
                        <a:pt x="244" y="100"/>
                      </a:cubicBezTo>
                      <a:cubicBezTo>
                        <a:pt x="244" y="99"/>
                        <a:pt x="244" y="99"/>
                        <a:pt x="244" y="99"/>
                      </a:cubicBezTo>
                      <a:cubicBezTo>
                        <a:pt x="243" y="99"/>
                        <a:pt x="243" y="99"/>
                        <a:pt x="243" y="99"/>
                      </a:cubicBezTo>
                      <a:cubicBezTo>
                        <a:pt x="242" y="99"/>
                        <a:pt x="242" y="99"/>
                        <a:pt x="242" y="99"/>
                      </a:cubicBezTo>
                      <a:cubicBezTo>
                        <a:pt x="241" y="99"/>
                        <a:pt x="241" y="99"/>
                        <a:pt x="241" y="99"/>
                      </a:cubicBezTo>
                      <a:cubicBezTo>
                        <a:pt x="241" y="99"/>
                        <a:pt x="241" y="99"/>
                        <a:pt x="241" y="99"/>
                      </a:cubicBezTo>
                      <a:cubicBezTo>
                        <a:pt x="240" y="100"/>
                        <a:pt x="240" y="100"/>
                        <a:pt x="240" y="100"/>
                      </a:cubicBezTo>
                      <a:cubicBezTo>
                        <a:pt x="238" y="99"/>
                        <a:pt x="238" y="99"/>
                        <a:pt x="238" y="99"/>
                      </a:cubicBezTo>
                      <a:cubicBezTo>
                        <a:pt x="237" y="100"/>
                        <a:pt x="237" y="100"/>
                        <a:pt x="237" y="100"/>
                      </a:cubicBezTo>
                      <a:cubicBezTo>
                        <a:pt x="236" y="100"/>
                        <a:pt x="236" y="100"/>
                        <a:pt x="236" y="100"/>
                      </a:cubicBezTo>
                      <a:cubicBezTo>
                        <a:pt x="236" y="100"/>
                        <a:pt x="236" y="100"/>
                        <a:pt x="236" y="100"/>
                      </a:cubicBezTo>
                      <a:close/>
                      <a:moveTo>
                        <a:pt x="231" y="130"/>
                      </a:moveTo>
                      <a:cubicBezTo>
                        <a:pt x="230" y="129"/>
                        <a:pt x="230" y="129"/>
                        <a:pt x="230" y="129"/>
                      </a:cubicBezTo>
                      <a:cubicBezTo>
                        <a:pt x="231" y="129"/>
                        <a:pt x="231" y="129"/>
                        <a:pt x="231" y="129"/>
                      </a:cubicBezTo>
                      <a:cubicBezTo>
                        <a:pt x="231" y="129"/>
                        <a:pt x="231" y="129"/>
                        <a:pt x="231" y="129"/>
                      </a:cubicBezTo>
                      <a:cubicBezTo>
                        <a:pt x="231" y="130"/>
                        <a:pt x="231" y="130"/>
                        <a:pt x="231" y="130"/>
                      </a:cubicBezTo>
                      <a:cubicBezTo>
                        <a:pt x="231" y="130"/>
                        <a:pt x="231" y="130"/>
                        <a:pt x="231" y="130"/>
                      </a:cubicBezTo>
                      <a:close/>
                      <a:moveTo>
                        <a:pt x="225" y="129"/>
                      </a:moveTo>
                      <a:cubicBezTo>
                        <a:pt x="224" y="128"/>
                        <a:pt x="224" y="128"/>
                        <a:pt x="224" y="128"/>
                      </a:cubicBezTo>
                      <a:cubicBezTo>
                        <a:pt x="224" y="128"/>
                        <a:pt x="224" y="128"/>
                        <a:pt x="224" y="128"/>
                      </a:cubicBezTo>
                      <a:cubicBezTo>
                        <a:pt x="224" y="127"/>
                        <a:pt x="224" y="127"/>
                        <a:pt x="224" y="127"/>
                      </a:cubicBezTo>
                      <a:cubicBezTo>
                        <a:pt x="223" y="128"/>
                        <a:pt x="223" y="128"/>
                        <a:pt x="223" y="128"/>
                      </a:cubicBezTo>
                      <a:cubicBezTo>
                        <a:pt x="223" y="127"/>
                        <a:pt x="223" y="127"/>
                        <a:pt x="223" y="127"/>
                      </a:cubicBezTo>
                      <a:cubicBezTo>
                        <a:pt x="223" y="126"/>
                        <a:pt x="223" y="126"/>
                        <a:pt x="223" y="126"/>
                      </a:cubicBezTo>
                      <a:cubicBezTo>
                        <a:pt x="223" y="125"/>
                        <a:pt x="223" y="125"/>
                        <a:pt x="223" y="125"/>
                      </a:cubicBezTo>
                      <a:cubicBezTo>
                        <a:pt x="223" y="125"/>
                        <a:pt x="223" y="125"/>
                        <a:pt x="223" y="125"/>
                      </a:cubicBezTo>
                      <a:cubicBezTo>
                        <a:pt x="223" y="124"/>
                        <a:pt x="223" y="124"/>
                        <a:pt x="223" y="124"/>
                      </a:cubicBezTo>
                      <a:cubicBezTo>
                        <a:pt x="223" y="123"/>
                        <a:pt x="223" y="123"/>
                        <a:pt x="223" y="123"/>
                      </a:cubicBezTo>
                      <a:cubicBezTo>
                        <a:pt x="223" y="122"/>
                        <a:pt x="223" y="122"/>
                        <a:pt x="223" y="122"/>
                      </a:cubicBezTo>
                      <a:cubicBezTo>
                        <a:pt x="223" y="122"/>
                        <a:pt x="223" y="122"/>
                        <a:pt x="223" y="122"/>
                      </a:cubicBezTo>
                      <a:cubicBezTo>
                        <a:pt x="222" y="121"/>
                        <a:pt x="222" y="121"/>
                        <a:pt x="222" y="121"/>
                      </a:cubicBezTo>
                      <a:cubicBezTo>
                        <a:pt x="222" y="120"/>
                        <a:pt x="222" y="120"/>
                        <a:pt x="222" y="120"/>
                      </a:cubicBezTo>
                      <a:cubicBezTo>
                        <a:pt x="221" y="119"/>
                        <a:pt x="221" y="119"/>
                        <a:pt x="221" y="119"/>
                      </a:cubicBezTo>
                      <a:cubicBezTo>
                        <a:pt x="221" y="118"/>
                        <a:pt x="221" y="118"/>
                        <a:pt x="221" y="118"/>
                      </a:cubicBezTo>
                      <a:cubicBezTo>
                        <a:pt x="221" y="117"/>
                        <a:pt x="221" y="117"/>
                        <a:pt x="221" y="117"/>
                      </a:cubicBezTo>
                      <a:cubicBezTo>
                        <a:pt x="220" y="117"/>
                        <a:pt x="220" y="117"/>
                        <a:pt x="220" y="117"/>
                      </a:cubicBezTo>
                      <a:cubicBezTo>
                        <a:pt x="220" y="117"/>
                        <a:pt x="220" y="117"/>
                        <a:pt x="220" y="117"/>
                      </a:cubicBezTo>
                      <a:cubicBezTo>
                        <a:pt x="220" y="116"/>
                        <a:pt x="220" y="116"/>
                        <a:pt x="220" y="116"/>
                      </a:cubicBezTo>
                      <a:cubicBezTo>
                        <a:pt x="220" y="115"/>
                        <a:pt x="220" y="115"/>
                        <a:pt x="220" y="115"/>
                      </a:cubicBezTo>
                      <a:cubicBezTo>
                        <a:pt x="219" y="116"/>
                        <a:pt x="219" y="116"/>
                        <a:pt x="219" y="116"/>
                      </a:cubicBezTo>
                      <a:cubicBezTo>
                        <a:pt x="218" y="115"/>
                        <a:pt x="218" y="115"/>
                        <a:pt x="218" y="115"/>
                      </a:cubicBezTo>
                      <a:cubicBezTo>
                        <a:pt x="218" y="116"/>
                        <a:pt x="218" y="116"/>
                        <a:pt x="218" y="116"/>
                      </a:cubicBezTo>
                      <a:cubicBezTo>
                        <a:pt x="217" y="115"/>
                        <a:pt x="217" y="115"/>
                        <a:pt x="217" y="115"/>
                      </a:cubicBezTo>
                      <a:cubicBezTo>
                        <a:pt x="217" y="114"/>
                        <a:pt x="217" y="114"/>
                        <a:pt x="217" y="114"/>
                      </a:cubicBezTo>
                      <a:cubicBezTo>
                        <a:pt x="218" y="114"/>
                        <a:pt x="218" y="114"/>
                        <a:pt x="218" y="114"/>
                      </a:cubicBezTo>
                      <a:cubicBezTo>
                        <a:pt x="218" y="113"/>
                        <a:pt x="218" y="113"/>
                        <a:pt x="218" y="113"/>
                      </a:cubicBezTo>
                      <a:cubicBezTo>
                        <a:pt x="218" y="112"/>
                        <a:pt x="218" y="112"/>
                        <a:pt x="218" y="112"/>
                      </a:cubicBezTo>
                      <a:cubicBezTo>
                        <a:pt x="218" y="111"/>
                        <a:pt x="218" y="111"/>
                        <a:pt x="218" y="111"/>
                      </a:cubicBezTo>
                      <a:cubicBezTo>
                        <a:pt x="218" y="110"/>
                        <a:pt x="218" y="110"/>
                        <a:pt x="218" y="110"/>
                      </a:cubicBezTo>
                      <a:cubicBezTo>
                        <a:pt x="218" y="109"/>
                        <a:pt x="218" y="109"/>
                        <a:pt x="218" y="109"/>
                      </a:cubicBezTo>
                      <a:cubicBezTo>
                        <a:pt x="219" y="108"/>
                        <a:pt x="219" y="108"/>
                        <a:pt x="219" y="108"/>
                      </a:cubicBezTo>
                      <a:cubicBezTo>
                        <a:pt x="220" y="108"/>
                        <a:pt x="220" y="108"/>
                        <a:pt x="220" y="108"/>
                      </a:cubicBezTo>
                      <a:cubicBezTo>
                        <a:pt x="220" y="107"/>
                        <a:pt x="220" y="107"/>
                        <a:pt x="220" y="107"/>
                      </a:cubicBezTo>
                      <a:cubicBezTo>
                        <a:pt x="221" y="107"/>
                        <a:pt x="221" y="107"/>
                        <a:pt x="221" y="107"/>
                      </a:cubicBezTo>
                      <a:cubicBezTo>
                        <a:pt x="221" y="108"/>
                        <a:pt x="221" y="108"/>
                        <a:pt x="221" y="108"/>
                      </a:cubicBezTo>
                      <a:cubicBezTo>
                        <a:pt x="222" y="107"/>
                        <a:pt x="222" y="107"/>
                        <a:pt x="222" y="107"/>
                      </a:cubicBezTo>
                      <a:cubicBezTo>
                        <a:pt x="223" y="107"/>
                        <a:pt x="223" y="107"/>
                        <a:pt x="223" y="107"/>
                      </a:cubicBezTo>
                      <a:cubicBezTo>
                        <a:pt x="224" y="108"/>
                        <a:pt x="224" y="108"/>
                        <a:pt x="224" y="108"/>
                      </a:cubicBezTo>
                      <a:cubicBezTo>
                        <a:pt x="223" y="108"/>
                        <a:pt x="223" y="108"/>
                        <a:pt x="223" y="108"/>
                      </a:cubicBezTo>
                      <a:cubicBezTo>
                        <a:pt x="223" y="108"/>
                        <a:pt x="223" y="108"/>
                        <a:pt x="223" y="108"/>
                      </a:cubicBezTo>
                      <a:cubicBezTo>
                        <a:pt x="223" y="109"/>
                        <a:pt x="223" y="109"/>
                        <a:pt x="223" y="109"/>
                      </a:cubicBezTo>
                      <a:cubicBezTo>
                        <a:pt x="224" y="109"/>
                        <a:pt x="224" y="109"/>
                        <a:pt x="224" y="109"/>
                      </a:cubicBezTo>
                      <a:cubicBezTo>
                        <a:pt x="224" y="109"/>
                        <a:pt x="224" y="109"/>
                        <a:pt x="224" y="109"/>
                      </a:cubicBezTo>
                      <a:cubicBezTo>
                        <a:pt x="224" y="110"/>
                        <a:pt x="224" y="110"/>
                        <a:pt x="224" y="110"/>
                      </a:cubicBezTo>
                      <a:cubicBezTo>
                        <a:pt x="225" y="111"/>
                        <a:pt x="225" y="111"/>
                        <a:pt x="225" y="111"/>
                      </a:cubicBezTo>
                      <a:cubicBezTo>
                        <a:pt x="225" y="112"/>
                        <a:pt x="225" y="112"/>
                        <a:pt x="225" y="112"/>
                      </a:cubicBezTo>
                      <a:cubicBezTo>
                        <a:pt x="225" y="113"/>
                        <a:pt x="225" y="113"/>
                        <a:pt x="225" y="113"/>
                      </a:cubicBezTo>
                      <a:cubicBezTo>
                        <a:pt x="226" y="113"/>
                        <a:pt x="226" y="113"/>
                        <a:pt x="226" y="113"/>
                      </a:cubicBezTo>
                      <a:cubicBezTo>
                        <a:pt x="227" y="113"/>
                        <a:pt x="227" y="113"/>
                        <a:pt x="227" y="113"/>
                      </a:cubicBezTo>
                      <a:cubicBezTo>
                        <a:pt x="227" y="112"/>
                        <a:pt x="227" y="112"/>
                        <a:pt x="227" y="112"/>
                      </a:cubicBezTo>
                      <a:cubicBezTo>
                        <a:pt x="227" y="112"/>
                        <a:pt x="227" y="112"/>
                        <a:pt x="227" y="112"/>
                      </a:cubicBezTo>
                      <a:cubicBezTo>
                        <a:pt x="228" y="111"/>
                        <a:pt x="228" y="111"/>
                        <a:pt x="228" y="111"/>
                      </a:cubicBezTo>
                      <a:cubicBezTo>
                        <a:pt x="228" y="110"/>
                        <a:pt x="228" y="110"/>
                        <a:pt x="228" y="110"/>
                      </a:cubicBezTo>
                      <a:cubicBezTo>
                        <a:pt x="228" y="110"/>
                        <a:pt x="228" y="110"/>
                        <a:pt x="228" y="110"/>
                      </a:cubicBezTo>
                      <a:cubicBezTo>
                        <a:pt x="228" y="109"/>
                        <a:pt x="228" y="109"/>
                        <a:pt x="228" y="109"/>
                      </a:cubicBezTo>
                      <a:cubicBezTo>
                        <a:pt x="228" y="108"/>
                        <a:pt x="228" y="108"/>
                        <a:pt x="228" y="108"/>
                      </a:cubicBezTo>
                      <a:cubicBezTo>
                        <a:pt x="228" y="108"/>
                        <a:pt x="228" y="108"/>
                        <a:pt x="228" y="108"/>
                      </a:cubicBezTo>
                      <a:cubicBezTo>
                        <a:pt x="229" y="108"/>
                        <a:pt x="229" y="108"/>
                        <a:pt x="229" y="108"/>
                      </a:cubicBezTo>
                      <a:cubicBezTo>
                        <a:pt x="230" y="108"/>
                        <a:pt x="230" y="108"/>
                        <a:pt x="230" y="108"/>
                      </a:cubicBezTo>
                      <a:cubicBezTo>
                        <a:pt x="230" y="109"/>
                        <a:pt x="230" y="109"/>
                        <a:pt x="230" y="109"/>
                      </a:cubicBezTo>
                      <a:cubicBezTo>
                        <a:pt x="231" y="109"/>
                        <a:pt x="231" y="109"/>
                        <a:pt x="231" y="109"/>
                      </a:cubicBezTo>
                      <a:cubicBezTo>
                        <a:pt x="231" y="108"/>
                        <a:pt x="231" y="108"/>
                        <a:pt x="231" y="108"/>
                      </a:cubicBezTo>
                      <a:cubicBezTo>
                        <a:pt x="230" y="107"/>
                        <a:pt x="230" y="107"/>
                        <a:pt x="230" y="107"/>
                      </a:cubicBezTo>
                      <a:cubicBezTo>
                        <a:pt x="230" y="106"/>
                        <a:pt x="230" y="106"/>
                        <a:pt x="230" y="106"/>
                      </a:cubicBezTo>
                      <a:cubicBezTo>
                        <a:pt x="230" y="106"/>
                        <a:pt x="230" y="106"/>
                        <a:pt x="230" y="106"/>
                      </a:cubicBezTo>
                      <a:cubicBezTo>
                        <a:pt x="229" y="107"/>
                        <a:pt x="229" y="107"/>
                        <a:pt x="229" y="107"/>
                      </a:cubicBezTo>
                      <a:cubicBezTo>
                        <a:pt x="228" y="107"/>
                        <a:pt x="228" y="107"/>
                        <a:pt x="228" y="107"/>
                      </a:cubicBezTo>
                      <a:cubicBezTo>
                        <a:pt x="227" y="106"/>
                        <a:pt x="227" y="106"/>
                        <a:pt x="227" y="106"/>
                      </a:cubicBezTo>
                      <a:cubicBezTo>
                        <a:pt x="227" y="106"/>
                        <a:pt x="227" y="106"/>
                        <a:pt x="227" y="106"/>
                      </a:cubicBezTo>
                      <a:cubicBezTo>
                        <a:pt x="227" y="105"/>
                        <a:pt x="227" y="105"/>
                        <a:pt x="227" y="105"/>
                      </a:cubicBezTo>
                      <a:cubicBezTo>
                        <a:pt x="227" y="104"/>
                        <a:pt x="227" y="104"/>
                        <a:pt x="227" y="104"/>
                      </a:cubicBezTo>
                      <a:cubicBezTo>
                        <a:pt x="227" y="103"/>
                        <a:pt x="227" y="103"/>
                        <a:pt x="227" y="103"/>
                      </a:cubicBezTo>
                      <a:cubicBezTo>
                        <a:pt x="228" y="103"/>
                        <a:pt x="228" y="103"/>
                        <a:pt x="228" y="103"/>
                      </a:cubicBezTo>
                      <a:cubicBezTo>
                        <a:pt x="228" y="103"/>
                        <a:pt x="228" y="103"/>
                        <a:pt x="228" y="103"/>
                      </a:cubicBezTo>
                      <a:cubicBezTo>
                        <a:pt x="229" y="103"/>
                        <a:pt x="229" y="103"/>
                        <a:pt x="229" y="103"/>
                      </a:cubicBezTo>
                      <a:cubicBezTo>
                        <a:pt x="229" y="104"/>
                        <a:pt x="229" y="104"/>
                        <a:pt x="229" y="104"/>
                      </a:cubicBezTo>
                      <a:cubicBezTo>
                        <a:pt x="230" y="105"/>
                        <a:pt x="230" y="105"/>
                        <a:pt x="230" y="105"/>
                      </a:cubicBezTo>
                      <a:cubicBezTo>
                        <a:pt x="230" y="105"/>
                        <a:pt x="230" y="105"/>
                        <a:pt x="230" y="105"/>
                      </a:cubicBezTo>
                      <a:cubicBezTo>
                        <a:pt x="230" y="105"/>
                        <a:pt x="230" y="105"/>
                        <a:pt x="230" y="105"/>
                      </a:cubicBezTo>
                      <a:cubicBezTo>
                        <a:pt x="230" y="104"/>
                        <a:pt x="230" y="104"/>
                        <a:pt x="230" y="104"/>
                      </a:cubicBezTo>
                      <a:cubicBezTo>
                        <a:pt x="230" y="103"/>
                        <a:pt x="230" y="103"/>
                        <a:pt x="230" y="103"/>
                      </a:cubicBezTo>
                      <a:cubicBezTo>
                        <a:pt x="230" y="103"/>
                        <a:pt x="230" y="103"/>
                        <a:pt x="230" y="103"/>
                      </a:cubicBezTo>
                      <a:cubicBezTo>
                        <a:pt x="229" y="102"/>
                        <a:pt x="229" y="102"/>
                        <a:pt x="229" y="102"/>
                      </a:cubicBezTo>
                      <a:cubicBezTo>
                        <a:pt x="229" y="101"/>
                        <a:pt x="229" y="101"/>
                        <a:pt x="229" y="101"/>
                      </a:cubicBezTo>
                      <a:cubicBezTo>
                        <a:pt x="230" y="101"/>
                        <a:pt x="230" y="101"/>
                        <a:pt x="230" y="101"/>
                      </a:cubicBezTo>
                      <a:cubicBezTo>
                        <a:pt x="230" y="100"/>
                        <a:pt x="230" y="100"/>
                        <a:pt x="230" y="100"/>
                      </a:cubicBezTo>
                      <a:cubicBezTo>
                        <a:pt x="231" y="100"/>
                        <a:pt x="231" y="100"/>
                        <a:pt x="231" y="100"/>
                      </a:cubicBezTo>
                      <a:cubicBezTo>
                        <a:pt x="231" y="100"/>
                        <a:pt x="231" y="100"/>
                        <a:pt x="231" y="100"/>
                      </a:cubicBezTo>
                      <a:cubicBezTo>
                        <a:pt x="232" y="100"/>
                        <a:pt x="232" y="100"/>
                        <a:pt x="232" y="100"/>
                      </a:cubicBezTo>
                      <a:cubicBezTo>
                        <a:pt x="232" y="101"/>
                        <a:pt x="232" y="101"/>
                        <a:pt x="232" y="101"/>
                      </a:cubicBezTo>
                      <a:cubicBezTo>
                        <a:pt x="234" y="101"/>
                        <a:pt x="234" y="101"/>
                        <a:pt x="234" y="101"/>
                      </a:cubicBezTo>
                      <a:cubicBezTo>
                        <a:pt x="234" y="100"/>
                        <a:pt x="234" y="100"/>
                        <a:pt x="234" y="100"/>
                      </a:cubicBezTo>
                      <a:cubicBezTo>
                        <a:pt x="233" y="100"/>
                        <a:pt x="233" y="100"/>
                        <a:pt x="233" y="100"/>
                      </a:cubicBezTo>
                      <a:cubicBezTo>
                        <a:pt x="233" y="100"/>
                        <a:pt x="233" y="100"/>
                        <a:pt x="233" y="100"/>
                      </a:cubicBezTo>
                      <a:cubicBezTo>
                        <a:pt x="233" y="100"/>
                        <a:pt x="233" y="100"/>
                        <a:pt x="233" y="100"/>
                      </a:cubicBezTo>
                      <a:cubicBezTo>
                        <a:pt x="234" y="99"/>
                        <a:pt x="234" y="99"/>
                        <a:pt x="234" y="99"/>
                      </a:cubicBezTo>
                      <a:cubicBezTo>
                        <a:pt x="235" y="99"/>
                        <a:pt x="235" y="99"/>
                        <a:pt x="235" y="99"/>
                      </a:cubicBezTo>
                      <a:cubicBezTo>
                        <a:pt x="235" y="100"/>
                        <a:pt x="235" y="100"/>
                        <a:pt x="235" y="100"/>
                      </a:cubicBezTo>
                      <a:cubicBezTo>
                        <a:pt x="235" y="100"/>
                        <a:pt x="235" y="100"/>
                        <a:pt x="235" y="100"/>
                      </a:cubicBezTo>
                      <a:cubicBezTo>
                        <a:pt x="235" y="101"/>
                        <a:pt x="235" y="101"/>
                        <a:pt x="235" y="101"/>
                      </a:cubicBezTo>
                      <a:cubicBezTo>
                        <a:pt x="236" y="101"/>
                        <a:pt x="236" y="101"/>
                        <a:pt x="236" y="101"/>
                      </a:cubicBezTo>
                      <a:cubicBezTo>
                        <a:pt x="236" y="102"/>
                        <a:pt x="236" y="102"/>
                        <a:pt x="236" y="102"/>
                      </a:cubicBezTo>
                      <a:cubicBezTo>
                        <a:pt x="237" y="102"/>
                        <a:pt x="237" y="102"/>
                        <a:pt x="237" y="102"/>
                      </a:cubicBezTo>
                      <a:cubicBezTo>
                        <a:pt x="238" y="102"/>
                        <a:pt x="238" y="102"/>
                        <a:pt x="238" y="102"/>
                      </a:cubicBezTo>
                      <a:cubicBezTo>
                        <a:pt x="239" y="102"/>
                        <a:pt x="239" y="102"/>
                        <a:pt x="239" y="102"/>
                      </a:cubicBezTo>
                      <a:cubicBezTo>
                        <a:pt x="240" y="102"/>
                        <a:pt x="240" y="102"/>
                        <a:pt x="240" y="102"/>
                      </a:cubicBezTo>
                      <a:cubicBezTo>
                        <a:pt x="240" y="102"/>
                        <a:pt x="240" y="102"/>
                        <a:pt x="240" y="102"/>
                      </a:cubicBezTo>
                      <a:cubicBezTo>
                        <a:pt x="243" y="102"/>
                        <a:pt x="243" y="102"/>
                        <a:pt x="243" y="102"/>
                      </a:cubicBezTo>
                      <a:cubicBezTo>
                        <a:pt x="243" y="103"/>
                        <a:pt x="243" y="103"/>
                        <a:pt x="243" y="103"/>
                      </a:cubicBezTo>
                      <a:cubicBezTo>
                        <a:pt x="244" y="102"/>
                        <a:pt x="244" y="102"/>
                        <a:pt x="244" y="102"/>
                      </a:cubicBezTo>
                      <a:cubicBezTo>
                        <a:pt x="244" y="103"/>
                        <a:pt x="244" y="103"/>
                        <a:pt x="244" y="103"/>
                      </a:cubicBezTo>
                      <a:cubicBezTo>
                        <a:pt x="244" y="103"/>
                        <a:pt x="244" y="103"/>
                        <a:pt x="244" y="103"/>
                      </a:cubicBezTo>
                      <a:cubicBezTo>
                        <a:pt x="244" y="104"/>
                        <a:pt x="244" y="104"/>
                        <a:pt x="244" y="104"/>
                      </a:cubicBezTo>
                      <a:cubicBezTo>
                        <a:pt x="244" y="105"/>
                        <a:pt x="244" y="105"/>
                        <a:pt x="244" y="105"/>
                      </a:cubicBezTo>
                      <a:cubicBezTo>
                        <a:pt x="243" y="105"/>
                        <a:pt x="243" y="105"/>
                        <a:pt x="243" y="105"/>
                      </a:cubicBezTo>
                      <a:cubicBezTo>
                        <a:pt x="242" y="105"/>
                        <a:pt x="242" y="105"/>
                        <a:pt x="242" y="105"/>
                      </a:cubicBezTo>
                      <a:cubicBezTo>
                        <a:pt x="242" y="105"/>
                        <a:pt x="242" y="105"/>
                        <a:pt x="242" y="105"/>
                      </a:cubicBezTo>
                      <a:cubicBezTo>
                        <a:pt x="241" y="105"/>
                        <a:pt x="241" y="105"/>
                        <a:pt x="241" y="105"/>
                      </a:cubicBezTo>
                      <a:cubicBezTo>
                        <a:pt x="241" y="105"/>
                        <a:pt x="241" y="105"/>
                        <a:pt x="241" y="105"/>
                      </a:cubicBezTo>
                      <a:cubicBezTo>
                        <a:pt x="241" y="106"/>
                        <a:pt x="241" y="106"/>
                        <a:pt x="241" y="106"/>
                      </a:cubicBezTo>
                      <a:cubicBezTo>
                        <a:pt x="242" y="106"/>
                        <a:pt x="242" y="106"/>
                        <a:pt x="242" y="106"/>
                      </a:cubicBezTo>
                      <a:cubicBezTo>
                        <a:pt x="242" y="107"/>
                        <a:pt x="242" y="107"/>
                        <a:pt x="242" y="107"/>
                      </a:cubicBezTo>
                      <a:cubicBezTo>
                        <a:pt x="241" y="108"/>
                        <a:pt x="241" y="108"/>
                        <a:pt x="241" y="108"/>
                      </a:cubicBezTo>
                      <a:cubicBezTo>
                        <a:pt x="241" y="108"/>
                        <a:pt x="241" y="108"/>
                        <a:pt x="241" y="108"/>
                      </a:cubicBezTo>
                      <a:cubicBezTo>
                        <a:pt x="241" y="108"/>
                        <a:pt x="241" y="108"/>
                        <a:pt x="241" y="108"/>
                      </a:cubicBezTo>
                      <a:cubicBezTo>
                        <a:pt x="240" y="108"/>
                        <a:pt x="240" y="108"/>
                        <a:pt x="240" y="108"/>
                      </a:cubicBezTo>
                      <a:cubicBezTo>
                        <a:pt x="239" y="108"/>
                        <a:pt x="239" y="108"/>
                        <a:pt x="239" y="108"/>
                      </a:cubicBezTo>
                      <a:cubicBezTo>
                        <a:pt x="238" y="109"/>
                        <a:pt x="238" y="109"/>
                        <a:pt x="238" y="109"/>
                      </a:cubicBezTo>
                      <a:cubicBezTo>
                        <a:pt x="237" y="109"/>
                        <a:pt x="237" y="109"/>
                        <a:pt x="237" y="109"/>
                      </a:cubicBezTo>
                      <a:cubicBezTo>
                        <a:pt x="236" y="110"/>
                        <a:pt x="236" y="110"/>
                        <a:pt x="236" y="110"/>
                      </a:cubicBezTo>
                      <a:cubicBezTo>
                        <a:pt x="235" y="110"/>
                        <a:pt x="235" y="110"/>
                        <a:pt x="235" y="110"/>
                      </a:cubicBezTo>
                      <a:cubicBezTo>
                        <a:pt x="234" y="111"/>
                        <a:pt x="234" y="111"/>
                        <a:pt x="234" y="111"/>
                      </a:cubicBezTo>
                      <a:cubicBezTo>
                        <a:pt x="234" y="111"/>
                        <a:pt x="234" y="111"/>
                        <a:pt x="234" y="111"/>
                      </a:cubicBezTo>
                      <a:cubicBezTo>
                        <a:pt x="235" y="111"/>
                        <a:pt x="235" y="111"/>
                        <a:pt x="235" y="111"/>
                      </a:cubicBezTo>
                      <a:cubicBezTo>
                        <a:pt x="235" y="111"/>
                        <a:pt x="235" y="111"/>
                        <a:pt x="235" y="111"/>
                      </a:cubicBezTo>
                      <a:cubicBezTo>
                        <a:pt x="237" y="111"/>
                        <a:pt x="237" y="111"/>
                        <a:pt x="237" y="111"/>
                      </a:cubicBezTo>
                      <a:cubicBezTo>
                        <a:pt x="237" y="111"/>
                        <a:pt x="237" y="111"/>
                        <a:pt x="237" y="111"/>
                      </a:cubicBezTo>
                      <a:cubicBezTo>
                        <a:pt x="239" y="111"/>
                        <a:pt x="239" y="111"/>
                        <a:pt x="239" y="111"/>
                      </a:cubicBezTo>
                      <a:cubicBezTo>
                        <a:pt x="239" y="112"/>
                        <a:pt x="239" y="112"/>
                        <a:pt x="239" y="112"/>
                      </a:cubicBezTo>
                      <a:cubicBezTo>
                        <a:pt x="238" y="112"/>
                        <a:pt x="238" y="112"/>
                        <a:pt x="238" y="112"/>
                      </a:cubicBezTo>
                      <a:cubicBezTo>
                        <a:pt x="238" y="113"/>
                        <a:pt x="238" y="113"/>
                        <a:pt x="238" y="113"/>
                      </a:cubicBezTo>
                      <a:cubicBezTo>
                        <a:pt x="238" y="113"/>
                        <a:pt x="238" y="113"/>
                        <a:pt x="238" y="113"/>
                      </a:cubicBezTo>
                      <a:cubicBezTo>
                        <a:pt x="239" y="114"/>
                        <a:pt x="239" y="114"/>
                        <a:pt x="239" y="114"/>
                      </a:cubicBezTo>
                      <a:cubicBezTo>
                        <a:pt x="239" y="114"/>
                        <a:pt x="239" y="114"/>
                        <a:pt x="239" y="114"/>
                      </a:cubicBezTo>
                      <a:cubicBezTo>
                        <a:pt x="238" y="115"/>
                        <a:pt x="238" y="115"/>
                        <a:pt x="238" y="115"/>
                      </a:cubicBezTo>
                      <a:cubicBezTo>
                        <a:pt x="238" y="116"/>
                        <a:pt x="238" y="116"/>
                        <a:pt x="238" y="116"/>
                      </a:cubicBezTo>
                      <a:cubicBezTo>
                        <a:pt x="238" y="116"/>
                        <a:pt x="238" y="116"/>
                        <a:pt x="238" y="116"/>
                      </a:cubicBezTo>
                      <a:cubicBezTo>
                        <a:pt x="239" y="115"/>
                        <a:pt x="239" y="115"/>
                        <a:pt x="239" y="115"/>
                      </a:cubicBezTo>
                      <a:cubicBezTo>
                        <a:pt x="240" y="115"/>
                        <a:pt x="240" y="115"/>
                        <a:pt x="240" y="115"/>
                      </a:cubicBezTo>
                      <a:cubicBezTo>
                        <a:pt x="240" y="114"/>
                        <a:pt x="240" y="114"/>
                        <a:pt x="240" y="114"/>
                      </a:cubicBezTo>
                      <a:cubicBezTo>
                        <a:pt x="241" y="114"/>
                        <a:pt x="241" y="114"/>
                        <a:pt x="241" y="114"/>
                      </a:cubicBezTo>
                      <a:cubicBezTo>
                        <a:pt x="240" y="115"/>
                        <a:pt x="240" y="115"/>
                        <a:pt x="240" y="115"/>
                      </a:cubicBezTo>
                      <a:cubicBezTo>
                        <a:pt x="240" y="116"/>
                        <a:pt x="240" y="116"/>
                        <a:pt x="240" y="116"/>
                      </a:cubicBezTo>
                      <a:cubicBezTo>
                        <a:pt x="240" y="117"/>
                        <a:pt x="240" y="117"/>
                        <a:pt x="240" y="117"/>
                      </a:cubicBezTo>
                      <a:cubicBezTo>
                        <a:pt x="240" y="118"/>
                        <a:pt x="240" y="118"/>
                        <a:pt x="240" y="118"/>
                      </a:cubicBezTo>
                      <a:cubicBezTo>
                        <a:pt x="238" y="119"/>
                        <a:pt x="238" y="119"/>
                        <a:pt x="238" y="119"/>
                      </a:cubicBezTo>
                      <a:cubicBezTo>
                        <a:pt x="237" y="119"/>
                        <a:pt x="237" y="119"/>
                        <a:pt x="237" y="119"/>
                      </a:cubicBezTo>
                      <a:cubicBezTo>
                        <a:pt x="237" y="120"/>
                        <a:pt x="237" y="120"/>
                        <a:pt x="237" y="120"/>
                      </a:cubicBezTo>
                      <a:cubicBezTo>
                        <a:pt x="237" y="120"/>
                        <a:pt x="237" y="120"/>
                        <a:pt x="237" y="120"/>
                      </a:cubicBezTo>
                      <a:cubicBezTo>
                        <a:pt x="237" y="121"/>
                        <a:pt x="237" y="121"/>
                        <a:pt x="237" y="121"/>
                      </a:cubicBezTo>
                      <a:cubicBezTo>
                        <a:pt x="236" y="121"/>
                        <a:pt x="236" y="121"/>
                        <a:pt x="236" y="121"/>
                      </a:cubicBezTo>
                      <a:cubicBezTo>
                        <a:pt x="236" y="121"/>
                        <a:pt x="236" y="121"/>
                        <a:pt x="236" y="121"/>
                      </a:cubicBezTo>
                      <a:cubicBezTo>
                        <a:pt x="235" y="121"/>
                        <a:pt x="235" y="121"/>
                        <a:pt x="235" y="121"/>
                      </a:cubicBezTo>
                      <a:cubicBezTo>
                        <a:pt x="236" y="122"/>
                        <a:pt x="236" y="122"/>
                        <a:pt x="236" y="122"/>
                      </a:cubicBezTo>
                      <a:cubicBezTo>
                        <a:pt x="237" y="122"/>
                        <a:pt x="237" y="122"/>
                        <a:pt x="237" y="122"/>
                      </a:cubicBezTo>
                      <a:cubicBezTo>
                        <a:pt x="236" y="123"/>
                        <a:pt x="236" y="123"/>
                        <a:pt x="236" y="123"/>
                      </a:cubicBezTo>
                      <a:cubicBezTo>
                        <a:pt x="236" y="123"/>
                        <a:pt x="236" y="123"/>
                        <a:pt x="236" y="123"/>
                      </a:cubicBezTo>
                      <a:cubicBezTo>
                        <a:pt x="236" y="123"/>
                        <a:pt x="236" y="123"/>
                        <a:pt x="236" y="123"/>
                      </a:cubicBezTo>
                      <a:cubicBezTo>
                        <a:pt x="235" y="124"/>
                        <a:pt x="235" y="124"/>
                        <a:pt x="235" y="124"/>
                      </a:cubicBezTo>
                      <a:cubicBezTo>
                        <a:pt x="235" y="124"/>
                        <a:pt x="235" y="124"/>
                        <a:pt x="235" y="124"/>
                      </a:cubicBezTo>
                      <a:cubicBezTo>
                        <a:pt x="234" y="124"/>
                        <a:pt x="234" y="124"/>
                        <a:pt x="234" y="124"/>
                      </a:cubicBezTo>
                      <a:cubicBezTo>
                        <a:pt x="233" y="124"/>
                        <a:pt x="233" y="124"/>
                        <a:pt x="233" y="124"/>
                      </a:cubicBezTo>
                      <a:cubicBezTo>
                        <a:pt x="232" y="125"/>
                        <a:pt x="232" y="125"/>
                        <a:pt x="232" y="125"/>
                      </a:cubicBezTo>
                      <a:cubicBezTo>
                        <a:pt x="232" y="125"/>
                        <a:pt x="232" y="125"/>
                        <a:pt x="232" y="125"/>
                      </a:cubicBezTo>
                      <a:cubicBezTo>
                        <a:pt x="231" y="126"/>
                        <a:pt x="231" y="126"/>
                        <a:pt x="231" y="126"/>
                      </a:cubicBezTo>
                      <a:cubicBezTo>
                        <a:pt x="230" y="125"/>
                        <a:pt x="230" y="125"/>
                        <a:pt x="230" y="125"/>
                      </a:cubicBezTo>
                      <a:cubicBezTo>
                        <a:pt x="229" y="126"/>
                        <a:pt x="229" y="126"/>
                        <a:pt x="229" y="126"/>
                      </a:cubicBezTo>
                      <a:cubicBezTo>
                        <a:pt x="228" y="125"/>
                        <a:pt x="228" y="125"/>
                        <a:pt x="228" y="125"/>
                      </a:cubicBezTo>
                      <a:cubicBezTo>
                        <a:pt x="228" y="124"/>
                        <a:pt x="228" y="124"/>
                        <a:pt x="228" y="124"/>
                      </a:cubicBezTo>
                      <a:cubicBezTo>
                        <a:pt x="229" y="123"/>
                        <a:pt x="229" y="123"/>
                        <a:pt x="229" y="123"/>
                      </a:cubicBezTo>
                      <a:cubicBezTo>
                        <a:pt x="229" y="122"/>
                        <a:pt x="229" y="122"/>
                        <a:pt x="229" y="122"/>
                      </a:cubicBezTo>
                      <a:cubicBezTo>
                        <a:pt x="227" y="123"/>
                        <a:pt x="227" y="123"/>
                        <a:pt x="227" y="123"/>
                      </a:cubicBezTo>
                      <a:cubicBezTo>
                        <a:pt x="227" y="124"/>
                        <a:pt x="227" y="124"/>
                        <a:pt x="227" y="124"/>
                      </a:cubicBezTo>
                      <a:cubicBezTo>
                        <a:pt x="228" y="126"/>
                        <a:pt x="228" y="126"/>
                        <a:pt x="228" y="126"/>
                      </a:cubicBezTo>
                      <a:cubicBezTo>
                        <a:pt x="228" y="126"/>
                        <a:pt x="228" y="126"/>
                        <a:pt x="228" y="126"/>
                      </a:cubicBezTo>
                      <a:cubicBezTo>
                        <a:pt x="228" y="127"/>
                        <a:pt x="228" y="127"/>
                        <a:pt x="228" y="127"/>
                      </a:cubicBezTo>
                      <a:cubicBezTo>
                        <a:pt x="227" y="128"/>
                        <a:pt x="227" y="128"/>
                        <a:pt x="227" y="128"/>
                      </a:cubicBezTo>
                      <a:cubicBezTo>
                        <a:pt x="226" y="129"/>
                        <a:pt x="226" y="129"/>
                        <a:pt x="226" y="129"/>
                      </a:cubicBezTo>
                      <a:cubicBezTo>
                        <a:pt x="226" y="129"/>
                        <a:pt x="225" y="129"/>
                        <a:pt x="225" y="129"/>
                      </a:cubicBezTo>
                      <a:close/>
                      <a:moveTo>
                        <a:pt x="241" y="109"/>
                      </a:moveTo>
                      <a:cubicBezTo>
                        <a:pt x="241" y="109"/>
                        <a:pt x="241" y="109"/>
                        <a:pt x="241" y="109"/>
                      </a:cubicBezTo>
                      <a:cubicBezTo>
                        <a:pt x="241" y="109"/>
                        <a:pt x="241" y="109"/>
                        <a:pt x="241" y="109"/>
                      </a:cubicBezTo>
                      <a:cubicBezTo>
                        <a:pt x="242" y="109"/>
                        <a:pt x="242" y="109"/>
                        <a:pt x="242" y="109"/>
                      </a:cubicBezTo>
                      <a:cubicBezTo>
                        <a:pt x="241" y="109"/>
                        <a:pt x="241" y="109"/>
                        <a:pt x="241" y="109"/>
                      </a:cubicBezTo>
                      <a:close/>
                      <a:moveTo>
                        <a:pt x="240" y="112"/>
                      </a:moveTo>
                      <a:cubicBezTo>
                        <a:pt x="241" y="112"/>
                        <a:pt x="241" y="112"/>
                        <a:pt x="241" y="112"/>
                      </a:cubicBezTo>
                      <a:cubicBezTo>
                        <a:pt x="242" y="111"/>
                        <a:pt x="242" y="111"/>
                        <a:pt x="242" y="111"/>
                      </a:cubicBezTo>
                      <a:cubicBezTo>
                        <a:pt x="242" y="111"/>
                        <a:pt x="242" y="111"/>
                        <a:pt x="242" y="111"/>
                      </a:cubicBezTo>
                      <a:cubicBezTo>
                        <a:pt x="241" y="110"/>
                        <a:pt x="241" y="110"/>
                        <a:pt x="241" y="110"/>
                      </a:cubicBezTo>
                      <a:cubicBezTo>
                        <a:pt x="241" y="110"/>
                        <a:pt x="241" y="110"/>
                        <a:pt x="241" y="110"/>
                      </a:cubicBezTo>
                      <a:cubicBezTo>
                        <a:pt x="240" y="110"/>
                        <a:pt x="240" y="110"/>
                        <a:pt x="240" y="110"/>
                      </a:cubicBezTo>
                      <a:cubicBezTo>
                        <a:pt x="240" y="111"/>
                        <a:pt x="240" y="111"/>
                        <a:pt x="240" y="111"/>
                      </a:cubicBezTo>
                      <a:cubicBezTo>
                        <a:pt x="240" y="111"/>
                        <a:pt x="240" y="111"/>
                        <a:pt x="240" y="111"/>
                      </a:cubicBezTo>
                      <a:cubicBezTo>
                        <a:pt x="240" y="112"/>
                        <a:pt x="240" y="112"/>
                        <a:pt x="240" y="112"/>
                      </a:cubicBezTo>
                      <a:cubicBezTo>
                        <a:pt x="240" y="112"/>
                        <a:pt x="240" y="112"/>
                        <a:pt x="240" y="112"/>
                      </a:cubicBezTo>
                      <a:close/>
                      <a:moveTo>
                        <a:pt x="240" y="114"/>
                      </a:moveTo>
                      <a:cubicBezTo>
                        <a:pt x="240" y="114"/>
                        <a:pt x="240" y="114"/>
                        <a:pt x="240" y="114"/>
                      </a:cubicBezTo>
                      <a:cubicBezTo>
                        <a:pt x="241" y="113"/>
                        <a:pt x="241" y="113"/>
                        <a:pt x="241" y="113"/>
                      </a:cubicBezTo>
                      <a:cubicBezTo>
                        <a:pt x="240" y="113"/>
                        <a:pt x="240" y="113"/>
                        <a:pt x="240" y="113"/>
                      </a:cubicBezTo>
                      <a:cubicBezTo>
                        <a:pt x="239" y="113"/>
                        <a:pt x="239" y="113"/>
                        <a:pt x="239" y="113"/>
                      </a:cubicBezTo>
                      <a:cubicBezTo>
                        <a:pt x="239" y="114"/>
                        <a:pt x="239" y="114"/>
                        <a:pt x="239" y="114"/>
                      </a:cubicBezTo>
                      <a:cubicBezTo>
                        <a:pt x="240" y="114"/>
                        <a:pt x="240" y="114"/>
                        <a:pt x="240" y="114"/>
                      </a:cubicBezTo>
                      <a:close/>
                      <a:moveTo>
                        <a:pt x="203" y="96"/>
                      </a:moveTo>
                      <a:cubicBezTo>
                        <a:pt x="203" y="96"/>
                        <a:pt x="203" y="96"/>
                        <a:pt x="203" y="96"/>
                      </a:cubicBezTo>
                      <a:cubicBezTo>
                        <a:pt x="204" y="97"/>
                        <a:pt x="204" y="97"/>
                        <a:pt x="204" y="97"/>
                      </a:cubicBezTo>
                      <a:cubicBezTo>
                        <a:pt x="204" y="96"/>
                        <a:pt x="204" y="96"/>
                        <a:pt x="204" y="96"/>
                      </a:cubicBezTo>
                      <a:cubicBezTo>
                        <a:pt x="205" y="97"/>
                        <a:pt x="205" y="97"/>
                        <a:pt x="205" y="97"/>
                      </a:cubicBezTo>
                      <a:cubicBezTo>
                        <a:pt x="205" y="96"/>
                        <a:pt x="205" y="96"/>
                        <a:pt x="205" y="96"/>
                      </a:cubicBezTo>
                      <a:cubicBezTo>
                        <a:pt x="205" y="96"/>
                        <a:pt x="205" y="96"/>
                        <a:pt x="205" y="96"/>
                      </a:cubicBezTo>
                      <a:cubicBezTo>
                        <a:pt x="204" y="96"/>
                        <a:pt x="204" y="96"/>
                        <a:pt x="204" y="96"/>
                      </a:cubicBezTo>
                      <a:cubicBezTo>
                        <a:pt x="203" y="96"/>
                        <a:pt x="203" y="96"/>
                        <a:pt x="203" y="96"/>
                      </a:cubicBezTo>
                      <a:close/>
                      <a:moveTo>
                        <a:pt x="209" y="107"/>
                      </a:moveTo>
                      <a:cubicBezTo>
                        <a:pt x="209" y="106"/>
                        <a:pt x="209" y="106"/>
                        <a:pt x="209" y="106"/>
                      </a:cubicBezTo>
                      <a:cubicBezTo>
                        <a:pt x="209" y="104"/>
                        <a:pt x="209" y="104"/>
                        <a:pt x="209" y="104"/>
                      </a:cubicBezTo>
                      <a:cubicBezTo>
                        <a:pt x="208" y="103"/>
                        <a:pt x="208" y="103"/>
                        <a:pt x="208" y="103"/>
                      </a:cubicBezTo>
                      <a:cubicBezTo>
                        <a:pt x="208" y="102"/>
                        <a:pt x="208" y="102"/>
                        <a:pt x="208" y="102"/>
                      </a:cubicBezTo>
                      <a:cubicBezTo>
                        <a:pt x="208" y="102"/>
                        <a:pt x="208" y="102"/>
                        <a:pt x="208" y="102"/>
                      </a:cubicBezTo>
                      <a:cubicBezTo>
                        <a:pt x="208" y="101"/>
                        <a:pt x="208" y="101"/>
                        <a:pt x="208" y="101"/>
                      </a:cubicBezTo>
                      <a:cubicBezTo>
                        <a:pt x="208" y="100"/>
                        <a:pt x="208" y="100"/>
                        <a:pt x="208" y="100"/>
                      </a:cubicBezTo>
                      <a:cubicBezTo>
                        <a:pt x="207" y="99"/>
                        <a:pt x="207" y="99"/>
                        <a:pt x="207" y="99"/>
                      </a:cubicBezTo>
                      <a:cubicBezTo>
                        <a:pt x="206" y="98"/>
                        <a:pt x="206" y="98"/>
                        <a:pt x="206" y="98"/>
                      </a:cubicBezTo>
                      <a:cubicBezTo>
                        <a:pt x="206" y="98"/>
                        <a:pt x="206" y="98"/>
                        <a:pt x="206" y="98"/>
                      </a:cubicBezTo>
                      <a:cubicBezTo>
                        <a:pt x="208" y="97"/>
                        <a:pt x="208" y="97"/>
                        <a:pt x="208" y="97"/>
                      </a:cubicBezTo>
                      <a:cubicBezTo>
                        <a:pt x="209" y="97"/>
                        <a:pt x="209" y="97"/>
                        <a:pt x="209" y="97"/>
                      </a:cubicBezTo>
                      <a:cubicBezTo>
                        <a:pt x="209" y="96"/>
                        <a:pt x="209" y="96"/>
                        <a:pt x="209" y="96"/>
                      </a:cubicBezTo>
                      <a:cubicBezTo>
                        <a:pt x="211" y="96"/>
                        <a:pt x="211" y="96"/>
                        <a:pt x="211" y="96"/>
                      </a:cubicBezTo>
                      <a:cubicBezTo>
                        <a:pt x="211" y="96"/>
                        <a:pt x="211" y="96"/>
                        <a:pt x="211" y="96"/>
                      </a:cubicBezTo>
                      <a:cubicBezTo>
                        <a:pt x="212" y="96"/>
                        <a:pt x="212" y="96"/>
                        <a:pt x="212" y="96"/>
                      </a:cubicBezTo>
                      <a:cubicBezTo>
                        <a:pt x="213" y="97"/>
                        <a:pt x="213" y="97"/>
                        <a:pt x="213" y="97"/>
                      </a:cubicBezTo>
                      <a:cubicBezTo>
                        <a:pt x="214" y="97"/>
                        <a:pt x="214" y="97"/>
                        <a:pt x="214" y="97"/>
                      </a:cubicBezTo>
                      <a:cubicBezTo>
                        <a:pt x="214" y="97"/>
                        <a:pt x="214" y="97"/>
                        <a:pt x="214" y="97"/>
                      </a:cubicBezTo>
                      <a:cubicBezTo>
                        <a:pt x="215" y="97"/>
                        <a:pt x="215" y="97"/>
                        <a:pt x="215" y="97"/>
                      </a:cubicBezTo>
                      <a:cubicBezTo>
                        <a:pt x="216" y="97"/>
                        <a:pt x="216" y="97"/>
                        <a:pt x="216" y="97"/>
                      </a:cubicBezTo>
                      <a:cubicBezTo>
                        <a:pt x="217" y="98"/>
                        <a:pt x="217" y="98"/>
                        <a:pt x="217" y="98"/>
                      </a:cubicBezTo>
                      <a:cubicBezTo>
                        <a:pt x="217" y="98"/>
                        <a:pt x="217" y="98"/>
                        <a:pt x="217" y="98"/>
                      </a:cubicBezTo>
                      <a:cubicBezTo>
                        <a:pt x="216" y="99"/>
                        <a:pt x="216" y="99"/>
                        <a:pt x="216" y="99"/>
                      </a:cubicBezTo>
                      <a:cubicBezTo>
                        <a:pt x="217" y="100"/>
                        <a:pt x="217" y="100"/>
                        <a:pt x="217" y="100"/>
                      </a:cubicBezTo>
                      <a:cubicBezTo>
                        <a:pt x="217" y="100"/>
                        <a:pt x="217" y="100"/>
                        <a:pt x="217" y="100"/>
                      </a:cubicBezTo>
                      <a:cubicBezTo>
                        <a:pt x="216" y="101"/>
                        <a:pt x="216" y="101"/>
                        <a:pt x="216" y="101"/>
                      </a:cubicBezTo>
                      <a:cubicBezTo>
                        <a:pt x="216" y="101"/>
                        <a:pt x="216" y="101"/>
                        <a:pt x="216" y="101"/>
                      </a:cubicBezTo>
                      <a:cubicBezTo>
                        <a:pt x="215" y="102"/>
                        <a:pt x="215" y="102"/>
                        <a:pt x="215" y="102"/>
                      </a:cubicBezTo>
                      <a:cubicBezTo>
                        <a:pt x="215" y="102"/>
                        <a:pt x="215" y="102"/>
                        <a:pt x="215" y="102"/>
                      </a:cubicBezTo>
                      <a:cubicBezTo>
                        <a:pt x="213" y="103"/>
                        <a:pt x="213" y="103"/>
                        <a:pt x="213" y="103"/>
                      </a:cubicBezTo>
                      <a:cubicBezTo>
                        <a:pt x="212" y="104"/>
                        <a:pt x="212" y="104"/>
                        <a:pt x="212" y="104"/>
                      </a:cubicBezTo>
                      <a:cubicBezTo>
                        <a:pt x="211" y="105"/>
                        <a:pt x="211" y="105"/>
                        <a:pt x="211" y="105"/>
                      </a:cubicBezTo>
                      <a:cubicBezTo>
                        <a:pt x="210" y="105"/>
                        <a:pt x="210" y="105"/>
                        <a:pt x="210" y="105"/>
                      </a:cubicBezTo>
                      <a:cubicBezTo>
                        <a:pt x="210" y="106"/>
                        <a:pt x="210" y="106"/>
                        <a:pt x="210" y="106"/>
                      </a:cubicBezTo>
                      <a:cubicBezTo>
                        <a:pt x="210" y="106"/>
                        <a:pt x="210" y="106"/>
                        <a:pt x="210" y="106"/>
                      </a:cubicBezTo>
                      <a:cubicBezTo>
                        <a:pt x="209" y="107"/>
                        <a:pt x="209" y="107"/>
                        <a:pt x="209" y="107"/>
                      </a:cubicBezTo>
                      <a:close/>
                      <a:moveTo>
                        <a:pt x="244" y="124"/>
                      </a:moveTo>
                      <a:cubicBezTo>
                        <a:pt x="242" y="123"/>
                        <a:pt x="242" y="123"/>
                        <a:pt x="242" y="123"/>
                      </a:cubicBezTo>
                      <a:cubicBezTo>
                        <a:pt x="242" y="123"/>
                        <a:pt x="242" y="123"/>
                        <a:pt x="242" y="123"/>
                      </a:cubicBezTo>
                      <a:cubicBezTo>
                        <a:pt x="240" y="123"/>
                        <a:pt x="240" y="123"/>
                        <a:pt x="240" y="123"/>
                      </a:cubicBezTo>
                      <a:cubicBezTo>
                        <a:pt x="241" y="122"/>
                        <a:pt x="241" y="122"/>
                        <a:pt x="241" y="122"/>
                      </a:cubicBezTo>
                      <a:cubicBezTo>
                        <a:pt x="241" y="122"/>
                        <a:pt x="241" y="122"/>
                        <a:pt x="241" y="122"/>
                      </a:cubicBezTo>
                      <a:cubicBezTo>
                        <a:pt x="242" y="122"/>
                        <a:pt x="242" y="122"/>
                        <a:pt x="242" y="122"/>
                      </a:cubicBezTo>
                      <a:cubicBezTo>
                        <a:pt x="242" y="122"/>
                        <a:pt x="242" y="122"/>
                        <a:pt x="242" y="122"/>
                      </a:cubicBezTo>
                      <a:cubicBezTo>
                        <a:pt x="242" y="122"/>
                        <a:pt x="242" y="122"/>
                        <a:pt x="242" y="122"/>
                      </a:cubicBezTo>
                      <a:cubicBezTo>
                        <a:pt x="241" y="122"/>
                        <a:pt x="241" y="122"/>
                        <a:pt x="241" y="122"/>
                      </a:cubicBezTo>
                      <a:cubicBezTo>
                        <a:pt x="241" y="121"/>
                        <a:pt x="241" y="121"/>
                        <a:pt x="241" y="121"/>
                      </a:cubicBezTo>
                      <a:cubicBezTo>
                        <a:pt x="242" y="120"/>
                        <a:pt x="242" y="120"/>
                        <a:pt x="242" y="120"/>
                      </a:cubicBezTo>
                      <a:cubicBezTo>
                        <a:pt x="243" y="118"/>
                        <a:pt x="243" y="118"/>
                        <a:pt x="243" y="118"/>
                      </a:cubicBezTo>
                      <a:cubicBezTo>
                        <a:pt x="243" y="118"/>
                        <a:pt x="243" y="118"/>
                        <a:pt x="243" y="118"/>
                      </a:cubicBezTo>
                      <a:cubicBezTo>
                        <a:pt x="243" y="117"/>
                        <a:pt x="243" y="117"/>
                        <a:pt x="243" y="117"/>
                      </a:cubicBezTo>
                      <a:cubicBezTo>
                        <a:pt x="243" y="117"/>
                        <a:pt x="243" y="117"/>
                        <a:pt x="243" y="117"/>
                      </a:cubicBezTo>
                      <a:cubicBezTo>
                        <a:pt x="242" y="116"/>
                        <a:pt x="242" y="116"/>
                        <a:pt x="242" y="116"/>
                      </a:cubicBezTo>
                      <a:cubicBezTo>
                        <a:pt x="243" y="116"/>
                        <a:pt x="243" y="116"/>
                        <a:pt x="243" y="116"/>
                      </a:cubicBezTo>
                      <a:cubicBezTo>
                        <a:pt x="243" y="115"/>
                        <a:pt x="243" y="115"/>
                        <a:pt x="243" y="115"/>
                      </a:cubicBezTo>
                      <a:cubicBezTo>
                        <a:pt x="244" y="113"/>
                        <a:pt x="244" y="113"/>
                        <a:pt x="244" y="113"/>
                      </a:cubicBezTo>
                      <a:cubicBezTo>
                        <a:pt x="244" y="113"/>
                        <a:pt x="244" y="113"/>
                        <a:pt x="244" y="113"/>
                      </a:cubicBezTo>
                      <a:cubicBezTo>
                        <a:pt x="244" y="112"/>
                        <a:pt x="244" y="112"/>
                        <a:pt x="244" y="112"/>
                      </a:cubicBezTo>
                      <a:cubicBezTo>
                        <a:pt x="245" y="111"/>
                        <a:pt x="245" y="111"/>
                        <a:pt x="245" y="111"/>
                      </a:cubicBezTo>
                      <a:cubicBezTo>
                        <a:pt x="246" y="110"/>
                        <a:pt x="246" y="110"/>
                        <a:pt x="246" y="110"/>
                      </a:cubicBezTo>
                      <a:cubicBezTo>
                        <a:pt x="246" y="110"/>
                        <a:pt x="246" y="110"/>
                        <a:pt x="246" y="110"/>
                      </a:cubicBezTo>
                      <a:cubicBezTo>
                        <a:pt x="246" y="109"/>
                        <a:pt x="246" y="109"/>
                        <a:pt x="246" y="109"/>
                      </a:cubicBezTo>
                      <a:cubicBezTo>
                        <a:pt x="247" y="108"/>
                        <a:pt x="247" y="108"/>
                        <a:pt x="247" y="108"/>
                      </a:cubicBezTo>
                      <a:cubicBezTo>
                        <a:pt x="248" y="107"/>
                        <a:pt x="248" y="107"/>
                        <a:pt x="248" y="107"/>
                      </a:cubicBezTo>
                      <a:cubicBezTo>
                        <a:pt x="248" y="106"/>
                        <a:pt x="248" y="106"/>
                        <a:pt x="248" y="106"/>
                      </a:cubicBezTo>
                      <a:cubicBezTo>
                        <a:pt x="248" y="106"/>
                        <a:pt x="248" y="106"/>
                        <a:pt x="248" y="106"/>
                      </a:cubicBezTo>
                      <a:cubicBezTo>
                        <a:pt x="248" y="105"/>
                        <a:pt x="248" y="105"/>
                        <a:pt x="248" y="105"/>
                      </a:cubicBezTo>
                      <a:cubicBezTo>
                        <a:pt x="249" y="104"/>
                        <a:pt x="249" y="104"/>
                        <a:pt x="249" y="104"/>
                      </a:cubicBezTo>
                      <a:cubicBezTo>
                        <a:pt x="249" y="105"/>
                        <a:pt x="249" y="105"/>
                        <a:pt x="249" y="105"/>
                      </a:cubicBezTo>
                      <a:cubicBezTo>
                        <a:pt x="250" y="106"/>
                        <a:pt x="250" y="106"/>
                        <a:pt x="250" y="106"/>
                      </a:cubicBezTo>
                      <a:cubicBezTo>
                        <a:pt x="250" y="106"/>
                        <a:pt x="250" y="106"/>
                        <a:pt x="250" y="106"/>
                      </a:cubicBezTo>
                      <a:cubicBezTo>
                        <a:pt x="251" y="107"/>
                        <a:pt x="251" y="107"/>
                        <a:pt x="251" y="107"/>
                      </a:cubicBezTo>
                      <a:cubicBezTo>
                        <a:pt x="251" y="106"/>
                        <a:pt x="251" y="106"/>
                        <a:pt x="251" y="106"/>
                      </a:cubicBezTo>
                      <a:cubicBezTo>
                        <a:pt x="251" y="105"/>
                        <a:pt x="251" y="105"/>
                        <a:pt x="251" y="105"/>
                      </a:cubicBezTo>
                      <a:cubicBezTo>
                        <a:pt x="251" y="104"/>
                        <a:pt x="251" y="104"/>
                        <a:pt x="251" y="104"/>
                      </a:cubicBezTo>
                      <a:cubicBezTo>
                        <a:pt x="251" y="104"/>
                        <a:pt x="251" y="104"/>
                        <a:pt x="251" y="104"/>
                      </a:cubicBezTo>
                      <a:cubicBezTo>
                        <a:pt x="251" y="103"/>
                        <a:pt x="251" y="103"/>
                        <a:pt x="251" y="103"/>
                      </a:cubicBezTo>
                      <a:cubicBezTo>
                        <a:pt x="251" y="102"/>
                        <a:pt x="251" y="102"/>
                        <a:pt x="251" y="102"/>
                      </a:cubicBezTo>
                      <a:cubicBezTo>
                        <a:pt x="254" y="102"/>
                        <a:pt x="254" y="102"/>
                        <a:pt x="254" y="102"/>
                      </a:cubicBezTo>
                      <a:cubicBezTo>
                        <a:pt x="255" y="102"/>
                        <a:pt x="255" y="102"/>
                        <a:pt x="255" y="102"/>
                      </a:cubicBezTo>
                      <a:cubicBezTo>
                        <a:pt x="256" y="102"/>
                        <a:pt x="256" y="102"/>
                        <a:pt x="256" y="102"/>
                      </a:cubicBezTo>
                      <a:cubicBezTo>
                        <a:pt x="256" y="102"/>
                        <a:pt x="256" y="102"/>
                        <a:pt x="256" y="102"/>
                      </a:cubicBezTo>
                      <a:cubicBezTo>
                        <a:pt x="257" y="102"/>
                        <a:pt x="257" y="102"/>
                        <a:pt x="257" y="102"/>
                      </a:cubicBezTo>
                      <a:cubicBezTo>
                        <a:pt x="257" y="102"/>
                        <a:pt x="257" y="102"/>
                        <a:pt x="257" y="102"/>
                      </a:cubicBezTo>
                      <a:cubicBezTo>
                        <a:pt x="258" y="102"/>
                        <a:pt x="258" y="102"/>
                        <a:pt x="258" y="102"/>
                      </a:cubicBezTo>
                      <a:cubicBezTo>
                        <a:pt x="259" y="102"/>
                        <a:pt x="259" y="102"/>
                        <a:pt x="259" y="102"/>
                      </a:cubicBezTo>
                      <a:cubicBezTo>
                        <a:pt x="260" y="103"/>
                        <a:pt x="260" y="103"/>
                        <a:pt x="260" y="103"/>
                      </a:cubicBezTo>
                      <a:cubicBezTo>
                        <a:pt x="261" y="103"/>
                        <a:pt x="261" y="103"/>
                        <a:pt x="261" y="103"/>
                      </a:cubicBezTo>
                      <a:cubicBezTo>
                        <a:pt x="261" y="103"/>
                        <a:pt x="261" y="103"/>
                        <a:pt x="261" y="103"/>
                      </a:cubicBezTo>
                      <a:cubicBezTo>
                        <a:pt x="261" y="103"/>
                        <a:pt x="261" y="103"/>
                        <a:pt x="261" y="103"/>
                      </a:cubicBezTo>
                      <a:cubicBezTo>
                        <a:pt x="262" y="104"/>
                        <a:pt x="262" y="104"/>
                        <a:pt x="262" y="104"/>
                      </a:cubicBezTo>
                      <a:cubicBezTo>
                        <a:pt x="262" y="105"/>
                        <a:pt x="262" y="105"/>
                        <a:pt x="262" y="105"/>
                      </a:cubicBezTo>
                      <a:cubicBezTo>
                        <a:pt x="262" y="105"/>
                        <a:pt x="262" y="105"/>
                        <a:pt x="262" y="105"/>
                      </a:cubicBezTo>
                      <a:cubicBezTo>
                        <a:pt x="263" y="105"/>
                        <a:pt x="263" y="105"/>
                        <a:pt x="263" y="105"/>
                      </a:cubicBezTo>
                      <a:cubicBezTo>
                        <a:pt x="264" y="105"/>
                        <a:pt x="264" y="105"/>
                        <a:pt x="264" y="105"/>
                      </a:cubicBezTo>
                      <a:cubicBezTo>
                        <a:pt x="266" y="105"/>
                        <a:pt x="266" y="105"/>
                        <a:pt x="266" y="105"/>
                      </a:cubicBezTo>
                      <a:cubicBezTo>
                        <a:pt x="268" y="106"/>
                        <a:pt x="268" y="106"/>
                        <a:pt x="268" y="106"/>
                      </a:cubicBezTo>
                      <a:cubicBezTo>
                        <a:pt x="268" y="107"/>
                        <a:pt x="268" y="107"/>
                        <a:pt x="268" y="107"/>
                      </a:cubicBezTo>
                      <a:cubicBezTo>
                        <a:pt x="268" y="107"/>
                        <a:pt x="268" y="107"/>
                        <a:pt x="268" y="107"/>
                      </a:cubicBezTo>
                      <a:cubicBezTo>
                        <a:pt x="268" y="108"/>
                        <a:pt x="268" y="108"/>
                        <a:pt x="268" y="108"/>
                      </a:cubicBezTo>
                      <a:cubicBezTo>
                        <a:pt x="268" y="107"/>
                        <a:pt x="268" y="107"/>
                        <a:pt x="268" y="107"/>
                      </a:cubicBezTo>
                      <a:cubicBezTo>
                        <a:pt x="268" y="108"/>
                        <a:pt x="268" y="108"/>
                        <a:pt x="268" y="108"/>
                      </a:cubicBezTo>
                      <a:cubicBezTo>
                        <a:pt x="267" y="109"/>
                        <a:pt x="267" y="109"/>
                        <a:pt x="267" y="109"/>
                      </a:cubicBezTo>
                      <a:cubicBezTo>
                        <a:pt x="266" y="110"/>
                        <a:pt x="266" y="110"/>
                        <a:pt x="266" y="110"/>
                      </a:cubicBezTo>
                      <a:cubicBezTo>
                        <a:pt x="265" y="111"/>
                        <a:pt x="265" y="111"/>
                        <a:pt x="265" y="111"/>
                      </a:cubicBezTo>
                      <a:cubicBezTo>
                        <a:pt x="264" y="111"/>
                        <a:pt x="264" y="111"/>
                        <a:pt x="264" y="111"/>
                      </a:cubicBezTo>
                      <a:cubicBezTo>
                        <a:pt x="264" y="111"/>
                        <a:pt x="264" y="111"/>
                        <a:pt x="264" y="111"/>
                      </a:cubicBezTo>
                      <a:cubicBezTo>
                        <a:pt x="262" y="113"/>
                        <a:pt x="262" y="113"/>
                        <a:pt x="262" y="113"/>
                      </a:cubicBezTo>
                      <a:cubicBezTo>
                        <a:pt x="261" y="114"/>
                        <a:pt x="261" y="114"/>
                        <a:pt x="261" y="114"/>
                      </a:cubicBezTo>
                      <a:cubicBezTo>
                        <a:pt x="260" y="114"/>
                        <a:pt x="260" y="114"/>
                        <a:pt x="260" y="114"/>
                      </a:cubicBezTo>
                      <a:cubicBezTo>
                        <a:pt x="260" y="114"/>
                        <a:pt x="260" y="114"/>
                        <a:pt x="260" y="114"/>
                      </a:cubicBezTo>
                      <a:cubicBezTo>
                        <a:pt x="260" y="114"/>
                        <a:pt x="260" y="114"/>
                        <a:pt x="260" y="114"/>
                      </a:cubicBezTo>
                      <a:cubicBezTo>
                        <a:pt x="260" y="115"/>
                        <a:pt x="260" y="115"/>
                        <a:pt x="260" y="115"/>
                      </a:cubicBezTo>
                      <a:cubicBezTo>
                        <a:pt x="259" y="116"/>
                        <a:pt x="259" y="116"/>
                        <a:pt x="259" y="116"/>
                      </a:cubicBezTo>
                      <a:cubicBezTo>
                        <a:pt x="257" y="117"/>
                        <a:pt x="257" y="117"/>
                        <a:pt x="257" y="117"/>
                      </a:cubicBezTo>
                      <a:cubicBezTo>
                        <a:pt x="256" y="118"/>
                        <a:pt x="256" y="118"/>
                        <a:pt x="256" y="118"/>
                      </a:cubicBezTo>
                      <a:cubicBezTo>
                        <a:pt x="255" y="119"/>
                        <a:pt x="255" y="119"/>
                        <a:pt x="255" y="119"/>
                      </a:cubicBezTo>
                      <a:cubicBezTo>
                        <a:pt x="254" y="118"/>
                        <a:pt x="254" y="118"/>
                        <a:pt x="254" y="118"/>
                      </a:cubicBezTo>
                      <a:cubicBezTo>
                        <a:pt x="254" y="118"/>
                        <a:pt x="254" y="118"/>
                        <a:pt x="254" y="118"/>
                      </a:cubicBezTo>
                      <a:cubicBezTo>
                        <a:pt x="253" y="118"/>
                        <a:pt x="253" y="118"/>
                        <a:pt x="253" y="118"/>
                      </a:cubicBezTo>
                      <a:cubicBezTo>
                        <a:pt x="252" y="117"/>
                        <a:pt x="252" y="117"/>
                        <a:pt x="252" y="117"/>
                      </a:cubicBezTo>
                      <a:cubicBezTo>
                        <a:pt x="252" y="116"/>
                        <a:pt x="252" y="116"/>
                        <a:pt x="252" y="116"/>
                      </a:cubicBezTo>
                      <a:cubicBezTo>
                        <a:pt x="251" y="116"/>
                        <a:pt x="251" y="116"/>
                        <a:pt x="251" y="116"/>
                      </a:cubicBezTo>
                      <a:cubicBezTo>
                        <a:pt x="250" y="116"/>
                        <a:pt x="250" y="116"/>
                        <a:pt x="250" y="116"/>
                      </a:cubicBezTo>
                      <a:cubicBezTo>
                        <a:pt x="250" y="116"/>
                        <a:pt x="250" y="116"/>
                        <a:pt x="250" y="116"/>
                      </a:cubicBezTo>
                      <a:cubicBezTo>
                        <a:pt x="249" y="116"/>
                        <a:pt x="249" y="116"/>
                        <a:pt x="249" y="116"/>
                      </a:cubicBezTo>
                      <a:cubicBezTo>
                        <a:pt x="248" y="116"/>
                        <a:pt x="248" y="116"/>
                        <a:pt x="248" y="116"/>
                      </a:cubicBezTo>
                      <a:cubicBezTo>
                        <a:pt x="247" y="116"/>
                        <a:pt x="247" y="116"/>
                        <a:pt x="247" y="116"/>
                      </a:cubicBezTo>
                      <a:cubicBezTo>
                        <a:pt x="247" y="116"/>
                        <a:pt x="247" y="116"/>
                        <a:pt x="247" y="116"/>
                      </a:cubicBezTo>
                      <a:cubicBezTo>
                        <a:pt x="248" y="117"/>
                        <a:pt x="248" y="117"/>
                        <a:pt x="248" y="117"/>
                      </a:cubicBezTo>
                      <a:cubicBezTo>
                        <a:pt x="249" y="117"/>
                        <a:pt x="249" y="117"/>
                        <a:pt x="249" y="117"/>
                      </a:cubicBezTo>
                      <a:cubicBezTo>
                        <a:pt x="249" y="118"/>
                        <a:pt x="249" y="118"/>
                        <a:pt x="249" y="118"/>
                      </a:cubicBezTo>
                      <a:cubicBezTo>
                        <a:pt x="248" y="118"/>
                        <a:pt x="248" y="118"/>
                        <a:pt x="248" y="118"/>
                      </a:cubicBezTo>
                      <a:cubicBezTo>
                        <a:pt x="249" y="119"/>
                        <a:pt x="249" y="119"/>
                        <a:pt x="249" y="119"/>
                      </a:cubicBezTo>
                      <a:cubicBezTo>
                        <a:pt x="249" y="120"/>
                        <a:pt x="249" y="120"/>
                        <a:pt x="249" y="120"/>
                      </a:cubicBezTo>
                      <a:cubicBezTo>
                        <a:pt x="249" y="120"/>
                        <a:pt x="249" y="120"/>
                        <a:pt x="249" y="120"/>
                      </a:cubicBezTo>
                      <a:cubicBezTo>
                        <a:pt x="248" y="121"/>
                        <a:pt x="248" y="121"/>
                        <a:pt x="248" y="121"/>
                      </a:cubicBezTo>
                      <a:cubicBezTo>
                        <a:pt x="247" y="121"/>
                        <a:pt x="247" y="121"/>
                        <a:pt x="247" y="121"/>
                      </a:cubicBezTo>
                      <a:cubicBezTo>
                        <a:pt x="246" y="121"/>
                        <a:pt x="246" y="121"/>
                        <a:pt x="246" y="121"/>
                      </a:cubicBezTo>
                      <a:cubicBezTo>
                        <a:pt x="246" y="122"/>
                        <a:pt x="246" y="122"/>
                        <a:pt x="246" y="122"/>
                      </a:cubicBezTo>
                      <a:cubicBezTo>
                        <a:pt x="245" y="123"/>
                        <a:pt x="245" y="123"/>
                        <a:pt x="245" y="123"/>
                      </a:cubicBezTo>
                      <a:cubicBezTo>
                        <a:pt x="245" y="123"/>
                        <a:pt x="245" y="123"/>
                        <a:pt x="245" y="123"/>
                      </a:cubicBezTo>
                      <a:cubicBezTo>
                        <a:pt x="244" y="123"/>
                        <a:pt x="244" y="123"/>
                        <a:pt x="244" y="123"/>
                      </a:cubicBezTo>
                      <a:cubicBezTo>
                        <a:pt x="244" y="124"/>
                        <a:pt x="244" y="124"/>
                        <a:pt x="244" y="124"/>
                      </a:cubicBezTo>
                      <a:cubicBezTo>
                        <a:pt x="244" y="124"/>
                        <a:pt x="244" y="124"/>
                        <a:pt x="244" y="124"/>
                      </a:cubicBezTo>
                      <a:close/>
                      <a:moveTo>
                        <a:pt x="302" y="128"/>
                      </a:moveTo>
                      <a:cubicBezTo>
                        <a:pt x="301" y="127"/>
                        <a:pt x="301" y="127"/>
                        <a:pt x="301" y="127"/>
                      </a:cubicBezTo>
                      <a:cubicBezTo>
                        <a:pt x="300" y="127"/>
                        <a:pt x="300" y="127"/>
                        <a:pt x="300" y="127"/>
                      </a:cubicBezTo>
                      <a:cubicBezTo>
                        <a:pt x="300" y="126"/>
                        <a:pt x="300" y="126"/>
                        <a:pt x="300" y="126"/>
                      </a:cubicBezTo>
                      <a:cubicBezTo>
                        <a:pt x="299" y="126"/>
                        <a:pt x="299" y="126"/>
                        <a:pt x="299" y="126"/>
                      </a:cubicBezTo>
                      <a:cubicBezTo>
                        <a:pt x="299" y="125"/>
                        <a:pt x="299" y="125"/>
                        <a:pt x="299" y="125"/>
                      </a:cubicBezTo>
                      <a:cubicBezTo>
                        <a:pt x="299" y="124"/>
                        <a:pt x="299" y="124"/>
                        <a:pt x="299" y="124"/>
                      </a:cubicBezTo>
                      <a:cubicBezTo>
                        <a:pt x="300" y="123"/>
                        <a:pt x="300" y="123"/>
                        <a:pt x="300" y="123"/>
                      </a:cubicBezTo>
                      <a:cubicBezTo>
                        <a:pt x="300" y="123"/>
                        <a:pt x="300" y="123"/>
                        <a:pt x="300" y="123"/>
                      </a:cubicBezTo>
                      <a:cubicBezTo>
                        <a:pt x="300" y="122"/>
                        <a:pt x="300" y="122"/>
                        <a:pt x="300" y="122"/>
                      </a:cubicBezTo>
                      <a:cubicBezTo>
                        <a:pt x="300" y="121"/>
                        <a:pt x="300" y="121"/>
                        <a:pt x="300" y="121"/>
                      </a:cubicBezTo>
                      <a:cubicBezTo>
                        <a:pt x="299" y="121"/>
                        <a:pt x="299" y="121"/>
                        <a:pt x="299" y="121"/>
                      </a:cubicBezTo>
                      <a:cubicBezTo>
                        <a:pt x="299" y="121"/>
                        <a:pt x="299" y="121"/>
                        <a:pt x="299" y="121"/>
                      </a:cubicBezTo>
                      <a:cubicBezTo>
                        <a:pt x="299" y="119"/>
                        <a:pt x="299" y="119"/>
                        <a:pt x="299" y="119"/>
                      </a:cubicBezTo>
                      <a:cubicBezTo>
                        <a:pt x="300" y="119"/>
                        <a:pt x="300" y="119"/>
                        <a:pt x="300" y="119"/>
                      </a:cubicBezTo>
                      <a:cubicBezTo>
                        <a:pt x="300" y="118"/>
                        <a:pt x="300" y="118"/>
                        <a:pt x="300" y="118"/>
                      </a:cubicBezTo>
                      <a:cubicBezTo>
                        <a:pt x="300" y="117"/>
                        <a:pt x="300" y="117"/>
                        <a:pt x="300" y="117"/>
                      </a:cubicBezTo>
                      <a:cubicBezTo>
                        <a:pt x="301" y="117"/>
                        <a:pt x="301" y="117"/>
                        <a:pt x="301" y="117"/>
                      </a:cubicBezTo>
                      <a:cubicBezTo>
                        <a:pt x="301" y="116"/>
                        <a:pt x="301" y="116"/>
                        <a:pt x="301" y="116"/>
                      </a:cubicBezTo>
                      <a:cubicBezTo>
                        <a:pt x="302" y="115"/>
                        <a:pt x="302" y="115"/>
                        <a:pt x="302" y="115"/>
                      </a:cubicBezTo>
                      <a:cubicBezTo>
                        <a:pt x="303" y="116"/>
                        <a:pt x="303" y="116"/>
                        <a:pt x="303" y="116"/>
                      </a:cubicBezTo>
                      <a:cubicBezTo>
                        <a:pt x="303" y="117"/>
                        <a:pt x="303" y="117"/>
                        <a:pt x="303" y="117"/>
                      </a:cubicBezTo>
                      <a:cubicBezTo>
                        <a:pt x="305" y="117"/>
                        <a:pt x="305" y="117"/>
                        <a:pt x="305" y="117"/>
                      </a:cubicBezTo>
                      <a:cubicBezTo>
                        <a:pt x="305" y="118"/>
                        <a:pt x="305" y="118"/>
                        <a:pt x="305" y="118"/>
                      </a:cubicBezTo>
                      <a:cubicBezTo>
                        <a:pt x="306" y="118"/>
                        <a:pt x="306" y="118"/>
                        <a:pt x="306" y="118"/>
                      </a:cubicBezTo>
                      <a:cubicBezTo>
                        <a:pt x="307" y="118"/>
                        <a:pt x="307" y="118"/>
                        <a:pt x="307" y="118"/>
                      </a:cubicBezTo>
                      <a:cubicBezTo>
                        <a:pt x="308" y="118"/>
                        <a:pt x="308" y="118"/>
                        <a:pt x="308" y="118"/>
                      </a:cubicBezTo>
                      <a:cubicBezTo>
                        <a:pt x="310" y="118"/>
                        <a:pt x="310" y="118"/>
                        <a:pt x="310" y="118"/>
                      </a:cubicBezTo>
                      <a:cubicBezTo>
                        <a:pt x="310" y="119"/>
                        <a:pt x="310" y="119"/>
                        <a:pt x="310" y="119"/>
                      </a:cubicBezTo>
                      <a:cubicBezTo>
                        <a:pt x="311" y="119"/>
                        <a:pt x="311" y="119"/>
                        <a:pt x="311" y="119"/>
                      </a:cubicBezTo>
                      <a:cubicBezTo>
                        <a:pt x="312" y="120"/>
                        <a:pt x="312" y="120"/>
                        <a:pt x="312" y="120"/>
                      </a:cubicBezTo>
                      <a:cubicBezTo>
                        <a:pt x="312" y="121"/>
                        <a:pt x="312" y="121"/>
                        <a:pt x="312" y="121"/>
                      </a:cubicBezTo>
                      <a:cubicBezTo>
                        <a:pt x="312" y="122"/>
                        <a:pt x="312" y="122"/>
                        <a:pt x="312" y="122"/>
                      </a:cubicBezTo>
                      <a:cubicBezTo>
                        <a:pt x="312" y="123"/>
                        <a:pt x="312" y="123"/>
                        <a:pt x="312" y="123"/>
                      </a:cubicBezTo>
                      <a:cubicBezTo>
                        <a:pt x="313" y="123"/>
                        <a:pt x="313" y="123"/>
                        <a:pt x="313" y="123"/>
                      </a:cubicBezTo>
                      <a:cubicBezTo>
                        <a:pt x="313" y="124"/>
                        <a:pt x="313" y="124"/>
                        <a:pt x="313" y="124"/>
                      </a:cubicBezTo>
                      <a:cubicBezTo>
                        <a:pt x="313" y="124"/>
                        <a:pt x="313" y="124"/>
                        <a:pt x="313" y="124"/>
                      </a:cubicBezTo>
                      <a:cubicBezTo>
                        <a:pt x="313" y="125"/>
                        <a:pt x="313" y="125"/>
                        <a:pt x="313" y="125"/>
                      </a:cubicBezTo>
                      <a:cubicBezTo>
                        <a:pt x="313" y="126"/>
                        <a:pt x="313" y="126"/>
                        <a:pt x="313" y="126"/>
                      </a:cubicBezTo>
                      <a:cubicBezTo>
                        <a:pt x="313" y="126"/>
                        <a:pt x="313" y="126"/>
                        <a:pt x="313" y="126"/>
                      </a:cubicBezTo>
                      <a:cubicBezTo>
                        <a:pt x="313" y="127"/>
                        <a:pt x="313" y="127"/>
                        <a:pt x="313" y="127"/>
                      </a:cubicBezTo>
                      <a:cubicBezTo>
                        <a:pt x="314" y="127"/>
                        <a:pt x="314" y="127"/>
                        <a:pt x="314" y="127"/>
                      </a:cubicBezTo>
                      <a:cubicBezTo>
                        <a:pt x="314" y="128"/>
                        <a:pt x="314" y="128"/>
                        <a:pt x="314" y="128"/>
                      </a:cubicBezTo>
                      <a:cubicBezTo>
                        <a:pt x="313" y="128"/>
                        <a:pt x="313" y="128"/>
                        <a:pt x="313" y="128"/>
                      </a:cubicBezTo>
                      <a:cubicBezTo>
                        <a:pt x="313" y="129"/>
                        <a:pt x="313" y="129"/>
                        <a:pt x="313" y="129"/>
                      </a:cubicBezTo>
                      <a:cubicBezTo>
                        <a:pt x="311" y="128"/>
                        <a:pt x="311" y="128"/>
                        <a:pt x="311" y="128"/>
                      </a:cubicBezTo>
                      <a:cubicBezTo>
                        <a:pt x="311" y="128"/>
                        <a:pt x="311" y="128"/>
                        <a:pt x="311" y="128"/>
                      </a:cubicBezTo>
                      <a:cubicBezTo>
                        <a:pt x="309" y="128"/>
                        <a:pt x="309" y="128"/>
                        <a:pt x="309" y="128"/>
                      </a:cubicBezTo>
                      <a:cubicBezTo>
                        <a:pt x="309" y="127"/>
                        <a:pt x="309" y="127"/>
                        <a:pt x="309" y="127"/>
                      </a:cubicBezTo>
                      <a:cubicBezTo>
                        <a:pt x="307" y="127"/>
                        <a:pt x="307" y="127"/>
                        <a:pt x="307" y="127"/>
                      </a:cubicBezTo>
                      <a:cubicBezTo>
                        <a:pt x="307" y="127"/>
                        <a:pt x="307" y="127"/>
                        <a:pt x="307" y="127"/>
                      </a:cubicBezTo>
                      <a:cubicBezTo>
                        <a:pt x="306" y="127"/>
                        <a:pt x="306" y="127"/>
                        <a:pt x="306" y="127"/>
                      </a:cubicBezTo>
                      <a:cubicBezTo>
                        <a:pt x="305" y="127"/>
                        <a:pt x="305" y="127"/>
                        <a:pt x="305" y="127"/>
                      </a:cubicBezTo>
                      <a:cubicBezTo>
                        <a:pt x="304" y="127"/>
                        <a:pt x="304" y="127"/>
                        <a:pt x="304" y="127"/>
                      </a:cubicBezTo>
                      <a:cubicBezTo>
                        <a:pt x="303" y="128"/>
                        <a:pt x="303" y="128"/>
                        <a:pt x="303" y="128"/>
                      </a:cubicBezTo>
                      <a:cubicBezTo>
                        <a:pt x="302" y="128"/>
                        <a:pt x="302" y="128"/>
                        <a:pt x="302" y="128"/>
                      </a:cubicBezTo>
                      <a:close/>
                      <a:moveTo>
                        <a:pt x="297" y="129"/>
                      </a:moveTo>
                      <a:cubicBezTo>
                        <a:pt x="297" y="128"/>
                        <a:pt x="297" y="128"/>
                        <a:pt x="297" y="128"/>
                      </a:cubicBezTo>
                      <a:cubicBezTo>
                        <a:pt x="297" y="128"/>
                        <a:pt x="297" y="128"/>
                        <a:pt x="297" y="128"/>
                      </a:cubicBezTo>
                      <a:cubicBezTo>
                        <a:pt x="298" y="128"/>
                        <a:pt x="298" y="128"/>
                        <a:pt x="298" y="128"/>
                      </a:cubicBezTo>
                      <a:cubicBezTo>
                        <a:pt x="298" y="129"/>
                        <a:pt x="298" y="129"/>
                        <a:pt x="298" y="129"/>
                      </a:cubicBezTo>
                      <a:cubicBezTo>
                        <a:pt x="297" y="129"/>
                        <a:pt x="297" y="129"/>
                        <a:pt x="297" y="129"/>
                      </a:cubicBezTo>
                      <a:close/>
                      <a:moveTo>
                        <a:pt x="298" y="130"/>
                      </a:moveTo>
                      <a:cubicBezTo>
                        <a:pt x="298" y="129"/>
                        <a:pt x="298" y="129"/>
                        <a:pt x="298" y="129"/>
                      </a:cubicBezTo>
                      <a:cubicBezTo>
                        <a:pt x="298" y="129"/>
                        <a:pt x="298" y="129"/>
                        <a:pt x="298" y="129"/>
                      </a:cubicBezTo>
                      <a:cubicBezTo>
                        <a:pt x="299" y="129"/>
                        <a:pt x="299" y="129"/>
                        <a:pt x="299" y="129"/>
                      </a:cubicBezTo>
                      <a:cubicBezTo>
                        <a:pt x="299" y="130"/>
                        <a:pt x="299" y="130"/>
                        <a:pt x="299" y="130"/>
                      </a:cubicBezTo>
                      <a:cubicBezTo>
                        <a:pt x="298" y="130"/>
                        <a:pt x="298" y="130"/>
                        <a:pt x="298" y="130"/>
                      </a:cubicBezTo>
                      <a:close/>
                      <a:moveTo>
                        <a:pt x="301" y="130"/>
                      </a:moveTo>
                      <a:cubicBezTo>
                        <a:pt x="300" y="130"/>
                        <a:pt x="300" y="130"/>
                        <a:pt x="300" y="130"/>
                      </a:cubicBezTo>
                      <a:cubicBezTo>
                        <a:pt x="300" y="129"/>
                        <a:pt x="300" y="129"/>
                        <a:pt x="300" y="129"/>
                      </a:cubicBezTo>
                      <a:cubicBezTo>
                        <a:pt x="301" y="129"/>
                        <a:pt x="301" y="129"/>
                        <a:pt x="301" y="129"/>
                      </a:cubicBezTo>
                      <a:cubicBezTo>
                        <a:pt x="301" y="130"/>
                        <a:pt x="301" y="130"/>
                        <a:pt x="301" y="130"/>
                      </a:cubicBezTo>
                      <a:cubicBezTo>
                        <a:pt x="301" y="130"/>
                        <a:pt x="301" y="130"/>
                        <a:pt x="301" y="130"/>
                      </a:cubicBezTo>
                      <a:close/>
                      <a:moveTo>
                        <a:pt x="242" y="148"/>
                      </a:moveTo>
                      <a:cubicBezTo>
                        <a:pt x="241" y="148"/>
                        <a:pt x="241" y="148"/>
                        <a:pt x="241" y="148"/>
                      </a:cubicBezTo>
                      <a:cubicBezTo>
                        <a:pt x="242" y="147"/>
                        <a:pt x="242" y="147"/>
                        <a:pt x="242" y="147"/>
                      </a:cubicBezTo>
                      <a:cubicBezTo>
                        <a:pt x="242" y="147"/>
                        <a:pt x="242" y="147"/>
                        <a:pt x="242" y="147"/>
                      </a:cubicBezTo>
                      <a:cubicBezTo>
                        <a:pt x="243" y="148"/>
                        <a:pt x="243" y="148"/>
                        <a:pt x="243" y="148"/>
                      </a:cubicBezTo>
                      <a:cubicBezTo>
                        <a:pt x="243" y="148"/>
                        <a:pt x="243" y="148"/>
                        <a:pt x="243" y="148"/>
                      </a:cubicBezTo>
                      <a:cubicBezTo>
                        <a:pt x="242" y="148"/>
                        <a:pt x="242" y="148"/>
                        <a:pt x="242" y="148"/>
                      </a:cubicBezTo>
                      <a:cubicBezTo>
                        <a:pt x="242" y="148"/>
                        <a:pt x="242" y="148"/>
                        <a:pt x="242" y="148"/>
                      </a:cubicBezTo>
                      <a:close/>
                      <a:moveTo>
                        <a:pt x="245" y="153"/>
                      </a:moveTo>
                      <a:cubicBezTo>
                        <a:pt x="245" y="154"/>
                        <a:pt x="245" y="154"/>
                        <a:pt x="245" y="154"/>
                      </a:cubicBezTo>
                      <a:cubicBezTo>
                        <a:pt x="245" y="153"/>
                        <a:pt x="245" y="153"/>
                        <a:pt x="245" y="153"/>
                      </a:cubicBezTo>
                      <a:cubicBezTo>
                        <a:pt x="245" y="153"/>
                        <a:pt x="245" y="153"/>
                        <a:pt x="245" y="153"/>
                      </a:cubicBezTo>
                      <a:cubicBezTo>
                        <a:pt x="245" y="153"/>
                        <a:pt x="245" y="153"/>
                        <a:pt x="245" y="153"/>
                      </a:cubicBezTo>
                      <a:cubicBezTo>
                        <a:pt x="245" y="152"/>
                        <a:pt x="245" y="152"/>
                        <a:pt x="245" y="152"/>
                      </a:cubicBezTo>
                      <a:cubicBezTo>
                        <a:pt x="245" y="153"/>
                        <a:pt x="245" y="153"/>
                        <a:pt x="245" y="153"/>
                      </a:cubicBezTo>
                      <a:close/>
                      <a:moveTo>
                        <a:pt x="244" y="153"/>
                      </a:moveTo>
                      <a:cubicBezTo>
                        <a:pt x="243" y="153"/>
                        <a:pt x="243" y="153"/>
                        <a:pt x="243" y="153"/>
                      </a:cubicBezTo>
                      <a:cubicBezTo>
                        <a:pt x="244" y="154"/>
                        <a:pt x="244" y="154"/>
                        <a:pt x="244" y="154"/>
                      </a:cubicBezTo>
                      <a:cubicBezTo>
                        <a:pt x="244" y="154"/>
                        <a:pt x="244" y="154"/>
                        <a:pt x="244" y="154"/>
                      </a:cubicBezTo>
                      <a:cubicBezTo>
                        <a:pt x="244" y="154"/>
                        <a:pt x="244" y="154"/>
                        <a:pt x="244" y="154"/>
                      </a:cubicBezTo>
                      <a:cubicBezTo>
                        <a:pt x="244" y="154"/>
                        <a:pt x="244" y="154"/>
                        <a:pt x="244" y="154"/>
                      </a:cubicBezTo>
                      <a:cubicBezTo>
                        <a:pt x="244" y="153"/>
                        <a:pt x="244" y="153"/>
                        <a:pt x="244" y="153"/>
                      </a:cubicBezTo>
                      <a:cubicBezTo>
                        <a:pt x="244" y="152"/>
                        <a:pt x="244" y="152"/>
                        <a:pt x="244" y="152"/>
                      </a:cubicBezTo>
                      <a:cubicBezTo>
                        <a:pt x="244" y="153"/>
                        <a:pt x="244" y="153"/>
                        <a:pt x="244" y="153"/>
                      </a:cubicBezTo>
                      <a:close/>
                      <a:moveTo>
                        <a:pt x="262" y="150"/>
                      </a:moveTo>
                      <a:cubicBezTo>
                        <a:pt x="262" y="149"/>
                        <a:pt x="262" y="149"/>
                        <a:pt x="262" y="149"/>
                      </a:cubicBezTo>
                      <a:cubicBezTo>
                        <a:pt x="261" y="149"/>
                        <a:pt x="261" y="149"/>
                        <a:pt x="261" y="149"/>
                      </a:cubicBezTo>
                      <a:cubicBezTo>
                        <a:pt x="261" y="149"/>
                        <a:pt x="261" y="149"/>
                        <a:pt x="261" y="149"/>
                      </a:cubicBezTo>
                      <a:cubicBezTo>
                        <a:pt x="260" y="149"/>
                        <a:pt x="260" y="149"/>
                        <a:pt x="260" y="149"/>
                      </a:cubicBezTo>
                      <a:cubicBezTo>
                        <a:pt x="260" y="149"/>
                        <a:pt x="260" y="149"/>
                        <a:pt x="260" y="149"/>
                      </a:cubicBezTo>
                      <a:cubicBezTo>
                        <a:pt x="260" y="148"/>
                        <a:pt x="260" y="148"/>
                        <a:pt x="260" y="148"/>
                      </a:cubicBezTo>
                      <a:cubicBezTo>
                        <a:pt x="259" y="148"/>
                        <a:pt x="259" y="148"/>
                        <a:pt x="259" y="148"/>
                      </a:cubicBezTo>
                      <a:cubicBezTo>
                        <a:pt x="260" y="148"/>
                        <a:pt x="260" y="148"/>
                        <a:pt x="260" y="148"/>
                      </a:cubicBezTo>
                      <a:cubicBezTo>
                        <a:pt x="260" y="148"/>
                        <a:pt x="260" y="148"/>
                        <a:pt x="260" y="148"/>
                      </a:cubicBezTo>
                      <a:cubicBezTo>
                        <a:pt x="261" y="148"/>
                        <a:pt x="261" y="148"/>
                        <a:pt x="261" y="148"/>
                      </a:cubicBezTo>
                      <a:cubicBezTo>
                        <a:pt x="262" y="148"/>
                        <a:pt x="262" y="148"/>
                        <a:pt x="262" y="148"/>
                      </a:cubicBezTo>
                      <a:cubicBezTo>
                        <a:pt x="263" y="148"/>
                        <a:pt x="263" y="148"/>
                        <a:pt x="263" y="148"/>
                      </a:cubicBezTo>
                      <a:cubicBezTo>
                        <a:pt x="263" y="149"/>
                        <a:pt x="263" y="149"/>
                        <a:pt x="263" y="149"/>
                      </a:cubicBezTo>
                      <a:cubicBezTo>
                        <a:pt x="263" y="150"/>
                        <a:pt x="263" y="150"/>
                        <a:pt x="263" y="150"/>
                      </a:cubicBezTo>
                      <a:cubicBezTo>
                        <a:pt x="263" y="150"/>
                        <a:pt x="262" y="150"/>
                        <a:pt x="262" y="150"/>
                      </a:cubicBezTo>
                      <a:close/>
                      <a:moveTo>
                        <a:pt x="272" y="153"/>
                      </a:moveTo>
                      <a:cubicBezTo>
                        <a:pt x="272" y="153"/>
                        <a:pt x="272" y="153"/>
                        <a:pt x="272" y="153"/>
                      </a:cubicBezTo>
                      <a:cubicBezTo>
                        <a:pt x="271" y="153"/>
                        <a:pt x="271" y="153"/>
                        <a:pt x="271" y="153"/>
                      </a:cubicBezTo>
                      <a:cubicBezTo>
                        <a:pt x="272" y="153"/>
                        <a:pt x="272" y="153"/>
                        <a:pt x="272" y="153"/>
                      </a:cubicBezTo>
                      <a:cubicBezTo>
                        <a:pt x="273" y="153"/>
                        <a:pt x="273" y="153"/>
                        <a:pt x="273" y="153"/>
                      </a:cubicBezTo>
                      <a:cubicBezTo>
                        <a:pt x="273" y="153"/>
                        <a:pt x="273" y="153"/>
                        <a:pt x="273" y="153"/>
                      </a:cubicBezTo>
                      <a:cubicBezTo>
                        <a:pt x="272" y="153"/>
                        <a:pt x="272" y="153"/>
                        <a:pt x="272" y="153"/>
                      </a:cubicBezTo>
                      <a:close/>
                      <a:moveTo>
                        <a:pt x="274" y="154"/>
                      </a:moveTo>
                      <a:cubicBezTo>
                        <a:pt x="274" y="154"/>
                        <a:pt x="274" y="154"/>
                        <a:pt x="274" y="154"/>
                      </a:cubicBezTo>
                      <a:cubicBezTo>
                        <a:pt x="274" y="153"/>
                        <a:pt x="274" y="153"/>
                        <a:pt x="274" y="153"/>
                      </a:cubicBezTo>
                      <a:cubicBezTo>
                        <a:pt x="274" y="154"/>
                        <a:pt x="274" y="154"/>
                        <a:pt x="274" y="154"/>
                      </a:cubicBezTo>
                      <a:close/>
                      <a:moveTo>
                        <a:pt x="275" y="154"/>
                      </a:moveTo>
                      <a:cubicBezTo>
                        <a:pt x="276" y="154"/>
                        <a:pt x="276" y="154"/>
                        <a:pt x="276" y="154"/>
                      </a:cubicBezTo>
                      <a:cubicBezTo>
                        <a:pt x="276" y="154"/>
                        <a:pt x="276" y="154"/>
                        <a:pt x="276" y="154"/>
                      </a:cubicBezTo>
                      <a:cubicBezTo>
                        <a:pt x="277" y="154"/>
                        <a:pt x="277" y="154"/>
                        <a:pt x="277" y="154"/>
                      </a:cubicBezTo>
                      <a:cubicBezTo>
                        <a:pt x="277" y="154"/>
                        <a:pt x="277" y="154"/>
                        <a:pt x="277" y="154"/>
                      </a:cubicBezTo>
                      <a:cubicBezTo>
                        <a:pt x="276" y="154"/>
                        <a:pt x="276" y="154"/>
                        <a:pt x="276" y="154"/>
                      </a:cubicBezTo>
                      <a:cubicBezTo>
                        <a:pt x="276" y="153"/>
                        <a:pt x="276" y="153"/>
                        <a:pt x="276" y="153"/>
                      </a:cubicBezTo>
                      <a:cubicBezTo>
                        <a:pt x="275" y="153"/>
                        <a:pt x="275" y="153"/>
                        <a:pt x="275" y="153"/>
                      </a:cubicBezTo>
                      <a:cubicBezTo>
                        <a:pt x="275" y="154"/>
                        <a:pt x="275" y="154"/>
                        <a:pt x="275" y="154"/>
                      </a:cubicBezTo>
                      <a:cubicBezTo>
                        <a:pt x="275" y="154"/>
                        <a:pt x="275" y="154"/>
                        <a:pt x="275" y="154"/>
                      </a:cubicBezTo>
                      <a:close/>
                      <a:moveTo>
                        <a:pt x="286" y="167"/>
                      </a:moveTo>
                      <a:cubicBezTo>
                        <a:pt x="286" y="167"/>
                        <a:pt x="286" y="167"/>
                        <a:pt x="286" y="167"/>
                      </a:cubicBezTo>
                      <a:cubicBezTo>
                        <a:pt x="286" y="167"/>
                        <a:pt x="286" y="167"/>
                        <a:pt x="286" y="167"/>
                      </a:cubicBezTo>
                      <a:cubicBezTo>
                        <a:pt x="286" y="166"/>
                        <a:pt x="286" y="166"/>
                        <a:pt x="286" y="166"/>
                      </a:cubicBezTo>
                      <a:cubicBezTo>
                        <a:pt x="287" y="166"/>
                        <a:pt x="287" y="166"/>
                        <a:pt x="287" y="166"/>
                      </a:cubicBezTo>
                      <a:cubicBezTo>
                        <a:pt x="287" y="166"/>
                        <a:pt x="287" y="166"/>
                        <a:pt x="287" y="166"/>
                      </a:cubicBezTo>
                      <a:cubicBezTo>
                        <a:pt x="287" y="167"/>
                        <a:pt x="287" y="167"/>
                        <a:pt x="287" y="167"/>
                      </a:cubicBezTo>
                      <a:cubicBezTo>
                        <a:pt x="287" y="167"/>
                        <a:pt x="287" y="167"/>
                        <a:pt x="287" y="167"/>
                      </a:cubicBezTo>
                      <a:cubicBezTo>
                        <a:pt x="286" y="167"/>
                        <a:pt x="286" y="167"/>
                        <a:pt x="286" y="167"/>
                      </a:cubicBezTo>
                      <a:close/>
                      <a:moveTo>
                        <a:pt x="285" y="170"/>
                      </a:moveTo>
                      <a:cubicBezTo>
                        <a:pt x="285" y="169"/>
                        <a:pt x="285" y="169"/>
                        <a:pt x="285" y="169"/>
                      </a:cubicBezTo>
                      <a:cubicBezTo>
                        <a:pt x="285" y="168"/>
                        <a:pt x="285" y="168"/>
                        <a:pt x="285" y="168"/>
                      </a:cubicBezTo>
                      <a:cubicBezTo>
                        <a:pt x="286" y="169"/>
                        <a:pt x="286" y="169"/>
                        <a:pt x="286" y="169"/>
                      </a:cubicBezTo>
                      <a:cubicBezTo>
                        <a:pt x="286" y="169"/>
                        <a:pt x="286" y="169"/>
                        <a:pt x="286" y="169"/>
                      </a:cubicBezTo>
                      <a:cubicBezTo>
                        <a:pt x="286" y="169"/>
                        <a:pt x="286" y="169"/>
                        <a:pt x="286" y="169"/>
                      </a:cubicBezTo>
                      <a:cubicBezTo>
                        <a:pt x="286" y="169"/>
                        <a:pt x="286" y="169"/>
                        <a:pt x="286" y="169"/>
                      </a:cubicBezTo>
                      <a:cubicBezTo>
                        <a:pt x="286" y="170"/>
                        <a:pt x="286" y="170"/>
                        <a:pt x="286" y="170"/>
                      </a:cubicBezTo>
                      <a:cubicBezTo>
                        <a:pt x="285" y="170"/>
                        <a:pt x="285" y="170"/>
                        <a:pt x="285" y="170"/>
                      </a:cubicBezTo>
                      <a:close/>
                      <a:moveTo>
                        <a:pt x="279" y="157"/>
                      </a:moveTo>
                      <a:cubicBezTo>
                        <a:pt x="278" y="157"/>
                        <a:pt x="278" y="157"/>
                        <a:pt x="278" y="157"/>
                      </a:cubicBezTo>
                      <a:cubicBezTo>
                        <a:pt x="279" y="157"/>
                        <a:pt x="279" y="157"/>
                        <a:pt x="279" y="157"/>
                      </a:cubicBezTo>
                      <a:cubicBezTo>
                        <a:pt x="279" y="157"/>
                        <a:pt x="279" y="157"/>
                        <a:pt x="279" y="157"/>
                      </a:cubicBezTo>
                      <a:close/>
                      <a:moveTo>
                        <a:pt x="277" y="157"/>
                      </a:moveTo>
                      <a:cubicBezTo>
                        <a:pt x="277" y="156"/>
                        <a:pt x="277" y="156"/>
                        <a:pt x="277" y="156"/>
                      </a:cubicBezTo>
                      <a:cubicBezTo>
                        <a:pt x="277" y="157"/>
                        <a:pt x="277" y="157"/>
                        <a:pt x="277" y="157"/>
                      </a:cubicBezTo>
                      <a:cubicBezTo>
                        <a:pt x="277" y="157"/>
                        <a:pt x="277" y="157"/>
                        <a:pt x="277" y="157"/>
                      </a:cubicBezTo>
                      <a:cubicBezTo>
                        <a:pt x="277" y="157"/>
                        <a:pt x="277" y="157"/>
                        <a:pt x="277" y="157"/>
                      </a:cubicBezTo>
                      <a:close/>
                      <a:moveTo>
                        <a:pt x="278" y="158"/>
                      </a:moveTo>
                      <a:cubicBezTo>
                        <a:pt x="278" y="158"/>
                        <a:pt x="278" y="158"/>
                        <a:pt x="278" y="158"/>
                      </a:cubicBezTo>
                      <a:cubicBezTo>
                        <a:pt x="278" y="158"/>
                        <a:pt x="278" y="158"/>
                        <a:pt x="278" y="158"/>
                      </a:cubicBezTo>
                      <a:cubicBezTo>
                        <a:pt x="279" y="158"/>
                        <a:pt x="279" y="158"/>
                        <a:pt x="279" y="158"/>
                      </a:cubicBezTo>
                      <a:cubicBezTo>
                        <a:pt x="279" y="158"/>
                        <a:pt x="279" y="158"/>
                        <a:pt x="279" y="158"/>
                      </a:cubicBezTo>
                      <a:cubicBezTo>
                        <a:pt x="278" y="158"/>
                        <a:pt x="278" y="158"/>
                        <a:pt x="278" y="158"/>
                      </a:cubicBezTo>
                      <a:cubicBezTo>
                        <a:pt x="278" y="158"/>
                        <a:pt x="278" y="158"/>
                        <a:pt x="278" y="158"/>
                      </a:cubicBezTo>
                      <a:cubicBezTo>
                        <a:pt x="278" y="158"/>
                        <a:pt x="278" y="158"/>
                        <a:pt x="278" y="158"/>
                      </a:cubicBezTo>
                      <a:close/>
                      <a:moveTo>
                        <a:pt x="284" y="156"/>
                      </a:moveTo>
                      <a:cubicBezTo>
                        <a:pt x="284" y="156"/>
                        <a:pt x="284" y="156"/>
                        <a:pt x="284" y="156"/>
                      </a:cubicBezTo>
                      <a:cubicBezTo>
                        <a:pt x="285" y="156"/>
                        <a:pt x="285" y="156"/>
                        <a:pt x="285" y="156"/>
                      </a:cubicBezTo>
                      <a:cubicBezTo>
                        <a:pt x="285" y="156"/>
                        <a:pt x="285" y="156"/>
                        <a:pt x="285" y="156"/>
                      </a:cubicBezTo>
                      <a:cubicBezTo>
                        <a:pt x="285" y="157"/>
                        <a:pt x="285" y="157"/>
                        <a:pt x="285" y="157"/>
                      </a:cubicBezTo>
                      <a:cubicBezTo>
                        <a:pt x="285" y="157"/>
                        <a:pt x="285" y="157"/>
                        <a:pt x="285" y="157"/>
                      </a:cubicBezTo>
                      <a:cubicBezTo>
                        <a:pt x="285" y="157"/>
                        <a:pt x="285" y="157"/>
                        <a:pt x="285" y="157"/>
                      </a:cubicBezTo>
                      <a:cubicBezTo>
                        <a:pt x="286" y="156"/>
                        <a:pt x="286" y="156"/>
                        <a:pt x="286" y="156"/>
                      </a:cubicBezTo>
                      <a:cubicBezTo>
                        <a:pt x="286" y="157"/>
                        <a:pt x="286" y="157"/>
                        <a:pt x="286" y="157"/>
                      </a:cubicBezTo>
                      <a:cubicBezTo>
                        <a:pt x="287" y="156"/>
                        <a:pt x="287" y="156"/>
                        <a:pt x="287" y="156"/>
                      </a:cubicBezTo>
                      <a:cubicBezTo>
                        <a:pt x="287" y="157"/>
                        <a:pt x="287" y="157"/>
                        <a:pt x="287" y="157"/>
                      </a:cubicBezTo>
                      <a:cubicBezTo>
                        <a:pt x="288" y="156"/>
                        <a:pt x="288" y="156"/>
                        <a:pt x="288" y="156"/>
                      </a:cubicBezTo>
                      <a:cubicBezTo>
                        <a:pt x="287" y="156"/>
                        <a:pt x="287" y="156"/>
                        <a:pt x="287" y="156"/>
                      </a:cubicBezTo>
                      <a:cubicBezTo>
                        <a:pt x="286" y="155"/>
                        <a:pt x="286" y="155"/>
                        <a:pt x="286" y="155"/>
                      </a:cubicBezTo>
                      <a:cubicBezTo>
                        <a:pt x="285" y="155"/>
                        <a:pt x="285" y="155"/>
                        <a:pt x="285" y="155"/>
                      </a:cubicBezTo>
                      <a:cubicBezTo>
                        <a:pt x="285" y="155"/>
                        <a:pt x="285" y="155"/>
                        <a:pt x="285" y="155"/>
                      </a:cubicBezTo>
                      <a:cubicBezTo>
                        <a:pt x="284" y="155"/>
                        <a:pt x="284" y="155"/>
                        <a:pt x="284" y="155"/>
                      </a:cubicBezTo>
                      <a:cubicBezTo>
                        <a:pt x="284" y="155"/>
                        <a:pt x="284" y="155"/>
                        <a:pt x="284" y="156"/>
                      </a:cubicBezTo>
                      <a:close/>
                      <a:moveTo>
                        <a:pt x="294" y="155"/>
                      </a:moveTo>
                      <a:cubicBezTo>
                        <a:pt x="295" y="154"/>
                        <a:pt x="295" y="154"/>
                        <a:pt x="295" y="154"/>
                      </a:cubicBezTo>
                      <a:cubicBezTo>
                        <a:pt x="295" y="154"/>
                        <a:pt x="295" y="154"/>
                        <a:pt x="295" y="154"/>
                      </a:cubicBezTo>
                      <a:cubicBezTo>
                        <a:pt x="295" y="155"/>
                        <a:pt x="295" y="155"/>
                        <a:pt x="295" y="155"/>
                      </a:cubicBezTo>
                      <a:cubicBezTo>
                        <a:pt x="294" y="155"/>
                        <a:pt x="294" y="155"/>
                        <a:pt x="294" y="155"/>
                      </a:cubicBezTo>
                      <a:close/>
                      <a:moveTo>
                        <a:pt x="291" y="159"/>
                      </a:moveTo>
                      <a:cubicBezTo>
                        <a:pt x="291" y="158"/>
                        <a:pt x="291" y="158"/>
                        <a:pt x="291" y="158"/>
                      </a:cubicBezTo>
                      <a:cubicBezTo>
                        <a:pt x="292" y="158"/>
                        <a:pt x="292" y="158"/>
                        <a:pt x="292" y="158"/>
                      </a:cubicBezTo>
                      <a:cubicBezTo>
                        <a:pt x="292" y="158"/>
                        <a:pt x="292" y="158"/>
                        <a:pt x="292" y="158"/>
                      </a:cubicBezTo>
                      <a:cubicBezTo>
                        <a:pt x="293" y="157"/>
                        <a:pt x="293" y="157"/>
                        <a:pt x="293" y="157"/>
                      </a:cubicBezTo>
                      <a:cubicBezTo>
                        <a:pt x="293" y="157"/>
                        <a:pt x="293" y="157"/>
                        <a:pt x="293" y="157"/>
                      </a:cubicBezTo>
                      <a:cubicBezTo>
                        <a:pt x="294" y="157"/>
                        <a:pt x="294" y="157"/>
                        <a:pt x="294" y="157"/>
                      </a:cubicBezTo>
                      <a:cubicBezTo>
                        <a:pt x="294" y="158"/>
                        <a:pt x="294" y="158"/>
                        <a:pt x="294" y="158"/>
                      </a:cubicBezTo>
                      <a:cubicBezTo>
                        <a:pt x="293" y="158"/>
                        <a:pt x="293" y="158"/>
                        <a:pt x="293" y="158"/>
                      </a:cubicBezTo>
                      <a:cubicBezTo>
                        <a:pt x="292" y="159"/>
                        <a:pt x="292" y="159"/>
                        <a:pt x="292" y="159"/>
                      </a:cubicBezTo>
                      <a:cubicBezTo>
                        <a:pt x="291" y="159"/>
                        <a:pt x="291" y="159"/>
                        <a:pt x="291" y="159"/>
                      </a:cubicBezTo>
                      <a:cubicBezTo>
                        <a:pt x="291" y="159"/>
                        <a:pt x="291" y="159"/>
                        <a:pt x="291" y="159"/>
                      </a:cubicBezTo>
                      <a:close/>
                      <a:moveTo>
                        <a:pt x="287" y="164"/>
                      </a:moveTo>
                      <a:cubicBezTo>
                        <a:pt x="289" y="163"/>
                        <a:pt x="289" y="163"/>
                        <a:pt x="289" y="163"/>
                      </a:cubicBezTo>
                      <a:cubicBezTo>
                        <a:pt x="289" y="162"/>
                        <a:pt x="289" y="162"/>
                        <a:pt x="289" y="162"/>
                      </a:cubicBezTo>
                      <a:cubicBezTo>
                        <a:pt x="290" y="162"/>
                        <a:pt x="290" y="162"/>
                        <a:pt x="290" y="162"/>
                      </a:cubicBezTo>
                      <a:cubicBezTo>
                        <a:pt x="291" y="161"/>
                        <a:pt x="291" y="161"/>
                        <a:pt x="291" y="161"/>
                      </a:cubicBezTo>
                      <a:cubicBezTo>
                        <a:pt x="291" y="161"/>
                        <a:pt x="291" y="161"/>
                        <a:pt x="291" y="161"/>
                      </a:cubicBezTo>
                      <a:cubicBezTo>
                        <a:pt x="291" y="160"/>
                        <a:pt x="291" y="160"/>
                        <a:pt x="291" y="160"/>
                      </a:cubicBezTo>
                      <a:cubicBezTo>
                        <a:pt x="291" y="160"/>
                        <a:pt x="291" y="160"/>
                        <a:pt x="291" y="160"/>
                      </a:cubicBezTo>
                      <a:cubicBezTo>
                        <a:pt x="290" y="160"/>
                        <a:pt x="290" y="160"/>
                        <a:pt x="290" y="160"/>
                      </a:cubicBezTo>
                      <a:cubicBezTo>
                        <a:pt x="290" y="161"/>
                        <a:pt x="290" y="161"/>
                        <a:pt x="290" y="161"/>
                      </a:cubicBezTo>
                      <a:cubicBezTo>
                        <a:pt x="290" y="161"/>
                        <a:pt x="290" y="161"/>
                        <a:pt x="290" y="161"/>
                      </a:cubicBezTo>
                      <a:cubicBezTo>
                        <a:pt x="289" y="161"/>
                        <a:pt x="289" y="161"/>
                        <a:pt x="289" y="161"/>
                      </a:cubicBezTo>
                      <a:cubicBezTo>
                        <a:pt x="288" y="162"/>
                        <a:pt x="288" y="162"/>
                        <a:pt x="288" y="162"/>
                      </a:cubicBezTo>
                      <a:cubicBezTo>
                        <a:pt x="287" y="162"/>
                        <a:pt x="287" y="162"/>
                        <a:pt x="287" y="162"/>
                      </a:cubicBezTo>
                      <a:cubicBezTo>
                        <a:pt x="286" y="162"/>
                        <a:pt x="286" y="162"/>
                        <a:pt x="286" y="162"/>
                      </a:cubicBezTo>
                      <a:cubicBezTo>
                        <a:pt x="286" y="163"/>
                        <a:pt x="286" y="163"/>
                        <a:pt x="286" y="163"/>
                      </a:cubicBezTo>
                      <a:cubicBezTo>
                        <a:pt x="285" y="163"/>
                        <a:pt x="285" y="163"/>
                        <a:pt x="285" y="163"/>
                      </a:cubicBezTo>
                      <a:cubicBezTo>
                        <a:pt x="285" y="164"/>
                        <a:pt x="285" y="164"/>
                        <a:pt x="285" y="164"/>
                      </a:cubicBezTo>
                      <a:cubicBezTo>
                        <a:pt x="286" y="164"/>
                        <a:pt x="286" y="164"/>
                        <a:pt x="286" y="164"/>
                      </a:cubicBezTo>
                      <a:cubicBezTo>
                        <a:pt x="287" y="164"/>
                        <a:pt x="287" y="164"/>
                        <a:pt x="287" y="164"/>
                      </a:cubicBezTo>
                      <a:cubicBezTo>
                        <a:pt x="287" y="164"/>
                        <a:pt x="287" y="164"/>
                        <a:pt x="287" y="164"/>
                      </a:cubicBezTo>
                      <a:close/>
                      <a:moveTo>
                        <a:pt x="295" y="163"/>
                      </a:moveTo>
                      <a:cubicBezTo>
                        <a:pt x="295" y="162"/>
                        <a:pt x="295" y="162"/>
                        <a:pt x="295" y="162"/>
                      </a:cubicBezTo>
                      <a:cubicBezTo>
                        <a:pt x="295" y="162"/>
                        <a:pt x="295" y="162"/>
                        <a:pt x="295" y="162"/>
                      </a:cubicBezTo>
                      <a:cubicBezTo>
                        <a:pt x="295" y="161"/>
                        <a:pt x="295" y="161"/>
                        <a:pt x="295" y="161"/>
                      </a:cubicBezTo>
                      <a:cubicBezTo>
                        <a:pt x="296" y="161"/>
                        <a:pt x="296" y="161"/>
                        <a:pt x="296" y="161"/>
                      </a:cubicBezTo>
                      <a:cubicBezTo>
                        <a:pt x="297" y="161"/>
                        <a:pt x="297" y="161"/>
                        <a:pt x="297" y="161"/>
                      </a:cubicBezTo>
                      <a:cubicBezTo>
                        <a:pt x="297" y="162"/>
                        <a:pt x="297" y="162"/>
                        <a:pt x="297" y="162"/>
                      </a:cubicBezTo>
                      <a:cubicBezTo>
                        <a:pt x="297" y="163"/>
                        <a:pt x="297" y="163"/>
                        <a:pt x="297" y="163"/>
                      </a:cubicBezTo>
                      <a:cubicBezTo>
                        <a:pt x="296" y="163"/>
                        <a:pt x="296" y="163"/>
                        <a:pt x="296" y="163"/>
                      </a:cubicBezTo>
                      <a:cubicBezTo>
                        <a:pt x="296" y="163"/>
                        <a:pt x="296" y="163"/>
                        <a:pt x="296" y="163"/>
                      </a:cubicBezTo>
                      <a:cubicBezTo>
                        <a:pt x="295" y="163"/>
                        <a:pt x="295" y="163"/>
                        <a:pt x="295" y="163"/>
                      </a:cubicBezTo>
                      <a:close/>
                      <a:moveTo>
                        <a:pt x="301" y="170"/>
                      </a:moveTo>
                      <a:cubicBezTo>
                        <a:pt x="301" y="169"/>
                        <a:pt x="301" y="169"/>
                        <a:pt x="301" y="169"/>
                      </a:cubicBezTo>
                      <a:cubicBezTo>
                        <a:pt x="301" y="168"/>
                        <a:pt x="301" y="168"/>
                        <a:pt x="301" y="168"/>
                      </a:cubicBezTo>
                      <a:cubicBezTo>
                        <a:pt x="301" y="167"/>
                        <a:pt x="301" y="167"/>
                        <a:pt x="301" y="167"/>
                      </a:cubicBezTo>
                      <a:cubicBezTo>
                        <a:pt x="300" y="167"/>
                        <a:pt x="300" y="167"/>
                        <a:pt x="300" y="167"/>
                      </a:cubicBezTo>
                      <a:cubicBezTo>
                        <a:pt x="300" y="168"/>
                        <a:pt x="300" y="168"/>
                        <a:pt x="300" y="168"/>
                      </a:cubicBezTo>
                      <a:cubicBezTo>
                        <a:pt x="300" y="169"/>
                        <a:pt x="300" y="169"/>
                        <a:pt x="300" y="169"/>
                      </a:cubicBezTo>
                      <a:cubicBezTo>
                        <a:pt x="300" y="170"/>
                        <a:pt x="300" y="170"/>
                        <a:pt x="300" y="170"/>
                      </a:cubicBezTo>
                      <a:cubicBezTo>
                        <a:pt x="300" y="170"/>
                        <a:pt x="300" y="170"/>
                        <a:pt x="300" y="170"/>
                      </a:cubicBezTo>
                      <a:cubicBezTo>
                        <a:pt x="300" y="171"/>
                        <a:pt x="300" y="171"/>
                        <a:pt x="300" y="171"/>
                      </a:cubicBezTo>
                      <a:cubicBezTo>
                        <a:pt x="301" y="171"/>
                        <a:pt x="301" y="171"/>
                        <a:pt x="301" y="171"/>
                      </a:cubicBezTo>
                      <a:cubicBezTo>
                        <a:pt x="301" y="170"/>
                        <a:pt x="301" y="170"/>
                        <a:pt x="301" y="170"/>
                      </a:cubicBezTo>
                      <a:close/>
                      <a:moveTo>
                        <a:pt x="302" y="170"/>
                      </a:moveTo>
                      <a:cubicBezTo>
                        <a:pt x="302" y="169"/>
                        <a:pt x="302" y="169"/>
                        <a:pt x="302" y="169"/>
                      </a:cubicBezTo>
                      <a:cubicBezTo>
                        <a:pt x="302" y="168"/>
                        <a:pt x="302" y="168"/>
                        <a:pt x="302" y="168"/>
                      </a:cubicBezTo>
                      <a:cubicBezTo>
                        <a:pt x="302" y="169"/>
                        <a:pt x="302" y="169"/>
                        <a:pt x="302" y="169"/>
                      </a:cubicBezTo>
                      <a:cubicBezTo>
                        <a:pt x="302" y="169"/>
                        <a:pt x="302" y="169"/>
                        <a:pt x="302" y="169"/>
                      </a:cubicBezTo>
                      <a:cubicBezTo>
                        <a:pt x="302" y="170"/>
                        <a:pt x="302" y="170"/>
                        <a:pt x="302" y="170"/>
                      </a:cubicBezTo>
                      <a:cubicBezTo>
                        <a:pt x="302" y="170"/>
                        <a:pt x="302" y="170"/>
                        <a:pt x="302" y="170"/>
                      </a:cubicBezTo>
                      <a:close/>
                      <a:moveTo>
                        <a:pt x="303" y="172"/>
                      </a:moveTo>
                      <a:cubicBezTo>
                        <a:pt x="303" y="171"/>
                        <a:pt x="303" y="171"/>
                        <a:pt x="303" y="171"/>
                      </a:cubicBezTo>
                      <a:cubicBezTo>
                        <a:pt x="303" y="170"/>
                        <a:pt x="303" y="170"/>
                        <a:pt x="303" y="170"/>
                      </a:cubicBezTo>
                      <a:cubicBezTo>
                        <a:pt x="303" y="171"/>
                        <a:pt x="303" y="171"/>
                        <a:pt x="303" y="171"/>
                      </a:cubicBezTo>
                      <a:cubicBezTo>
                        <a:pt x="303" y="171"/>
                        <a:pt x="303" y="171"/>
                        <a:pt x="303" y="171"/>
                      </a:cubicBezTo>
                      <a:cubicBezTo>
                        <a:pt x="303" y="172"/>
                        <a:pt x="303" y="172"/>
                        <a:pt x="303" y="172"/>
                      </a:cubicBezTo>
                      <a:close/>
                      <a:moveTo>
                        <a:pt x="300" y="173"/>
                      </a:moveTo>
                      <a:cubicBezTo>
                        <a:pt x="300" y="174"/>
                        <a:pt x="300" y="174"/>
                        <a:pt x="300" y="174"/>
                      </a:cubicBezTo>
                      <a:cubicBezTo>
                        <a:pt x="300" y="174"/>
                        <a:pt x="300" y="174"/>
                        <a:pt x="300" y="174"/>
                      </a:cubicBezTo>
                      <a:cubicBezTo>
                        <a:pt x="300" y="175"/>
                        <a:pt x="300" y="175"/>
                        <a:pt x="300" y="175"/>
                      </a:cubicBezTo>
                      <a:cubicBezTo>
                        <a:pt x="301" y="176"/>
                        <a:pt x="301" y="176"/>
                        <a:pt x="301" y="176"/>
                      </a:cubicBezTo>
                      <a:cubicBezTo>
                        <a:pt x="301" y="175"/>
                        <a:pt x="301" y="175"/>
                        <a:pt x="301" y="175"/>
                      </a:cubicBezTo>
                      <a:cubicBezTo>
                        <a:pt x="302" y="176"/>
                        <a:pt x="302" y="176"/>
                        <a:pt x="302" y="176"/>
                      </a:cubicBezTo>
                      <a:cubicBezTo>
                        <a:pt x="303" y="176"/>
                        <a:pt x="303" y="176"/>
                        <a:pt x="303" y="176"/>
                      </a:cubicBezTo>
                      <a:cubicBezTo>
                        <a:pt x="303" y="176"/>
                        <a:pt x="303" y="176"/>
                        <a:pt x="303" y="176"/>
                      </a:cubicBezTo>
                      <a:cubicBezTo>
                        <a:pt x="304" y="176"/>
                        <a:pt x="304" y="176"/>
                        <a:pt x="304" y="176"/>
                      </a:cubicBezTo>
                      <a:cubicBezTo>
                        <a:pt x="304" y="175"/>
                        <a:pt x="304" y="175"/>
                        <a:pt x="304" y="175"/>
                      </a:cubicBezTo>
                      <a:cubicBezTo>
                        <a:pt x="304" y="175"/>
                        <a:pt x="304" y="175"/>
                        <a:pt x="304" y="175"/>
                      </a:cubicBezTo>
                      <a:cubicBezTo>
                        <a:pt x="304" y="174"/>
                        <a:pt x="304" y="174"/>
                        <a:pt x="304" y="174"/>
                      </a:cubicBezTo>
                      <a:cubicBezTo>
                        <a:pt x="303" y="174"/>
                        <a:pt x="303" y="174"/>
                        <a:pt x="303" y="174"/>
                      </a:cubicBezTo>
                      <a:cubicBezTo>
                        <a:pt x="303" y="173"/>
                        <a:pt x="303" y="173"/>
                        <a:pt x="303" y="173"/>
                      </a:cubicBezTo>
                      <a:cubicBezTo>
                        <a:pt x="302" y="173"/>
                        <a:pt x="302" y="173"/>
                        <a:pt x="302" y="173"/>
                      </a:cubicBezTo>
                      <a:cubicBezTo>
                        <a:pt x="302" y="174"/>
                        <a:pt x="302" y="174"/>
                        <a:pt x="302" y="174"/>
                      </a:cubicBezTo>
                      <a:cubicBezTo>
                        <a:pt x="302" y="173"/>
                        <a:pt x="302" y="173"/>
                        <a:pt x="302" y="173"/>
                      </a:cubicBezTo>
                      <a:cubicBezTo>
                        <a:pt x="302" y="173"/>
                        <a:pt x="302" y="173"/>
                        <a:pt x="302" y="173"/>
                      </a:cubicBezTo>
                      <a:cubicBezTo>
                        <a:pt x="301" y="173"/>
                        <a:pt x="301" y="173"/>
                        <a:pt x="301" y="173"/>
                      </a:cubicBezTo>
                      <a:cubicBezTo>
                        <a:pt x="301" y="173"/>
                        <a:pt x="301" y="173"/>
                        <a:pt x="301" y="173"/>
                      </a:cubicBezTo>
                      <a:cubicBezTo>
                        <a:pt x="301" y="173"/>
                        <a:pt x="301" y="173"/>
                        <a:pt x="301" y="173"/>
                      </a:cubicBezTo>
                      <a:cubicBezTo>
                        <a:pt x="300" y="173"/>
                        <a:pt x="300" y="173"/>
                        <a:pt x="300" y="173"/>
                      </a:cubicBezTo>
                      <a:close/>
                      <a:moveTo>
                        <a:pt x="275" y="205"/>
                      </a:moveTo>
                      <a:cubicBezTo>
                        <a:pt x="276" y="205"/>
                        <a:pt x="276" y="205"/>
                        <a:pt x="276" y="205"/>
                      </a:cubicBezTo>
                      <a:cubicBezTo>
                        <a:pt x="276" y="205"/>
                        <a:pt x="276" y="205"/>
                        <a:pt x="276" y="205"/>
                      </a:cubicBezTo>
                      <a:cubicBezTo>
                        <a:pt x="276" y="204"/>
                        <a:pt x="276" y="204"/>
                        <a:pt x="276" y="204"/>
                      </a:cubicBezTo>
                      <a:cubicBezTo>
                        <a:pt x="275" y="205"/>
                        <a:pt x="275" y="205"/>
                        <a:pt x="275" y="205"/>
                      </a:cubicBezTo>
                      <a:cubicBezTo>
                        <a:pt x="275" y="205"/>
                        <a:pt x="275" y="205"/>
                        <a:pt x="275" y="205"/>
                      </a:cubicBezTo>
                      <a:close/>
                      <a:moveTo>
                        <a:pt x="261" y="184"/>
                      </a:moveTo>
                      <a:cubicBezTo>
                        <a:pt x="262" y="184"/>
                        <a:pt x="262" y="184"/>
                        <a:pt x="262" y="184"/>
                      </a:cubicBezTo>
                      <a:cubicBezTo>
                        <a:pt x="262" y="185"/>
                        <a:pt x="262" y="185"/>
                        <a:pt x="262" y="185"/>
                      </a:cubicBezTo>
                      <a:cubicBezTo>
                        <a:pt x="262" y="184"/>
                        <a:pt x="262" y="184"/>
                        <a:pt x="262" y="184"/>
                      </a:cubicBezTo>
                      <a:cubicBezTo>
                        <a:pt x="262" y="184"/>
                        <a:pt x="262" y="184"/>
                        <a:pt x="262" y="184"/>
                      </a:cubicBezTo>
                      <a:cubicBezTo>
                        <a:pt x="261" y="184"/>
                        <a:pt x="261" y="184"/>
                        <a:pt x="261" y="184"/>
                      </a:cubicBezTo>
                      <a:cubicBezTo>
                        <a:pt x="261" y="184"/>
                        <a:pt x="261" y="184"/>
                        <a:pt x="261" y="184"/>
                      </a:cubicBezTo>
                      <a:close/>
                      <a:moveTo>
                        <a:pt x="258" y="189"/>
                      </a:moveTo>
                      <a:cubicBezTo>
                        <a:pt x="258" y="188"/>
                        <a:pt x="258" y="188"/>
                        <a:pt x="258" y="188"/>
                      </a:cubicBezTo>
                      <a:cubicBezTo>
                        <a:pt x="257" y="188"/>
                        <a:pt x="257" y="188"/>
                        <a:pt x="257" y="188"/>
                      </a:cubicBezTo>
                      <a:cubicBezTo>
                        <a:pt x="256" y="187"/>
                        <a:pt x="256" y="187"/>
                        <a:pt x="256" y="187"/>
                      </a:cubicBezTo>
                      <a:cubicBezTo>
                        <a:pt x="257" y="187"/>
                        <a:pt x="257" y="187"/>
                        <a:pt x="257" y="187"/>
                      </a:cubicBezTo>
                      <a:cubicBezTo>
                        <a:pt x="256" y="186"/>
                        <a:pt x="256" y="186"/>
                        <a:pt x="256" y="186"/>
                      </a:cubicBezTo>
                      <a:cubicBezTo>
                        <a:pt x="256" y="185"/>
                        <a:pt x="256" y="185"/>
                        <a:pt x="256" y="185"/>
                      </a:cubicBezTo>
                      <a:cubicBezTo>
                        <a:pt x="256" y="184"/>
                        <a:pt x="256" y="184"/>
                        <a:pt x="256" y="184"/>
                      </a:cubicBezTo>
                      <a:cubicBezTo>
                        <a:pt x="256" y="184"/>
                        <a:pt x="256" y="184"/>
                        <a:pt x="256" y="184"/>
                      </a:cubicBezTo>
                      <a:cubicBezTo>
                        <a:pt x="256" y="185"/>
                        <a:pt x="256" y="185"/>
                        <a:pt x="256" y="185"/>
                      </a:cubicBezTo>
                      <a:cubicBezTo>
                        <a:pt x="257" y="185"/>
                        <a:pt x="257" y="185"/>
                        <a:pt x="257" y="185"/>
                      </a:cubicBezTo>
                      <a:cubicBezTo>
                        <a:pt x="257" y="186"/>
                        <a:pt x="257" y="186"/>
                        <a:pt x="257" y="186"/>
                      </a:cubicBezTo>
                      <a:cubicBezTo>
                        <a:pt x="258" y="186"/>
                        <a:pt x="258" y="186"/>
                        <a:pt x="258" y="186"/>
                      </a:cubicBezTo>
                      <a:cubicBezTo>
                        <a:pt x="258" y="187"/>
                        <a:pt x="258" y="187"/>
                        <a:pt x="258" y="187"/>
                      </a:cubicBezTo>
                      <a:cubicBezTo>
                        <a:pt x="259" y="188"/>
                        <a:pt x="259" y="188"/>
                        <a:pt x="259" y="188"/>
                      </a:cubicBezTo>
                      <a:cubicBezTo>
                        <a:pt x="260" y="188"/>
                        <a:pt x="260" y="188"/>
                        <a:pt x="260" y="188"/>
                      </a:cubicBezTo>
                      <a:cubicBezTo>
                        <a:pt x="259" y="189"/>
                        <a:pt x="259" y="189"/>
                        <a:pt x="259" y="189"/>
                      </a:cubicBezTo>
                      <a:cubicBezTo>
                        <a:pt x="259" y="189"/>
                        <a:pt x="259" y="189"/>
                        <a:pt x="259" y="189"/>
                      </a:cubicBezTo>
                      <a:cubicBezTo>
                        <a:pt x="258" y="189"/>
                        <a:pt x="258" y="189"/>
                        <a:pt x="258" y="189"/>
                      </a:cubicBezTo>
                      <a:close/>
                      <a:moveTo>
                        <a:pt x="252" y="188"/>
                      </a:moveTo>
                      <a:cubicBezTo>
                        <a:pt x="252" y="188"/>
                        <a:pt x="252" y="188"/>
                        <a:pt x="252" y="188"/>
                      </a:cubicBezTo>
                      <a:cubicBezTo>
                        <a:pt x="252" y="187"/>
                        <a:pt x="252" y="187"/>
                        <a:pt x="252" y="187"/>
                      </a:cubicBezTo>
                      <a:cubicBezTo>
                        <a:pt x="252" y="187"/>
                        <a:pt x="252" y="187"/>
                        <a:pt x="252" y="187"/>
                      </a:cubicBezTo>
                      <a:cubicBezTo>
                        <a:pt x="252" y="185"/>
                        <a:pt x="252" y="185"/>
                        <a:pt x="252" y="185"/>
                      </a:cubicBezTo>
                      <a:cubicBezTo>
                        <a:pt x="253" y="185"/>
                        <a:pt x="253" y="185"/>
                        <a:pt x="253" y="185"/>
                      </a:cubicBezTo>
                      <a:cubicBezTo>
                        <a:pt x="253" y="185"/>
                        <a:pt x="253" y="185"/>
                        <a:pt x="253" y="185"/>
                      </a:cubicBezTo>
                      <a:cubicBezTo>
                        <a:pt x="253" y="186"/>
                        <a:pt x="253" y="186"/>
                        <a:pt x="253" y="186"/>
                      </a:cubicBezTo>
                      <a:cubicBezTo>
                        <a:pt x="253" y="186"/>
                        <a:pt x="253" y="186"/>
                        <a:pt x="253" y="186"/>
                      </a:cubicBezTo>
                      <a:cubicBezTo>
                        <a:pt x="253" y="186"/>
                        <a:pt x="253" y="186"/>
                        <a:pt x="253" y="186"/>
                      </a:cubicBezTo>
                      <a:cubicBezTo>
                        <a:pt x="254" y="187"/>
                        <a:pt x="254" y="187"/>
                        <a:pt x="254" y="187"/>
                      </a:cubicBezTo>
                      <a:cubicBezTo>
                        <a:pt x="253" y="188"/>
                        <a:pt x="253" y="188"/>
                        <a:pt x="253" y="188"/>
                      </a:cubicBezTo>
                      <a:cubicBezTo>
                        <a:pt x="252" y="188"/>
                        <a:pt x="252" y="188"/>
                        <a:pt x="252" y="188"/>
                      </a:cubicBezTo>
                      <a:close/>
                      <a:moveTo>
                        <a:pt x="252" y="168"/>
                      </a:moveTo>
                      <a:cubicBezTo>
                        <a:pt x="252" y="169"/>
                        <a:pt x="252" y="169"/>
                        <a:pt x="252" y="169"/>
                      </a:cubicBezTo>
                      <a:cubicBezTo>
                        <a:pt x="252" y="169"/>
                        <a:pt x="252" y="169"/>
                        <a:pt x="252" y="169"/>
                      </a:cubicBezTo>
                      <a:cubicBezTo>
                        <a:pt x="253" y="169"/>
                        <a:pt x="253" y="169"/>
                        <a:pt x="253" y="169"/>
                      </a:cubicBezTo>
                      <a:cubicBezTo>
                        <a:pt x="254" y="168"/>
                        <a:pt x="254" y="168"/>
                        <a:pt x="254" y="168"/>
                      </a:cubicBezTo>
                      <a:cubicBezTo>
                        <a:pt x="254" y="168"/>
                        <a:pt x="254" y="168"/>
                        <a:pt x="254" y="168"/>
                      </a:cubicBezTo>
                      <a:cubicBezTo>
                        <a:pt x="253" y="168"/>
                        <a:pt x="253" y="168"/>
                        <a:pt x="253" y="168"/>
                      </a:cubicBezTo>
                      <a:cubicBezTo>
                        <a:pt x="252" y="168"/>
                        <a:pt x="252" y="168"/>
                        <a:pt x="252" y="168"/>
                      </a:cubicBezTo>
                      <a:close/>
                      <a:moveTo>
                        <a:pt x="252" y="168"/>
                      </a:moveTo>
                      <a:cubicBezTo>
                        <a:pt x="253" y="167"/>
                        <a:pt x="253" y="167"/>
                        <a:pt x="253" y="167"/>
                      </a:cubicBezTo>
                      <a:cubicBezTo>
                        <a:pt x="253" y="166"/>
                        <a:pt x="253" y="166"/>
                        <a:pt x="253" y="166"/>
                      </a:cubicBezTo>
                      <a:cubicBezTo>
                        <a:pt x="254" y="165"/>
                        <a:pt x="254" y="165"/>
                        <a:pt x="254" y="165"/>
                      </a:cubicBezTo>
                      <a:cubicBezTo>
                        <a:pt x="254" y="165"/>
                        <a:pt x="254" y="165"/>
                        <a:pt x="254" y="165"/>
                      </a:cubicBezTo>
                      <a:cubicBezTo>
                        <a:pt x="254" y="165"/>
                        <a:pt x="254" y="165"/>
                        <a:pt x="254" y="165"/>
                      </a:cubicBezTo>
                      <a:cubicBezTo>
                        <a:pt x="254" y="166"/>
                        <a:pt x="254" y="166"/>
                        <a:pt x="254" y="166"/>
                      </a:cubicBezTo>
                      <a:cubicBezTo>
                        <a:pt x="254" y="167"/>
                        <a:pt x="254" y="167"/>
                        <a:pt x="254" y="167"/>
                      </a:cubicBezTo>
                      <a:cubicBezTo>
                        <a:pt x="254" y="168"/>
                        <a:pt x="254" y="168"/>
                        <a:pt x="254" y="168"/>
                      </a:cubicBezTo>
                      <a:cubicBezTo>
                        <a:pt x="253" y="168"/>
                        <a:pt x="253" y="168"/>
                        <a:pt x="253" y="168"/>
                      </a:cubicBezTo>
                      <a:cubicBezTo>
                        <a:pt x="252" y="168"/>
                        <a:pt x="252" y="168"/>
                        <a:pt x="252" y="168"/>
                      </a:cubicBezTo>
                      <a:close/>
                      <a:moveTo>
                        <a:pt x="206" y="159"/>
                      </a:moveTo>
                      <a:cubicBezTo>
                        <a:pt x="207" y="159"/>
                        <a:pt x="207" y="159"/>
                        <a:pt x="207" y="159"/>
                      </a:cubicBezTo>
                      <a:cubicBezTo>
                        <a:pt x="207" y="158"/>
                        <a:pt x="207" y="158"/>
                        <a:pt x="207" y="158"/>
                      </a:cubicBezTo>
                      <a:cubicBezTo>
                        <a:pt x="206" y="158"/>
                        <a:pt x="206" y="158"/>
                        <a:pt x="206" y="158"/>
                      </a:cubicBezTo>
                      <a:cubicBezTo>
                        <a:pt x="206" y="159"/>
                        <a:pt x="206" y="159"/>
                        <a:pt x="206" y="159"/>
                      </a:cubicBezTo>
                      <a:cubicBezTo>
                        <a:pt x="206" y="159"/>
                        <a:pt x="206" y="159"/>
                        <a:pt x="206" y="159"/>
                      </a:cubicBezTo>
                      <a:close/>
                      <a:moveTo>
                        <a:pt x="167" y="149"/>
                      </a:moveTo>
                      <a:cubicBezTo>
                        <a:pt x="168" y="149"/>
                        <a:pt x="168" y="149"/>
                        <a:pt x="168" y="149"/>
                      </a:cubicBezTo>
                      <a:cubicBezTo>
                        <a:pt x="168" y="149"/>
                        <a:pt x="168" y="149"/>
                        <a:pt x="168" y="149"/>
                      </a:cubicBezTo>
                      <a:cubicBezTo>
                        <a:pt x="168" y="149"/>
                        <a:pt x="168" y="149"/>
                        <a:pt x="168" y="149"/>
                      </a:cubicBezTo>
                      <a:cubicBezTo>
                        <a:pt x="168" y="149"/>
                        <a:pt x="167" y="149"/>
                        <a:pt x="167" y="149"/>
                      </a:cubicBezTo>
                      <a:close/>
                      <a:moveTo>
                        <a:pt x="164" y="150"/>
                      </a:moveTo>
                      <a:cubicBezTo>
                        <a:pt x="165" y="150"/>
                        <a:pt x="165" y="150"/>
                        <a:pt x="165" y="150"/>
                      </a:cubicBezTo>
                      <a:cubicBezTo>
                        <a:pt x="165" y="150"/>
                        <a:pt x="165" y="150"/>
                        <a:pt x="165" y="150"/>
                      </a:cubicBezTo>
                      <a:cubicBezTo>
                        <a:pt x="164" y="150"/>
                        <a:pt x="164" y="150"/>
                        <a:pt x="164" y="150"/>
                      </a:cubicBezTo>
                      <a:cubicBezTo>
                        <a:pt x="164" y="150"/>
                        <a:pt x="164" y="150"/>
                        <a:pt x="164" y="150"/>
                      </a:cubicBezTo>
                      <a:close/>
                      <a:moveTo>
                        <a:pt x="165" y="154"/>
                      </a:moveTo>
                      <a:cubicBezTo>
                        <a:pt x="165" y="153"/>
                        <a:pt x="165" y="153"/>
                        <a:pt x="165" y="153"/>
                      </a:cubicBezTo>
                      <a:cubicBezTo>
                        <a:pt x="165" y="153"/>
                        <a:pt x="165" y="153"/>
                        <a:pt x="165" y="153"/>
                      </a:cubicBezTo>
                      <a:cubicBezTo>
                        <a:pt x="166" y="154"/>
                        <a:pt x="166" y="154"/>
                        <a:pt x="166" y="154"/>
                      </a:cubicBezTo>
                      <a:cubicBezTo>
                        <a:pt x="165" y="154"/>
                        <a:pt x="165" y="154"/>
                        <a:pt x="165" y="154"/>
                      </a:cubicBezTo>
                      <a:close/>
                      <a:moveTo>
                        <a:pt x="165" y="154"/>
                      </a:moveTo>
                      <a:cubicBezTo>
                        <a:pt x="165" y="153"/>
                        <a:pt x="165" y="153"/>
                        <a:pt x="165" y="153"/>
                      </a:cubicBezTo>
                      <a:cubicBezTo>
                        <a:pt x="165" y="153"/>
                        <a:pt x="165" y="153"/>
                        <a:pt x="165" y="153"/>
                      </a:cubicBezTo>
                      <a:cubicBezTo>
                        <a:pt x="165" y="154"/>
                        <a:pt x="165" y="154"/>
                        <a:pt x="165" y="154"/>
                      </a:cubicBezTo>
                      <a:cubicBezTo>
                        <a:pt x="165" y="154"/>
                        <a:pt x="165" y="154"/>
                        <a:pt x="165" y="154"/>
                      </a:cubicBezTo>
                      <a:close/>
                      <a:moveTo>
                        <a:pt x="167" y="156"/>
                      </a:moveTo>
                      <a:cubicBezTo>
                        <a:pt x="167" y="157"/>
                        <a:pt x="167" y="157"/>
                        <a:pt x="167" y="157"/>
                      </a:cubicBezTo>
                      <a:cubicBezTo>
                        <a:pt x="168" y="157"/>
                        <a:pt x="168" y="157"/>
                        <a:pt x="168" y="157"/>
                      </a:cubicBezTo>
                      <a:cubicBezTo>
                        <a:pt x="168" y="156"/>
                        <a:pt x="168" y="156"/>
                        <a:pt x="168" y="156"/>
                      </a:cubicBezTo>
                      <a:cubicBezTo>
                        <a:pt x="168" y="156"/>
                        <a:pt x="168" y="156"/>
                        <a:pt x="168" y="156"/>
                      </a:cubicBezTo>
                      <a:cubicBezTo>
                        <a:pt x="169" y="156"/>
                        <a:pt x="169" y="156"/>
                        <a:pt x="169" y="156"/>
                      </a:cubicBezTo>
                      <a:cubicBezTo>
                        <a:pt x="168" y="156"/>
                        <a:pt x="168" y="156"/>
                        <a:pt x="168" y="156"/>
                      </a:cubicBezTo>
                      <a:cubicBezTo>
                        <a:pt x="168" y="156"/>
                        <a:pt x="168" y="156"/>
                        <a:pt x="168" y="156"/>
                      </a:cubicBezTo>
                      <a:cubicBezTo>
                        <a:pt x="167" y="156"/>
                        <a:pt x="167" y="156"/>
                        <a:pt x="167" y="156"/>
                      </a:cubicBezTo>
                      <a:cubicBezTo>
                        <a:pt x="167" y="156"/>
                        <a:pt x="167" y="156"/>
                        <a:pt x="167" y="156"/>
                      </a:cubicBezTo>
                      <a:close/>
                      <a:moveTo>
                        <a:pt x="166" y="161"/>
                      </a:moveTo>
                      <a:cubicBezTo>
                        <a:pt x="165" y="160"/>
                        <a:pt x="165" y="160"/>
                        <a:pt x="165" y="160"/>
                      </a:cubicBezTo>
                      <a:cubicBezTo>
                        <a:pt x="166" y="159"/>
                        <a:pt x="166" y="159"/>
                        <a:pt x="166" y="159"/>
                      </a:cubicBezTo>
                      <a:cubicBezTo>
                        <a:pt x="166" y="159"/>
                        <a:pt x="166" y="159"/>
                        <a:pt x="166" y="159"/>
                      </a:cubicBezTo>
                      <a:cubicBezTo>
                        <a:pt x="166" y="158"/>
                        <a:pt x="166" y="158"/>
                        <a:pt x="166" y="158"/>
                      </a:cubicBezTo>
                      <a:cubicBezTo>
                        <a:pt x="167" y="158"/>
                        <a:pt x="167" y="158"/>
                        <a:pt x="167" y="158"/>
                      </a:cubicBezTo>
                      <a:cubicBezTo>
                        <a:pt x="166" y="159"/>
                        <a:pt x="166" y="159"/>
                        <a:pt x="166" y="159"/>
                      </a:cubicBezTo>
                      <a:cubicBezTo>
                        <a:pt x="167" y="159"/>
                        <a:pt x="167" y="159"/>
                        <a:pt x="167" y="159"/>
                      </a:cubicBezTo>
                      <a:cubicBezTo>
                        <a:pt x="167" y="160"/>
                        <a:pt x="167" y="160"/>
                        <a:pt x="167" y="160"/>
                      </a:cubicBezTo>
                      <a:cubicBezTo>
                        <a:pt x="167" y="160"/>
                        <a:pt x="167" y="160"/>
                        <a:pt x="167" y="160"/>
                      </a:cubicBezTo>
                      <a:cubicBezTo>
                        <a:pt x="166" y="160"/>
                        <a:pt x="166" y="160"/>
                        <a:pt x="166" y="160"/>
                      </a:cubicBezTo>
                      <a:cubicBezTo>
                        <a:pt x="166" y="161"/>
                        <a:pt x="166" y="161"/>
                        <a:pt x="166" y="161"/>
                      </a:cubicBezTo>
                      <a:cubicBezTo>
                        <a:pt x="166" y="161"/>
                        <a:pt x="166" y="161"/>
                        <a:pt x="166" y="161"/>
                      </a:cubicBezTo>
                      <a:close/>
                      <a:moveTo>
                        <a:pt x="201" y="141"/>
                      </a:moveTo>
                      <a:cubicBezTo>
                        <a:pt x="201" y="141"/>
                        <a:pt x="201" y="141"/>
                        <a:pt x="201" y="141"/>
                      </a:cubicBezTo>
                      <a:cubicBezTo>
                        <a:pt x="201" y="141"/>
                        <a:pt x="201" y="141"/>
                        <a:pt x="201" y="141"/>
                      </a:cubicBezTo>
                      <a:cubicBezTo>
                        <a:pt x="202" y="141"/>
                        <a:pt x="202" y="141"/>
                        <a:pt x="202" y="141"/>
                      </a:cubicBezTo>
                      <a:cubicBezTo>
                        <a:pt x="201" y="142"/>
                        <a:pt x="201" y="142"/>
                        <a:pt x="201" y="142"/>
                      </a:cubicBezTo>
                      <a:cubicBezTo>
                        <a:pt x="201" y="141"/>
                        <a:pt x="201" y="141"/>
                        <a:pt x="201" y="141"/>
                      </a:cubicBezTo>
                      <a:close/>
                      <a:moveTo>
                        <a:pt x="213" y="135"/>
                      </a:moveTo>
                      <a:cubicBezTo>
                        <a:pt x="213" y="134"/>
                        <a:pt x="213" y="134"/>
                        <a:pt x="213" y="134"/>
                      </a:cubicBezTo>
                      <a:cubicBezTo>
                        <a:pt x="212" y="134"/>
                        <a:pt x="212" y="134"/>
                        <a:pt x="212" y="134"/>
                      </a:cubicBezTo>
                      <a:cubicBezTo>
                        <a:pt x="213" y="132"/>
                        <a:pt x="213" y="132"/>
                        <a:pt x="213" y="132"/>
                      </a:cubicBezTo>
                      <a:cubicBezTo>
                        <a:pt x="213" y="132"/>
                        <a:pt x="213" y="132"/>
                        <a:pt x="213" y="132"/>
                      </a:cubicBezTo>
                      <a:cubicBezTo>
                        <a:pt x="213" y="133"/>
                        <a:pt x="213" y="133"/>
                        <a:pt x="213" y="133"/>
                      </a:cubicBezTo>
                      <a:cubicBezTo>
                        <a:pt x="213" y="133"/>
                        <a:pt x="213" y="133"/>
                        <a:pt x="213" y="133"/>
                      </a:cubicBezTo>
                      <a:cubicBezTo>
                        <a:pt x="214" y="134"/>
                        <a:pt x="214" y="134"/>
                        <a:pt x="214" y="134"/>
                      </a:cubicBezTo>
                      <a:cubicBezTo>
                        <a:pt x="213" y="134"/>
                        <a:pt x="213" y="134"/>
                        <a:pt x="213" y="134"/>
                      </a:cubicBezTo>
                      <a:cubicBezTo>
                        <a:pt x="213" y="135"/>
                        <a:pt x="213" y="135"/>
                        <a:pt x="213" y="135"/>
                      </a:cubicBezTo>
                      <a:cubicBezTo>
                        <a:pt x="213" y="135"/>
                        <a:pt x="213" y="135"/>
                        <a:pt x="213" y="135"/>
                      </a:cubicBezTo>
                      <a:close/>
                      <a:moveTo>
                        <a:pt x="200" y="148"/>
                      </a:moveTo>
                      <a:cubicBezTo>
                        <a:pt x="200" y="148"/>
                        <a:pt x="200" y="148"/>
                        <a:pt x="200" y="148"/>
                      </a:cubicBezTo>
                      <a:cubicBezTo>
                        <a:pt x="200" y="147"/>
                        <a:pt x="200" y="147"/>
                        <a:pt x="200" y="147"/>
                      </a:cubicBezTo>
                      <a:cubicBezTo>
                        <a:pt x="200" y="147"/>
                        <a:pt x="200" y="147"/>
                        <a:pt x="200" y="147"/>
                      </a:cubicBezTo>
                      <a:cubicBezTo>
                        <a:pt x="200" y="146"/>
                        <a:pt x="200" y="146"/>
                        <a:pt x="200" y="146"/>
                      </a:cubicBezTo>
                      <a:cubicBezTo>
                        <a:pt x="201" y="146"/>
                        <a:pt x="201" y="146"/>
                        <a:pt x="201" y="146"/>
                      </a:cubicBezTo>
                      <a:cubicBezTo>
                        <a:pt x="201" y="145"/>
                        <a:pt x="201" y="145"/>
                        <a:pt x="201" y="145"/>
                      </a:cubicBezTo>
                      <a:cubicBezTo>
                        <a:pt x="200" y="145"/>
                        <a:pt x="200" y="145"/>
                        <a:pt x="200" y="145"/>
                      </a:cubicBezTo>
                      <a:cubicBezTo>
                        <a:pt x="200" y="144"/>
                        <a:pt x="200" y="144"/>
                        <a:pt x="200" y="144"/>
                      </a:cubicBezTo>
                      <a:cubicBezTo>
                        <a:pt x="200" y="144"/>
                        <a:pt x="200" y="144"/>
                        <a:pt x="200" y="144"/>
                      </a:cubicBezTo>
                      <a:cubicBezTo>
                        <a:pt x="201" y="144"/>
                        <a:pt x="201" y="144"/>
                        <a:pt x="201" y="144"/>
                      </a:cubicBezTo>
                      <a:cubicBezTo>
                        <a:pt x="201" y="143"/>
                        <a:pt x="201" y="143"/>
                        <a:pt x="201" y="143"/>
                      </a:cubicBezTo>
                      <a:cubicBezTo>
                        <a:pt x="200" y="142"/>
                        <a:pt x="200" y="142"/>
                        <a:pt x="200" y="142"/>
                      </a:cubicBezTo>
                      <a:cubicBezTo>
                        <a:pt x="199" y="143"/>
                        <a:pt x="199" y="143"/>
                        <a:pt x="199" y="143"/>
                      </a:cubicBezTo>
                      <a:cubicBezTo>
                        <a:pt x="199" y="143"/>
                        <a:pt x="199" y="143"/>
                        <a:pt x="199" y="143"/>
                      </a:cubicBezTo>
                      <a:cubicBezTo>
                        <a:pt x="199" y="143"/>
                        <a:pt x="199" y="143"/>
                        <a:pt x="199" y="143"/>
                      </a:cubicBezTo>
                      <a:cubicBezTo>
                        <a:pt x="198" y="143"/>
                        <a:pt x="198" y="143"/>
                        <a:pt x="198" y="143"/>
                      </a:cubicBezTo>
                      <a:cubicBezTo>
                        <a:pt x="197" y="143"/>
                        <a:pt x="197" y="143"/>
                        <a:pt x="197" y="143"/>
                      </a:cubicBezTo>
                      <a:cubicBezTo>
                        <a:pt x="196" y="144"/>
                        <a:pt x="196" y="144"/>
                        <a:pt x="196" y="144"/>
                      </a:cubicBezTo>
                      <a:cubicBezTo>
                        <a:pt x="195" y="145"/>
                        <a:pt x="195" y="145"/>
                        <a:pt x="195" y="145"/>
                      </a:cubicBezTo>
                      <a:cubicBezTo>
                        <a:pt x="195" y="144"/>
                        <a:pt x="195" y="144"/>
                        <a:pt x="195" y="144"/>
                      </a:cubicBezTo>
                      <a:cubicBezTo>
                        <a:pt x="196" y="144"/>
                        <a:pt x="196" y="144"/>
                        <a:pt x="196" y="144"/>
                      </a:cubicBezTo>
                      <a:cubicBezTo>
                        <a:pt x="197" y="143"/>
                        <a:pt x="197" y="143"/>
                        <a:pt x="197" y="143"/>
                      </a:cubicBezTo>
                      <a:cubicBezTo>
                        <a:pt x="197" y="142"/>
                        <a:pt x="197" y="142"/>
                        <a:pt x="197" y="142"/>
                      </a:cubicBezTo>
                      <a:cubicBezTo>
                        <a:pt x="196" y="143"/>
                        <a:pt x="196" y="143"/>
                        <a:pt x="196" y="143"/>
                      </a:cubicBezTo>
                      <a:cubicBezTo>
                        <a:pt x="196" y="143"/>
                        <a:pt x="196" y="143"/>
                        <a:pt x="196" y="143"/>
                      </a:cubicBezTo>
                      <a:cubicBezTo>
                        <a:pt x="196" y="142"/>
                        <a:pt x="196" y="142"/>
                        <a:pt x="196" y="142"/>
                      </a:cubicBezTo>
                      <a:cubicBezTo>
                        <a:pt x="197" y="141"/>
                        <a:pt x="197" y="141"/>
                        <a:pt x="197" y="141"/>
                      </a:cubicBezTo>
                      <a:cubicBezTo>
                        <a:pt x="196" y="140"/>
                        <a:pt x="196" y="140"/>
                        <a:pt x="196" y="140"/>
                      </a:cubicBezTo>
                      <a:cubicBezTo>
                        <a:pt x="196" y="140"/>
                        <a:pt x="196" y="140"/>
                        <a:pt x="196" y="140"/>
                      </a:cubicBezTo>
                      <a:cubicBezTo>
                        <a:pt x="197" y="140"/>
                        <a:pt x="197" y="140"/>
                        <a:pt x="197" y="140"/>
                      </a:cubicBezTo>
                      <a:cubicBezTo>
                        <a:pt x="197" y="140"/>
                        <a:pt x="197" y="140"/>
                        <a:pt x="197" y="140"/>
                      </a:cubicBezTo>
                      <a:cubicBezTo>
                        <a:pt x="197" y="141"/>
                        <a:pt x="197" y="141"/>
                        <a:pt x="197" y="141"/>
                      </a:cubicBezTo>
                      <a:cubicBezTo>
                        <a:pt x="198" y="142"/>
                        <a:pt x="198" y="142"/>
                        <a:pt x="198" y="142"/>
                      </a:cubicBezTo>
                      <a:cubicBezTo>
                        <a:pt x="198" y="142"/>
                        <a:pt x="198" y="142"/>
                        <a:pt x="198" y="142"/>
                      </a:cubicBezTo>
                      <a:cubicBezTo>
                        <a:pt x="199" y="142"/>
                        <a:pt x="199" y="142"/>
                        <a:pt x="199" y="142"/>
                      </a:cubicBezTo>
                      <a:cubicBezTo>
                        <a:pt x="200" y="141"/>
                        <a:pt x="200" y="141"/>
                        <a:pt x="200" y="141"/>
                      </a:cubicBezTo>
                      <a:cubicBezTo>
                        <a:pt x="199" y="140"/>
                        <a:pt x="199" y="140"/>
                        <a:pt x="199" y="140"/>
                      </a:cubicBezTo>
                      <a:cubicBezTo>
                        <a:pt x="199" y="140"/>
                        <a:pt x="199" y="140"/>
                        <a:pt x="199" y="140"/>
                      </a:cubicBezTo>
                      <a:cubicBezTo>
                        <a:pt x="200" y="140"/>
                        <a:pt x="200" y="140"/>
                        <a:pt x="200" y="140"/>
                      </a:cubicBezTo>
                      <a:cubicBezTo>
                        <a:pt x="200" y="140"/>
                        <a:pt x="200" y="140"/>
                        <a:pt x="200" y="140"/>
                      </a:cubicBezTo>
                      <a:cubicBezTo>
                        <a:pt x="201" y="140"/>
                        <a:pt x="201" y="140"/>
                        <a:pt x="201" y="140"/>
                      </a:cubicBezTo>
                      <a:cubicBezTo>
                        <a:pt x="202" y="139"/>
                        <a:pt x="202" y="139"/>
                        <a:pt x="202" y="139"/>
                      </a:cubicBezTo>
                      <a:cubicBezTo>
                        <a:pt x="202" y="139"/>
                        <a:pt x="202" y="139"/>
                        <a:pt x="202" y="139"/>
                      </a:cubicBezTo>
                      <a:cubicBezTo>
                        <a:pt x="202" y="139"/>
                        <a:pt x="202" y="139"/>
                        <a:pt x="202" y="139"/>
                      </a:cubicBezTo>
                      <a:cubicBezTo>
                        <a:pt x="202" y="139"/>
                        <a:pt x="202" y="139"/>
                        <a:pt x="202" y="139"/>
                      </a:cubicBezTo>
                      <a:cubicBezTo>
                        <a:pt x="203" y="139"/>
                        <a:pt x="203" y="139"/>
                        <a:pt x="203" y="139"/>
                      </a:cubicBezTo>
                      <a:cubicBezTo>
                        <a:pt x="203" y="140"/>
                        <a:pt x="203" y="140"/>
                        <a:pt x="203" y="140"/>
                      </a:cubicBezTo>
                      <a:cubicBezTo>
                        <a:pt x="203" y="141"/>
                        <a:pt x="203" y="141"/>
                        <a:pt x="203" y="141"/>
                      </a:cubicBezTo>
                      <a:cubicBezTo>
                        <a:pt x="203" y="141"/>
                        <a:pt x="203" y="141"/>
                        <a:pt x="203" y="141"/>
                      </a:cubicBezTo>
                      <a:cubicBezTo>
                        <a:pt x="203" y="141"/>
                        <a:pt x="203" y="141"/>
                        <a:pt x="203" y="141"/>
                      </a:cubicBezTo>
                      <a:cubicBezTo>
                        <a:pt x="203" y="142"/>
                        <a:pt x="203" y="142"/>
                        <a:pt x="203" y="142"/>
                      </a:cubicBezTo>
                      <a:cubicBezTo>
                        <a:pt x="204" y="142"/>
                        <a:pt x="204" y="142"/>
                        <a:pt x="204" y="142"/>
                      </a:cubicBezTo>
                      <a:cubicBezTo>
                        <a:pt x="204" y="141"/>
                        <a:pt x="204" y="141"/>
                        <a:pt x="204" y="141"/>
                      </a:cubicBezTo>
                      <a:cubicBezTo>
                        <a:pt x="204" y="141"/>
                        <a:pt x="204" y="141"/>
                        <a:pt x="204" y="141"/>
                      </a:cubicBezTo>
                      <a:cubicBezTo>
                        <a:pt x="205" y="139"/>
                        <a:pt x="205" y="139"/>
                        <a:pt x="205" y="139"/>
                      </a:cubicBezTo>
                      <a:cubicBezTo>
                        <a:pt x="206" y="139"/>
                        <a:pt x="206" y="139"/>
                        <a:pt x="206" y="139"/>
                      </a:cubicBezTo>
                      <a:cubicBezTo>
                        <a:pt x="206" y="140"/>
                        <a:pt x="206" y="140"/>
                        <a:pt x="206" y="140"/>
                      </a:cubicBezTo>
                      <a:cubicBezTo>
                        <a:pt x="205" y="141"/>
                        <a:pt x="205" y="141"/>
                        <a:pt x="205" y="141"/>
                      </a:cubicBezTo>
                      <a:cubicBezTo>
                        <a:pt x="205" y="142"/>
                        <a:pt x="205" y="142"/>
                        <a:pt x="205" y="142"/>
                      </a:cubicBezTo>
                      <a:cubicBezTo>
                        <a:pt x="206" y="142"/>
                        <a:pt x="206" y="142"/>
                        <a:pt x="206" y="142"/>
                      </a:cubicBezTo>
                      <a:cubicBezTo>
                        <a:pt x="206" y="143"/>
                        <a:pt x="206" y="143"/>
                        <a:pt x="206" y="143"/>
                      </a:cubicBezTo>
                      <a:cubicBezTo>
                        <a:pt x="207" y="142"/>
                        <a:pt x="207" y="142"/>
                        <a:pt x="207" y="142"/>
                      </a:cubicBezTo>
                      <a:cubicBezTo>
                        <a:pt x="208" y="141"/>
                        <a:pt x="208" y="141"/>
                        <a:pt x="208" y="141"/>
                      </a:cubicBezTo>
                      <a:cubicBezTo>
                        <a:pt x="208" y="140"/>
                        <a:pt x="208" y="140"/>
                        <a:pt x="208" y="140"/>
                      </a:cubicBezTo>
                      <a:cubicBezTo>
                        <a:pt x="209" y="139"/>
                        <a:pt x="209" y="139"/>
                        <a:pt x="209" y="139"/>
                      </a:cubicBezTo>
                      <a:cubicBezTo>
                        <a:pt x="208" y="138"/>
                        <a:pt x="208" y="138"/>
                        <a:pt x="208" y="138"/>
                      </a:cubicBezTo>
                      <a:cubicBezTo>
                        <a:pt x="209" y="138"/>
                        <a:pt x="209" y="138"/>
                        <a:pt x="209" y="138"/>
                      </a:cubicBezTo>
                      <a:cubicBezTo>
                        <a:pt x="209" y="137"/>
                        <a:pt x="209" y="137"/>
                        <a:pt x="209" y="137"/>
                      </a:cubicBezTo>
                      <a:cubicBezTo>
                        <a:pt x="208" y="137"/>
                        <a:pt x="208" y="137"/>
                        <a:pt x="208" y="137"/>
                      </a:cubicBezTo>
                      <a:cubicBezTo>
                        <a:pt x="207" y="137"/>
                        <a:pt x="207" y="137"/>
                        <a:pt x="207" y="137"/>
                      </a:cubicBezTo>
                      <a:cubicBezTo>
                        <a:pt x="207" y="137"/>
                        <a:pt x="207" y="137"/>
                        <a:pt x="207" y="137"/>
                      </a:cubicBezTo>
                      <a:cubicBezTo>
                        <a:pt x="207" y="136"/>
                        <a:pt x="207" y="136"/>
                        <a:pt x="207" y="136"/>
                      </a:cubicBezTo>
                      <a:cubicBezTo>
                        <a:pt x="207" y="136"/>
                        <a:pt x="207" y="136"/>
                        <a:pt x="207" y="136"/>
                      </a:cubicBezTo>
                      <a:cubicBezTo>
                        <a:pt x="207" y="136"/>
                        <a:pt x="207" y="136"/>
                        <a:pt x="207" y="136"/>
                      </a:cubicBezTo>
                      <a:cubicBezTo>
                        <a:pt x="206" y="136"/>
                        <a:pt x="206" y="136"/>
                        <a:pt x="206" y="136"/>
                      </a:cubicBezTo>
                      <a:cubicBezTo>
                        <a:pt x="206" y="136"/>
                        <a:pt x="206" y="136"/>
                        <a:pt x="206" y="136"/>
                      </a:cubicBezTo>
                      <a:cubicBezTo>
                        <a:pt x="205" y="135"/>
                        <a:pt x="205" y="135"/>
                        <a:pt x="205" y="135"/>
                      </a:cubicBezTo>
                      <a:cubicBezTo>
                        <a:pt x="205" y="134"/>
                        <a:pt x="205" y="134"/>
                        <a:pt x="205" y="134"/>
                      </a:cubicBezTo>
                      <a:cubicBezTo>
                        <a:pt x="204" y="133"/>
                        <a:pt x="204" y="133"/>
                        <a:pt x="204" y="133"/>
                      </a:cubicBezTo>
                      <a:cubicBezTo>
                        <a:pt x="204" y="132"/>
                        <a:pt x="204" y="132"/>
                        <a:pt x="204" y="132"/>
                      </a:cubicBezTo>
                      <a:cubicBezTo>
                        <a:pt x="205" y="131"/>
                        <a:pt x="205" y="131"/>
                        <a:pt x="205" y="131"/>
                      </a:cubicBezTo>
                      <a:cubicBezTo>
                        <a:pt x="204" y="130"/>
                        <a:pt x="204" y="130"/>
                        <a:pt x="204" y="130"/>
                      </a:cubicBezTo>
                      <a:cubicBezTo>
                        <a:pt x="204" y="131"/>
                        <a:pt x="204" y="131"/>
                        <a:pt x="204" y="131"/>
                      </a:cubicBezTo>
                      <a:cubicBezTo>
                        <a:pt x="204" y="132"/>
                        <a:pt x="204" y="132"/>
                        <a:pt x="204" y="132"/>
                      </a:cubicBezTo>
                      <a:cubicBezTo>
                        <a:pt x="203" y="131"/>
                        <a:pt x="203" y="131"/>
                        <a:pt x="203" y="131"/>
                      </a:cubicBezTo>
                      <a:cubicBezTo>
                        <a:pt x="202" y="130"/>
                        <a:pt x="202" y="130"/>
                        <a:pt x="202" y="130"/>
                      </a:cubicBezTo>
                      <a:cubicBezTo>
                        <a:pt x="202" y="128"/>
                        <a:pt x="202" y="128"/>
                        <a:pt x="202" y="128"/>
                      </a:cubicBezTo>
                      <a:cubicBezTo>
                        <a:pt x="201" y="128"/>
                        <a:pt x="201" y="128"/>
                        <a:pt x="201" y="128"/>
                      </a:cubicBezTo>
                      <a:cubicBezTo>
                        <a:pt x="201" y="127"/>
                        <a:pt x="201" y="127"/>
                        <a:pt x="201" y="127"/>
                      </a:cubicBezTo>
                      <a:cubicBezTo>
                        <a:pt x="200" y="126"/>
                        <a:pt x="200" y="126"/>
                        <a:pt x="200" y="126"/>
                      </a:cubicBezTo>
                      <a:cubicBezTo>
                        <a:pt x="200" y="125"/>
                        <a:pt x="200" y="125"/>
                        <a:pt x="200" y="125"/>
                      </a:cubicBezTo>
                      <a:cubicBezTo>
                        <a:pt x="200" y="124"/>
                        <a:pt x="200" y="124"/>
                        <a:pt x="200" y="124"/>
                      </a:cubicBezTo>
                      <a:cubicBezTo>
                        <a:pt x="200" y="124"/>
                        <a:pt x="200" y="124"/>
                        <a:pt x="200" y="124"/>
                      </a:cubicBezTo>
                      <a:cubicBezTo>
                        <a:pt x="201" y="124"/>
                        <a:pt x="201" y="124"/>
                        <a:pt x="201" y="124"/>
                      </a:cubicBezTo>
                      <a:cubicBezTo>
                        <a:pt x="201" y="123"/>
                        <a:pt x="201" y="123"/>
                        <a:pt x="201" y="123"/>
                      </a:cubicBezTo>
                      <a:cubicBezTo>
                        <a:pt x="202" y="123"/>
                        <a:pt x="202" y="123"/>
                        <a:pt x="202" y="123"/>
                      </a:cubicBezTo>
                      <a:cubicBezTo>
                        <a:pt x="202" y="123"/>
                        <a:pt x="202" y="123"/>
                        <a:pt x="202" y="123"/>
                      </a:cubicBezTo>
                      <a:cubicBezTo>
                        <a:pt x="203" y="123"/>
                        <a:pt x="203" y="123"/>
                        <a:pt x="203" y="123"/>
                      </a:cubicBezTo>
                      <a:cubicBezTo>
                        <a:pt x="203" y="122"/>
                        <a:pt x="203" y="122"/>
                        <a:pt x="203" y="122"/>
                      </a:cubicBezTo>
                      <a:cubicBezTo>
                        <a:pt x="204" y="120"/>
                        <a:pt x="204" y="120"/>
                        <a:pt x="204" y="120"/>
                      </a:cubicBezTo>
                      <a:cubicBezTo>
                        <a:pt x="204" y="119"/>
                        <a:pt x="204" y="119"/>
                        <a:pt x="204" y="119"/>
                      </a:cubicBezTo>
                      <a:cubicBezTo>
                        <a:pt x="204" y="119"/>
                        <a:pt x="204" y="119"/>
                        <a:pt x="204" y="119"/>
                      </a:cubicBezTo>
                      <a:cubicBezTo>
                        <a:pt x="203" y="117"/>
                        <a:pt x="203" y="117"/>
                        <a:pt x="203" y="117"/>
                      </a:cubicBezTo>
                      <a:cubicBezTo>
                        <a:pt x="204" y="116"/>
                        <a:pt x="204" y="116"/>
                        <a:pt x="204" y="116"/>
                      </a:cubicBezTo>
                      <a:cubicBezTo>
                        <a:pt x="204" y="116"/>
                        <a:pt x="204" y="116"/>
                        <a:pt x="204" y="116"/>
                      </a:cubicBezTo>
                      <a:cubicBezTo>
                        <a:pt x="204" y="115"/>
                        <a:pt x="204" y="115"/>
                        <a:pt x="204" y="115"/>
                      </a:cubicBezTo>
                      <a:cubicBezTo>
                        <a:pt x="205" y="114"/>
                        <a:pt x="205" y="114"/>
                        <a:pt x="205" y="114"/>
                      </a:cubicBezTo>
                      <a:cubicBezTo>
                        <a:pt x="205" y="113"/>
                        <a:pt x="205" y="113"/>
                        <a:pt x="205" y="113"/>
                      </a:cubicBezTo>
                      <a:cubicBezTo>
                        <a:pt x="206" y="113"/>
                        <a:pt x="206" y="113"/>
                        <a:pt x="206" y="113"/>
                      </a:cubicBezTo>
                      <a:cubicBezTo>
                        <a:pt x="206" y="111"/>
                        <a:pt x="206" y="111"/>
                        <a:pt x="206" y="111"/>
                      </a:cubicBezTo>
                      <a:cubicBezTo>
                        <a:pt x="206" y="111"/>
                        <a:pt x="206" y="111"/>
                        <a:pt x="206" y="111"/>
                      </a:cubicBezTo>
                      <a:cubicBezTo>
                        <a:pt x="206" y="110"/>
                        <a:pt x="206" y="110"/>
                        <a:pt x="206" y="110"/>
                      </a:cubicBezTo>
                      <a:cubicBezTo>
                        <a:pt x="207" y="109"/>
                        <a:pt x="207" y="109"/>
                        <a:pt x="207" y="109"/>
                      </a:cubicBezTo>
                      <a:cubicBezTo>
                        <a:pt x="207" y="108"/>
                        <a:pt x="207" y="108"/>
                        <a:pt x="207" y="108"/>
                      </a:cubicBezTo>
                      <a:cubicBezTo>
                        <a:pt x="207" y="107"/>
                        <a:pt x="207" y="107"/>
                        <a:pt x="207" y="107"/>
                      </a:cubicBezTo>
                      <a:cubicBezTo>
                        <a:pt x="208" y="107"/>
                        <a:pt x="208" y="107"/>
                        <a:pt x="208" y="107"/>
                      </a:cubicBezTo>
                      <a:cubicBezTo>
                        <a:pt x="208" y="106"/>
                        <a:pt x="208" y="106"/>
                        <a:pt x="208" y="106"/>
                      </a:cubicBezTo>
                      <a:cubicBezTo>
                        <a:pt x="208" y="105"/>
                        <a:pt x="208" y="105"/>
                        <a:pt x="208" y="105"/>
                      </a:cubicBezTo>
                      <a:cubicBezTo>
                        <a:pt x="208" y="105"/>
                        <a:pt x="208" y="105"/>
                        <a:pt x="208" y="105"/>
                      </a:cubicBezTo>
                      <a:cubicBezTo>
                        <a:pt x="208" y="104"/>
                        <a:pt x="208" y="104"/>
                        <a:pt x="208" y="104"/>
                      </a:cubicBezTo>
                      <a:cubicBezTo>
                        <a:pt x="207" y="104"/>
                        <a:pt x="207" y="104"/>
                        <a:pt x="207" y="104"/>
                      </a:cubicBezTo>
                      <a:cubicBezTo>
                        <a:pt x="206" y="103"/>
                        <a:pt x="206" y="103"/>
                        <a:pt x="206" y="103"/>
                      </a:cubicBezTo>
                      <a:cubicBezTo>
                        <a:pt x="207" y="102"/>
                        <a:pt x="207" y="102"/>
                        <a:pt x="207" y="102"/>
                      </a:cubicBezTo>
                      <a:cubicBezTo>
                        <a:pt x="206" y="101"/>
                        <a:pt x="206" y="101"/>
                        <a:pt x="206" y="101"/>
                      </a:cubicBezTo>
                      <a:cubicBezTo>
                        <a:pt x="205" y="101"/>
                        <a:pt x="205" y="101"/>
                        <a:pt x="205" y="101"/>
                      </a:cubicBezTo>
                      <a:cubicBezTo>
                        <a:pt x="205" y="100"/>
                        <a:pt x="205" y="100"/>
                        <a:pt x="205" y="100"/>
                      </a:cubicBezTo>
                      <a:cubicBezTo>
                        <a:pt x="205" y="100"/>
                        <a:pt x="205" y="100"/>
                        <a:pt x="205" y="100"/>
                      </a:cubicBezTo>
                      <a:cubicBezTo>
                        <a:pt x="204" y="101"/>
                        <a:pt x="204" y="101"/>
                        <a:pt x="204" y="101"/>
                      </a:cubicBezTo>
                      <a:cubicBezTo>
                        <a:pt x="204" y="101"/>
                        <a:pt x="204" y="101"/>
                        <a:pt x="204" y="101"/>
                      </a:cubicBezTo>
                      <a:cubicBezTo>
                        <a:pt x="203" y="100"/>
                        <a:pt x="203" y="100"/>
                        <a:pt x="203" y="100"/>
                      </a:cubicBezTo>
                      <a:cubicBezTo>
                        <a:pt x="202" y="100"/>
                        <a:pt x="202" y="100"/>
                        <a:pt x="202" y="100"/>
                      </a:cubicBezTo>
                      <a:cubicBezTo>
                        <a:pt x="202" y="99"/>
                        <a:pt x="202" y="99"/>
                        <a:pt x="202" y="99"/>
                      </a:cubicBezTo>
                      <a:cubicBezTo>
                        <a:pt x="201" y="99"/>
                        <a:pt x="201" y="99"/>
                        <a:pt x="201" y="99"/>
                      </a:cubicBezTo>
                      <a:cubicBezTo>
                        <a:pt x="201" y="100"/>
                        <a:pt x="201" y="100"/>
                        <a:pt x="201" y="100"/>
                      </a:cubicBezTo>
                      <a:cubicBezTo>
                        <a:pt x="201" y="100"/>
                        <a:pt x="201" y="100"/>
                        <a:pt x="201" y="100"/>
                      </a:cubicBezTo>
                      <a:cubicBezTo>
                        <a:pt x="200" y="100"/>
                        <a:pt x="200" y="100"/>
                        <a:pt x="200" y="100"/>
                      </a:cubicBezTo>
                      <a:cubicBezTo>
                        <a:pt x="200" y="101"/>
                        <a:pt x="200" y="101"/>
                        <a:pt x="200" y="101"/>
                      </a:cubicBezTo>
                      <a:cubicBezTo>
                        <a:pt x="200" y="102"/>
                        <a:pt x="200" y="102"/>
                        <a:pt x="200" y="102"/>
                      </a:cubicBezTo>
                      <a:cubicBezTo>
                        <a:pt x="199" y="102"/>
                        <a:pt x="199" y="102"/>
                        <a:pt x="199" y="102"/>
                      </a:cubicBezTo>
                      <a:cubicBezTo>
                        <a:pt x="198" y="104"/>
                        <a:pt x="198" y="104"/>
                        <a:pt x="198" y="104"/>
                      </a:cubicBezTo>
                      <a:cubicBezTo>
                        <a:pt x="198" y="105"/>
                        <a:pt x="198" y="105"/>
                        <a:pt x="198" y="105"/>
                      </a:cubicBezTo>
                      <a:cubicBezTo>
                        <a:pt x="198" y="106"/>
                        <a:pt x="198" y="106"/>
                        <a:pt x="198" y="106"/>
                      </a:cubicBezTo>
                      <a:cubicBezTo>
                        <a:pt x="198" y="107"/>
                        <a:pt x="198" y="107"/>
                        <a:pt x="198" y="107"/>
                      </a:cubicBezTo>
                      <a:cubicBezTo>
                        <a:pt x="197" y="107"/>
                        <a:pt x="197" y="107"/>
                        <a:pt x="197" y="107"/>
                      </a:cubicBezTo>
                      <a:cubicBezTo>
                        <a:pt x="197" y="108"/>
                        <a:pt x="197" y="108"/>
                        <a:pt x="197" y="108"/>
                      </a:cubicBezTo>
                      <a:cubicBezTo>
                        <a:pt x="197" y="108"/>
                        <a:pt x="197" y="108"/>
                        <a:pt x="197" y="108"/>
                      </a:cubicBezTo>
                      <a:cubicBezTo>
                        <a:pt x="197" y="110"/>
                        <a:pt x="197" y="110"/>
                        <a:pt x="197" y="110"/>
                      </a:cubicBezTo>
                      <a:cubicBezTo>
                        <a:pt x="196" y="110"/>
                        <a:pt x="196" y="110"/>
                        <a:pt x="196" y="110"/>
                      </a:cubicBezTo>
                      <a:cubicBezTo>
                        <a:pt x="195" y="110"/>
                        <a:pt x="195" y="110"/>
                        <a:pt x="195" y="110"/>
                      </a:cubicBezTo>
                      <a:cubicBezTo>
                        <a:pt x="195" y="112"/>
                        <a:pt x="195" y="112"/>
                        <a:pt x="195" y="112"/>
                      </a:cubicBezTo>
                      <a:cubicBezTo>
                        <a:pt x="195" y="112"/>
                        <a:pt x="195" y="112"/>
                        <a:pt x="195" y="112"/>
                      </a:cubicBezTo>
                      <a:cubicBezTo>
                        <a:pt x="195" y="113"/>
                        <a:pt x="195" y="113"/>
                        <a:pt x="195" y="113"/>
                      </a:cubicBezTo>
                      <a:cubicBezTo>
                        <a:pt x="195" y="114"/>
                        <a:pt x="195" y="114"/>
                        <a:pt x="195" y="114"/>
                      </a:cubicBezTo>
                      <a:cubicBezTo>
                        <a:pt x="194" y="115"/>
                        <a:pt x="194" y="115"/>
                        <a:pt x="194" y="115"/>
                      </a:cubicBezTo>
                      <a:cubicBezTo>
                        <a:pt x="195" y="115"/>
                        <a:pt x="195" y="115"/>
                        <a:pt x="195" y="115"/>
                      </a:cubicBezTo>
                      <a:cubicBezTo>
                        <a:pt x="194" y="116"/>
                        <a:pt x="194" y="116"/>
                        <a:pt x="194" y="116"/>
                      </a:cubicBezTo>
                      <a:cubicBezTo>
                        <a:pt x="193" y="116"/>
                        <a:pt x="193" y="116"/>
                        <a:pt x="193" y="116"/>
                      </a:cubicBezTo>
                      <a:cubicBezTo>
                        <a:pt x="194" y="116"/>
                        <a:pt x="194" y="116"/>
                        <a:pt x="194" y="116"/>
                      </a:cubicBezTo>
                      <a:cubicBezTo>
                        <a:pt x="195" y="117"/>
                        <a:pt x="195" y="117"/>
                        <a:pt x="195" y="117"/>
                      </a:cubicBezTo>
                      <a:cubicBezTo>
                        <a:pt x="195" y="117"/>
                        <a:pt x="195" y="117"/>
                        <a:pt x="195" y="117"/>
                      </a:cubicBezTo>
                      <a:cubicBezTo>
                        <a:pt x="194" y="117"/>
                        <a:pt x="194" y="117"/>
                        <a:pt x="194" y="117"/>
                      </a:cubicBezTo>
                      <a:cubicBezTo>
                        <a:pt x="193" y="117"/>
                        <a:pt x="193" y="117"/>
                        <a:pt x="193" y="117"/>
                      </a:cubicBezTo>
                      <a:cubicBezTo>
                        <a:pt x="193" y="118"/>
                        <a:pt x="193" y="118"/>
                        <a:pt x="193" y="118"/>
                      </a:cubicBezTo>
                      <a:cubicBezTo>
                        <a:pt x="192" y="118"/>
                        <a:pt x="192" y="118"/>
                        <a:pt x="192" y="118"/>
                      </a:cubicBezTo>
                      <a:cubicBezTo>
                        <a:pt x="192" y="118"/>
                        <a:pt x="192" y="118"/>
                        <a:pt x="192" y="118"/>
                      </a:cubicBezTo>
                      <a:cubicBezTo>
                        <a:pt x="192" y="119"/>
                        <a:pt x="192" y="119"/>
                        <a:pt x="192" y="119"/>
                      </a:cubicBezTo>
                      <a:cubicBezTo>
                        <a:pt x="191" y="119"/>
                        <a:pt x="191" y="119"/>
                        <a:pt x="191" y="119"/>
                      </a:cubicBezTo>
                      <a:cubicBezTo>
                        <a:pt x="191" y="119"/>
                        <a:pt x="191" y="119"/>
                        <a:pt x="191" y="119"/>
                      </a:cubicBezTo>
                      <a:cubicBezTo>
                        <a:pt x="191" y="118"/>
                        <a:pt x="191" y="118"/>
                        <a:pt x="191" y="118"/>
                      </a:cubicBezTo>
                      <a:cubicBezTo>
                        <a:pt x="191" y="117"/>
                        <a:pt x="191" y="117"/>
                        <a:pt x="191" y="117"/>
                      </a:cubicBezTo>
                      <a:cubicBezTo>
                        <a:pt x="190" y="117"/>
                        <a:pt x="190" y="117"/>
                        <a:pt x="190" y="117"/>
                      </a:cubicBezTo>
                      <a:cubicBezTo>
                        <a:pt x="190" y="115"/>
                        <a:pt x="190" y="115"/>
                        <a:pt x="190" y="115"/>
                      </a:cubicBezTo>
                      <a:cubicBezTo>
                        <a:pt x="191" y="114"/>
                        <a:pt x="191" y="114"/>
                        <a:pt x="191" y="114"/>
                      </a:cubicBezTo>
                      <a:cubicBezTo>
                        <a:pt x="191" y="113"/>
                        <a:pt x="191" y="113"/>
                        <a:pt x="191" y="113"/>
                      </a:cubicBezTo>
                      <a:cubicBezTo>
                        <a:pt x="192" y="113"/>
                        <a:pt x="192" y="113"/>
                        <a:pt x="192" y="113"/>
                      </a:cubicBezTo>
                      <a:cubicBezTo>
                        <a:pt x="192" y="112"/>
                        <a:pt x="192" y="112"/>
                        <a:pt x="192" y="112"/>
                      </a:cubicBezTo>
                      <a:cubicBezTo>
                        <a:pt x="192" y="111"/>
                        <a:pt x="192" y="111"/>
                        <a:pt x="192" y="111"/>
                      </a:cubicBezTo>
                      <a:cubicBezTo>
                        <a:pt x="193" y="109"/>
                        <a:pt x="193" y="109"/>
                        <a:pt x="193" y="109"/>
                      </a:cubicBezTo>
                      <a:cubicBezTo>
                        <a:pt x="194" y="109"/>
                        <a:pt x="194" y="109"/>
                        <a:pt x="194" y="109"/>
                      </a:cubicBezTo>
                      <a:cubicBezTo>
                        <a:pt x="194" y="108"/>
                        <a:pt x="194" y="108"/>
                        <a:pt x="194" y="108"/>
                      </a:cubicBezTo>
                      <a:cubicBezTo>
                        <a:pt x="193" y="108"/>
                        <a:pt x="193" y="108"/>
                        <a:pt x="193" y="108"/>
                      </a:cubicBezTo>
                      <a:cubicBezTo>
                        <a:pt x="193" y="108"/>
                        <a:pt x="193" y="108"/>
                        <a:pt x="193" y="108"/>
                      </a:cubicBezTo>
                      <a:cubicBezTo>
                        <a:pt x="193" y="107"/>
                        <a:pt x="193" y="107"/>
                        <a:pt x="193" y="107"/>
                      </a:cubicBezTo>
                      <a:cubicBezTo>
                        <a:pt x="193" y="107"/>
                        <a:pt x="193" y="107"/>
                        <a:pt x="193" y="107"/>
                      </a:cubicBezTo>
                      <a:cubicBezTo>
                        <a:pt x="194" y="105"/>
                        <a:pt x="194" y="105"/>
                        <a:pt x="194" y="105"/>
                      </a:cubicBezTo>
                      <a:cubicBezTo>
                        <a:pt x="193" y="105"/>
                        <a:pt x="193" y="105"/>
                        <a:pt x="193" y="105"/>
                      </a:cubicBezTo>
                      <a:cubicBezTo>
                        <a:pt x="193" y="104"/>
                        <a:pt x="193" y="104"/>
                        <a:pt x="193" y="104"/>
                      </a:cubicBezTo>
                      <a:cubicBezTo>
                        <a:pt x="193" y="103"/>
                        <a:pt x="193" y="103"/>
                        <a:pt x="193" y="103"/>
                      </a:cubicBezTo>
                      <a:cubicBezTo>
                        <a:pt x="193" y="102"/>
                        <a:pt x="193" y="102"/>
                        <a:pt x="193" y="102"/>
                      </a:cubicBezTo>
                      <a:cubicBezTo>
                        <a:pt x="192" y="102"/>
                        <a:pt x="192" y="102"/>
                        <a:pt x="192" y="102"/>
                      </a:cubicBezTo>
                      <a:cubicBezTo>
                        <a:pt x="192" y="101"/>
                        <a:pt x="192" y="101"/>
                        <a:pt x="192" y="101"/>
                      </a:cubicBezTo>
                      <a:cubicBezTo>
                        <a:pt x="190" y="101"/>
                        <a:pt x="190" y="101"/>
                        <a:pt x="190" y="101"/>
                      </a:cubicBezTo>
                      <a:cubicBezTo>
                        <a:pt x="190" y="102"/>
                        <a:pt x="190" y="102"/>
                        <a:pt x="190" y="102"/>
                      </a:cubicBezTo>
                      <a:cubicBezTo>
                        <a:pt x="191" y="103"/>
                        <a:pt x="191" y="103"/>
                        <a:pt x="191" y="103"/>
                      </a:cubicBezTo>
                      <a:cubicBezTo>
                        <a:pt x="191" y="104"/>
                        <a:pt x="191" y="104"/>
                        <a:pt x="191" y="104"/>
                      </a:cubicBezTo>
                      <a:cubicBezTo>
                        <a:pt x="191" y="104"/>
                        <a:pt x="191" y="104"/>
                        <a:pt x="191" y="104"/>
                      </a:cubicBezTo>
                      <a:cubicBezTo>
                        <a:pt x="191" y="105"/>
                        <a:pt x="191" y="105"/>
                        <a:pt x="191" y="105"/>
                      </a:cubicBezTo>
                      <a:cubicBezTo>
                        <a:pt x="191" y="105"/>
                        <a:pt x="191" y="105"/>
                        <a:pt x="191" y="105"/>
                      </a:cubicBezTo>
                      <a:cubicBezTo>
                        <a:pt x="190" y="104"/>
                        <a:pt x="190" y="104"/>
                        <a:pt x="190" y="104"/>
                      </a:cubicBezTo>
                      <a:cubicBezTo>
                        <a:pt x="190" y="104"/>
                        <a:pt x="190" y="104"/>
                        <a:pt x="190" y="104"/>
                      </a:cubicBezTo>
                      <a:cubicBezTo>
                        <a:pt x="189" y="105"/>
                        <a:pt x="189" y="105"/>
                        <a:pt x="189" y="105"/>
                      </a:cubicBezTo>
                      <a:cubicBezTo>
                        <a:pt x="190" y="105"/>
                        <a:pt x="190" y="105"/>
                        <a:pt x="190" y="105"/>
                      </a:cubicBezTo>
                      <a:cubicBezTo>
                        <a:pt x="190" y="106"/>
                        <a:pt x="190" y="106"/>
                        <a:pt x="190" y="106"/>
                      </a:cubicBezTo>
                      <a:cubicBezTo>
                        <a:pt x="190" y="107"/>
                        <a:pt x="190" y="107"/>
                        <a:pt x="190" y="107"/>
                      </a:cubicBezTo>
                      <a:cubicBezTo>
                        <a:pt x="190" y="107"/>
                        <a:pt x="190" y="107"/>
                        <a:pt x="190" y="107"/>
                      </a:cubicBezTo>
                      <a:cubicBezTo>
                        <a:pt x="190" y="107"/>
                        <a:pt x="190" y="107"/>
                        <a:pt x="190" y="107"/>
                      </a:cubicBezTo>
                      <a:cubicBezTo>
                        <a:pt x="189" y="107"/>
                        <a:pt x="189" y="107"/>
                        <a:pt x="189" y="107"/>
                      </a:cubicBezTo>
                      <a:cubicBezTo>
                        <a:pt x="189" y="108"/>
                        <a:pt x="189" y="108"/>
                        <a:pt x="189" y="108"/>
                      </a:cubicBezTo>
                      <a:cubicBezTo>
                        <a:pt x="188" y="107"/>
                        <a:pt x="188" y="107"/>
                        <a:pt x="188" y="107"/>
                      </a:cubicBezTo>
                      <a:cubicBezTo>
                        <a:pt x="188" y="106"/>
                        <a:pt x="188" y="106"/>
                        <a:pt x="188" y="106"/>
                      </a:cubicBezTo>
                      <a:cubicBezTo>
                        <a:pt x="188" y="107"/>
                        <a:pt x="188" y="107"/>
                        <a:pt x="188" y="107"/>
                      </a:cubicBezTo>
                      <a:cubicBezTo>
                        <a:pt x="187" y="107"/>
                        <a:pt x="187" y="107"/>
                        <a:pt x="187" y="107"/>
                      </a:cubicBezTo>
                      <a:cubicBezTo>
                        <a:pt x="187" y="107"/>
                        <a:pt x="187" y="107"/>
                        <a:pt x="187" y="107"/>
                      </a:cubicBezTo>
                      <a:cubicBezTo>
                        <a:pt x="187" y="106"/>
                        <a:pt x="187" y="106"/>
                        <a:pt x="187" y="106"/>
                      </a:cubicBezTo>
                      <a:cubicBezTo>
                        <a:pt x="187" y="106"/>
                        <a:pt x="187" y="106"/>
                        <a:pt x="187" y="106"/>
                      </a:cubicBezTo>
                      <a:cubicBezTo>
                        <a:pt x="187" y="106"/>
                        <a:pt x="187" y="106"/>
                        <a:pt x="187" y="106"/>
                      </a:cubicBezTo>
                      <a:cubicBezTo>
                        <a:pt x="186" y="106"/>
                        <a:pt x="186" y="106"/>
                        <a:pt x="186" y="106"/>
                      </a:cubicBezTo>
                      <a:cubicBezTo>
                        <a:pt x="185" y="107"/>
                        <a:pt x="185" y="107"/>
                        <a:pt x="185" y="107"/>
                      </a:cubicBezTo>
                      <a:cubicBezTo>
                        <a:pt x="184" y="106"/>
                        <a:pt x="184" y="106"/>
                        <a:pt x="184" y="106"/>
                      </a:cubicBezTo>
                      <a:cubicBezTo>
                        <a:pt x="184" y="106"/>
                        <a:pt x="184" y="106"/>
                        <a:pt x="184" y="106"/>
                      </a:cubicBezTo>
                      <a:cubicBezTo>
                        <a:pt x="183" y="107"/>
                        <a:pt x="183" y="107"/>
                        <a:pt x="183" y="107"/>
                      </a:cubicBezTo>
                      <a:cubicBezTo>
                        <a:pt x="182" y="107"/>
                        <a:pt x="182" y="107"/>
                        <a:pt x="182" y="107"/>
                      </a:cubicBezTo>
                      <a:cubicBezTo>
                        <a:pt x="182" y="106"/>
                        <a:pt x="182" y="106"/>
                        <a:pt x="182" y="106"/>
                      </a:cubicBezTo>
                      <a:cubicBezTo>
                        <a:pt x="181" y="106"/>
                        <a:pt x="181" y="106"/>
                        <a:pt x="181" y="106"/>
                      </a:cubicBezTo>
                      <a:cubicBezTo>
                        <a:pt x="180" y="106"/>
                        <a:pt x="180" y="106"/>
                        <a:pt x="180" y="106"/>
                      </a:cubicBezTo>
                      <a:cubicBezTo>
                        <a:pt x="181" y="105"/>
                        <a:pt x="181" y="105"/>
                        <a:pt x="181" y="105"/>
                      </a:cubicBezTo>
                      <a:cubicBezTo>
                        <a:pt x="182" y="105"/>
                        <a:pt x="182" y="105"/>
                        <a:pt x="182" y="105"/>
                      </a:cubicBezTo>
                      <a:cubicBezTo>
                        <a:pt x="183" y="105"/>
                        <a:pt x="183" y="105"/>
                        <a:pt x="183" y="105"/>
                      </a:cubicBezTo>
                      <a:cubicBezTo>
                        <a:pt x="184" y="105"/>
                        <a:pt x="184" y="105"/>
                        <a:pt x="184" y="105"/>
                      </a:cubicBezTo>
                      <a:cubicBezTo>
                        <a:pt x="184" y="105"/>
                        <a:pt x="184" y="105"/>
                        <a:pt x="184" y="105"/>
                      </a:cubicBezTo>
                      <a:cubicBezTo>
                        <a:pt x="184" y="104"/>
                        <a:pt x="184" y="104"/>
                        <a:pt x="184" y="104"/>
                      </a:cubicBezTo>
                      <a:cubicBezTo>
                        <a:pt x="185" y="105"/>
                        <a:pt x="185" y="105"/>
                        <a:pt x="185" y="105"/>
                      </a:cubicBezTo>
                      <a:cubicBezTo>
                        <a:pt x="186" y="104"/>
                        <a:pt x="186" y="104"/>
                        <a:pt x="186" y="104"/>
                      </a:cubicBezTo>
                      <a:cubicBezTo>
                        <a:pt x="186" y="103"/>
                        <a:pt x="186" y="103"/>
                        <a:pt x="186" y="103"/>
                      </a:cubicBezTo>
                      <a:cubicBezTo>
                        <a:pt x="186" y="103"/>
                        <a:pt x="186" y="103"/>
                        <a:pt x="186" y="103"/>
                      </a:cubicBezTo>
                      <a:cubicBezTo>
                        <a:pt x="186" y="102"/>
                        <a:pt x="186" y="102"/>
                        <a:pt x="186" y="102"/>
                      </a:cubicBezTo>
                      <a:cubicBezTo>
                        <a:pt x="185" y="101"/>
                        <a:pt x="185" y="101"/>
                        <a:pt x="185" y="101"/>
                      </a:cubicBezTo>
                      <a:cubicBezTo>
                        <a:pt x="184" y="100"/>
                        <a:pt x="184" y="100"/>
                        <a:pt x="184" y="100"/>
                      </a:cubicBezTo>
                      <a:cubicBezTo>
                        <a:pt x="184" y="100"/>
                        <a:pt x="184" y="100"/>
                        <a:pt x="184" y="100"/>
                      </a:cubicBezTo>
                      <a:cubicBezTo>
                        <a:pt x="182" y="99"/>
                        <a:pt x="182" y="99"/>
                        <a:pt x="182" y="99"/>
                      </a:cubicBezTo>
                      <a:cubicBezTo>
                        <a:pt x="182" y="98"/>
                        <a:pt x="182" y="98"/>
                        <a:pt x="182" y="98"/>
                      </a:cubicBezTo>
                      <a:cubicBezTo>
                        <a:pt x="181" y="98"/>
                        <a:pt x="181" y="98"/>
                        <a:pt x="181" y="98"/>
                      </a:cubicBezTo>
                      <a:cubicBezTo>
                        <a:pt x="180" y="99"/>
                        <a:pt x="180" y="99"/>
                        <a:pt x="180" y="99"/>
                      </a:cubicBezTo>
                      <a:cubicBezTo>
                        <a:pt x="180" y="99"/>
                        <a:pt x="180" y="99"/>
                        <a:pt x="180" y="99"/>
                      </a:cubicBezTo>
                      <a:cubicBezTo>
                        <a:pt x="178" y="100"/>
                        <a:pt x="178" y="100"/>
                        <a:pt x="178" y="100"/>
                      </a:cubicBezTo>
                      <a:cubicBezTo>
                        <a:pt x="178" y="100"/>
                        <a:pt x="178" y="100"/>
                        <a:pt x="178" y="100"/>
                      </a:cubicBezTo>
                      <a:cubicBezTo>
                        <a:pt x="178" y="101"/>
                        <a:pt x="178" y="101"/>
                        <a:pt x="178" y="101"/>
                      </a:cubicBezTo>
                      <a:cubicBezTo>
                        <a:pt x="178" y="101"/>
                        <a:pt x="178" y="101"/>
                        <a:pt x="178" y="101"/>
                      </a:cubicBezTo>
                      <a:cubicBezTo>
                        <a:pt x="177" y="102"/>
                        <a:pt x="177" y="102"/>
                        <a:pt x="177" y="102"/>
                      </a:cubicBezTo>
                      <a:cubicBezTo>
                        <a:pt x="177" y="101"/>
                        <a:pt x="177" y="101"/>
                        <a:pt x="177" y="101"/>
                      </a:cubicBezTo>
                      <a:cubicBezTo>
                        <a:pt x="176" y="101"/>
                        <a:pt x="176" y="101"/>
                        <a:pt x="176" y="101"/>
                      </a:cubicBezTo>
                      <a:cubicBezTo>
                        <a:pt x="176" y="101"/>
                        <a:pt x="176" y="101"/>
                        <a:pt x="176" y="101"/>
                      </a:cubicBezTo>
                      <a:cubicBezTo>
                        <a:pt x="175" y="101"/>
                        <a:pt x="175" y="101"/>
                        <a:pt x="175" y="101"/>
                      </a:cubicBezTo>
                      <a:cubicBezTo>
                        <a:pt x="174" y="101"/>
                        <a:pt x="174" y="101"/>
                        <a:pt x="174" y="101"/>
                      </a:cubicBezTo>
                      <a:cubicBezTo>
                        <a:pt x="173" y="101"/>
                        <a:pt x="173" y="101"/>
                        <a:pt x="173" y="101"/>
                      </a:cubicBezTo>
                      <a:cubicBezTo>
                        <a:pt x="173" y="101"/>
                        <a:pt x="173" y="101"/>
                        <a:pt x="173" y="101"/>
                      </a:cubicBezTo>
                      <a:cubicBezTo>
                        <a:pt x="173" y="101"/>
                        <a:pt x="173" y="101"/>
                        <a:pt x="173" y="101"/>
                      </a:cubicBezTo>
                      <a:cubicBezTo>
                        <a:pt x="175" y="100"/>
                        <a:pt x="175" y="100"/>
                        <a:pt x="175" y="100"/>
                      </a:cubicBezTo>
                      <a:cubicBezTo>
                        <a:pt x="175" y="100"/>
                        <a:pt x="175" y="100"/>
                        <a:pt x="175" y="100"/>
                      </a:cubicBezTo>
                      <a:cubicBezTo>
                        <a:pt x="176" y="99"/>
                        <a:pt x="176" y="99"/>
                        <a:pt x="176" y="99"/>
                      </a:cubicBezTo>
                      <a:cubicBezTo>
                        <a:pt x="176" y="99"/>
                        <a:pt x="176" y="99"/>
                        <a:pt x="176" y="99"/>
                      </a:cubicBezTo>
                      <a:cubicBezTo>
                        <a:pt x="177" y="99"/>
                        <a:pt x="177" y="99"/>
                        <a:pt x="177" y="99"/>
                      </a:cubicBezTo>
                      <a:cubicBezTo>
                        <a:pt x="177" y="98"/>
                        <a:pt x="177" y="98"/>
                        <a:pt x="177" y="98"/>
                      </a:cubicBezTo>
                      <a:cubicBezTo>
                        <a:pt x="178" y="97"/>
                        <a:pt x="178" y="97"/>
                        <a:pt x="178" y="97"/>
                      </a:cubicBezTo>
                      <a:cubicBezTo>
                        <a:pt x="178" y="97"/>
                        <a:pt x="178" y="97"/>
                        <a:pt x="178" y="97"/>
                      </a:cubicBezTo>
                      <a:cubicBezTo>
                        <a:pt x="179" y="96"/>
                        <a:pt x="179" y="96"/>
                        <a:pt x="179" y="96"/>
                      </a:cubicBezTo>
                      <a:cubicBezTo>
                        <a:pt x="179" y="95"/>
                        <a:pt x="179" y="95"/>
                        <a:pt x="179" y="95"/>
                      </a:cubicBezTo>
                      <a:cubicBezTo>
                        <a:pt x="179" y="94"/>
                        <a:pt x="179" y="94"/>
                        <a:pt x="179" y="94"/>
                      </a:cubicBezTo>
                      <a:cubicBezTo>
                        <a:pt x="179" y="93"/>
                        <a:pt x="179" y="93"/>
                        <a:pt x="179" y="93"/>
                      </a:cubicBezTo>
                      <a:cubicBezTo>
                        <a:pt x="178" y="93"/>
                        <a:pt x="178" y="93"/>
                        <a:pt x="178" y="93"/>
                      </a:cubicBezTo>
                      <a:cubicBezTo>
                        <a:pt x="177" y="94"/>
                        <a:pt x="177" y="94"/>
                        <a:pt x="177" y="94"/>
                      </a:cubicBezTo>
                      <a:cubicBezTo>
                        <a:pt x="175" y="94"/>
                        <a:pt x="175" y="94"/>
                        <a:pt x="175" y="94"/>
                      </a:cubicBezTo>
                      <a:cubicBezTo>
                        <a:pt x="173" y="95"/>
                        <a:pt x="173" y="95"/>
                        <a:pt x="173" y="95"/>
                      </a:cubicBezTo>
                      <a:cubicBezTo>
                        <a:pt x="170" y="95"/>
                        <a:pt x="170" y="95"/>
                        <a:pt x="170" y="95"/>
                      </a:cubicBezTo>
                      <a:cubicBezTo>
                        <a:pt x="165" y="97"/>
                        <a:pt x="165" y="97"/>
                        <a:pt x="165" y="97"/>
                      </a:cubicBezTo>
                      <a:cubicBezTo>
                        <a:pt x="164" y="97"/>
                        <a:pt x="164" y="97"/>
                        <a:pt x="164" y="97"/>
                      </a:cubicBezTo>
                      <a:cubicBezTo>
                        <a:pt x="162" y="98"/>
                        <a:pt x="162" y="98"/>
                        <a:pt x="162" y="98"/>
                      </a:cubicBezTo>
                      <a:cubicBezTo>
                        <a:pt x="158" y="99"/>
                        <a:pt x="158" y="99"/>
                        <a:pt x="158" y="99"/>
                      </a:cubicBezTo>
                      <a:cubicBezTo>
                        <a:pt x="157" y="100"/>
                        <a:pt x="157" y="100"/>
                        <a:pt x="157" y="100"/>
                      </a:cubicBezTo>
                      <a:cubicBezTo>
                        <a:pt x="157" y="101"/>
                        <a:pt x="157" y="101"/>
                        <a:pt x="157" y="101"/>
                      </a:cubicBezTo>
                      <a:cubicBezTo>
                        <a:pt x="158" y="101"/>
                        <a:pt x="158" y="101"/>
                        <a:pt x="158" y="101"/>
                      </a:cubicBezTo>
                      <a:cubicBezTo>
                        <a:pt x="158" y="101"/>
                        <a:pt x="158" y="101"/>
                        <a:pt x="158" y="101"/>
                      </a:cubicBezTo>
                      <a:cubicBezTo>
                        <a:pt x="157" y="102"/>
                        <a:pt x="157" y="102"/>
                        <a:pt x="157" y="102"/>
                      </a:cubicBezTo>
                      <a:cubicBezTo>
                        <a:pt x="156" y="102"/>
                        <a:pt x="156" y="102"/>
                        <a:pt x="156" y="102"/>
                      </a:cubicBezTo>
                      <a:cubicBezTo>
                        <a:pt x="155" y="103"/>
                        <a:pt x="155" y="103"/>
                        <a:pt x="155" y="103"/>
                      </a:cubicBezTo>
                      <a:cubicBezTo>
                        <a:pt x="153" y="103"/>
                        <a:pt x="153" y="103"/>
                        <a:pt x="153" y="103"/>
                      </a:cubicBezTo>
                      <a:cubicBezTo>
                        <a:pt x="153" y="104"/>
                        <a:pt x="153" y="104"/>
                        <a:pt x="153" y="104"/>
                      </a:cubicBezTo>
                      <a:cubicBezTo>
                        <a:pt x="153" y="105"/>
                        <a:pt x="153" y="105"/>
                        <a:pt x="153" y="105"/>
                      </a:cubicBezTo>
                      <a:cubicBezTo>
                        <a:pt x="151" y="106"/>
                        <a:pt x="151" y="106"/>
                        <a:pt x="151" y="106"/>
                      </a:cubicBezTo>
                      <a:cubicBezTo>
                        <a:pt x="151" y="106"/>
                        <a:pt x="151" y="106"/>
                        <a:pt x="151" y="106"/>
                      </a:cubicBezTo>
                      <a:cubicBezTo>
                        <a:pt x="151" y="107"/>
                        <a:pt x="151" y="107"/>
                        <a:pt x="151" y="107"/>
                      </a:cubicBezTo>
                      <a:cubicBezTo>
                        <a:pt x="151" y="107"/>
                        <a:pt x="151" y="107"/>
                        <a:pt x="151" y="107"/>
                      </a:cubicBezTo>
                      <a:cubicBezTo>
                        <a:pt x="152" y="107"/>
                        <a:pt x="152" y="107"/>
                        <a:pt x="152" y="107"/>
                      </a:cubicBezTo>
                      <a:cubicBezTo>
                        <a:pt x="152" y="108"/>
                        <a:pt x="152" y="108"/>
                        <a:pt x="152" y="108"/>
                      </a:cubicBezTo>
                      <a:cubicBezTo>
                        <a:pt x="152" y="108"/>
                        <a:pt x="152" y="108"/>
                        <a:pt x="152" y="108"/>
                      </a:cubicBezTo>
                      <a:cubicBezTo>
                        <a:pt x="152" y="108"/>
                        <a:pt x="152" y="108"/>
                        <a:pt x="152" y="108"/>
                      </a:cubicBezTo>
                      <a:cubicBezTo>
                        <a:pt x="153" y="108"/>
                        <a:pt x="153" y="108"/>
                        <a:pt x="153" y="108"/>
                      </a:cubicBezTo>
                      <a:cubicBezTo>
                        <a:pt x="154" y="108"/>
                        <a:pt x="154" y="108"/>
                        <a:pt x="154" y="108"/>
                      </a:cubicBezTo>
                      <a:cubicBezTo>
                        <a:pt x="155" y="108"/>
                        <a:pt x="155" y="108"/>
                        <a:pt x="155" y="108"/>
                      </a:cubicBezTo>
                      <a:cubicBezTo>
                        <a:pt x="155" y="109"/>
                        <a:pt x="155" y="109"/>
                        <a:pt x="155" y="109"/>
                      </a:cubicBezTo>
                      <a:cubicBezTo>
                        <a:pt x="153" y="109"/>
                        <a:pt x="153" y="109"/>
                        <a:pt x="153" y="109"/>
                      </a:cubicBezTo>
                      <a:cubicBezTo>
                        <a:pt x="152" y="109"/>
                        <a:pt x="152" y="109"/>
                        <a:pt x="152" y="109"/>
                      </a:cubicBezTo>
                      <a:cubicBezTo>
                        <a:pt x="152" y="109"/>
                        <a:pt x="152" y="109"/>
                        <a:pt x="152" y="109"/>
                      </a:cubicBezTo>
                      <a:cubicBezTo>
                        <a:pt x="152" y="110"/>
                        <a:pt x="152" y="110"/>
                        <a:pt x="152" y="110"/>
                      </a:cubicBezTo>
                      <a:cubicBezTo>
                        <a:pt x="154" y="111"/>
                        <a:pt x="154" y="111"/>
                        <a:pt x="154" y="111"/>
                      </a:cubicBezTo>
                      <a:cubicBezTo>
                        <a:pt x="154" y="110"/>
                        <a:pt x="154" y="110"/>
                        <a:pt x="154" y="110"/>
                      </a:cubicBezTo>
                      <a:cubicBezTo>
                        <a:pt x="154" y="110"/>
                        <a:pt x="154" y="110"/>
                        <a:pt x="154" y="110"/>
                      </a:cubicBezTo>
                      <a:cubicBezTo>
                        <a:pt x="155" y="110"/>
                        <a:pt x="155" y="110"/>
                        <a:pt x="155" y="110"/>
                      </a:cubicBezTo>
                      <a:cubicBezTo>
                        <a:pt x="155" y="110"/>
                        <a:pt x="155" y="110"/>
                        <a:pt x="155" y="110"/>
                      </a:cubicBezTo>
                      <a:cubicBezTo>
                        <a:pt x="155" y="111"/>
                        <a:pt x="155" y="111"/>
                        <a:pt x="155" y="111"/>
                      </a:cubicBezTo>
                      <a:cubicBezTo>
                        <a:pt x="156" y="111"/>
                        <a:pt x="156" y="111"/>
                        <a:pt x="156" y="111"/>
                      </a:cubicBezTo>
                      <a:cubicBezTo>
                        <a:pt x="157" y="111"/>
                        <a:pt x="157" y="111"/>
                        <a:pt x="157" y="111"/>
                      </a:cubicBezTo>
                      <a:cubicBezTo>
                        <a:pt x="159" y="110"/>
                        <a:pt x="159" y="110"/>
                        <a:pt x="159" y="110"/>
                      </a:cubicBezTo>
                      <a:cubicBezTo>
                        <a:pt x="160" y="110"/>
                        <a:pt x="160" y="110"/>
                        <a:pt x="160" y="110"/>
                      </a:cubicBezTo>
                      <a:cubicBezTo>
                        <a:pt x="161" y="111"/>
                        <a:pt x="161" y="111"/>
                        <a:pt x="161" y="111"/>
                      </a:cubicBezTo>
                      <a:cubicBezTo>
                        <a:pt x="162" y="111"/>
                        <a:pt x="162" y="111"/>
                        <a:pt x="162" y="111"/>
                      </a:cubicBezTo>
                      <a:cubicBezTo>
                        <a:pt x="163" y="111"/>
                        <a:pt x="163" y="111"/>
                        <a:pt x="163" y="111"/>
                      </a:cubicBezTo>
                      <a:cubicBezTo>
                        <a:pt x="163" y="112"/>
                        <a:pt x="163" y="112"/>
                        <a:pt x="163" y="112"/>
                      </a:cubicBezTo>
                      <a:cubicBezTo>
                        <a:pt x="164" y="112"/>
                        <a:pt x="164" y="112"/>
                        <a:pt x="164" y="112"/>
                      </a:cubicBezTo>
                      <a:cubicBezTo>
                        <a:pt x="164" y="112"/>
                        <a:pt x="164" y="112"/>
                        <a:pt x="164" y="112"/>
                      </a:cubicBezTo>
                      <a:cubicBezTo>
                        <a:pt x="163" y="112"/>
                        <a:pt x="163" y="112"/>
                        <a:pt x="163" y="112"/>
                      </a:cubicBezTo>
                      <a:cubicBezTo>
                        <a:pt x="162" y="112"/>
                        <a:pt x="162" y="112"/>
                        <a:pt x="162" y="112"/>
                      </a:cubicBezTo>
                      <a:cubicBezTo>
                        <a:pt x="160" y="112"/>
                        <a:pt x="160" y="112"/>
                        <a:pt x="160" y="112"/>
                      </a:cubicBezTo>
                      <a:cubicBezTo>
                        <a:pt x="160" y="112"/>
                        <a:pt x="160" y="112"/>
                        <a:pt x="160" y="112"/>
                      </a:cubicBezTo>
                      <a:cubicBezTo>
                        <a:pt x="161" y="112"/>
                        <a:pt x="161" y="112"/>
                        <a:pt x="161" y="112"/>
                      </a:cubicBezTo>
                      <a:cubicBezTo>
                        <a:pt x="161" y="113"/>
                        <a:pt x="161" y="113"/>
                        <a:pt x="161" y="113"/>
                      </a:cubicBezTo>
                      <a:cubicBezTo>
                        <a:pt x="160" y="113"/>
                        <a:pt x="160" y="113"/>
                        <a:pt x="160" y="113"/>
                      </a:cubicBezTo>
                      <a:cubicBezTo>
                        <a:pt x="159" y="112"/>
                        <a:pt x="159" y="112"/>
                        <a:pt x="159" y="112"/>
                      </a:cubicBezTo>
                      <a:cubicBezTo>
                        <a:pt x="157" y="112"/>
                        <a:pt x="157" y="112"/>
                        <a:pt x="157" y="112"/>
                      </a:cubicBezTo>
                      <a:cubicBezTo>
                        <a:pt x="156" y="113"/>
                        <a:pt x="156" y="113"/>
                        <a:pt x="156" y="113"/>
                      </a:cubicBezTo>
                      <a:cubicBezTo>
                        <a:pt x="156" y="113"/>
                        <a:pt x="156" y="113"/>
                        <a:pt x="156" y="113"/>
                      </a:cubicBezTo>
                      <a:cubicBezTo>
                        <a:pt x="155" y="113"/>
                        <a:pt x="155" y="113"/>
                        <a:pt x="155" y="113"/>
                      </a:cubicBezTo>
                      <a:cubicBezTo>
                        <a:pt x="154" y="113"/>
                        <a:pt x="154" y="113"/>
                        <a:pt x="154" y="113"/>
                      </a:cubicBezTo>
                      <a:cubicBezTo>
                        <a:pt x="154" y="113"/>
                        <a:pt x="154" y="113"/>
                        <a:pt x="154" y="113"/>
                      </a:cubicBezTo>
                      <a:cubicBezTo>
                        <a:pt x="151" y="113"/>
                        <a:pt x="151" y="113"/>
                        <a:pt x="151" y="113"/>
                      </a:cubicBezTo>
                      <a:cubicBezTo>
                        <a:pt x="151" y="113"/>
                        <a:pt x="151" y="113"/>
                        <a:pt x="151" y="113"/>
                      </a:cubicBezTo>
                      <a:cubicBezTo>
                        <a:pt x="149" y="113"/>
                        <a:pt x="149" y="113"/>
                        <a:pt x="149" y="113"/>
                      </a:cubicBezTo>
                      <a:cubicBezTo>
                        <a:pt x="149" y="114"/>
                        <a:pt x="149" y="114"/>
                        <a:pt x="149" y="114"/>
                      </a:cubicBezTo>
                      <a:cubicBezTo>
                        <a:pt x="149" y="117"/>
                        <a:pt x="149" y="117"/>
                        <a:pt x="149" y="117"/>
                      </a:cubicBezTo>
                      <a:cubicBezTo>
                        <a:pt x="149" y="117"/>
                        <a:pt x="149" y="117"/>
                        <a:pt x="149" y="117"/>
                      </a:cubicBezTo>
                      <a:cubicBezTo>
                        <a:pt x="149" y="118"/>
                        <a:pt x="149" y="118"/>
                        <a:pt x="149" y="118"/>
                      </a:cubicBezTo>
                      <a:cubicBezTo>
                        <a:pt x="149" y="118"/>
                        <a:pt x="149" y="118"/>
                        <a:pt x="149" y="118"/>
                      </a:cubicBezTo>
                      <a:cubicBezTo>
                        <a:pt x="149" y="119"/>
                        <a:pt x="149" y="119"/>
                        <a:pt x="149" y="119"/>
                      </a:cubicBezTo>
                      <a:cubicBezTo>
                        <a:pt x="149" y="119"/>
                        <a:pt x="149" y="119"/>
                        <a:pt x="149" y="119"/>
                      </a:cubicBezTo>
                      <a:cubicBezTo>
                        <a:pt x="150" y="119"/>
                        <a:pt x="150" y="119"/>
                        <a:pt x="150" y="119"/>
                      </a:cubicBezTo>
                      <a:cubicBezTo>
                        <a:pt x="151" y="119"/>
                        <a:pt x="151" y="119"/>
                        <a:pt x="151" y="119"/>
                      </a:cubicBezTo>
                      <a:cubicBezTo>
                        <a:pt x="151" y="119"/>
                        <a:pt x="151" y="119"/>
                        <a:pt x="151" y="119"/>
                      </a:cubicBezTo>
                      <a:cubicBezTo>
                        <a:pt x="152" y="120"/>
                        <a:pt x="152" y="120"/>
                        <a:pt x="152" y="120"/>
                      </a:cubicBezTo>
                      <a:cubicBezTo>
                        <a:pt x="152" y="119"/>
                        <a:pt x="152" y="119"/>
                        <a:pt x="152" y="119"/>
                      </a:cubicBezTo>
                      <a:cubicBezTo>
                        <a:pt x="153" y="119"/>
                        <a:pt x="153" y="119"/>
                        <a:pt x="153" y="119"/>
                      </a:cubicBezTo>
                      <a:cubicBezTo>
                        <a:pt x="153" y="119"/>
                        <a:pt x="153" y="119"/>
                        <a:pt x="153" y="119"/>
                      </a:cubicBezTo>
                      <a:cubicBezTo>
                        <a:pt x="154" y="120"/>
                        <a:pt x="154" y="120"/>
                        <a:pt x="154" y="120"/>
                      </a:cubicBezTo>
                      <a:cubicBezTo>
                        <a:pt x="154" y="119"/>
                        <a:pt x="154" y="119"/>
                        <a:pt x="154" y="119"/>
                      </a:cubicBezTo>
                      <a:cubicBezTo>
                        <a:pt x="155" y="120"/>
                        <a:pt x="155" y="120"/>
                        <a:pt x="155" y="120"/>
                      </a:cubicBezTo>
                      <a:cubicBezTo>
                        <a:pt x="155" y="120"/>
                        <a:pt x="155" y="120"/>
                        <a:pt x="155" y="120"/>
                      </a:cubicBezTo>
                      <a:cubicBezTo>
                        <a:pt x="155" y="121"/>
                        <a:pt x="155" y="121"/>
                        <a:pt x="155" y="121"/>
                      </a:cubicBezTo>
                      <a:cubicBezTo>
                        <a:pt x="156" y="120"/>
                        <a:pt x="156" y="120"/>
                        <a:pt x="156" y="120"/>
                      </a:cubicBezTo>
                      <a:cubicBezTo>
                        <a:pt x="157" y="120"/>
                        <a:pt x="157" y="120"/>
                        <a:pt x="157" y="120"/>
                      </a:cubicBezTo>
                      <a:cubicBezTo>
                        <a:pt x="157" y="121"/>
                        <a:pt x="157" y="121"/>
                        <a:pt x="157" y="121"/>
                      </a:cubicBezTo>
                      <a:cubicBezTo>
                        <a:pt x="158" y="121"/>
                        <a:pt x="158" y="121"/>
                        <a:pt x="158" y="121"/>
                      </a:cubicBezTo>
                      <a:cubicBezTo>
                        <a:pt x="159" y="121"/>
                        <a:pt x="159" y="121"/>
                        <a:pt x="159" y="121"/>
                      </a:cubicBezTo>
                      <a:cubicBezTo>
                        <a:pt x="160" y="121"/>
                        <a:pt x="160" y="121"/>
                        <a:pt x="160" y="121"/>
                      </a:cubicBezTo>
                      <a:cubicBezTo>
                        <a:pt x="160" y="121"/>
                        <a:pt x="160" y="121"/>
                        <a:pt x="160" y="121"/>
                      </a:cubicBezTo>
                      <a:cubicBezTo>
                        <a:pt x="161" y="121"/>
                        <a:pt x="161" y="121"/>
                        <a:pt x="161" y="121"/>
                      </a:cubicBezTo>
                      <a:cubicBezTo>
                        <a:pt x="162" y="121"/>
                        <a:pt x="162" y="121"/>
                        <a:pt x="162" y="121"/>
                      </a:cubicBezTo>
                      <a:cubicBezTo>
                        <a:pt x="163" y="121"/>
                        <a:pt x="163" y="121"/>
                        <a:pt x="163" y="121"/>
                      </a:cubicBezTo>
                      <a:cubicBezTo>
                        <a:pt x="164" y="121"/>
                        <a:pt x="164" y="121"/>
                        <a:pt x="164" y="121"/>
                      </a:cubicBezTo>
                      <a:cubicBezTo>
                        <a:pt x="164" y="122"/>
                        <a:pt x="164" y="122"/>
                        <a:pt x="164" y="122"/>
                      </a:cubicBezTo>
                      <a:cubicBezTo>
                        <a:pt x="165" y="121"/>
                        <a:pt x="165" y="121"/>
                        <a:pt x="165" y="121"/>
                      </a:cubicBezTo>
                      <a:cubicBezTo>
                        <a:pt x="165" y="122"/>
                        <a:pt x="165" y="122"/>
                        <a:pt x="165" y="122"/>
                      </a:cubicBezTo>
                      <a:cubicBezTo>
                        <a:pt x="166" y="123"/>
                        <a:pt x="166" y="123"/>
                        <a:pt x="166" y="123"/>
                      </a:cubicBezTo>
                      <a:cubicBezTo>
                        <a:pt x="166" y="123"/>
                        <a:pt x="166" y="123"/>
                        <a:pt x="166" y="123"/>
                      </a:cubicBezTo>
                      <a:cubicBezTo>
                        <a:pt x="166" y="123"/>
                        <a:pt x="166" y="123"/>
                        <a:pt x="166" y="123"/>
                      </a:cubicBezTo>
                      <a:cubicBezTo>
                        <a:pt x="167" y="123"/>
                        <a:pt x="167" y="123"/>
                        <a:pt x="167" y="123"/>
                      </a:cubicBezTo>
                      <a:cubicBezTo>
                        <a:pt x="167" y="124"/>
                        <a:pt x="167" y="124"/>
                        <a:pt x="167" y="124"/>
                      </a:cubicBezTo>
                      <a:cubicBezTo>
                        <a:pt x="168" y="124"/>
                        <a:pt x="168" y="124"/>
                        <a:pt x="168" y="124"/>
                      </a:cubicBezTo>
                      <a:cubicBezTo>
                        <a:pt x="168" y="124"/>
                        <a:pt x="168" y="124"/>
                        <a:pt x="168" y="124"/>
                      </a:cubicBezTo>
                      <a:cubicBezTo>
                        <a:pt x="169" y="125"/>
                        <a:pt x="169" y="125"/>
                        <a:pt x="169" y="125"/>
                      </a:cubicBezTo>
                      <a:cubicBezTo>
                        <a:pt x="169" y="125"/>
                        <a:pt x="169" y="125"/>
                        <a:pt x="169" y="125"/>
                      </a:cubicBezTo>
                      <a:cubicBezTo>
                        <a:pt x="168" y="126"/>
                        <a:pt x="168" y="126"/>
                        <a:pt x="168" y="126"/>
                      </a:cubicBezTo>
                      <a:cubicBezTo>
                        <a:pt x="169" y="127"/>
                        <a:pt x="169" y="127"/>
                        <a:pt x="169" y="127"/>
                      </a:cubicBezTo>
                      <a:cubicBezTo>
                        <a:pt x="171" y="127"/>
                        <a:pt x="171" y="127"/>
                        <a:pt x="171" y="127"/>
                      </a:cubicBezTo>
                      <a:cubicBezTo>
                        <a:pt x="171" y="128"/>
                        <a:pt x="171" y="128"/>
                        <a:pt x="171" y="128"/>
                      </a:cubicBezTo>
                      <a:cubicBezTo>
                        <a:pt x="170" y="128"/>
                        <a:pt x="170" y="128"/>
                        <a:pt x="170" y="128"/>
                      </a:cubicBezTo>
                      <a:cubicBezTo>
                        <a:pt x="171" y="129"/>
                        <a:pt x="171" y="129"/>
                        <a:pt x="171" y="129"/>
                      </a:cubicBezTo>
                      <a:cubicBezTo>
                        <a:pt x="170" y="128"/>
                        <a:pt x="170" y="128"/>
                        <a:pt x="170" y="128"/>
                      </a:cubicBezTo>
                      <a:cubicBezTo>
                        <a:pt x="168" y="128"/>
                        <a:pt x="168" y="128"/>
                        <a:pt x="168" y="128"/>
                      </a:cubicBezTo>
                      <a:cubicBezTo>
                        <a:pt x="167" y="128"/>
                        <a:pt x="167" y="128"/>
                        <a:pt x="167" y="128"/>
                      </a:cubicBezTo>
                      <a:cubicBezTo>
                        <a:pt x="166" y="128"/>
                        <a:pt x="166" y="128"/>
                        <a:pt x="166" y="128"/>
                      </a:cubicBezTo>
                      <a:cubicBezTo>
                        <a:pt x="166" y="128"/>
                        <a:pt x="166" y="128"/>
                        <a:pt x="166" y="128"/>
                      </a:cubicBezTo>
                      <a:cubicBezTo>
                        <a:pt x="165" y="128"/>
                        <a:pt x="165" y="128"/>
                        <a:pt x="165" y="128"/>
                      </a:cubicBezTo>
                      <a:cubicBezTo>
                        <a:pt x="165" y="128"/>
                        <a:pt x="165" y="128"/>
                        <a:pt x="165" y="128"/>
                      </a:cubicBezTo>
                      <a:cubicBezTo>
                        <a:pt x="164" y="127"/>
                        <a:pt x="164" y="127"/>
                        <a:pt x="164" y="127"/>
                      </a:cubicBezTo>
                      <a:cubicBezTo>
                        <a:pt x="163" y="127"/>
                        <a:pt x="163" y="127"/>
                        <a:pt x="163" y="127"/>
                      </a:cubicBezTo>
                      <a:cubicBezTo>
                        <a:pt x="163" y="126"/>
                        <a:pt x="163" y="126"/>
                        <a:pt x="163" y="126"/>
                      </a:cubicBezTo>
                      <a:cubicBezTo>
                        <a:pt x="162" y="126"/>
                        <a:pt x="162" y="126"/>
                        <a:pt x="162" y="126"/>
                      </a:cubicBezTo>
                      <a:cubicBezTo>
                        <a:pt x="161" y="126"/>
                        <a:pt x="161" y="126"/>
                        <a:pt x="161" y="126"/>
                      </a:cubicBezTo>
                      <a:cubicBezTo>
                        <a:pt x="161" y="126"/>
                        <a:pt x="161" y="126"/>
                        <a:pt x="161" y="126"/>
                      </a:cubicBezTo>
                      <a:cubicBezTo>
                        <a:pt x="160" y="126"/>
                        <a:pt x="160" y="126"/>
                        <a:pt x="160" y="126"/>
                      </a:cubicBezTo>
                      <a:cubicBezTo>
                        <a:pt x="159" y="125"/>
                        <a:pt x="159" y="125"/>
                        <a:pt x="159" y="125"/>
                      </a:cubicBezTo>
                      <a:cubicBezTo>
                        <a:pt x="159" y="125"/>
                        <a:pt x="159" y="125"/>
                        <a:pt x="159" y="125"/>
                      </a:cubicBezTo>
                      <a:cubicBezTo>
                        <a:pt x="159" y="125"/>
                        <a:pt x="159" y="125"/>
                        <a:pt x="159" y="125"/>
                      </a:cubicBezTo>
                      <a:cubicBezTo>
                        <a:pt x="158" y="125"/>
                        <a:pt x="158" y="125"/>
                        <a:pt x="158" y="125"/>
                      </a:cubicBezTo>
                      <a:cubicBezTo>
                        <a:pt x="157" y="125"/>
                        <a:pt x="157" y="125"/>
                        <a:pt x="157" y="125"/>
                      </a:cubicBezTo>
                      <a:cubicBezTo>
                        <a:pt x="157" y="124"/>
                        <a:pt x="157" y="124"/>
                        <a:pt x="157" y="124"/>
                      </a:cubicBezTo>
                      <a:cubicBezTo>
                        <a:pt x="155" y="124"/>
                        <a:pt x="155" y="124"/>
                        <a:pt x="155" y="124"/>
                      </a:cubicBezTo>
                      <a:cubicBezTo>
                        <a:pt x="154" y="124"/>
                        <a:pt x="154" y="124"/>
                        <a:pt x="154" y="124"/>
                      </a:cubicBezTo>
                      <a:cubicBezTo>
                        <a:pt x="153" y="124"/>
                        <a:pt x="153" y="124"/>
                        <a:pt x="153" y="124"/>
                      </a:cubicBezTo>
                      <a:cubicBezTo>
                        <a:pt x="149" y="124"/>
                        <a:pt x="149" y="124"/>
                        <a:pt x="149" y="124"/>
                      </a:cubicBezTo>
                      <a:cubicBezTo>
                        <a:pt x="148" y="124"/>
                        <a:pt x="148" y="124"/>
                        <a:pt x="148" y="124"/>
                      </a:cubicBezTo>
                      <a:cubicBezTo>
                        <a:pt x="147" y="125"/>
                        <a:pt x="147" y="125"/>
                        <a:pt x="147" y="125"/>
                      </a:cubicBezTo>
                      <a:cubicBezTo>
                        <a:pt x="147" y="125"/>
                        <a:pt x="147" y="125"/>
                        <a:pt x="147" y="125"/>
                      </a:cubicBezTo>
                      <a:cubicBezTo>
                        <a:pt x="147" y="127"/>
                        <a:pt x="147" y="127"/>
                        <a:pt x="147" y="127"/>
                      </a:cubicBezTo>
                      <a:cubicBezTo>
                        <a:pt x="146" y="128"/>
                        <a:pt x="146" y="128"/>
                        <a:pt x="146" y="128"/>
                      </a:cubicBezTo>
                      <a:cubicBezTo>
                        <a:pt x="146" y="129"/>
                        <a:pt x="146" y="129"/>
                        <a:pt x="146" y="129"/>
                      </a:cubicBezTo>
                      <a:cubicBezTo>
                        <a:pt x="146" y="130"/>
                        <a:pt x="146" y="130"/>
                        <a:pt x="146" y="130"/>
                      </a:cubicBezTo>
                      <a:cubicBezTo>
                        <a:pt x="146" y="130"/>
                        <a:pt x="146" y="130"/>
                        <a:pt x="146" y="130"/>
                      </a:cubicBezTo>
                      <a:cubicBezTo>
                        <a:pt x="147" y="130"/>
                        <a:pt x="147" y="130"/>
                        <a:pt x="147" y="130"/>
                      </a:cubicBezTo>
                      <a:cubicBezTo>
                        <a:pt x="146" y="131"/>
                        <a:pt x="146" y="131"/>
                        <a:pt x="146" y="131"/>
                      </a:cubicBezTo>
                      <a:cubicBezTo>
                        <a:pt x="146" y="131"/>
                        <a:pt x="146" y="131"/>
                        <a:pt x="146" y="131"/>
                      </a:cubicBezTo>
                      <a:cubicBezTo>
                        <a:pt x="147" y="133"/>
                        <a:pt x="147" y="133"/>
                        <a:pt x="147" y="133"/>
                      </a:cubicBezTo>
                      <a:cubicBezTo>
                        <a:pt x="147" y="133"/>
                        <a:pt x="147" y="133"/>
                        <a:pt x="147" y="133"/>
                      </a:cubicBezTo>
                      <a:cubicBezTo>
                        <a:pt x="148" y="134"/>
                        <a:pt x="148" y="134"/>
                        <a:pt x="148" y="134"/>
                      </a:cubicBezTo>
                      <a:cubicBezTo>
                        <a:pt x="149" y="134"/>
                        <a:pt x="149" y="134"/>
                        <a:pt x="149" y="134"/>
                      </a:cubicBezTo>
                      <a:cubicBezTo>
                        <a:pt x="149" y="135"/>
                        <a:pt x="149" y="135"/>
                        <a:pt x="149" y="135"/>
                      </a:cubicBezTo>
                      <a:cubicBezTo>
                        <a:pt x="150" y="135"/>
                        <a:pt x="150" y="135"/>
                        <a:pt x="150" y="135"/>
                      </a:cubicBezTo>
                      <a:cubicBezTo>
                        <a:pt x="151" y="135"/>
                        <a:pt x="151" y="135"/>
                        <a:pt x="151" y="135"/>
                      </a:cubicBezTo>
                      <a:cubicBezTo>
                        <a:pt x="151" y="135"/>
                        <a:pt x="151" y="135"/>
                        <a:pt x="151" y="135"/>
                      </a:cubicBezTo>
                      <a:cubicBezTo>
                        <a:pt x="152" y="135"/>
                        <a:pt x="152" y="135"/>
                        <a:pt x="152" y="135"/>
                      </a:cubicBezTo>
                      <a:cubicBezTo>
                        <a:pt x="153" y="135"/>
                        <a:pt x="153" y="135"/>
                        <a:pt x="153" y="135"/>
                      </a:cubicBezTo>
                      <a:cubicBezTo>
                        <a:pt x="154" y="135"/>
                        <a:pt x="154" y="135"/>
                        <a:pt x="154" y="135"/>
                      </a:cubicBezTo>
                      <a:cubicBezTo>
                        <a:pt x="155" y="135"/>
                        <a:pt x="155" y="135"/>
                        <a:pt x="155" y="135"/>
                      </a:cubicBezTo>
                      <a:cubicBezTo>
                        <a:pt x="155" y="136"/>
                        <a:pt x="155" y="136"/>
                        <a:pt x="155" y="136"/>
                      </a:cubicBezTo>
                      <a:cubicBezTo>
                        <a:pt x="156" y="137"/>
                        <a:pt x="156" y="137"/>
                        <a:pt x="156" y="137"/>
                      </a:cubicBezTo>
                      <a:cubicBezTo>
                        <a:pt x="156" y="137"/>
                        <a:pt x="156" y="137"/>
                        <a:pt x="156" y="137"/>
                      </a:cubicBezTo>
                      <a:cubicBezTo>
                        <a:pt x="155" y="137"/>
                        <a:pt x="155" y="137"/>
                        <a:pt x="155" y="137"/>
                      </a:cubicBezTo>
                      <a:cubicBezTo>
                        <a:pt x="155" y="138"/>
                        <a:pt x="155" y="138"/>
                        <a:pt x="155" y="138"/>
                      </a:cubicBezTo>
                      <a:cubicBezTo>
                        <a:pt x="155" y="138"/>
                        <a:pt x="155" y="138"/>
                        <a:pt x="155" y="138"/>
                      </a:cubicBezTo>
                      <a:cubicBezTo>
                        <a:pt x="155" y="139"/>
                        <a:pt x="155" y="139"/>
                        <a:pt x="155" y="139"/>
                      </a:cubicBezTo>
                      <a:cubicBezTo>
                        <a:pt x="154" y="139"/>
                        <a:pt x="154" y="139"/>
                        <a:pt x="154" y="139"/>
                      </a:cubicBezTo>
                      <a:cubicBezTo>
                        <a:pt x="153" y="140"/>
                        <a:pt x="153" y="140"/>
                        <a:pt x="153" y="140"/>
                      </a:cubicBezTo>
                      <a:cubicBezTo>
                        <a:pt x="153" y="140"/>
                        <a:pt x="153" y="140"/>
                        <a:pt x="153" y="140"/>
                      </a:cubicBezTo>
                      <a:cubicBezTo>
                        <a:pt x="153" y="141"/>
                        <a:pt x="153" y="141"/>
                        <a:pt x="153" y="141"/>
                      </a:cubicBezTo>
                      <a:cubicBezTo>
                        <a:pt x="153" y="141"/>
                        <a:pt x="153" y="141"/>
                        <a:pt x="153" y="141"/>
                      </a:cubicBezTo>
                      <a:cubicBezTo>
                        <a:pt x="153" y="142"/>
                        <a:pt x="153" y="142"/>
                        <a:pt x="153" y="142"/>
                      </a:cubicBezTo>
                      <a:cubicBezTo>
                        <a:pt x="154" y="143"/>
                        <a:pt x="154" y="143"/>
                        <a:pt x="154" y="143"/>
                      </a:cubicBezTo>
                      <a:cubicBezTo>
                        <a:pt x="154" y="144"/>
                        <a:pt x="154" y="144"/>
                        <a:pt x="154" y="144"/>
                      </a:cubicBezTo>
                      <a:cubicBezTo>
                        <a:pt x="153" y="144"/>
                        <a:pt x="153" y="144"/>
                        <a:pt x="153" y="144"/>
                      </a:cubicBezTo>
                      <a:cubicBezTo>
                        <a:pt x="153" y="144"/>
                        <a:pt x="153" y="144"/>
                        <a:pt x="153" y="144"/>
                      </a:cubicBezTo>
                      <a:cubicBezTo>
                        <a:pt x="155" y="145"/>
                        <a:pt x="155" y="145"/>
                        <a:pt x="155" y="145"/>
                      </a:cubicBezTo>
                      <a:cubicBezTo>
                        <a:pt x="155" y="145"/>
                        <a:pt x="155" y="145"/>
                        <a:pt x="155" y="145"/>
                      </a:cubicBezTo>
                      <a:cubicBezTo>
                        <a:pt x="156" y="145"/>
                        <a:pt x="156" y="145"/>
                        <a:pt x="156" y="145"/>
                      </a:cubicBezTo>
                      <a:cubicBezTo>
                        <a:pt x="156" y="145"/>
                        <a:pt x="156" y="145"/>
                        <a:pt x="156" y="145"/>
                      </a:cubicBezTo>
                      <a:cubicBezTo>
                        <a:pt x="156" y="144"/>
                        <a:pt x="156" y="144"/>
                        <a:pt x="156" y="144"/>
                      </a:cubicBezTo>
                      <a:cubicBezTo>
                        <a:pt x="157" y="144"/>
                        <a:pt x="157" y="144"/>
                        <a:pt x="157" y="144"/>
                      </a:cubicBezTo>
                      <a:cubicBezTo>
                        <a:pt x="157" y="145"/>
                        <a:pt x="157" y="145"/>
                        <a:pt x="157" y="145"/>
                      </a:cubicBezTo>
                      <a:cubicBezTo>
                        <a:pt x="159" y="145"/>
                        <a:pt x="159" y="145"/>
                        <a:pt x="159" y="145"/>
                      </a:cubicBezTo>
                      <a:cubicBezTo>
                        <a:pt x="160" y="145"/>
                        <a:pt x="160" y="145"/>
                        <a:pt x="160" y="145"/>
                      </a:cubicBezTo>
                      <a:cubicBezTo>
                        <a:pt x="161" y="145"/>
                        <a:pt x="161" y="145"/>
                        <a:pt x="161" y="145"/>
                      </a:cubicBezTo>
                      <a:cubicBezTo>
                        <a:pt x="162" y="145"/>
                        <a:pt x="162" y="145"/>
                        <a:pt x="162" y="145"/>
                      </a:cubicBezTo>
                      <a:cubicBezTo>
                        <a:pt x="162" y="145"/>
                        <a:pt x="162" y="145"/>
                        <a:pt x="162" y="145"/>
                      </a:cubicBezTo>
                      <a:cubicBezTo>
                        <a:pt x="162" y="145"/>
                        <a:pt x="162" y="145"/>
                        <a:pt x="162" y="145"/>
                      </a:cubicBezTo>
                      <a:cubicBezTo>
                        <a:pt x="163" y="145"/>
                        <a:pt x="163" y="145"/>
                        <a:pt x="163" y="145"/>
                      </a:cubicBezTo>
                      <a:cubicBezTo>
                        <a:pt x="163" y="145"/>
                        <a:pt x="163" y="145"/>
                        <a:pt x="163" y="145"/>
                      </a:cubicBezTo>
                      <a:cubicBezTo>
                        <a:pt x="164" y="145"/>
                        <a:pt x="164" y="145"/>
                        <a:pt x="164" y="145"/>
                      </a:cubicBezTo>
                      <a:cubicBezTo>
                        <a:pt x="164" y="145"/>
                        <a:pt x="164" y="145"/>
                        <a:pt x="164" y="145"/>
                      </a:cubicBezTo>
                      <a:cubicBezTo>
                        <a:pt x="165" y="145"/>
                        <a:pt x="165" y="145"/>
                        <a:pt x="165" y="145"/>
                      </a:cubicBezTo>
                      <a:cubicBezTo>
                        <a:pt x="165" y="145"/>
                        <a:pt x="165" y="145"/>
                        <a:pt x="165" y="145"/>
                      </a:cubicBezTo>
                      <a:cubicBezTo>
                        <a:pt x="165" y="145"/>
                        <a:pt x="165" y="145"/>
                        <a:pt x="165" y="145"/>
                      </a:cubicBezTo>
                      <a:cubicBezTo>
                        <a:pt x="166" y="146"/>
                        <a:pt x="166" y="146"/>
                        <a:pt x="166" y="146"/>
                      </a:cubicBezTo>
                      <a:cubicBezTo>
                        <a:pt x="166" y="146"/>
                        <a:pt x="166" y="146"/>
                        <a:pt x="166" y="146"/>
                      </a:cubicBezTo>
                      <a:cubicBezTo>
                        <a:pt x="166" y="146"/>
                        <a:pt x="166" y="146"/>
                        <a:pt x="166" y="146"/>
                      </a:cubicBezTo>
                      <a:cubicBezTo>
                        <a:pt x="168" y="145"/>
                        <a:pt x="168" y="145"/>
                        <a:pt x="168" y="145"/>
                      </a:cubicBezTo>
                      <a:cubicBezTo>
                        <a:pt x="168" y="145"/>
                        <a:pt x="168" y="145"/>
                        <a:pt x="168" y="145"/>
                      </a:cubicBezTo>
                      <a:cubicBezTo>
                        <a:pt x="169" y="145"/>
                        <a:pt x="169" y="145"/>
                        <a:pt x="169" y="145"/>
                      </a:cubicBezTo>
                      <a:cubicBezTo>
                        <a:pt x="170" y="145"/>
                        <a:pt x="170" y="145"/>
                        <a:pt x="170" y="145"/>
                      </a:cubicBezTo>
                      <a:cubicBezTo>
                        <a:pt x="171" y="144"/>
                        <a:pt x="171" y="144"/>
                        <a:pt x="171" y="144"/>
                      </a:cubicBezTo>
                      <a:cubicBezTo>
                        <a:pt x="172" y="143"/>
                        <a:pt x="172" y="143"/>
                        <a:pt x="172" y="143"/>
                      </a:cubicBezTo>
                      <a:cubicBezTo>
                        <a:pt x="172" y="143"/>
                        <a:pt x="172" y="143"/>
                        <a:pt x="172" y="143"/>
                      </a:cubicBezTo>
                      <a:cubicBezTo>
                        <a:pt x="173" y="143"/>
                        <a:pt x="173" y="143"/>
                        <a:pt x="173" y="143"/>
                      </a:cubicBezTo>
                      <a:cubicBezTo>
                        <a:pt x="173" y="143"/>
                        <a:pt x="173" y="143"/>
                        <a:pt x="173" y="143"/>
                      </a:cubicBezTo>
                      <a:cubicBezTo>
                        <a:pt x="174" y="143"/>
                        <a:pt x="174" y="143"/>
                        <a:pt x="174" y="143"/>
                      </a:cubicBezTo>
                      <a:cubicBezTo>
                        <a:pt x="175" y="143"/>
                        <a:pt x="175" y="143"/>
                        <a:pt x="175" y="143"/>
                      </a:cubicBezTo>
                      <a:cubicBezTo>
                        <a:pt x="176" y="143"/>
                        <a:pt x="176" y="143"/>
                        <a:pt x="176" y="143"/>
                      </a:cubicBezTo>
                      <a:cubicBezTo>
                        <a:pt x="177" y="143"/>
                        <a:pt x="177" y="143"/>
                        <a:pt x="177" y="143"/>
                      </a:cubicBezTo>
                      <a:cubicBezTo>
                        <a:pt x="179" y="142"/>
                        <a:pt x="179" y="142"/>
                        <a:pt x="179" y="142"/>
                      </a:cubicBezTo>
                      <a:cubicBezTo>
                        <a:pt x="180" y="142"/>
                        <a:pt x="180" y="142"/>
                        <a:pt x="180" y="142"/>
                      </a:cubicBezTo>
                      <a:cubicBezTo>
                        <a:pt x="180" y="142"/>
                        <a:pt x="180" y="142"/>
                        <a:pt x="180" y="142"/>
                      </a:cubicBezTo>
                      <a:cubicBezTo>
                        <a:pt x="180" y="142"/>
                        <a:pt x="180" y="142"/>
                        <a:pt x="180" y="142"/>
                      </a:cubicBezTo>
                      <a:cubicBezTo>
                        <a:pt x="181" y="141"/>
                        <a:pt x="181" y="141"/>
                        <a:pt x="181" y="141"/>
                      </a:cubicBezTo>
                      <a:cubicBezTo>
                        <a:pt x="181" y="141"/>
                        <a:pt x="181" y="141"/>
                        <a:pt x="181" y="141"/>
                      </a:cubicBezTo>
                      <a:cubicBezTo>
                        <a:pt x="181" y="140"/>
                        <a:pt x="181" y="140"/>
                        <a:pt x="181" y="140"/>
                      </a:cubicBezTo>
                      <a:cubicBezTo>
                        <a:pt x="181" y="140"/>
                        <a:pt x="181" y="140"/>
                        <a:pt x="181" y="140"/>
                      </a:cubicBezTo>
                      <a:cubicBezTo>
                        <a:pt x="182" y="140"/>
                        <a:pt x="182" y="140"/>
                        <a:pt x="182" y="140"/>
                      </a:cubicBezTo>
                      <a:cubicBezTo>
                        <a:pt x="182" y="140"/>
                        <a:pt x="182" y="140"/>
                        <a:pt x="182" y="140"/>
                      </a:cubicBezTo>
                      <a:cubicBezTo>
                        <a:pt x="183" y="140"/>
                        <a:pt x="183" y="140"/>
                        <a:pt x="183" y="140"/>
                      </a:cubicBezTo>
                      <a:cubicBezTo>
                        <a:pt x="183" y="139"/>
                        <a:pt x="183" y="139"/>
                        <a:pt x="183" y="139"/>
                      </a:cubicBezTo>
                      <a:cubicBezTo>
                        <a:pt x="183" y="139"/>
                        <a:pt x="183" y="139"/>
                        <a:pt x="183" y="139"/>
                      </a:cubicBezTo>
                      <a:cubicBezTo>
                        <a:pt x="184" y="139"/>
                        <a:pt x="184" y="139"/>
                        <a:pt x="184" y="139"/>
                      </a:cubicBezTo>
                      <a:cubicBezTo>
                        <a:pt x="184" y="140"/>
                        <a:pt x="184" y="140"/>
                        <a:pt x="184" y="140"/>
                      </a:cubicBezTo>
                      <a:cubicBezTo>
                        <a:pt x="184" y="140"/>
                        <a:pt x="184" y="140"/>
                        <a:pt x="184" y="140"/>
                      </a:cubicBezTo>
                      <a:cubicBezTo>
                        <a:pt x="184" y="141"/>
                        <a:pt x="184" y="141"/>
                        <a:pt x="184" y="141"/>
                      </a:cubicBezTo>
                      <a:cubicBezTo>
                        <a:pt x="183" y="141"/>
                        <a:pt x="183" y="141"/>
                        <a:pt x="183" y="141"/>
                      </a:cubicBezTo>
                      <a:cubicBezTo>
                        <a:pt x="183" y="142"/>
                        <a:pt x="183" y="142"/>
                        <a:pt x="183" y="142"/>
                      </a:cubicBezTo>
                      <a:cubicBezTo>
                        <a:pt x="183" y="142"/>
                        <a:pt x="183" y="142"/>
                        <a:pt x="183" y="142"/>
                      </a:cubicBezTo>
                      <a:cubicBezTo>
                        <a:pt x="183" y="143"/>
                        <a:pt x="183" y="143"/>
                        <a:pt x="183" y="143"/>
                      </a:cubicBezTo>
                      <a:cubicBezTo>
                        <a:pt x="183" y="143"/>
                        <a:pt x="183" y="143"/>
                        <a:pt x="183" y="143"/>
                      </a:cubicBezTo>
                      <a:cubicBezTo>
                        <a:pt x="183" y="143"/>
                        <a:pt x="183" y="143"/>
                        <a:pt x="183" y="143"/>
                      </a:cubicBezTo>
                      <a:cubicBezTo>
                        <a:pt x="184" y="143"/>
                        <a:pt x="184" y="143"/>
                        <a:pt x="184" y="143"/>
                      </a:cubicBezTo>
                      <a:cubicBezTo>
                        <a:pt x="184" y="143"/>
                        <a:pt x="184" y="143"/>
                        <a:pt x="184" y="143"/>
                      </a:cubicBezTo>
                      <a:cubicBezTo>
                        <a:pt x="185" y="143"/>
                        <a:pt x="185" y="143"/>
                        <a:pt x="185" y="143"/>
                      </a:cubicBezTo>
                      <a:cubicBezTo>
                        <a:pt x="186" y="144"/>
                        <a:pt x="186" y="144"/>
                        <a:pt x="186" y="144"/>
                      </a:cubicBezTo>
                      <a:cubicBezTo>
                        <a:pt x="186" y="144"/>
                        <a:pt x="186" y="144"/>
                        <a:pt x="186" y="144"/>
                      </a:cubicBezTo>
                      <a:cubicBezTo>
                        <a:pt x="186" y="145"/>
                        <a:pt x="186" y="145"/>
                        <a:pt x="186" y="145"/>
                      </a:cubicBezTo>
                      <a:cubicBezTo>
                        <a:pt x="186" y="144"/>
                        <a:pt x="186" y="144"/>
                        <a:pt x="186" y="144"/>
                      </a:cubicBezTo>
                      <a:cubicBezTo>
                        <a:pt x="187" y="144"/>
                        <a:pt x="187" y="144"/>
                        <a:pt x="187" y="144"/>
                      </a:cubicBezTo>
                      <a:cubicBezTo>
                        <a:pt x="187" y="144"/>
                        <a:pt x="187" y="144"/>
                        <a:pt x="187" y="144"/>
                      </a:cubicBezTo>
                      <a:cubicBezTo>
                        <a:pt x="187" y="145"/>
                        <a:pt x="187" y="145"/>
                        <a:pt x="187" y="145"/>
                      </a:cubicBezTo>
                      <a:cubicBezTo>
                        <a:pt x="187" y="145"/>
                        <a:pt x="187" y="145"/>
                        <a:pt x="187" y="145"/>
                      </a:cubicBezTo>
                      <a:cubicBezTo>
                        <a:pt x="186" y="145"/>
                        <a:pt x="186" y="145"/>
                        <a:pt x="186" y="145"/>
                      </a:cubicBezTo>
                      <a:cubicBezTo>
                        <a:pt x="185" y="146"/>
                        <a:pt x="185" y="146"/>
                        <a:pt x="185" y="146"/>
                      </a:cubicBezTo>
                      <a:cubicBezTo>
                        <a:pt x="186" y="146"/>
                        <a:pt x="186" y="146"/>
                        <a:pt x="186" y="146"/>
                      </a:cubicBezTo>
                      <a:cubicBezTo>
                        <a:pt x="186" y="146"/>
                        <a:pt x="186" y="146"/>
                        <a:pt x="186" y="146"/>
                      </a:cubicBezTo>
                      <a:cubicBezTo>
                        <a:pt x="187" y="146"/>
                        <a:pt x="187" y="146"/>
                        <a:pt x="187" y="146"/>
                      </a:cubicBezTo>
                      <a:cubicBezTo>
                        <a:pt x="187" y="147"/>
                        <a:pt x="187" y="147"/>
                        <a:pt x="187" y="147"/>
                      </a:cubicBezTo>
                      <a:cubicBezTo>
                        <a:pt x="188" y="147"/>
                        <a:pt x="188" y="147"/>
                        <a:pt x="188" y="147"/>
                      </a:cubicBezTo>
                      <a:cubicBezTo>
                        <a:pt x="189" y="146"/>
                        <a:pt x="189" y="146"/>
                        <a:pt x="189" y="146"/>
                      </a:cubicBezTo>
                      <a:cubicBezTo>
                        <a:pt x="189" y="146"/>
                        <a:pt x="189" y="146"/>
                        <a:pt x="189" y="146"/>
                      </a:cubicBezTo>
                      <a:cubicBezTo>
                        <a:pt x="189" y="147"/>
                        <a:pt x="189" y="147"/>
                        <a:pt x="189" y="147"/>
                      </a:cubicBezTo>
                      <a:cubicBezTo>
                        <a:pt x="189" y="148"/>
                        <a:pt x="189" y="148"/>
                        <a:pt x="189" y="148"/>
                      </a:cubicBezTo>
                      <a:cubicBezTo>
                        <a:pt x="190" y="148"/>
                        <a:pt x="190" y="148"/>
                        <a:pt x="190" y="148"/>
                      </a:cubicBezTo>
                      <a:cubicBezTo>
                        <a:pt x="191" y="147"/>
                        <a:pt x="191" y="147"/>
                        <a:pt x="191" y="147"/>
                      </a:cubicBezTo>
                      <a:cubicBezTo>
                        <a:pt x="191" y="148"/>
                        <a:pt x="191" y="148"/>
                        <a:pt x="191" y="148"/>
                      </a:cubicBezTo>
                      <a:cubicBezTo>
                        <a:pt x="192" y="148"/>
                        <a:pt x="192" y="148"/>
                        <a:pt x="192" y="148"/>
                      </a:cubicBezTo>
                      <a:cubicBezTo>
                        <a:pt x="192" y="148"/>
                        <a:pt x="192" y="148"/>
                        <a:pt x="192" y="148"/>
                      </a:cubicBezTo>
                      <a:cubicBezTo>
                        <a:pt x="193" y="149"/>
                        <a:pt x="193" y="149"/>
                        <a:pt x="193" y="149"/>
                      </a:cubicBezTo>
                      <a:cubicBezTo>
                        <a:pt x="193" y="149"/>
                        <a:pt x="193" y="149"/>
                        <a:pt x="193" y="149"/>
                      </a:cubicBezTo>
                      <a:cubicBezTo>
                        <a:pt x="193" y="148"/>
                        <a:pt x="193" y="148"/>
                        <a:pt x="193" y="148"/>
                      </a:cubicBezTo>
                      <a:cubicBezTo>
                        <a:pt x="194" y="148"/>
                        <a:pt x="194" y="148"/>
                        <a:pt x="194" y="148"/>
                      </a:cubicBezTo>
                      <a:cubicBezTo>
                        <a:pt x="194" y="148"/>
                        <a:pt x="194" y="148"/>
                        <a:pt x="194" y="148"/>
                      </a:cubicBezTo>
                      <a:cubicBezTo>
                        <a:pt x="195" y="148"/>
                        <a:pt x="195" y="148"/>
                        <a:pt x="195" y="148"/>
                      </a:cubicBezTo>
                      <a:cubicBezTo>
                        <a:pt x="195" y="148"/>
                        <a:pt x="195" y="148"/>
                        <a:pt x="195" y="148"/>
                      </a:cubicBezTo>
                      <a:cubicBezTo>
                        <a:pt x="195" y="149"/>
                        <a:pt x="195" y="149"/>
                        <a:pt x="195" y="149"/>
                      </a:cubicBezTo>
                      <a:cubicBezTo>
                        <a:pt x="196" y="148"/>
                        <a:pt x="196" y="148"/>
                        <a:pt x="196" y="148"/>
                      </a:cubicBezTo>
                      <a:cubicBezTo>
                        <a:pt x="196" y="148"/>
                        <a:pt x="196" y="148"/>
                        <a:pt x="196" y="148"/>
                      </a:cubicBezTo>
                      <a:cubicBezTo>
                        <a:pt x="196" y="148"/>
                        <a:pt x="196" y="148"/>
                        <a:pt x="196" y="148"/>
                      </a:cubicBezTo>
                      <a:cubicBezTo>
                        <a:pt x="197" y="149"/>
                        <a:pt x="197" y="149"/>
                        <a:pt x="197" y="149"/>
                      </a:cubicBezTo>
                      <a:cubicBezTo>
                        <a:pt x="197" y="149"/>
                        <a:pt x="197" y="149"/>
                        <a:pt x="197" y="149"/>
                      </a:cubicBezTo>
                      <a:cubicBezTo>
                        <a:pt x="197" y="148"/>
                        <a:pt x="197" y="148"/>
                        <a:pt x="197" y="148"/>
                      </a:cubicBezTo>
                      <a:cubicBezTo>
                        <a:pt x="198" y="148"/>
                        <a:pt x="198" y="148"/>
                        <a:pt x="198" y="148"/>
                      </a:cubicBezTo>
                      <a:cubicBezTo>
                        <a:pt x="198" y="148"/>
                        <a:pt x="198" y="148"/>
                        <a:pt x="198" y="148"/>
                      </a:cubicBezTo>
                      <a:cubicBezTo>
                        <a:pt x="199" y="148"/>
                        <a:pt x="199" y="148"/>
                        <a:pt x="199" y="148"/>
                      </a:cubicBezTo>
                      <a:cubicBezTo>
                        <a:pt x="199" y="148"/>
                        <a:pt x="199" y="148"/>
                        <a:pt x="199" y="148"/>
                      </a:cubicBezTo>
                      <a:cubicBezTo>
                        <a:pt x="199" y="148"/>
                        <a:pt x="199" y="148"/>
                        <a:pt x="199" y="148"/>
                      </a:cubicBezTo>
                      <a:cubicBezTo>
                        <a:pt x="200" y="148"/>
                        <a:pt x="200" y="148"/>
                        <a:pt x="200" y="148"/>
                      </a:cubicBezTo>
                      <a:close/>
                      <a:moveTo>
                        <a:pt x="289" y="178"/>
                      </a:moveTo>
                      <a:cubicBezTo>
                        <a:pt x="289" y="177"/>
                        <a:pt x="289" y="177"/>
                        <a:pt x="289" y="177"/>
                      </a:cubicBezTo>
                      <a:cubicBezTo>
                        <a:pt x="289" y="177"/>
                        <a:pt x="289" y="177"/>
                        <a:pt x="289" y="177"/>
                      </a:cubicBezTo>
                      <a:cubicBezTo>
                        <a:pt x="289" y="176"/>
                        <a:pt x="289" y="176"/>
                        <a:pt x="289" y="176"/>
                      </a:cubicBezTo>
                      <a:cubicBezTo>
                        <a:pt x="289" y="175"/>
                        <a:pt x="289" y="175"/>
                        <a:pt x="289" y="175"/>
                      </a:cubicBezTo>
                      <a:cubicBezTo>
                        <a:pt x="290" y="174"/>
                        <a:pt x="290" y="174"/>
                        <a:pt x="290" y="174"/>
                      </a:cubicBezTo>
                      <a:cubicBezTo>
                        <a:pt x="291" y="173"/>
                        <a:pt x="291" y="173"/>
                        <a:pt x="291" y="173"/>
                      </a:cubicBezTo>
                      <a:cubicBezTo>
                        <a:pt x="292" y="173"/>
                        <a:pt x="292" y="173"/>
                        <a:pt x="292" y="173"/>
                      </a:cubicBezTo>
                      <a:cubicBezTo>
                        <a:pt x="293" y="171"/>
                        <a:pt x="293" y="171"/>
                        <a:pt x="293" y="171"/>
                      </a:cubicBezTo>
                      <a:cubicBezTo>
                        <a:pt x="294" y="170"/>
                        <a:pt x="294" y="170"/>
                        <a:pt x="294" y="170"/>
                      </a:cubicBezTo>
                      <a:cubicBezTo>
                        <a:pt x="294" y="170"/>
                        <a:pt x="294" y="170"/>
                        <a:pt x="294" y="170"/>
                      </a:cubicBezTo>
                      <a:cubicBezTo>
                        <a:pt x="295" y="170"/>
                        <a:pt x="295" y="170"/>
                        <a:pt x="295" y="170"/>
                      </a:cubicBezTo>
                      <a:cubicBezTo>
                        <a:pt x="295" y="170"/>
                        <a:pt x="295" y="170"/>
                        <a:pt x="295" y="170"/>
                      </a:cubicBezTo>
                      <a:cubicBezTo>
                        <a:pt x="296" y="170"/>
                        <a:pt x="296" y="170"/>
                        <a:pt x="296" y="170"/>
                      </a:cubicBezTo>
                      <a:cubicBezTo>
                        <a:pt x="297" y="170"/>
                        <a:pt x="297" y="170"/>
                        <a:pt x="297" y="170"/>
                      </a:cubicBezTo>
                      <a:cubicBezTo>
                        <a:pt x="298" y="171"/>
                        <a:pt x="298" y="171"/>
                        <a:pt x="298" y="171"/>
                      </a:cubicBezTo>
                      <a:cubicBezTo>
                        <a:pt x="298" y="171"/>
                        <a:pt x="298" y="171"/>
                        <a:pt x="298" y="171"/>
                      </a:cubicBezTo>
                      <a:cubicBezTo>
                        <a:pt x="299" y="171"/>
                        <a:pt x="299" y="171"/>
                        <a:pt x="299" y="171"/>
                      </a:cubicBezTo>
                      <a:cubicBezTo>
                        <a:pt x="299" y="172"/>
                        <a:pt x="299" y="172"/>
                        <a:pt x="299" y="172"/>
                      </a:cubicBezTo>
                      <a:cubicBezTo>
                        <a:pt x="299" y="173"/>
                        <a:pt x="299" y="173"/>
                        <a:pt x="299" y="173"/>
                      </a:cubicBezTo>
                      <a:cubicBezTo>
                        <a:pt x="298" y="173"/>
                        <a:pt x="298" y="173"/>
                        <a:pt x="298" y="173"/>
                      </a:cubicBezTo>
                      <a:cubicBezTo>
                        <a:pt x="298" y="174"/>
                        <a:pt x="298" y="174"/>
                        <a:pt x="298" y="174"/>
                      </a:cubicBezTo>
                      <a:cubicBezTo>
                        <a:pt x="298" y="175"/>
                        <a:pt x="298" y="175"/>
                        <a:pt x="298" y="175"/>
                      </a:cubicBezTo>
                      <a:cubicBezTo>
                        <a:pt x="297" y="177"/>
                        <a:pt x="297" y="177"/>
                        <a:pt x="297" y="177"/>
                      </a:cubicBezTo>
                      <a:cubicBezTo>
                        <a:pt x="296" y="177"/>
                        <a:pt x="296" y="177"/>
                        <a:pt x="296" y="177"/>
                      </a:cubicBezTo>
                      <a:cubicBezTo>
                        <a:pt x="295" y="178"/>
                        <a:pt x="295" y="178"/>
                        <a:pt x="295" y="178"/>
                      </a:cubicBezTo>
                      <a:cubicBezTo>
                        <a:pt x="294" y="178"/>
                        <a:pt x="294" y="178"/>
                        <a:pt x="294" y="178"/>
                      </a:cubicBezTo>
                      <a:cubicBezTo>
                        <a:pt x="294" y="178"/>
                        <a:pt x="294" y="178"/>
                        <a:pt x="294" y="178"/>
                      </a:cubicBezTo>
                      <a:cubicBezTo>
                        <a:pt x="293" y="179"/>
                        <a:pt x="293" y="179"/>
                        <a:pt x="293" y="179"/>
                      </a:cubicBezTo>
                      <a:cubicBezTo>
                        <a:pt x="292" y="179"/>
                        <a:pt x="292" y="179"/>
                        <a:pt x="292" y="179"/>
                      </a:cubicBezTo>
                      <a:cubicBezTo>
                        <a:pt x="292" y="179"/>
                        <a:pt x="292" y="179"/>
                        <a:pt x="292" y="179"/>
                      </a:cubicBezTo>
                      <a:cubicBezTo>
                        <a:pt x="290" y="179"/>
                        <a:pt x="290" y="179"/>
                        <a:pt x="290" y="179"/>
                      </a:cubicBezTo>
                      <a:cubicBezTo>
                        <a:pt x="290" y="179"/>
                        <a:pt x="290" y="179"/>
                        <a:pt x="290" y="179"/>
                      </a:cubicBezTo>
                      <a:cubicBezTo>
                        <a:pt x="289" y="179"/>
                        <a:pt x="289" y="179"/>
                        <a:pt x="289" y="179"/>
                      </a:cubicBezTo>
                      <a:cubicBezTo>
                        <a:pt x="289" y="178"/>
                        <a:pt x="289" y="178"/>
                        <a:pt x="289" y="178"/>
                      </a:cubicBezTo>
                      <a:close/>
                      <a:moveTo>
                        <a:pt x="204" y="145"/>
                      </a:moveTo>
                      <a:cubicBezTo>
                        <a:pt x="204" y="145"/>
                        <a:pt x="204" y="145"/>
                        <a:pt x="204" y="145"/>
                      </a:cubicBezTo>
                      <a:cubicBezTo>
                        <a:pt x="204" y="144"/>
                        <a:pt x="204" y="144"/>
                        <a:pt x="204" y="144"/>
                      </a:cubicBezTo>
                      <a:cubicBezTo>
                        <a:pt x="205" y="144"/>
                        <a:pt x="205" y="144"/>
                        <a:pt x="205" y="144"/>
                      </a:cubicBezTo>
                      <a:cubicBezTo>
                        <a:pt x="204" y="144"/>
                        <a:pt x="204" y="144"/>
                        <a:pt x="204" y="144"/>
                      </a:cubicBezTo>
                      <a:cubicBezTo>
                        <a:pt x="205" y="143"/>
                        <a:pt x="205" y="143"/>
                        <a:pt x="205" y="143"/>
                      </a:cubicBezTo>
                      <a:cubicBezTo>
                        <a:pt x="205" y="143"/>
                        <a:pt x="205" y="143"/>
                        <a:pt x="205" y="143"/>
                      </a:cubicBezTo>
                      <a:cubicBezTo>
                        <a:pt x="205" y="143"/>
                        <a:pt x="205" y="143"/>
                        <a:pt x="205" y="143"/>
                      </a:cubicBezTo>
                      <a:cubicBezTo>
                        <a:pt x="205" y="144"/>
                        <a:pt x="205" y="144"/>
                        <a:pt x="205" y="144"/>
                      </a:cubicBezTo>
                      <a:cubicBezTo>
                        <a:pt x="205" y="144"/>
                        <a:pt x="205" y="144"/>
                        <a:pt x="205" y="144"/>
                      </a:cubicBezTo>
                      <a:cubicBezTo>
                        <a:pt x="205" y="145"/>
                        <a:pt x="205" y="145"/>
                        <a:pt x="205" y="145"/>
                      </a:cubicBezTo>
                      <a:cubicBezTo>
                        <a:pt x="205" y="145"/>
                        <a:pt x="205" y="145"/>
                        <a:pt x="205" y="145"/>
                      </a:cubicBezTo>
                      <a:cubicBezTo>
                        <a:pt x="204" y="145"/>
                        <a:pt x="204" y="145"/>
                        <a:pt x="204" y="145"/>
                      </a:cubicBezTo>
                      <a:cubicBezTo>
                        <a:pt x="204" y="145"/>
                        <a:pt x="204" y="145"/>
                        <a:pt x="204" y="145"/>
                      </a:cubicBezTo>
                      <a:close/>
                      <a:moveTo>
                        <a:pt x="196" y="152"/>
                      </a:moveTo>
                      <a:cubicBezTo>
                        <a:pt x="197" y="152"/>
                        <a:pt x="197" y="152"/>
                        <a:pt x="197" y="152"/>
                      </a:cubicBezTo>
                      <a:cubicBezTo>
                        <a:pt x="197" y="151"/>
                        <a:pt x="197" y="151"/>
                        <a:pt x="197" y="151"/>
                      </a:cubicBezTo>
                      <a:cubicBezTo>
                        <a:pt x="197" y="151"/>
                        <a:pt x="197" y="151"/>
                        <a:pt x="197" y="151"/>
                      </a:cubicBezTo>
                      <a:cubicBezTo>
                        <a:pt x="197" y="150"/>
                        <a:pt x="197" y="150"/>
                        <a:pt x="197" y="150"/>
                      </a:cubicBezTo>
                      <a:cubicBezTo>
                        <a:pt x="197" y="150"/>
                        <a:pt x="197" y="150"/>
                        <a:pt x="197" y="150"/>
                      </a:cubicBezTo>
                      <a:cubicBezTo>
                        <a:pt x="196" y="150"/>
                        <a:pt x="196" y="150"/>
                        <a:pt x="196" y="150"/>
                      </a:cubicBezTo>
                      <a:cubicBezTo>
                        <a:pt x="196" y="151"/>
                        <a:pt x="196" y="151"/>
                        <a:pt x="196" y="151"/>
                      </a:cubicBezTo>
                      <a:cubicBezTo>
                        <a:pt x="195" y="151"/>
                        <a:pt x="195" y="151"/>
                        <a:pt x="195" y="151"/>
                      </a:cubicBezTo>
                      <a:cubicBezTo>
                        <a:pt x="195" y="151"/>
                        <a:pt x="195" y="151"/>
                        <a:pt x="195" y="151"/>
                      </a:cubicBezTo>
                      <a:cubicBezTo>
                        <a:pt x="196" y="152"/>
                        <a:pt x="196" y="152"/>
                        <a:pt x="196" y="152"/>
                      </a:cubicBezTo>
                      <a:cubicBezTo>
                        <a:pt x="196" y="152"/>
                        <a:pt x="196" y="152"/>
                        <a:pt x="196" y="152"/>
                      </a:cubicBezTo>
                      <a:close/>
                      <a:moveTo>
                        <a:pt x="206" y="150"/>
                      </a:moveTo>
                      <a:cubicBezTo>
                        <a:pt x="205" y="151"/>
                        <a:pt x="205" y="151"/>
                        <a:pt x="205" y="151"/>
                      </a:cubicBezTo>
                      <a:cubicBezTo>
                        <a:pt x="205" y="151"/>
                        <a:pt x="205" y="151"/>
                        <a:pt x="205" y="151"/>
                      </a:cubicBezTo>
                      <a:cubicBezTo>
                        <a:pt x="204" y="152"/>
                        <a:pt x="204" y="152"/>
                        <a:pt x="204" y="152"/>
                      </a:cubicBezTo>
                      <a:cubicBezTo>
                        <a:pt x="204" y="151"/>
                        <a:pt x="204" y="151"/>
                        <a:pt x="204" y="151"/>
                      </a:cubicBezTo>
                      <a:cubicBezTo>
                        <a:pt x="204" y="151"/>
                        <a:pt x="204" y="151"/>
                        <a:pt x="204" y="151"/>
                      </a:cubicBezTo>
                      <a:cubicBezTo>
                        <a:pt x="204" y="149"/>
                        <a:pt x="204" y="149"/>
                        <a:pt x="204" y="149"/>
                      </a:cubicBezTo>
                      <a:cubicBezTo>
                        <a:pt x="204" y="149"/>
                        <a:pt x="204" y="149"/>
                        <a:pt x="204" y="149"/>
                      </a:cubicBezTo>
                      <a:cubicBezTo>
                        <a:pt x="205" y="148"/>
                        <a:pt x="205" y="148"/>
                        <a:pt x="205" y="148"/>
                      </a:cubicBezTo>
                      <a:cubicBezTo>
                        <a:pt x="205" y="148"/>
                        <a:pt x="205" y="148"/>
                        <a:pt x="205" y="148"/>
                      </a:cubicBezTo>
                      <a:cubicBezTo>
                        <a:pt x="205" y="149"/>
                        <a:pt x="205" y="149"/>
                        <a:pt x="205" y="149"/>
                      </a:cubicBezTo>
                      <a:cubicBezTo>
                        <a:pt x="206" y="150"/>
                        <a:pt x="206" y="150"/>
                        <a:pt x="206" y="150"/>
                      </a:cubicBezTo>
                      <a:cubicBezTo>
                        <a:pt x="206" y="150"/>
                        <a:pt x="206" y="150"/>
                        <a:pt x="206" y="150"/>
                      </a:cubicBezTo>
                      <a:close/>
                      <a:moveTo>
                        <a:pt x="207" y="149"/>
                      </a:moveTo>
                      <a:cubicBezTo>
                        <a:pt x="207" y="149"/>
                        <a:pt x="207" y="149"/>
                        <a:pt x="207" y="149"/>
                      </a:cubicBezTo>
                      <a:cubicBezTo>
                        <a:pt x="206" y="148"/>
                        <a:pt x="206" y="148"/>
                        <a:pt x="206" y="148"/>
                      </a:cubicBezTo>
                      <a:cubicBezTo>
                        <a:pt x="207" y="147"/>
                        <a:pt x="207" y="147"/>
                        <a:pt x="207" y="147"/>
                      </a:cubicBezTo>
                      <a:cubicBezTo>
                        <a:pt x="207" y="147"/>
                        <a:pt x="207" y="147"/>
                        <a:pt x="207" y="147"/>
                      </a:cubicBezTo>
                      <a:cubicBezTo>
                        <a:pt x="208" y="148"/>
                        <a:pt x="208" y="148"/>
                        <a:pt x="208" y="148"/>
                      </a:cubicBezTo>
                      <a:cubicBezTo>
                        <a:pt x="207" y="148"/>
                        <a:pt x="207" y="148"/>
                        <a:pt x="207" y="148"/>
                      </a:cubicBezTo>
                      <a:cubicBezTo>
                        <a:pt x="207" y="149"/>
                        <a:pt x="207" y="149"/>
                        <a:pt x="207" y="149"/>
                      </a:cubicBezTo>
                      <a:cubicBezTo>
                        <a:pt x="207" y="149"/>
                        <a:pt x="207" y="149"/>
                        <a:pt x="207" y="149"/>
                      </a:cubicBezTo>
                      <a:close/>
                      <a:moveTo>
                        <a:pt x="224" y="150"/>
                      </a:moveTo>
                      <a:cubicBezTo>
                        <a:pt x="225" y="148"/>
                        <a:pt x="225" y="148"/>
                        <a:pt x="225" y="148"/>
                      </a:cubicBezTo>
                      <a:cubicBezTo>
                        <a:pt x="226" y="147"/>
                        <a:pt x="226" y="147"/>
                        <a:pt x="226" y="147"/>
                      </a:cubicBezTo>
                      <a:cubicBezTo>
                        <a:pt x="227" y="148"/>
                        <a:pt x="227" y="148"/>
                        <a:pt x="227" y="148"/>
                      </a:cubicBezTo>
                      <a:cubicBezTo>
                        <a:pt x="227" y="148"/>
                        <a:pt x="227" y="148"/>
                        <a:pt x="227" y="148"/>
                      </a:cubicBezTo>
                      <a:cubicBezTo>
                        <a:pt x="226" y="150"/>
                        <a:pt x="226" y="150"/>
                        <a:pt x="226" y="150"/>
                      </a:cubicBezTo>
                      <a:cubicBezTo>
                        <a:pt x="225" y="150"/>
                        <a:pt x="225" y="150"/>
                        <a:pt x="225" y="150"/>
                      </a:cubicBezTo>
                      <a:cubicBezTo>
                        <a:pt x="225" y="149"/>
                        <a:pt x="225" y="149"/>
                        <a:pt x="225" y="149"/>
                      </a:cubicBezTo>
                      <a:cubicBezTo>
                        <a:pt x="225" y="149"/>
                        <a:pt x="225" y="149"/>
                        <a:pt x="225" y="149"/>
                      </a:cubicBezTo>
                      <a:cubicBezTo>
                        <a:pt x="225" y="149"/>
                        <a:pt x="225" y="149"/>
                        <a:pt x="225" y="149"/>
                      </a:cubicBezTo>
                      <a:cubicBezTo>
                        <a:pt x="225" y="150"/>
                        <a:pt x="225" y="150"/>
                        <a:pt x="225" y="150"/>
                      </a:cubicBezTo>
                      <a:cubicBezTo>
                        <a:pt x="225" y="150"/>
                        <a:pt x="224" y="150"/>
                        <a:pt x="224" y="150"/>
                      </a:cubicBezTo>
                      <a:close/>
                      <a:moveTo>
                        <a:pt x="224" y="148"/>
                      </a:moveTo>
                      <a:cubicBezTo>
                        <a:pt x="224" y="149"/>
                        <a:pt x="224" y="149"/>
                        <a:pt x="224" y="149"/>
                      </a:cubicBezTo>
                      <a:cubicBezTo>
                        <a:pt x="225" y="148"/>
                        <a:pt x="225" y="148"/>
                        <a:pt x="225" y="148"/>
                      </a:cubicBezTo>
                      <a:cubicBezTo>
                        <a:pt x="224" y="147"/>
                        <a:pt x="224" y="147"/>
                        <a:pt x="224" y="147"/>
                      </a:cubicBezTo>
                      <a:cubicBezTo>
                        <a:pt x="224" y="147"/>
                        <a:pt x="224" y="147"/>
                        <a:pt x="224" y="147"/>
                      </a:cubicBezTo>
                      <a:cubicBezTo>
                        <a:pt x="224" y="148"/>
                        <a:pt x="224" y="148"/>
                        <a:pt x="224" y="148"/>
                      </a:cubicBezTo>
                      <a:close/>
                      <a:moveTo>
                        <a:pt x="223" y="156"/>
                      </a:moveTo>
                      <a:cubicBezTo>
                        <a:pt x="223" y="156"/>
                        <a:pt x="223" y="156"/>
                        <a:pt x="223" y="156"/>
                      </a:cubicBezTo>
                      <a:cubicBezTo>
                        <a:pt x="225" y="155"/>
                        <a:pt x="225" y="155"/>
                        <a:pt x="225" y="155"/>
                      </a:cubicBezTo>
                      <a:cubicBezTo>
                        <a:pt x="225" y="154"/>
                        <a:pt x="225" y="154"/>
                        <a:pt x="225" y="154"/>
                      </a:cubicBezTo>
                      <a:cubicBezTo>
                        <a:pt x="224" y="154"/>
                        <a:pt x="224" y="154"/>
                        <a:pt x="224" y="154"/>
                      </a:cubicBezTo>
                      <a:cubicBezTo>
                        <a:pt x="223" y="154"/>
                        <a:pt x="223" y="154"/>
                        <a:pt x="223" y="154"/>
                      </a:cubicBezTo>
                      <a:cubicBezTo>
                        <a:pt x="224" y="152"/>
                        <a:pt x="224" y="152"/>
                        <a:pt x="224" y="152"/>
                      </a:cubicBezTo>
                      <a:cubicBezTo>
                        <a:pt x="224" y="151"/>
                        <a:pt x="224" y="151"/>
                        <a:pt x="224" y="151"/>
                      </a:cubicBezTo>
                      <a:cubicBezTo>
                        <a:pt x="223" y="152"/>
                        <a:pt x="223" y="152"/>
                        <a:pt x="223" y="152"/>
                      </a:cubicBezTo>
                      <a:cubicBezTo>
                        <a:pt x="223" y="153"/>
                        <a:pt x="223" y="153"/>
                        <a:pt x="223" y="153"/>
                      </a:cubicBezTo>
                      <a:cubicBezTo>
                        <a:pt x="223" y="152"/>
                        <a:pt x="223" y="152"/>
                        <a:pt x="223" y="152"/>
                      </a:cubicBezTo>
                      <a:cubicBezTo>
                        <a:pt x="223" y="150"/>
                        <a:pt x="223" y="150"/>
                        <a:pt x="223" y="150"/>
                      </a:cubicBezTo>
                      <a:cubicBezTo>
                        <a:pt x="223" y="147"/>
                        <a:pt x="223" y="147"/>
                        <a:pt x="223" y="147"/>
                      </a:cubicBezTo>
                      <a:cubicBezTo>
                        <a:pt x="221" y="146"/>
                        <a:pt x="221" y="146"/>
                        <a:pt x="221" y="146"/>
                      </a:cubicBezTo>
                      <a:cubicBezTo>
                        <a:pt x="221" y="146"/>
                        <a:pt x="221" y="146"/>
                        <a:pt x="221" y="146"/>
                      </a:cubicBezTo>
                      <a:cubicBezTo>
                        <a:pt x="221" y="146"/>
                        <a:pt x="221" y="146"/>
                        <a:pt x="221" y="146"/>
                      </a:cubicBezTo>
                      <a:cubicBezTo>
                        <a:pt x="220" y="146"/>
                        <a:pt x="220" y="146"/>
                        <a:pt x="220" y="146"/>
                      </a:cubicBezTo>
                      <a:cubicBezTo>
                        <a:pt x="220" y="145"/>
                        <a:pt x="220" y="145"/>
                        <a:pt x="220" y="145"/>
                      </a:cubicBezTo>
                      <a:cubicBezTo>
                        <a:pt x="221" y="145"/>
                        <a:pt x="221" y="145"/>
                        <a:pt x="221" y="145"/>
                      </a:cubicBezTo>
                      <a:cubicBezTo>
                        <a:pt x="220" y="144"/>
                        <a:pt x="220" y="144"/>
                        <a:pt x="220" y="144"/>
                      </a:cubicBezTo>
                      <a:cubicBezTo>
                        <a:pt x="220" y="143"/>
                        <a:pt x="220" y="143"/>
                        <a:pt x="220" y="143"/>
                      </a:cubicBezTo>
                      <a:cubicBezTo>
                        <a:pt x="220" y="142"/>
                        <a:pt x="220" y="142"/>
                        <a:pt x="220" y="142"/>
                      </a:cubicBezTo>
                      <a:cubicBezTo>
                        <a:pt x="219" y="143"/>
                        <a:pt x="219" y="143"/>
                        <a:pt x="219" y="143"/>
                      </a:cubicBezTo>
                      <a:cubicBezTo>
                        <a:pt x="218" y="144"/>
                        <a:pt x="218" y="144"/>
                        <a:pt x="218" y="144"/>
                      </a:cubicBezTo>
                      <a:cubicBezTo>
                        <a:pt x="217" y="145"/>
                        <a:pt x="217" y="145"/>
                        <a:pt x="217" y="145"/>
                      </a:cubicBezTo>
                      <a:cubicBezTo>
                        <a:pt x="217" y="147"/>
                        <a:pt x="217" y="147"/>
                        <a:pt x="217" y="147"/>
                      </a:cubicBezTo>
                      <a:cubicBezTo>
                        <a:pt x="217" y="146"/>
                        <a:pt x="217" y="146"/>
                        <a:pt x="217" y="146"/>
                      </a:cubicBezTo>
                      <a:cubicBezTo>
                        <a:pt x="216" y="145"/>
                        <a:pt x="216" y="145"/>
                        <a:pt x="216" y="145"/>
                      </a:cubicBezTo>
                      <a:cubicBezTo>
                        <a:pt x="216" y="145"/>
                        <a:pt x="216" y="145"/>
                        <a:pt x="216" y="145"/>
                      </a:cubicBezTo>
                      <a:cubicBezTo>
                        <a:pt x="216" y="146"/>
                        <a:pt x="216" y="146"/>
                        <a:pt x="216" y="146"/>
                      </a:cubicBezTo>
                      <a:cubicBezTo>
                        <a:pt x="215" y="146"/>
                        <a:pt x="215" y="146"/>
                        <a:pt x="215" y="146"/>
                      </a:cubicBezTo>
                      <a:cubicBezTo>
                        <a:pt x="216" y="147"/>
                        <a:pt x="216" y="147"/>
                        <a:pt x="216" y="147"/>
                      </a:cubicBezTo>
                      <a:cubicBezTo>
                        <a:pt x="215" y="148"/>
                        <a:pt x="215" y="148"/>
                        <a:pt x="215" y="148"/>
                      </a:cubicBezTo>
                      <a:cubicBezTo>
                        <a:pt x="214" y="148"/>
                        <a:pt x="214" y="148"/>
                        <a:pt x="214" y="148"/>
                      </a:cubicBezTo>
                      <a:cubicBezTo>
                        <a:pt x="214" y="149"/>
                        <a:pt x="214" y="149"/>
                        <a:pt x="214" y="149"/>
                      </a:cubicBezTo>
                      <a:cubicBezTo>
                        <a:pt x="212" y="148"/>
                        <a:pt x="212" y="148"/>
                        <a:pt x="212" y="148"/>
                      </a:cubicBezTo>
                      <a:cubicBezTo>
                        <a:pt x="212" y="149"/>
                        <a:pt x="212" y="149"/>
                        <a:pt x="212" y="149"/>
                      </a:cubicBezTo>
                      <a:cubicBezTo>
                        <a:pt x="211" y="149"/>
                        <a:pt x="211" y="149"/>
                        <a:pt x="211" y="149"/>
                      </a:cubicBezTo>
                      <a:cubicBezTo>
                        <a:pt x="209" y="150"/>
                        <a:pt x="209" y="150"/>
                        <a:pt x="209" y="150"/>
                      </a:cubicBezTo>
                      <a:cubicBezTo>
                        <a:pt x="209" y="151"/>
                        <a:pt x="209" y="151"/>
                        <a:pt x="209" y="151"/>
                      </a:cubicBezTo>
                      <a:cubicBezTo>
                        <a:pt x="210" y="152"/>
                        <a:pt x="210" y="152"/>
                        <a:pt x="210" y="152"/>
                      </a:cubicBezTo>
                      <a:cubicBezTo>
                        <a:pt x="211" y="151"/>
                        <a:pt x="211" y="151"/>
                        <a:pt x="211" y="151"/>
                      </a:cubicBezTo>
                      <a:cubicBezTo>
                        <a:pt x="211" y="151"/>
                        <a:pt x="211" y="151"/>
                        <a:pt x="211" y="151"/>
                      </a:cubicBezTo>
                      <a:cubicBezTo>
                        <a:pt x="211" y="150"/>
                        <a:pt x="211" y="150"/>
                        <a:pt x="211" y="150"/>
                      </a:cubicBezTo>
                      <a:cubicBezTo>
                        <a:pt x="212" y="151"/>
                        <a:pt x="212" y="151"/>
                        <a:pt x="212" y="151"/>
                      </a:cubicBezTo>
                      <a:cubicBezTo>
                        <a:pt x="211" y="152"/>
                        <a:pt x="211" y="152"/>
                        <a:pt x="211" y="152"/>
                      </a:cubicBezTo>
                      <a:cubicBezTo>
                        <a:pt x="212" y="153"/>
                        <a:pt x="212" y="153"/>
                        <a:pt x="212" y="153"/>
                      </a:cubicBezTo>
                      <a:cubicBezTo>
                        <a:pt x="213" y="152"/>
                        <a:pt x="213" y="152"/>
                        <a:pt x="213" y="152"/>
                      </a:cubicBezTo>
                      <a:cubicBezTo>
                        <a:pt x="213" y="152"/>
                        <a:pt x="213" y="152"/>
                        <a:pt x="213" y="152"/>
                      </a:cubicBezTo>
                      <a:cubicBezTo>
                        <a:pt x="213" y="153"/>
                        <a:pt x="213" y="153"/>
                        <a:pt x="213" y="153"/>
                      </a:cubicBezTo>
                      <a:cubicBezTo>
                        <a:pt x="214" y="154"/>
                        <a:pt x="214" y="154"/>
                        <a:pt x="214" y="154"/>
                      </a:cubicBezTo>
                      <a:cubicBezTo>
                        <a:pt x="215" y="155"/>
                        <a:pt x="215" y="155"/>
                        <a:pt x="215" y="155"/>
                      </a:cubicBezTo>
                      <a:cubicBezTo>
                        <a:pt x="215" y="156"/>
                        <a:pt x="215" y="156"/>
                        <a:pt x="215" y="156"/>
                      </a:cubicBezTo>
                      <a:cubicBezTo>
                        <a:pt x="216" y="156"/>
                        <a:pt x="216" y="156"/>
                        <a:pt x="216" y="156"/>
                      </a:cubicBezTo>
                      <a:cubicBezTo>
                        <a:pt x="217" y="155"/>
                        <a:pt x="217" y="155"/>
                        <a:pt x="217" y="155"/>
                      </a:cubicBezTo>
                      <a:cubicBezTo>
                        <a:pt x="217" y="156"/>
                        <a:pt x="217" y="156"/>
                        <a:pt x="217" y="156"/>
                      </a:cubicBezTo>
                      <a:cubicBezTo>
                        <a:pt x="218" y="157"/>
                        <a:pt x="218" y="157"/>
                        <a:pt x="218" y="157"/>
                      </a:cubicBezTo>
                      <a:cubicBezTo>
                        <a:pt x="219" y="157"/>
                        <a:pt x="219" y="157"/>
                        <a:pt x="219" y="157"/>
                      </a:cubicBezTo>
                      <a:cubicBezTo>
                        <a:pt x="220" y="157"/>
                        <a:pt x="220" y="157"/>
                        <a:pt x="220" y="157"/>
                      </a:cubicBezTo>
                      <a:cubicBezTo>
                        <a:pt x="221" y="156"/>
                        <a:pt x="221" y="156"/>
                        <a:pt x="221" y="156"/>
                      </a:cubicBezTo>
                      <a:cubicBezTo>
                        <a:pt x="221" y="156"/>
                        <a:pt x="221" y="156"/>
                        <a:pt x="221" y="156"/>
                      </a:cubicBezTo>
                      <a:cubicBezTo>
                        <a:pt x="223" y="155"/>
                        <a:pt x="223" y="155"/>
                        <a:pt x="223" y="155"/>
                      </a:cubicBezTo>
                      <a:cubicBezTo>
                        <a:pt x="223" y="156"/>
                        <a:pt x="223" y="156"/>
                        <a:pt x="223" y="156"/>
                      </a:cubicBezTo>
                      <a:close/>
                      <a:moveTo>
                        <a:pt x="321" y="150"/>
                      </a:moveTo>
                      <a:cubicBezTo>
                        <a:pt x="321" y="149"/>
                        <a:pt x="321" y="149"/>
                        <a:pt x="321" y="149"/>
                      </a:cubicBezTo>
                      <a:cubicBezTo>
                        <a:pt x="320" y="149"/>
                        <a:pt x="320" y="149"/>
                        <a:pt x="320" y="149"/>
                      </a:cubicBezTo>
                      <a:cubicBezTo>
                        <a:pt x="321" y="148"/>
                        <a:pt x="321" y="148"/>
                        <a:pt x="321" y="148"/>
                      </a:cubicBezTo>
                      <a:cubicBezTo>
                        <a:pt x="322" y="148"/>
                        <a:pt x="322" y="148"/>
                        <a:pt x="322" y="148"/>
                      </a:cubicBezTo>
                      <a:cubicBezTo>
                        <a:pt x="322" y="148"/>
                        <a:pt x="322" y="148"/>
                        <a:pt x="322" y="148"/>
                      </a:cubicBezTo>
                      <a:cubicBezTo>
                        <a:pt x="322" y="148"/>
                        <a:pt x="322" y="148"/>
                        <a:pt x="322" y="148"/>
                      </a:cubicBezTo>
                      <a:cubicBezTo>
                        <a:pt x="323" y="148"/>
                        <a:pt x="323" y="148"/>
                        <a:pt x="323" y="148"/>
                      </a:cubicBezTo>
                      <a:cubicBezTo>
                        <a:pt x="323" y="149"/>
                        <a:pt x="323" y="149"/>
                        <a:pt x="323" y="149"/>
                      </a:cubicBezTo>
                      <a:cubicBezTo>
                        <a:pt x="323" y="150"/>
                        <a:pt x="323" y="150"/>
                        <a:pt x="323" y="150"/>
                      </a:cubicBezTo>
                      <a:cubicBezTo>
                        <a:pt x="322" y="150"/>
                        <a:pt x="322" y="150"/>
                        <a:pt x="322" y="150"/>
                      </a:cubicBezTo>
                      <a:cubicBezTo>
                        <a:pt x="322" y="149"/>
                        <a:pt x="322" y="149"/>
                        <a:pt x="322" y="149"/>
                      </a:cubicBezTo>
                      <a:cubicBezTo>
                        <a:pt x="321" y="150"/>
                        <a:pt x="321" y="150"/>
                        <a:pt x="321" y="150"/>
                      </a:cubicBezTo>
                      <a:cubicBezTo>
                        <a:pt x="321" y="150"/>
                        <a:pt x="321" y="150"/>
                        <a:pt x="321" y="150"/>
                      </a:cubicBezTo>
                      <a:cubicBezTo>
                        <a:pt x="321" y="150"/>
                        <a:pt x="321" y="150"/>
                        <a:pt x="321" y="150"/>
                      </a:cubicBezTo>
                      <a:close/>
                      <a:moveTo>
                        <a:pt x="318" y="226"/>
                      </a:moveTo>
                      <a:cubicBezTo>
                        <a:pt x="318" y="226"/>
                        <a:pt x="318" y="226"/>
                        <a:pt x="318" y="226"/>
                      </a:cubicBezTo>
                      <a:cubicBezTo>
                        <a:pt x="317" y="225"/>
                        <a:pt x="317" y="225"/>
                        <a:pt x="317" y="225"/>
                      </a:cubicBezTo>
                      <a:cubicBezTo>
                        <a:pt x="315" y="225"/>
                        <a:pt x="315" y="225"/>
                        <a:pt x="315" y="225"/>
                      </a:cubicBezTo>
                      <a:cubicBezTo>
                        <a:pt x="315" y="224"/>
                        <a:pt x="315" y="224"/>
                        <a:pt x="315" y="224"/>
                      </a:cubicBezTo>
                      <a:cubicBezTo>
                        <a:pt x="314" y="224"/>
                        <a:pt x="314" y="224"/>
                        <a:pt x="314" y="224"/>
                      </a:cubicBezTo>
                      <a:cubicBezTo>
                        <a:pt x="313" y="223"/>
                        <a:pt x="313" y="223"/>
                        <a:pt x="313" y="223"/>
                      </a:cubicBezTo>
                      <a:cubicBezTo>
                        <a:pt x="312" y="223"/>
                        <a:pt x="312" y="223"/>
                        <a:pt x="312" y="223"/>
                      </a:cubicBezTo>
                      <a:cubicBezTo>
                        <a:pt x="312" y="222"/>
                        <a:pt x="312" y="222"/>
                        <a:pt x="312" y="222"/>
                      </a:cubicBezTo>
                      <a:cubicBezTo>
                        <a:pt x="311" y="222"/>
                        <a:pt x="311" y="222"/>
                        <a:pt x="311" y="222"/>
                      </a:cubicBezTo>
                      <a:cubicBezTo>
                        <a:pt x="311" y="222"/>
                        <a:pt x="311" y="222"/>
                        <a:pt x="311" y="222"/>
                      </a:cubicBezTo>
                      <a:cubicBezTo>
                        <a:pt x="310" y="222"/>
                        <a:pt x="310" y="222"/>
                        <a:pt x="310" y="222"/>
                      </a:cubicBezTo>
                      <a:cubicBezTo>
                        <a:pt x="309" y="222"/>
                        <a:pt x="309" y="222"/>
                        <a:pt x="309" y="222"/>
                      </a:cubicBezTo>
                      <a:cubicBezTo>
                        <a:pt x="309" y="221"/>
                        <a:pt x="309" y="221"/>
                        <a:pt x="309" y="221"/>
                      </a:cubicBezTo>
                      <a:cubicBezTo>
                        <a:pt x="308" y="221"/>
                        <a:pt x="308" y="221"/>
                        <a:pt x="308" y="221"/>
                      </a:cubicBezTo>
                      <a:cubicBezTo>
                        <a:pt x="308" y="221"/>
                        <a:pt x="308" y="221"/>
                        <a:pt x="308" y="221"/>
                      </a:cubicBezTo>
                      <a:cubicBezTo>
                        <a:pt x="307" y="220"/>
                        <a:pt x="307" y="220"/>
                        <a:pt x="307" y="220"/>
                      </a:cubicBezTo>
                      <a:cubicBezTo>
                        <a:pt x="307" y="219"/>
                        <a:pt x="307" y="219"/>
                        <a:pt x="307" y="219"/>
                      </a:cubicBezTo>
                      <a:cubicBezTo>
                        <a:pt x="306" y="219"/>
                        <a:pt x="306" y="219"/>
                        <a:pt x="306" y="219"/>
                      </a:cubicBezTo>
                      <a:cubicBezTo>
                        <a:pt x="306" y="219"/>
                        <a:pt x="306" y="219"/>
                        <a:pt x="306" y="219"/>
                      </a:cubicBezTo>
                      <a:cubicBezTo>
                        <a:pt x="305" y="218"/>
                        <a:pt x="305" y="218"/>
                        <a:pt x="305" y="218"/>
                      </a:cubicBezTo>
                      <a:cubicBezTo>
                        <a:pt x="306" y="218"/>
                        <a:pt x="306" y="218"/>
                        <a:pt x="306" y="218"/>
                      </a:cubicBezTo>
                      <a:cubicBezTo>
                        <a:pt x="306" y="218"/>
                        <a:pt x="306" y="218"/>
                        <a:pt x="306" y="218"/>
                      </a:cubicBezTo>
                      <a:cubicBezTo>
                        <a:pt x="305" y="217"/>
                        <a:pt x="305" y="217"/>
                        <a:pt x="305" y="217"/>
                      </a:cubicBezTo>
                      <a:cubicBezTo>
                        <a:pt x="305" y="218"/>
                        <a:pt x="305" y="218"/>
                        <a:pt x="305" y="218"/>
                      </a:cubicBezTo>
                      <a:cubicBezTo>
                        <a:pt x="305" y="218"/>
                        <a:pt x="305" y="218"/>
                        <a:pt x="305" y="218"/>
                      </a:cubicBezTo>
                      <a:cubicBezTo>
                        <a:pt x="304" y="218"/>
                        <a:pt x="304" y="218"/>
                        <a:pt x="304" y="218"/>
                      </a:cubicBezTo>
                      <a:cubicBezTo>
                        <a:pt x="304" y="217"/>
                        <a:pt x="304" y="217"/>
                        <a:pt x="304" y="217"/>
                      </a:cubicBezTo>
                      <a:cubicBezTo>
                        <a:pt x="303" y="217"/>
                        <a:pt x="303" y="217"/>
                        <a:pt x="303" y="217"/>
                      </a:cubicBezTo>
                      <a:cubicBezTo>
                        <a:pt x="302" y="216"/>
                        <a:pt x="302" y="216"/>
                        <a:pt x="302" y="216"/>
                      </a:cubicBezTo>
                      <a:cubicBezTo>
                        <a:pt x="301" y="216"/>
                        <a:pt x="301" y="216"/>
                        <a:pt x="301" y="216"/>
                      </a:cubicBezTo>
                      <a:cubicBezTo>
                        <a:pt x="301" y="216"/>
                        <a:pt x="301" y="216"/>
                        <a:pt x="301" y="216"/>
                      </a:cubicBezTo>
                      <a:cubicBezTo>
                        <a:pt x="300" y="215"/>
                        <a:pt x="300" y="215"/>
                        <a:pt x="300" y="215"/>
                      </a:cubicBezTo>
                      <a:cubicBezTo>
                        <a:pt x="300" y="215"/>
                        <a:pt x="300" y="215"/>
                        <a:pt x="300" y="215"/>
                      </a:cubicBezTo>
                      <a:cubicBezTo>
                        <a:pt x="299" y="215"/>
                        <a:pt x="299" y="215"/>
                        <a:pt x="299" y="215"/>
                      </a:cubicBezTo>
                      <a:cubicBezTo>
                        <a:pt x="299" y="214"/>
                        <a:pt x="299" y="214"/>
                        <a:pt x="299" y="214"/>
                      </a:cubicBezTo>
                      <a:cubicBezTo>
                        <a:pt x="298" y="213"/>
                        <a:pt x="298" y="213"/>
                        <a:pt x="298" y="213"/>
                      </a:cubicBezTo>
                      <a:cubicBezTo>
                        <a:pt x="298" y="212"/>
                        <a:pt x="298" y="212"/>
                        <a:pt x="298" y="212"/>
                      </a:cubicBezTo>
                      <a:cubicBezTo>
                        <a:pt x="297" y="212"/>
                        <a:pt x="297" y="212"/>
                        <a:pt x="297" y="212"/>
                      </a:cubicBezTo>
                      <a:cubicBezTo>
                        <a:pt x="298" y="212"/>
                        <a:pt x="298" y="212"/>
                        <a:pt x="298" y="212"/>
                      </a:cubicBezTo>
                      <a:cubicBezTo>
                        <a:pt x="299" y="212"/>
                        <a:pt x="299" y="212"/>
                        <a:pt x="299" y="212"/>
                      </a:cubicBezTo>
                      <a:cubicBezTo>
                        <a:pt x="301" y="211"/>
                        <a:pt x="301" y="211"/>
                        <a:pt x="301" y="211"/>
                      </a:cubicBezTo>
                      <a:cubicBezTo>
                        <a:pt x="301" y="210"/>
                        <a:pt x="301" y="210"/>
                        <a:pt x="301" y="210"/>
                      </a:cubicBezTo>
                      <a:cubicBezTo>
                        <a:pt x="300" y="210"/>
                        <a:pt x="300" y="210"/>
                        <a:pt x="300" y="210"/>
                      </a:cubicBezTo>
                      <a:cubicBezTo>
                        <a:pt x="299" y="210"/>
                        <a:pt x="299" y="210"/>
                        <a:pt x="299" y="210"/>
                      </a:cubicBezTo>
                      <a:cubicBezTo>
                        <a:pt x="299" y="209"/>
                        <a:pt x="299" y="209"/>
                        <a:pt x="299" y="209"/>
                      </a:cubicBezTo>
                      <a:cubicBezTo>
                        <a:pt x="299" y="208"/>
                        <a:pt x="299" y="208"/>
                        <a:pt x="299" y="208"/>
                      </a:cubicBezTo>
                      <a:cubicBezTo>
                        <a:pt x="298" y="208"/>
                        <a:pt x="298" y="208"/>
                        <a:pt x="298" y="208"/>
                      </a:cubicBezTo>
                      <a:cubicBezTo>
                        <a:pt x="298" y="209"/>
                        <a:pt x="298" y="209"/>
                        <a:pt x="298" y="209"/>
                      </a:cubicBezTo>
                      <a:cubicBezTo>
                        <a:pt x="298" y="210"/>
                        <a:pt x="298" y="210"/>
                        <a:pt x="298" y="210"/>
                      </a:cubicBezTo>
                      <a:cubicBezTo>
                        <a:pt x="297" y="209"/>
                        <a:pt x="297" y="209"/>
                        <a:pt x="297" y="209"/>
                      </a:cubicBezTo>
                      <a:cubicBezTo>
                        <a:pt x="297" y="209"/>
                        <a:pt x="297" y="209"/>
                        <a:pt x="297" y="209"/>
                      </a:cubicBezTo>
                      <a:cubicBezTo>
                        <a:pt x="298" y="207"/>
                        <a:pt x="298" y="207"/>
                        <a:pt x="298" y="207"/>
                      </a:cubicBezTo>
                      <a:cubicBezTo>
                        <a:pt x="297" y="208"/>
                        <a:pt x="297" y="208"/>
                        <a:pt x="297" y="208"/>
                      </a:cubicBezTo>
                      <a:cubicBezTo>
                        <a:pt x="297" y="208"/>
                        <a:pt x="297" y="208"/>
                        <a:pt x="297" y="208"/>
                      </a:cubicBezTo>
                      <a:cubicBezTo>
                        <a:pt x="297" y="207"/>
                        <a:pt x="297" y="207"/>
                        <a:pt x="297" y="207"/>
                      </a:cubicBezTo>
                      <a:cubicBezTo>
                        <a:pt x="296" y="207"/>
                        <a:pt x="296" y="207"/>
                        <a:pt x="296" y="207"/>
                      </a:cubicBezTo>
                      <a:cubicBezTo>
                        <a:pt x="296" y="206"/>
                        <a:pt x="296" y="206"/>
                        <a:pt x="296" y="206"/>
                      </a:cubicBezTo>
                      <a:cubicBezTo>
                        <a:pt x="296" y="205"/>
                        <a:pt x="296" y="205"/>
                        <a:pt x="296" y="205"/>
                      </a:cubicBezTo>
                      <a:cubicBezTo>
                        <a:pt x="295" y="204"/>
                        <a:pt x="295" y="204"/>
                        <a:pt x="295" y="204"/>
                      </a:cubicBezTo>
                      <a:cubicBezTo>
                        <a:pt x="295" y="204"/>
                        <a:pt x="295" y="204"/>
                        <a:pt x="295" y="204"/>
                      </a:cubicBezTo>
                      <a:cubicBezTo>
                        <a:pt x="295" y="203"/>
                        <a:pt x="295" y="203"/>
                        <a:pt x="295" y="203"/>
                      </a:cubicBezTo>
                      <a:cubicBezTo>
                        <a:pt x="296" y="202"/>
                        <a:pt x="296" y="202"/>
                        <a:pt x="296" y="202"/>
                      </a:cubicBezTo>
                      <a:cubicBezTo>
                        <a:pt x="295" y="202"/>
                        <a:pt x="295" y="202"/>
                        <a:pt x="295" y="202"/>
                      </a:cubicBezTo>
                      <a:cubicBezTo>
                        <a:pt x="294" y="203"/>
                        <a:pt x="294" y="203"/>
                        <a:pt x="294" y="203"/>
                      </a:cubicBezTo>
                      <a:cubicBezTo>
                        <a:pt x="294" y="204"/>
                        <a:pt x="294" y="204"/>
                        <a:pt x="294" y="204"/>
                      </a:cubicBezTo>
                      <a:cubicBezTo>
                        <a:pt x="293" y="203"/>
                        <a:pt x="293" y="203"/>
                        <a:pt x="293" y="203"/>
                      </a:cubicBezTo>
                      <a:cubicBezTo>
                        <a:pt x="294" y="202"/>
                        <a:pt x="294" y="202"/>
                        <a:pt x="294" y="202"/>
                      </a:cubicBezTo>
                      <a:cubicBezTo>
                        <a:pt x="293" y="202"/>
                        <a:pt x="293" y="202"/>
                        <a:pt x="293" y="202"/>
                      </a:cubicBezTo>
                      <a:cubicBezTo>
                        <a:pt x="293" y="202"/>
                        <a:pt x="293" y="202"/>
                        <a:pt x="293" y="202"/>
                      </a:cubicBezTo>
                      <a:cubicBezTo>
                        <a:pt x="293" y="202"/>
                        <a:pt x="293" y="202"/>
                        <a:pt x="293" y="202"/>
                      </a:cubicBezTo>
                      <a:cubicBezTo>
                        <a:pt x="292" y="204"/>
                        <a:pt x="292" y="204"/>
                        <a:pt x="292" y="204"/>
                      </a:cubicBezTo>
                      <a:cubicBezTo>
                        <a:pt x="291" y="204"/>
                        <a:pt x="291" y="204"/>
                        <a:pt x="291" y="204"/>
                      </a:cubicBezTo>
                      <a:cubicBezTo>
                        <a:pt x="291" y="203"/>
                        <a:pt x="291" y="203"/>
                        <a:pt x="291" y="203"/>
                      </a:cubicBezTo>
                      <a:cubicBezTo>
                        <a:pt x="292" y="203"/>
                        <a:pt x="292" y="203"/>
                        <a:pt x="292" y="203"/>
                      </a:cubicBezTo>
                      <a:cubicBezTo>
                        <a:pt x="292" y="202"/>
                        <a:pt x="292" y="202"/>
                        <a:pt x="292" y="202"/>
                      </a:cubicBezTo>
                      <a:cubicBezTo>
                        <a:pt x="292" y="201"/>
                        <a:pt x="292" y="201"/>
                        <a:pt x="292" y="201"/>
                      </a:cubicBezTo>
                      <a:cubicBezTo>
                        <a:pt x="291" y="201"/>
                        <a:pt x="291" y="201"/>
                        <a:pt x="291" y="201"/>
                      </a:cubicBezTo>
                      <a:cubicBezTo>
                        <a:pt x="290" y="202"/>
                        <a:pt x="290" y="202"/>
                        <a:pt x="290" y="202"/>
                      </a:cubicBezTo>
                      <a:cubicBezTo>
                        <a:pt x="290" y="202"/>
                        <a:pt x="290" y="202"/>
                        <a:pt x="290" y="202"/>
                      </a:cubicBezTo>
                      <a:cubicBezTo>
                        <a:pt x="289" y="203"/>
                        <a:pt x="289" y="203"/>
                        <a:pt x="289" y="203"/>
                      </a:cubicBezTo>
                      <a:cubicBezTo>
                        <a:pt x="289" y="203"/>
                        <a:pt x="289" y="203"/>
                        <a:pt x="289" y="203"/>
                      </a:cubicBezTo>
                      <a:cubicBezTo>
                        <a:pt x="288" y="203"/>
                        <a:pt x="288" y="203"/>
                        <a:pt x="288" y="203"/>
                      </a:cubicBezTo>
                      <a:cubicBezTo>
                        <a:pt x="287" y="202"/>
                        <a:pt x="287" y="202"/>
                        <a:pt x="287" y="202"/>
                      </a:cubicBezTo>
                      <a:cubicBezTo>
                        <a:pt x="287" y="202"/>
                        <a:pt x="287" y="202"/>
                        <a:pt x="287" y="202"/>
                      </a:cubicBezTo>
                      <a:cubicBezTo>
                        <a:pt x="286" y="201"/>
                        <a:pt x="286" y="201"/>
                        <a:pt x="286" y="201"/>
                      </a:cubicBezTo>
                      <a:cubicBezTo>
                        <a:pt x="285" y="201"/>
                        <a:pt x="285" y="201"/>
                        <a:pt x="285" y="201"/>
                      </a:cubicBezTo>
                      <a:cubicBezTo>
                        <a:pt x="285" y="202"/>
                        <a:pt x="285" y="202"/>
                        <a:pt x="285" y="202"/>
                      </a:cubicBezTo>
                      <a:cubicBezTo>
                        <a:pt x="285" y="202"/>
                        <a:pt x="285" y="202"/>
                        <a:pt x="285" y="202"/>
                      </a:cubicBezTo>
                      <a:cubicBezTo>
                        <a:pt x="285" y="203"/>
                        <a:pt x="285" y="203"/>
                        <a:pt x="285" y="203"/>
                      </a:cubicBezTo>
                      <a:cubicBezTo>
                        <a:pt x="284" y="203"/>
                        <a:pt x="284" y="203"/>
                        <a:pt x="284" y="203"/>
                      </a:cubicBezTo>
                      <a:cubicBezTo>
                        <a:pt x="283" y="203"/>
                        <a:pt x="283" y="203"/>
                        <a:pt x="283" y="203"/>
                      </a:cubicBezTo>
                      <a:cubicBezTo>
                        <a:pt x="282" y="203"/>
                        <a:pt x="282" y="203"/>
                        <a:pt x="282" y="203"/>
                      </a:cubicBezTo>
                      <a:cubicBezTo>
                        <a:pt x="282" y="203"/>
                        <a:pt x="282" y="203"/>
                        <a:pt x="282" y="203"/>
                      </a:cubicBezTo>
                      <a:cubicBezTo>
                        <a:pt x="281" y="203"/>
                        <a:pt x="281" y="203"/>
                        <a:pt x="281" y="203"/>
                      </a:cubicBezTo>
                      <a:cubicBezTo>
                        <a:pt x="281" y="204"/>
                        <a:pt x="281" y="204"/>
                        <a:pt x="281" y="204"/>
                      </a:cubicBezTo>
                      <a:cubicBezTo>
                        <a:pt x="280" y="203"/>
                        <a:pt x="280" y="203"/>
                        <a:pt x="280" y="203"/>
                      </a:cubicBezTo>
                      <a:cubicBezTo>
                        <a:pt x="278" y="203"/>
                        <a:pt x="278" y="203"/>
                        <a:pt x="278" y="203"/>
                      </a:cubicBezTo>
                      <a:cubicBezTo>
                        <a:pt x="279" y="203"/>
                        <a:pt x="279" y="203"/>
                        <a:pt x="279" y="203"/>
                      </a:cubicBezTo>
                      <a:cubicBezTo>
                        <a:pt x="278" y="202"/>
                        <a:pt x="278" y="202"/>
                        <a:pt x="278" y="202"/>
                      </a:cubicBezTo>
                      <a:cubicBezTo>
                        <a:pt x="277" y="202"/>
                        <a:pt x="277" y="202"/>
                        <a:pt x="277" y="202"/>
                      </a:cubicBezTo>
                      <a:cubicBezTo>
                        <a:pt x="276" y="201"/>
                        <a:pt x="276" y="201"/>
                        <a:pt x="276" y="201"/>
                      </a:cubicBezTo>
                      <a:cubicBezTo>
                        <a:pt x="276" y="200"/>
                        <a:pt x="276" y="200"/>
                        <a:pt x="276" y="200"/>
                      </a:cubicBezTo>
                      <a:cubicBezTo>
                        <a:pt x="276" y="199"/>
                        <a:pt x="276" y="199"/>
                        <a:pt x="276" y="199"/>
                      </a:cubicBezTo>
                      <a:cubicBezTo>
                        <a:pt x="277" y="198"/>
                        <a:pt x="277" y="198"/>
                        <a:pt x="277" y="198"/>
                      </a:cubicBezTo>
                      <a:cubicBezTo>
                        <a:pt x="277" y="197"/>
                        <a:pt x="277" y="197"/>
                        <a:pt x="277" y="197"/>
                      </a:cubicBezTo>
                      <a:cubicBezTo>
                        <a:pt x="277" y="197"/>
                        <a:pt x="277" y="197"/>
                        <a:pt x="277" y="197"/>
                      </a:cubicBezTo>
                      <a:cubicBezTo>
                        <a:pt x="278" y="197"/>
                        <a:pt x="278" y="197"/>
                        <a:pt x="278" y="197"/>
                      </a:cubicBezTo>
                      <a:cubicBezTo>
                        <a:pt x="279" y="196"/>
                        <a:pt x="279" y="196"/>
                        <a:pt x="279" y="196"/>
                      </a:cubicBezTo>
                      <a:cubicBezTo>
                        <a:pt x="280" y="196"/>
                        <a:pt x="280" y="196"/>
                        <a:pt x="280" y="196"/>
                      </a:cubicBezTo>
                      <a:cubicBezTo>
                        <a:pt x="280" y="196"/>
                        <a:pt x="280" y="196"/>
                        <a:pt x="280" y="196"/>
                      </a:cubicBezTo>
                      <a:cubicBezTo>
                        <a:pt x="280" y="195"/>
                        <a:pt x="280" y="195"/>
                        <a:pt x="280" y="195"/>
                      </a:cubicBezTo>
                      <a:cubicBezTo>
                        <a:pt x="280" y="195"/>
                        <a:pt x="280" y="195"/>
                        <a:pt x="280" y="195"/>
                      </a:cubicBezTo>
                      <a:cubicBezTo>
                        <a:pt x="280" y="194"/>
                        <a:pt x="280" y="194"/>
                        <a:pt x="280" y="194"/>
                      </a:cubicBezTo>
                      <a:cubicBezTo>
                        <a:pt x="280" y="194"/>
                        <a:pt x="280" y="194"/>
                        <a:pt x="280" y="194"/>
                      </a:cubicBezTo>
                      <a:cubicBezTo>
                        <a:pt x="281" y="194"/>
                        <a:pt x="281" y="194"/>
                        <a:pt x="281" y="194"/>
                      </a:cubicBezTo>
                      <a:cubicBezTo>
                        <a:pt x="281" y="194"/>
                        <a:pt x="281" y="194"/>
                        <a:pt x="281" y="194"/>
                      </a:cubicBezTo>
                      <a:cubicBezTo>
                        <a:pt x="281" y="193"/>
                        <a:pt x="281" y="193"/>
                        <a:pt x="281" y="193"/>
                      </a:cubicBezTo>
                      <a:cubicBezTo>
                        <a:pt x="281" y="193"/>
                        <a:pt x="281" y="193"/>
                        <a:pt x="281" y="193"/>
                      </a:cubicBezTo>
                      <a:cubicBezTo>
                        <a:pt x="282" y="194"/>
                        <a:pt x="282" y="194"/>
                        <a:pt x="282" y="194"/>
                      </a:cubicBezTo>
                      <a:cubicBezTo>
                        <a:pt x="283" y="195"/>
                        <a:pt x="283" y="195"/>
                        <a:pt x="283" y="195"/>
                      </a:cubicBezTo>
                      <a:cubicBezTo>
                        <a:pt x="284" y="195"/>
                        <a:pt x="284" y="195"/>
                        <a:pt x="284" y="195"/>
                      </a:cubicBezTo>
                      <a:cubicBezTo>
                        <a:pt x="285" y="196"/>
                        <a:pt x="285" y="196"/>
                        <a:pt x="285" y="196"/>
                      </a:cubicBezTo>
                      <a:cubicBezTo>
                        <a:pt x="285" y="196"/>
                        <a:pt x="285" y="196"/>
                        <a:pt x="285" y="196"/>
                      </a:cubicBezTo>
                      <a:cubicBezTo>
                        <a:pt x="286" y="196"/>
                        <a:pt x="286" y="196"/>
                        <a:pt x="286" y="196"/>
                      </a:cubicBezTo>
                      <a:cubicBezTo>
                        <a:pt x="287" y="196"/>
                        <a:pt x="287" y="196"/>
                        <a:pt x="287" y="196"/>
                      </a:cubicBezTo>
                      <a:cubicBezTo>
                        <a:pt x="288" y="196"/>
                        <a:pt x="288" y="196"/>
                        <a:pt x="288" y="196"/>
                      </a:cubicBezTo>
                      <a:cubicBezTo>
                        <a:pt x="288" y="196"/>
                        <a:pt x="288" y="196"/>
                        <a:pt x="288" y="196"/>
                      </a:cubicBezTo>
                      <a:cubicBezTo>
                        <a:pt x="289" y="196"/>
                        <a:pt x="289" y="196"/>
                        <a:pt x="289" y="196"/>
                      </a:cubicBezTo>
                      <a:cubicBezTo>
                        <a:pt x="290" y="197"/>
                        <a:pt x="290" y="197"/>
                        <a:pt x="290" y="197"/>
                      </a:cubicBezTo>
                      <a:cubicBezTo>
                        <a:pt x="290" y="196"/>
                        <a:pt x="290" y="196"/>
                        <a:pt x="290" y="196"/>
                      </a:cubicBezTo>
                      <a:cubicBezTo>
                        <a:pt x="291" y="195"/>
                        <a:pt x="291" y="195"/>
                        <a:pt x="291" y="195"/>
                      </a:cubicBezTo>
                      <a:cubicBezTo>
                        <a:pt x="292" y="195"/>
                        <a:pt x="292" y="195"/>
                        <a:pt x="292" y="195"/>
                      </a:cubicBezTo>
                      <a:cubicBezTo>
                        <a:pt x="292" y="196"/>
                        <a:pt x="292" y="196"/>
                        <a:pt x="292" y="196"/>
                      </a:cubicBezTo>
                      <a:cubicBezTo>
                        <a:pt x="292" y="196"/>
                        <a:pt x="292" y="196"/>
                        <a:pt x="292" y="196"/>
                      </a:cubicBezTo>
                      <a:cubicBezTo>
                        <a:pt x="292" y="196"/>
                        <a:pt x="292" y="196"/>
                        <a:pt x="292" y="196"/>
                      </a:cubicBezTo>
                      <a:cubicBezTo>
                        <a:pt x="293" y="196"/>
                        <a:pt x="293" y="196"/>
                        <a:pt x="293" y="196"/>
                      </a:cubicBezTo>
                      <a:cubicBezTo>
                        <a:pt x="294" y="195"/>
                        <a:pt x="294" y="195"/>
                        <a:pt x="294" y="195"/>
                      </a:cubicBezTo>
                      <a:cubicBezTo>
                        <a:pt x="295" y="194"/>
                        <a:pt x="295" y="194"/>
                        <a:pt x="295" y="194"/>
                      </a:cubicBezTo>
                      <a:cubicBezTo>
                        <a:pt x="295" y="195"/>
                        <a:pt x="295" y="195"/>
                        <a:pt x="295" y="195"/>
                      </a:cubicBezTo>
                      <a:cubicBezTo>
                        <a:pt x="295" y="196"/>
                        <a:pt x="295" y="196"/>
                        <a:pt x="295" y="196"/>
                      </a:cubicBezTo>
                      <a:cubicBezTo>
                        <a:pt x="295" y="197"/>
                        <a:pt x="295" y="197"/>
                        <a:pt x="295" y="197"/>
                      </a:cubicBezTo>
                      <a:cubicBezTo>
                        <a:pt x="295" y="196"/>
                        <a:pt x="295" y="196"/>
                        <a:pt x="295" y="196"/>
                      </a:cubicBezTo>
                      <a:cubicBezTo>
                        <a:pt x="296" y="195"/>
                        <a:pt x="296" y="195"/>
                        <a:pt x="296" y="195"/>
                      </a:cubicBezTo>
                      <a:cubicBezTo>
                        <a:pt x="296" y="196"/>
                        <a:pt x="296" y="196"/>
                        <a:pt x="296" y="196"/>
                      </a:cubicBezTo>
                      <a:cubicBezTo>
                        <a:pt x="297" y="195"/>
                        <a:pt x="297" y="195"/>
                        <a:pt x="297" y="195"/>
                      </a:cubicBezTo>
                      <a:cubicBezTo>
                        <a:pt x="297" y="193"/>
                        <a:pt x="297" y="193"/>
                        <a:pt x="297" y="193"/>
                      </a:cubicBezTo>
                      <a:cubicBezTo>
                        <a:pt x="296" y="192"/>
                        <a:pt x="296" y="192"/>
                        <a:pt x="296" y="192"/>
                      </a:cubicBezTo>
                      <a:cubicBezTo>
                        <a:pt x="296" y="191"/>
                        <a:pt x="296" y="191"/>
                        <a:pt x="296" y="191"/>
                      </a:cubicBezTo>
                      <a:cubicBezTo>
                        <a:pt x="295" y="190"/>
                        <a:pt x="295" y="190"/>
                        <a:pt x="295" y="190"/>
                      </a:cubicBezTo>
                      <a:cubicBezTo>
                        <a:pt x="295" y="190"/>
                        <a:pt x="295" y="190"/>
                        <a:pt x="295" y="190"/>
                      </a:cubicBezTo>
                      <a:cubicBezTo>
                        <a:pt x="296" y="189"/>
                        <a:pt x="296" y="189"/>
                        <a:pt x="296" y="189"/>
                      </a:cubicBezTo>
                      <a:cubicBezTo>
                        <a:pt x="296" y="189"/>
                        <a:pt x="296" y="189"/>
                        <a:pt x="296" y="189"/>
                      </a:cubicBezTo>
                      <a:cubicBezTo>
                        <a:pt x="298" y="188"/>
                        <a:pt x="298" y="188"/>
                        <a:pt x="298" y="188"/>
                      </a:cubicBezTo>
                      <a:cubicBezTo>
                        <a:pt x="299" y="187"/>
                        <a:pt x="299" y="187"/>
                        <a:pt x="299" y="187"/>
                      </a:cubicBezTo>
                      <a:cubicBezTo>
                        <a:pt x="300" y="187"/>
                        <a:pt x="300" y="187"/>
                        <a:pt x="300" y="187"/>
                      </a:cubicBezTo>
                      <a:cubicBezTo>
                        <a:pt x="301" y="186"/>
                        <a:pt x="301" y="186"/>
                        <a:pt x="301" y="186"/>
                      </a:cubicBezTo>
                      <a:cubicBezTo>
                        <a:pt x="302" y="186"/>
                        <a:pt x="302" y="186"/>
                        <a:pt x="302" y="186"/>
                      </a:cubicBezTo>
                      <a:cubicBezTo>
                        <a:pt x="302" y="186"/>
                        <a:pt x="302" y="186"/>
                        <a:pt x="302" y="186"/>
                      </a:cubicBezTo>
                      <a:cubicBezTo>
                        <a:pt x="303" y="186"/>
                        <a:pt x="303" y="186"/>
                        <a:pt x="303" y="186"/>
                      </a:cubicBezTo>
                      <a:cubicBezTo>
                        <a:pt x="303" y="186"/>
                        <a:pt x="303" y="186"/>
                        <a:pt x="303" y="186"/>
                      </a:cubicBezTo>
                      <a:cubicBezTo>
                        <a:pt x="302" y="185"/>
                        <a:pt x="302" y="185"/>
                        <a:pt x="302" y="185"/>
                      </a:cubicBezTo>
                      <a:cubicBezTo>
                        <a:pt x="302" y="185"/>
                        <a:pt x="302" y="185"/>
                        <a:pt x="302" y="185"/>
                      </a:cubicBezTo>
                      <a:cubicBezTo>
                        <a:pt x="304" y="183"/>
                        <a:pt x="304" y="183"/>
                        <a:pt x="304" y="183"/>
                      </a:cubicBezTo>
                      <a:cubicBezTo>
                        <a:pt x="304" y="183"/>
                        <a:pt x="304" y="183"/>
                        <a:pt x="304" y="183"/>
                      </a:cubicBezTo>
                      <a:cubicBezTo>
                        <a:pt x="304" y="182"/>
                        <a:pt x="304" y="182"/>
                        <a:pt x="304" y="182"/>
                      </a:cubicBezTo>
                      <a:cubicBezTo>
                        <a:pt x="306" y="183"/>
                        <a:pt x="306" y="183"/>
                        <a:pt x="306" y="183"/>
                      </a:cubicBezTo>
                      <a:cubicBezTo>
                        <a:pt x="307" y="182"/>
                        <a:pt x="307" y="182"/>
                        <a:pt x="307" y="182"/>
                      </a:cubicBezTo>
                      <a:cubicBezTo>
                        <a:pt x="307" y="182"/>
                        <a:pt x="307" y="182"/>
                        <a:pt x="307" y="182"/>
                      </a:cubicBezTo>
                      <a:cubicBezTo>
                        <a:pt x="307" y="181"/>
                        <a:pt x="307" y="181"/>
                        <a:pt x="307" y="181"/>
                      </a:cubicBezTo>
                      <a:cubicBezTo>
                        <a:pt x="307" y="180"/>
                        <a:pt x="307" y="180"/>
                        <a:pt x="307" y="180"/>
                      </a:cubicBezTo>
                      <a:cubicBezTo>
                        <a:pt x="308" y="179"/>
                        <a:pt x="308" y="179"/>
                        <a:pt x="308" y="179"/>
                      </a:cubicBezTo>
                      <a:cubicBezTo>
                        <a:pt x="308" y="179"/>
                        <a:pt x="308" y="179"/>
                        <a:pt x="308" y="179"/>
                      </a:cubicBezTo>
                      <a:cubicBezTo>
                        <a:pt x="307" y="178"/>
                        <a:pt x="307" y="178"/>
                        <a:pt x="307" y="178"/>
                      </a:cubicBezTo>
                      <a:cubicBezTo>
                        <a:pt x="307" y="178"/>
                        <a:pt x="307" y="178"/>
                        <a:pt x="307" y="178"/>
                      </a:cubicBezTo>
                      <a:cubicBezTo>
                        <a:pt x="308" y="177"/>
                        <a:pt x="308" y="177"/>
                        <a:pt x="308" y="177"/>
                      </a:cubicBezTo>
                      <a:cubicBezTo>
                        <a:pt x="308" y="176"/>
                        <a:pt x="308" y="176"/>
                        <a:pt x="308" y="176"/>
                      </a:cubicBezTo>
                      <a:cubicBezTo>
                        <a:pt x="307" y="176"/>
                        <a:pt x="307" y="176"/>
                        <a:pt x="307" y="176"/>
                      </a:cubicBezTo>
                      <a:cubicBezTo>
                        <a:pt x="307" y="175"/>
                        <a:pt x="307" y="175"/>
                        <a:pt x="307" y="175"/>
                      </a:cubicBezTo>
                      <a:cubicBezTo>
                        <a:pt x="308" y="174"/>
                        <a:pt x="308" y="174"/>
                        <a:pt x="308" y="174"/>
                      </a:cubicBezTo>
                      <a:cubicBezTo>
                        <a:pt x="308" y="174"/>
                        <a:pt x="308" y="174"/>
                        <a:pt x="308" y="174"/>
                      </a:cubicBezTo>
                      <a:cubicBezTo>
                        <a:pt x="308" y="174"/>
                        <a:pt x="308" y="174"/>
                        <a:pt x="308" y="174"/>
                      </a:cubicBezTo>
                      <a:cubicBezTo>
                        <a:pt x="309" y="173"/>
                        <a:pt x="309" y="173"/>
                        <a:pt x="309" y="173"/>
                      </a:cubicBezTo>
                      <a:cubicBezTo>
                        <a:pt x="309" y="172"/>
                        <a:pt x="309" y="172"/>
                        <a:pt x="309" y="172"/>
                      </a:cubicBezTo>
                      <a:cubicBezTo>
                        <a:pt x="308" y="172"/>
                        <a:pt x="308" y="172"/>
                        <a:pt x="308" y="172"/>
                      </a:cubicBezTo>
                      <a:cubicBezTo>
                        <a:pt x="308" y="173"/>
                        <a:pt x="308" y="173"/>
                        <a:pt x="308" y="173"/>
                      </a:cubicBezTo>
                      <a:cubicBezTo>
                        <a:pt x="308" y="173"/>
                        <a:pt x="308" y="173"/>
                        <a:pt x="308" y="173"/>
                      </a:cubicBezTo>
                      <a:cubicBezTo>
                        <a:pt x="307" y="174"/>
                        <a:pt x="307" y="174"/>
                        <a:pt x="307" y="174"/>
                      </a:cubicBezTo>
                      <a:cubicBezTo>
                        <a:pt x="307" y="173"/>
                        <a:pt x="307" y="173"/>
                        <a:pt x="307" y="173"/>
                      </a:cubicBezTo>
                      <a:cubicBezTo>
                        <a:pt x="307" y="172"/>
                        <a:pt x="307" y="172"/>
                        <a:pt x="307" y="172"/>
                      </a:cubicBezTo>
                      <a:cubicBezTo>
                        <a:pt x="307" y="172"/>
                        <a:pt x="307" y="172"/>
                        <a:pt x="307" y="172"/>
                      </a:cubicBezTo>
                      <a:cubicBezTo>
                        <a:pt x="305" y="172"/>
                        <a:pt x="305" y="172"/>
                        <a:pt x="305" y="172"/>
                      </a:cubicBezTo>
                      <a:cubicBezTo>
                        <a:pt x="305" y="171"/>
                        <a:pt x="305" y="171"/>
                        <a:pt x="305" y="171"/>
                      </a:cubicBezTo>
                      <a:cubicBezTo>
                        <a:pt x="305" y="171"/>
                        <a:pt x="305" y="171"/>
                        <a:pt x="305" y="171"/>
                      </a:cubicBezTo>
                      <a:cubicBezTo>
                        <a:pt x="306" y="171"/>
                        <a:pt x="306" y="171"/>
                        <a:pt x="306" y="171"/>
                      </a:cubicBezTo>
                      <a:cubicBezTo>
                        <a:pt x="306" y="170"/>
                        <a:pt x="306" y="170"/>
                        <a:pt x="306" y="170"/>
                      </a:cubicBezTo>
                      <a:cubicBezTo>
                        <a:pt x="305" y="170"/>
                        <a:pt x="305" y="170"/>
                        <a:pt x="305" y="170"/>
                      </a:cubicBezTo>
                      <a:cubicBezTo>
                        <a:pt x="306" y="169"/>
                        <a:pt x="306" y="169"/>
                        <a:pt x="306" y="169"/>
                      </a:cubicBezTo>
                      <a:cubicBezTo>
                        <a:pt x="306" y="168"/>
                        <a:pt x="306" y="168"/>
                        <a:pt x="306" y="168"/>
                      </a:cubicBezTo>
                      <a:cubicBezTo>
                        <a:pt x="305" y="168"/>
                        <a:pt x="305" y="168"/>
                        <a:pt x="305" y="168"/>
                      </a:cubicBezTo>
                      <a:cubicBezTo>
                        <a:pt x="304" y="168"/>
                        <a:pt x="304" y="168"/>
                        <a:pt x="304" y="168"/>
                      </a:cubicBezTo>
                      <a:cubicBezTo>
                        <a:pt x="304" y="168"/>
                        <a:pt x="304" y="168"/>
                        <a:pt x="304" y="168"/>
                      </a:cubicBezTo>
                      <a:cubicBezTo>
                        <a:pt x="305" y="169"/>
                        <a:pt x="305" y="169"/>
                        <a:pt x="305" y="169"/>
                      </a:cubicBezTo>
                      <a:cubicBezTo>
                        <a:pt x="304" y="169"/>
                        <a:pt x="304" y="169"/>
                        <a:pt x="304" y="169"/>
                      </a:cubicBezTo>
                      <a:cubicBezTo>
                        <a:pt x="303" y="170"/>
                        <a:pt x="303" y="170"/>
                        <a:pt x="303" y="170"/>
                      </a:cubicBezTo>
                      <a:cubicBezTo>
                        <a:pt x="303" y="169"/>
                        <a:pt x="303" y="169"/>
                        <a:pt x="303" y="169"/>
                      </a:cubicBezTo>
                      <a:cubicBezTo>
                        <a:pt x="302" y="169"/>
                        <a:pt x="302" y="169"/>
                        <a:pt x="302" y="169"/>
                      </a:cubicBezTo>
                      <a:cubicBezTo>
                        <a:pt x="302" y="168"/>
                        <a:pt x="302" y="168"/>
                        <a:pt x="302" y="168"/>
                      </a:cubicBezTo>
                      <a:cubicBezTo>
                        <a:pt x="303" y="167"/>
                        <a:pt x="303" y="167"/>
                        <a:pt x="303" y="167"/>
                      </a:cubicBezTo>
                      <a:cubicBezTo>
                        <a:pt x="303" y="167"/>
                        <a:pt x="303" y="167"/>
                        <a:pt x="303" y="167"/>
                      </a:cubicBezTo>
                      <a:cubicBezTo>
                        <a:pt x="302" y="167"/>
                        <a:pt x="302" y="167"/>
                        <a:pt x="302" y="167"/>
                      </a:cubicBezTo>
                      <a:cubicBezTo>
                        <a:pt x="302" y="166"/>
                        <a:pt x="302" y="166"/>
                        <a:pt x="302" y="166"/>
                      </a:cubicBezTo>
                      <a:cubicBezTo>
                        <a:pt x="303" y="166"/>
                        <a:pt x="303" y="166"/>
                        <a:pt x="303" y="166"/>
                      </a:cubicBezTo>
                      <a:cubicBezTo>
                        <a:pt x="303" y="166"/>
                        <a:pt x="303" y="166"/>
                        <a:pt x="303" y="166"/>
                      </a:cubicBezTo>
                      <a:cubicBezTo>
                        <a:pt x="302" y="166"/>
                        <a:pt x="302" y="166"/>
                        <a:pt x="302" y="166"/>
                      </a:cubicBezTo>
                      <a:cubicBezTo>
                        <a:pt x="303" y="165"/>
                        <a:pt x="303" y="165"/>
                        <a:pt x="303" y="165"/>
                      </a:cubicBezTo>
                      <a:cubicBezTo>
                        <a:pt x="303" y="165"/>
                        <a:pt x="303" y="165"/>
                        <a:pt x="303" y="165"/>
                      </a:cubicBezTo>
                      <a:cubicBezTo>
                        <a:pt x="303" y="165"/>
                        <a:pt x="303" y="165"/>
                        <a:pt x="303" y="165"/>
                      </a:cubicBezTo>
                      <a:cubicBezTo>
                        <a:pt x="303" y="164"/>
                        <a:pt x="303" y="164"/>
                        <a:pt x="303" y="164"/>
                      </a:cubicBezTo>
                      <a:cubicBezTo>
                        <a:pt x="302" y="165"/>
                        <a:pt x="302" y="165"/>
                        <a:pt x="302" y="165"/>
                      </a:cubicBezTo>
                      <a:cubicBezTo>
                        <a:pt x="301" y="166"/>
                        <a:pt x="301" y="166"/>
                        <a:pt x="301" y="166"/>
                      </a:cubicBezTo>
                      <a:cubicBezTo>
                        <a:pt x="301" y="166"/>
                        <a:pt x="301" y="166"/>
                        <a:pt x="301" y="166"/>
                      </a:cubicBezTo>
                      <a:cubicBezTo>
                        <a:pt x="301" y="166"/>
                        <a:pt x="301" y="166"/>
                        <a:pt x="301" y="166"/>
                      </a:cubicBezTo>
                      <a:cubicBezTo>
                        <a:pt x="300" y="165"/>
                        <a:pt x="300" y="165"/>
                        <a:pt x="300" y="165"/>
                      </a:cubicBezTo>
                      <a:cubicBezTo>
                        <a:pt x="300" y="165"/>
                        <a:pt x="300" y="165"/>
                        <a:pt x="300" y="165"/>
                      </a:cubicBezTo>
                      <a:cubicBezTo>
                        <a:pt x="299" y="166"/>
                        <a:pt x="299" y="166"/>
                        <a:pt x="299" y="166"/>
                      </a:cubicBezTo>
                      <a:cubicBezTo>
                        <a:pt x="299" y="166"/>
                        <a:pt x="299" y="166"/>
                        <a:pt x="299" y="166"/>
                      </a:cubicBezTo>
                      <a:cubicBezTo>
                        <a:pt x="298" y="166"/>
                        <a:pt x="298" y="166"/>
                        <a:pt x="298" y="166"/>
                      </a:cubicBezTo>
                      <a:cubicBezTo>
                        <a:pt x="297" y="166"/>
                        <a:pt x="297" y="166"/>
                        <a:pt x="297" y="166"/>
                      </a:cubicBezTo>
                      <a:cubicBezTo>
                        <a:pt x="297" y="166"/>
                        <a:pt x="297" y="166"/>
                        <a:pt x="297" y="166"/>
                      </a:cubicBezTo>
                      <a:cubicBezTo>
                        <a:pt x="297" y="167"/>
                        <a:pt x="297" y="167"/>
                        <a:pt x="297" y="167"/>
                      </a:cubicBezTo>
                      <a:cubicBezTo>
                        <a:pt x="296" y="167"/>
                        <a:pt x="296" y="167"/>
                        <a:pt x="296" y="167"/>
                      </a:cubicBezTo>
                      <a:cubicBezTo>
                        <a:pt x="296" y="166"/>
                        <a:pt x="296" y="166"/>
                        <a:pt x="296" y="166"/>
                      </a:cubicBezTo>
                      <a:cubicBezTo>
                        <a:pt x="296" y="166"/>
                        <a:pt x="296" y="166"/>
                        <a:pt x="296" y="166"/>
                      </a:cubicBezTo>
                      <a:cubicBezTo>
                        <a:pt x="296" y="165"/>
                        <a:pt x="296" y="165"/>
                        <a:pt x="296" y="165"/>
                      </a:cubicBezTo>
                      <a:cubicBezTo>
                        <a:pt x="296" y="165"/>
                        <a:pt x="296" y="165"/>
                        <a:pt x="296" y="165"/>
                      </a:cubicBezTo>
                      <a:cubicBezTo>
                        <a:pt x="297" y="164"/>
                        <a:pt x="297" y="164"/>
                        <a:pt x="297" y="164"/>
                      </a:cubicBezTo>
                      <a:cubicBezTo>
                        <a:pt x="297" y="164"/>
                        <a:pt x="297" y="164"/>
                        <a:pt x="297" y="164"/>
                      </a:cubicBezTo>
                      <a:cubicBezTo>
                        <a:pt x="298" y="164"/>
                        <a:pt x="298" y="164"/>
                        <a:pt x="298" y="164"/>
                      </a:cubicBezTo>
                      <a:cubicBezTo>
                        <a:pt x="298" y="165"/>
                        <a:pt x="298" y="165"/>
                        <a:pt x="298" y="165"/>
                      </a:cubicBezTo>
                      <a:cubicBezTo>
                        <a:pt x="299" y="164"/>
                        <a:pt x="299" y="164"/>
                        <a:pt x="299" y="164"/>
                      </a:cubicBezTo>
                      <a:cubicBezTo>
                        <a:pt x="299" y="164"/>
                        <a:pt x="299" y="164"/>
                        <a:pt x="299" y="164"/>
                      </a:cubicBezTo>
                      <a:cubicBezTo>
                        <a:pt x="300" y="164"/>
                        <a:pt x="300" y="164"/>
                        <a:pt x="300" y="164"/>
                      </a:cubicBezTo>
                      <a:cubicBezTo>
                        <a:pt x="300" y="163"/>
                        <a:pt x="300" y="163"/>
                        <a:pt x="300" y="163"/>
                      </a:cubicBezTo>
                      <a:cubicBezTo>
                        <a:pt x="300" y="162"/>
                        <a:pt x="300" y="162"/>
                        <a:pt x="300" y="162"/>
                      </a:cubicBezTo>
                      <a:cubicBezTo>
                        <a:pt x="299" y="162"/>
                        <a:pt x="299" y="162"/>
                        <a:pt x="299" y="162"/>
                      </a:cubicBezTo>
                      <a:cubicBezTo>
                        <a:pt x="299" y="162"/>
                        <a:pt x="299" y="162"/>
                        <a:pt x="299" y="162"/>
                      </a:cubicBezTo>
                      <a:cubicBezTo>
                        <a:pt x="298" y="161"/>
                        <a:pt x="298" y="161"/>
                        <a:pt x="298" y="161"/>
                      </a:cubicBezTo>
                      <a:cubicBezTo>
                        <a:pt x="298" y="161"/>
                        <a:pt x="298" y="161"/>
                        <a:pt x="298" y="161"/>
                      </a:cubicBezTo>
                      <a:cubicBezTo>
                        <a:pt x="298" y="160"/>
                        <a:pt x="298" y="160"/>
                        <a:pt x="298" y="160"/>
                      </a:cubicBezTo>
                      <a:cubicBezTo>
                        <a:pt x="298" y="160"/>
                        <a:pt x="298" y="160"/>
                        <a:pt x="298" y="160"/>
                      </a:cubicBezTo>
                      <a:cubicBezTo>
                        <a:pt x="297" y="159"/>
                        <a:pt x="297" y="159"/>
                        <a:pt x="297" y="159"/>
                      </a:cubicBezTo>
                      <a:cubicBezTo>
                        <a:pt x="297" y="159"/>
                        <a:pt x="297" y="159"/>
                        <a:pt x="297" y="159"/>
                      </a:cubicBezTo>
                      <a:cubicBezTo>
                        <a:pt x="296" y="159"/>
                        <a:pt x="296" y="159"/>
                        <a:pt x="296" y="159"/>
                      </a:cubicBezTo>
                      <a:cubicBezTo>
                        <a:pt x="296" y="158"/>
                        <a:pt x="296" y="158"/>
                        <a:pt x="296" y="158"/>
                      </a:cubicBezTo>
                      <a:cubicBezTo>
                        <a:pt x="297" y="158"/>
                        <a:pt x="297" y="158"/>
                        <a:pt x="297" y="158"/>
                      </a:cubicBezTo>
                      <a:cubicBezTo>
                        <a:pt x="297" y="159"/>
                        <a:pt x="297" y="159"/>
                        <a:pt x="297" y="159"/>
                      </a:cubicBezTo>
                      <a:cubicBezTo>
                        <a:pt x="297" y="158"/>
                        <a:pt x="297" y="158"/>
                        <a:pt x="297" y="158"/>
                      </a:cubicBezTo>
                      <a:cubicBezTo>
                        <a:pt x="298" y="158"/>
                        <a:pt x="298" y="158"/>
                        <a:pt x="298" y="158"/>
                      </a:cubicBezTo>
                      <a:cubicBezTo>
                        <a:pt x="298" y="158"/>
                        <a:pt x="298" y="158"/>
                        <a:pt x="298" y="158"/>
                      </a:cubicBezTo>
                      <a:cubicBezTo>
                        <a:pt x="297" y="157"/>
                        <a:pt x="297" y="157"/>
                        <a:pt x="297" y="157"/>
                      </a:cubicBezTo>
                      <a:cubicBezTo>
                        <a:pt x="297" y="157"/>
                        <a:pt x="297" y="157"/>
                        <a:pt x="297" y="157"/>
                      </a:cubicBezTo>
                      <a:cubicBezTo>
                        <a:pt x="296" y="157"/>
                        <a:pt x="296" y="157"/>
                        <a:pt x="296" y="157"/>
                      </a:cubicBezTo>
                      <a:cubicBezTo>
                        <a:pt x="296" y="156"/>
                        <a:pt x="296" y="156"/>
                        <a:pt x="296" y="156"/>
                      </a:cubicBezTo>
                      <a:cubicBezTo>
                        <a:pt x="295" y="156"/>
                        <a:pt x="295" y="156"/>
                        <a:pt x="295" y="156"/>
                      </a:cubicBezTo>
                      <a:cubicBezTo>
                        <a:pt x="295" y="157"/>
                        <a:pt x="295" y="157"/>
                        <a:pt x="295" y="157"/>
                      </a:cubicBezTo>
                      <a:cubicBezTo>
                        <a:pt x="295" y="157"/>
                        <a:pt x="295" y="157"/>
                        <a:pt x="295" y="157"/>
                      </a:cubicBezTo>
                      <a:cubicBezTo>
                        <a:pt x="295" y="157"/>
                        <a:pt x="295" y="157"/>
                        <a:pt x="295" y="157"/>
                      </a:cubicBezTo>
                      <a:cubicBezTo>
                        <a:pt x="295" y="155"/>
                        <a:pt x="295" y="155"/>
                        <a:pt x="295" y="155"/>
                      </a:cubicBezTo>
                      <a:cubicBezTo>
                        <a:pt x="296" y="154"/>
                        <a:pt x="296" y="154"/>
                        <a:pt x="296" y="154"/>
                      </a:cubicBezTo>
                      <a:cubicBezTo>
                        <a:pt x="296" y="154"/>
                        <a:pt x="296" y="154"/>
                        <a:pt x="296" y="154"/>
                      </a:cubicBezTo>
                      <a:cubicBezTo>
                        <a:pt x="297" y="153"/>
                        <a:pt x="297" y="153"/>
                        <a:pt x="297" y="153"/>
                      </a:cubicBezTo>
                      <a:cubicBezTo>
                        <a:pt x="297" y="152"/>
                        <a:pt x="297" y="152"/>
                        <a:pt x="297" y="152"/>
                      </a:cubicBezTo>
                      <a:cubicBezTo>
                        <a:pt x="297" y="151"/>
                        <a:pt x="297" y="151"/>
                        <a:pt x="297" y="151"/>
                      </a:cubicBezTo>
                      <a:cubicBezTo>
                        <a:pt x="297" y="151"/>
                        <a:pt x="297" y="151"/>
                        <a:pt x="297" y="151"/>
                      </a:cubicBezTo>
                      <a:cubicBezTo>
                        <a:pt x="296" y="151"/>
                        <a:pt x="296" y="151"/>
                        <a:pt x="296" y="151"/>
                      </a:cubicBezTo>
                      <a:cubicBezTo>
                        <a:pt x="295" y="151"/>
                        <a:pt x="295" y="151"/>
                        <a:pt x="295" y="151"/>
                      </a:cubicBezTo>
                      <a:cubicBezTo>
                        <a:pt x="295" y="151"/>
                        <a:pt x="295" y="151"/>
                        <a:pt x="295" y="151"/>
                      </a:cubicBezTo>
                      <a:cubicBezTo>
                        <a:pt x="295" y="152"/>
                        <a:pt x="295" y="152"/>
                        <a:pt x="295" y="152"/>
                      </a:cubicBezTo>
                      <a:cubicBezTo>
                        <a:pt x="294" y="152"/>
                        <a:pt x="294" y="152"/>
                        <a:pt x="294" y="152"/>
                      </a:cubicBezTo>
                      <a:cubicBezTo>
                        <a:pt x="293" y="150"/>
                        <a:pt x="293" y="150"/>
                        <a:pt x="293" y="150"/>
                      </a:cubicBezTo>
                      <a:cubicBezTo>
                        <a:pt x="293" y="150"/>
                        <a:pt x="293" y="150"/>
                        <a:pt x="293" y="150"/>
                      </a:cubicBezTo>
                      <a:cubicBezTo>
                        <a:pt x="293" y="149"/>
                        <a:pt x="293" y="149"/>
                        <a:pt x="293" y="149"/>
                      </a:cubicBezTo>
                      <a:cubicBezTo>
                        <a:pt x="292" y="149"/>
                        <a:pt x="292" y="149"/>
                        <a:pt x="292" y="149"/>
                      </a:cubicBezTo>
                      <a:cubicBezTo>
                        <a:pt x="292" y="148"/>
                        <a:pt x="292" y="148"/>
                        <a:pt x="292" y="148"/>
                      </a:cubicBezTo>
                      <a:cubicBezTo>
                        <a:pt x="293" y="148"/>
                        <a:pt x="293" y="148"/>
                        <a:pt x="293" y="148"/>
                      </a:cubicBezTo>
                      <a:cubicBezTo>
                        <a:pt x="294" y="147"/>
                        <a:pt x="294" y="147"/>
                        <a:pt x="294" y="147"/>
                      </a:cubicBezTo>
                      <a:cubicBezTo>
                        <a:pt x="293" y="147"/>
                        <a:pt x="293" y="147"/>
                        <a:pt x="293" y="147"/>
                      </a:cubicBezTo>
                      <a:cubicBezTo>
                        <a:pt x="293" y="146"/>
                        <a:pt x="293" y="146"/>
                        <a:pt x="293" y="146"/>
                      </a:cubicBezTo>
                      <a:cubicBezTo>
                        <a:pt x="293" y="146"/>
                        <a:pt x="293" y="146"/>
                        <a:pt x="293" y="146"/>
                      </a:cubicBezTo>
                      <a:cubicBezTo>
                        <a:pt x="292" y="147"/>
                        <a:pt x="292" y="147"/>
                        <a:pt x="292" y="147"/>
                      </a:cubicBezTo>
                      <a:cubicBezTo>
                        <a:pt x="292" y="148"/>
                        <a:pt x="292" y="148"/>
                        <a:pt x="292" y="148"/>
                      </a:cubicBezTo>
                      <a:cubicBezTo>
                        <a:pt x="292" y="149"/>
                        <a:pt x="292" y="149"/>
                        <a:pt x="292" y="149"/>
                      </a:cubicBezTo>
                      <a:cubicBezTo>
                        <a:pt x="291" y="148"/>
                        <a:pt x="291" y="148"/>
                        <a:pt x="291" y="148"/>
                      </a:cubicBezTo>
                      <a:cubicBezTo>
                        <a:pt x="291" y="148"/>
                        <a:pt x="291" y="148"/>
                        <a:pt x="291" y="148"/>
                      </a:cubicBezTo>
                      <a:cubicBezTo>
                        <a:pt x="291" y="148"/>
                        <a:pt x="291" y="148"/>
                        <a:pt x="291" y="148"/>
                      </a:cubicBezTo>
                      <a:cubicBezTo>
                        <a:pt x="291" y="148"/>
                        <a:pt x="291" y="148"/>
                        <a:pt x="291" y="148"/>
                      </a:cubicBezTo>
                      <a:cubicBezTo>
                        <a:pt x="290" y="148"/>
                        <a:pt x="290" y="148"/>
                        <a:pt x="290" y="148"/>
                      </a:cubicBezTo>
                      <a:cubicBezTo>
                        <a:pt x="290" y="149"/>
                        <a:pt x="290" y="149"/>
                        <a:pt x="290" y="149"/>
                      </a:cubicBezTo>
                      <a:cubicBezTo>
                        <a:pt x="291" y="150"/>
                        <a:pt x="291" y="150"/>
                        <a:pt x="291" y="150"/>
                      </a:cubicBezTo>
                      <a:cubicBezTo>
                        <a:pt x="291" y="150"/>
                        <a:pt x="291" y="150"/>
                        <a:pt x="291" y="150"/>
                      </a:cubicBezTo>
                      <a:cubicBezTo>
                        <a:pt x="292" y="152"/>
                        <a:pt x="292" y="152"/>
                        <a:pt x="292" y="152"/>
                      </a:cubicBezTo>
                      <a:cubicBezTo>
                        <a:pt x="292" y="152"/>
                        <a:pt x="292" y="152"/>
                        <a:pt x="292" y="152"/>
                      </a:cubicBezTo>
                      <a:cubicBezTo>
                        <a:pt x="292" y="153"/>
                        <a:pt x="292" y="153"/>
                        <a:pt x="292" y="153"/>
                      </a:cubicBezTo>
                      <a:cubicBezTo>
                        <a:pt x="292" y="154"/>
                        <a:pt x="292" y="154"/>
                        <a:pt x="292" y="154"/>
                      </a:cubicBezTo>
                      <a:cubicBezTo>
                        <a:pt x="291" y="155"/>
                        <a:pt x="291" y="155"/>
                        <a:pt x="291" y="155"/>
                      </a:cubicBezTo>
                      <a:cubicBezTo>
                        <a:pt x="291" y="155"/>
                        <a:pt x="291" y="155"/>
                        <a:pt x="291" y="155"/>
                      </a:cubicBezTo>
                      <a:cubicBezTo>
                        <a:pt x="289" y="155"/>
                        <a:pt x="289" y="155"/>
                        <a:pt x="289" y="155"/>
                      </a:cubicBezTo>
                      <a:cubicBezTo>
                        <a:pt x="288" y="155"/>
                        <a:pt x="288" y="155"/>
                        <a:pt x="288" y="155"/>
                      </a:cubicBezTo>
                      <a:cubicBezTo>
                        <a:pt x="288" y="155"/>
                        <a:pt x="288" y="155"/>
                        <a:pt x="288" y="155"/>
                      </a:cubicBezTo>
                      <a:cubicBezTo>
                        <a:pt x="287" y="154"/>
                        <a:pt x="287" y="154"/>
                        <a:pt x="287" y="154"/>
                      </a:cubicBezTo>
                      <a:cubicBezTo>
                        <a:pt x="287" y="154"/>
                        <a:pt x="287" y="154"/>
                        <a:pt x="287" y="154"/>
                      </a:cubicBezTo>
                      <a:cubicBezTo>
                        <a:pt x="287" y="153"/>
                        <a:pt x="287" y="153"/>
                        <a:pt x="287" y="153"/>
                      </a:cubicBezTo>
                      <a:cubicBezTo>
                        <a:pt x="285" y="153"/>
                        <a:pt x="285" y="153"/>
                        <a:pt x="285" y="153"/>
                      </a:cubicBezTo>
                      <a:cubicBezTo>
                        <a:pt x="284" y="152"/>
                        <a:pt x="284" y="152"/>
                        <a:pt x="284" y="152"/>
                      </a:cubicBezTo>
                      <a:cubicBezTo>
                        <a:pt x="283" y="152"/>
                        <a:pt x="283" y="152"/>
                        <a:pt x="283" y="152"/>
                      </a:cubicBezTo>
                      <a:cubicBezTo>
                        <a:pt x="283" y="154"/>
                        <a:pt x="283" y="154"/>
                        <a:pt x="283" y="154"/>
                      </a:cubicBezTo>
                      <a:cubicBezTo>
                        <a:pt x="284" y="155"/>
                        <a:pt x="284" y="155"/>
                        <a:pt x="284" y="155"/>
                      </a:cubicBezTo>
                      <a:cubicBezTo>
                        <a:pt x="283" y="155"/>
                        <a:pt x="283" y="155"/>
                        <a:pt x="283" y="155"/>
                      </a:cubicBezTo>
                      <a:cubicBezTo>
                        <a:pt x="283" y="155"/>
                        <a:pt x="283" y="155"/>
                        <a:pt x="283" y="155"/>
                      </a:cubicBezTo>
                      <a:cubicBezTo>
                        <a:pt x="282" y="154"/>
                        <a:pt x="282" y="154"/>
                        <a:pt x="282" y="154"/>
                      </a:cubicBezTo>
                      <a:cubicBezTo>
                        <a:pt x="281" y="153"/>
                        <a:pt x="281" y="153"/>
                        <a:pt x="281" y="153"/>
                      </a:cubicBezTo>
                      <a:cubicBezTo>
                        <a:pt x="281" y="153"/>
                        <a:pt x="281" y="153"/>
                        <a:pt x="281" y="153"/>
                      </a:cubicBezTo>
                      <a:cubicBezTo>
                        <a:pt x="281" y="153"/>
                        <a:pt x="281" y="153"/>
                        <a:pt x="281" y="153"/>
                      </a:cubicBezTo>
                      <a:cubicBezTo>
                        <a:pt x="280" y="152"/>
                        <a:pt x="280" y="152"/>
                        <a:pt x="280" y="152"/>
                      </a:cubicBezTo>
                      <a:cubicBezTo>
                        <a:pt x="279" y="151"/>
                        <a:pt x="279" y="151"/>
                        <a:pt x="279" y="151"/>
                      </a:cubicBezTo>
                      <a:cubicBezTo>
                        <a:pt x="279" y="151"/>
                        <a:pt x="279" y="151"/>
                        <a:pt x="279" y="151"/>
                      </a:cubicBezTo>
                      <a:cubicBezTo>
                        <a:pt x="278" y="150"/>
                        <a:pt x="278" y="150"/>
                        <a:pt x="278" y="150"/>
                      </a:cubicBezTo>
                      <a:cubicBezTo>
                        <a:pt x="278" y="150"/>
                        <a:pt x="278" y="150"/>
                        <a:pt x="278" y="150"/>
                      </a:cubicBezTo>
                      <a:cubicBezTo>
                        <a:pt x="277" y="149"/>
                        <a:pt x="277" y="149"/>
                        <a:pt x="277" y="149"/>
                      </a:cubicBezTo>
                      <a:cubicBezTo>
                        <a:pt x="277" y="149"/>
                        <a:pt x="277" y="149"/>
                        <a:pt x="277" y="149"/>
                      </a:cubicBezTo>
                      <a:cubicBezTo>
                        <a:pt x="276" y="149"/>
                        <a:pt x="276" y="149"/>
                        <a:pt x="276" y="149"/>
                      </a:cubicBezTo>
                      <a:cubicBezTo>
                        <a:pt x="276" y="149"/>
                        <a:pt x="276" y="149"/>
                        <a:pt x="276" y="149"/>
                      </a:cubicBezTo>
                      <a:cubicBezTo>
                        <a:pt x="278" y="151"/>
                        <a:pt x="278" y="151"/>
                        <a:pt x="278" y="151"/>
                      </a:cubicBezTo>
                      <a:cubicBezTo>
                        <a:pt x="278" y="151"/>
                        <a:pt x="278" y="151"/>
                        <a:pt x="278" y="151"/>
                      </a:cubicBezTo>
                      <a:cubicBezTo>
                        <a:pt x="279" y="152"/>
                        <a:pt x="279" y="152"/>
                        <a:pt x="279" y="152"/>
                      </a:cubicBezTo>
                      <a:cubicBezTo>
                        <a:pt x="280" y="152"/>
                        <a:pt x="280" y="152"/>
                        <a:pt x="280" y="152"/>
                      </a:cubicBezTo>
                      <a:cubicBezTo>
                        <a:pt x="280" y="153"/>
                        <a:pt x="280" y="153"/>
                        <a:pt x="280" y="153"/>
                      </a:cubicBezTo>
                      <a:cubicBezTo>
                        <a:pt x="280" y="154"/>
                        <a:pt x="280" y="154"/>
                        <a:pt x="280" y="154"/>
                      </a:cubicBezTo>
                      <a:cubicBezTo>
                        <a:pt x="279" y="153"/>
                        <a:pt x="279" y="153"/>
                        <a:pt x="279" y="153"/>
                      </a:cubicBezTo>
                      <a:cubicBezTo>
                        <a:pt x="279" y="154"/>
                        <a:pt x="279" y="154"/>
                        <a:pt x="279" y="154"/>
                      </a:cubicBezTo>
                      <a:cubicBezTo>
                        <a:pt x="277" y="153"/>
                        <a:pt x="277" y="153"/>
                        <a:pt x="277" y="153"/>
                      </a:cubicBezTo>
                      <a:cubicBezTo>
                        <a:pt x="277" y="153"/>
                        <a:pt x="277" y="153"/>
                        <a:pt x="277" y="153"/>
                      </a:cubicBezTo>
                      <a:cubicBezTo>
                        <a:pt x="277" y="152"/>
                        <a:pt x="277" y="152"/>
                        <a:pt x="277" y="152"/>
                      </a:cubicBezTo>
                      <a:cubicBezTo>
                        <a:pt x="276" y="152"/>
                        <a:pt x="276" y="152"/>
                        <a:pt x="276" y="152"/>
                      </a:cubicBezTo>
                      <a:cubicBezTo>
                        <a:pt x="275" y="151"/>
                        <a:pt x="275" y="151"/>
                        <a:pt x="275" y="151"/>
                      </a:cubicBezTo>
                      <a:cubicBezTo>
                        <a:pt x="274" y="152"/>
                        <a:pt x="274" y="152"/>
                        <a:pt x="274" y="152"/>
                      </a:cubicBezTo>
                      <a:cubicBezTo>
                        <a:pt x="273" y="152"/>
                        <a:pt x="273" y="152"/>
                        <a:pt x="273" y="152"/>
                      </a:cubicBezTo>
                      <a:cubicBezTo>
                        <a:pt x="272" y="151"/>
                        <a:pt x="272" y="151"/>
                        <a:pt x="272" y="151"/>
                      </a:cubicBezTo>
                      <a:cubicBezTo>
                        <a:pt x="271" y="151"/>
                        <a:pt x="271" y="151"/>
                        <a:pt x="271" y="151"/>
                      </a:cubicBezTo>
                      <a:cubicBezTo>
                        <a:pt x="270" y="151"/>
                        <a:pt x="270" y="151"/>
                        <a:pt x="270" y="151"/>
                      </a:cubicBezTo>
                      <a:cubicBezTo>
                        <a:pt x="270" y="151"/>
                        <a:pt x="270" y="151"/>
                        <a:pt x="270" y="151"/>
                      </a:cubicBezTo>
                      <a:cubicBezTo>
                        <a:pt x="269" y="150"/>
                        <a:pt x="269" y="150"/>
                        <a:pt x="269" y="150"/>
                      </a:cubicBezTo>
                      <a:cubicBezTo>
                        <a:pt x="269" y="150"/>
                        <a:pt x="269" y="150"/>
                        <a:pt x="269" y="150"/>
                      </a:cubicBezTo>
                      <a:cubicBezTo>
                        <a:pt x="270" y="148"/>
                        <a:pt x="270" y="148"/>
                        <a:pt x="270" y="148"/>
                      </a:cubicBezTo>
                      <a:cubicBezTo>
                        <a:pt x="271" y="148"/>
                        <a:pt x="271" y="148"/>
                        <a:pt x="271" y="148"/>
                      </a:cubicBezTo>
                      <a:cubicBezTo>
                        <a:pt x="271" y="148"/>
                        <a:pt x="271" y="148"/>
                        <a:pt x="271" y="148"/>
                      </a:cubicBezTo>
                      <a:cubicBezTo>
                        <a:pt x="270" y="148"/>
                        <a:pt x="270" y="148"/>
                        <a:pt x="270" y="148"/>
                      </a:cubicBezTo>
                      <a:cubicBezTo>
                        <a:pt x="269" y="149"/>
                        <a:pt x="269" y="149"/>
                        <a:pt x="269" y="149"/>
                      </a:cubicBezTo>
                      <a:cubicBezTo>
                        <a:pt x="269" y="149"/>
                        <a:pt x="269" y="149"/>
                        <a:pt x="269" y="149"/>
                      </a:cubicBezTo>
                      <a:cubicBezTo>
                        <a:pt x="268" y="149"/>
                        <a:pt x="268" y="149"/>
                        <a:pt x="268" y="149"/>
                      </a:cubicBezTo>
                      <a:cubicBezTo>
                        <a:pt x="267" y="149"/>
                        <a:pt x="267" y="149"/>
                        <a:pt x="267" y="149"/>
                      </a:cubicBezTo>
                      <a:cubicBezTo>
                        <a:pt x="266" y="149"/>
                        <a:pt x="266" y="149"/>
                        <a:pt x="266" y="149"/>
                      </a:cubicBezTo>
                      <a:cubicBezTo>
                        <a:pt x="266" y="149"/>
                        <a:pt x="266" y="149"/>
                        <a:pt x="266" y="149"/>
                      </a:cubicBezTo>
                      <a:cubicBezTo>
                        <a:pt x="267" y="149"/>
                        <a:pt x="267" y="149"/>
                        <a:pt x="267" y="149"/>
                      </a:cubicBezTo>
                      <a:cubicBezTo>
                        <a:pt x="266" y="150"/>
                        <a:pt x="266" y="150"/>
                        <a:pt x="266" y="150"/>
                      </a:cubicBezTo>
                      <a:cubicBezTo>
                        <a:pt x="265" y="150"/>
                        <a:pt x="265" y="150"/>
                        <a:pt x="265" y="150"/>
                      </a:cubicBezTo>
                      <a:cubicBezTo>
                        <a:pt x="264" y="149"/>
                        <a:pt x="264" y="149"/>
                        <a:pt x="264" y="149"/>
                      </a:cubicBezTo>
                      <a:cubicBezTo>
                        <a:pt x="264" y="148"/>
                        <a:pt x="264" y="148"/>
                        <a:pt x="264" y="148"/>
                      </a:cubicBezTo>
                      <a:cubicBezTo>
                        <a:pt x="263" y="147"/>
                        <a:pt x="263" y="147"/>
                        <a:pt x="263" y="147"/>
                      </a:cubicBezTo>
                      <a:cubicBezTo>
                        <a:pt x="263" y="146"/>
                        <a:pt x="263" y="146"/>
                        <a:pt x="263" y="146"/>
                      </a:cubicBezTo>
                      <a:cubicBezTo>
                        <a:pt x="265" y="146"/>
                        <a:pt x="265" y="146"/>
                        <a:pt x="265" y="146"/>
                      </a:cubicBezTo>
                      <a:cubicBezTo>
                        <a:pt x="265" y="145"/>
                        <a:pt x="265" y="145"/>
                        <a:pt x="265" y="145"/>
                      </a:cubicBezTo>
                      <a:cubicBezTo>
                        <a:pt x="265" y="145"/>
                        <a:pt x="265" y="145"/>
                        <a:pt x="265" y="145"/>
                      </a:cubicBezTo>
                      <a:cubicBezTo>
                        <a:pt x="264" y="145"/>
                        <a:pt x="264" y="145"/>
                        <a:pt x="264" y="145"/>
                      </a:cubicBezTo>
                      <a:cubicBezTo>
                        <a:pt x="263" y="145"/>
                        <a:pt x="263" y="145"/>
                        <a:pt x="263" y="145"/>
                      </a:cubicBezTo>
                      <a:cubicBezTo>
                        <a:pt x="263" y="146"/>
                        <a:pt x="263" y="146"/>
                        <a:pt x="263" y="146"/>
                      </a:cubicBezTo>
                      <a:cubicBezTo>
                        <a:pt x="262" y="146"/>
                        <a:pt x="262" y="146"/>
                        <a:pt x="262" y="146"/>
                      </a:cubicBezTo>
                      <a:cubicBezTo>
                        <a:pt x="262" y="146"/>
                        <a:pt x="262" y="146"/>
                        <a:pt x="262" y="146"/>
                      </a:cubicBezTo>
                      <a:cubicBezTo>
                        <a:pt x="262" y="145"/>
                        <a:pt x="262" y="145"/>
                        <a:pt x="262" y="145"/>
                      </a:cubicBezTo>
                      <a:cubicBezTo>
                        <a:pt x="262" y="145"/>
                        <a:pt x="262" y="145"/>
                        <a:pt x="262" y="145"/>
                      </a:cubicBezTo>
                      <a:cubicBezTo>
                        <a:pt x="261" y="145"/>
                        <a:pt x="261" y="145"/>
                        <a:pt x="261" y="145"/>
                      </a:cubicBezTo>
                      <a:cubicBezTo>
                        <a:pt x="261" y="145"/>
                        <a:pt x="261" y="145"/>
                        <a:pt x="261" y="145"/>
                      </a:cubicBezTo>
                      <a:cubicBezTo>
                        <a:pt x="261" y="146"/>
                        <a:pt x="261" y="146"/>
                        <a:pt x="261" y="146"/>
                      </a:cubicBezTo>
                      <a:cubicBezTo>
                        <a:pt x="261" y="146"/>
                        <a:pt x="261" y="146"/>
                        <a:pt x="261" y="146"/>
                      </a:cubicBezTo>
                      <a:cubicBezTo>
                        <a:pt x="260" y="146"/>
                        <a:pt x="260" y="146"/>
                        <a:pt x="260" y="146"/>
                      </a:cubicBezTo>
                      <a:cubicBezTo>
                        <a:pt x="260" y="146"/>
                        <a:pt x="260" y="146"/>
                        <a:pt x="260" y="146"/>
                      </a:cubicBezTo>
                      <a:cubicBezTo>
                        <a:pt x="259" y="145"/>
                        <a:pt x="259" y="145"/>
                        <a:pt x="259" y="145"/>
                      </a:cubicBezTo>
                      <a:cubicBezTo>
                        <a:pt x="258" y="146"/>
                        <a:pt x="258" y="146"/>
                        <a:pt x="258" y="146"/>
                      </a:cubicBezTo>
                      <a:cubicBezTo>
                        <a:pt x="258" y="146"/>
                        <a:pt x="258" y="146"/>
                        <a:pt x="258" y="146"/>
                      </a:cubicBezTo>
                      <a:cubicBezTo>
                        <a:pt x="258" y="146"/>
                        <a:pt x="258" y="146"/>
                        <a:pt x="258" y="146"/>
                      </a:cubicBezTo>
                      <a:cubicBezTo>
                        <a:pt x="257" y="145"/>
                        <a:pt x="257" y="145"/>
                        <a:pt x="257" y="145"/>
                      </a:cubicBezTo>
                      <a:cubicBezTo>
                        <a:pt x="257" y="145"/>
                        <a:pt x="257" y="145"/>
                        <a:pt x="257" y="145"/>
                      </a:cubicBezTo>
                      <a:cubicBezTo>
                        <a:pt x="257" y="145"/>
                        <a:pt x="257" y="145"/>
                        <a:pt x="257" y="145"/>
                      </a:cubicBezTo>
                      <a:cubicBezTo>
                        <a:pt x="258" y="145"/>
                        <a:pt x="258" y="145"/>
                        <a:pt x="258" y="145"/>
                      </a:cubicBezTo>
                      <a:cubicBezTo>
                        <a:pt x="258" y="145"/>
                        <a:pt x="258" y="145"/>
                        <a:pt x="258" y="145"/>
                      </a:cubicBezTo>
                      <a:cubicBezTo>
                        <a:pt x="257" y="144"/>
                        <a:pt x="257" y="144"/>
                        <a:pt x="257" y="144"/>
                      </a:cubicBezTo>
                      <a:cubicBezTo>
                        <a:pt x="256" y="143"/>
                        <a:pt x="256" y="143"/>
                        <a:pt x="256" y="143"/>
                      </a:cubicBezTo>
                      <a:cubicBezTo>
                        <a:pt x="255" y="143"/>
                        <a:pt x="255" y="143"/>
                        <a:pt x="255" y="143"/>
                      </a:cubicBezTo>
                      <a:cubicBezTo>
                        <a:pt x="256" y="142"/>
                        <a:pt x="256" y="142"/>
                        <a:pt x="256" y="142"/>
                      </a:cubicBezTo>
                      <a:cubicBezTo>
                        <a:pt x="255" y="141"/>
                        <a:pt x="255" y="141"/>
                        <a:pt x="255" y="141"/>
                      </a:cubicBezTo>
                      <a:cubicBezTo>
                        <a:pt x="255" y="139"/>
                        <a:pt x="255" y="139"/>
                        <a:pt x="255" y="139"/>
                      </a:cubicBezTo>
                      <a:cubicBezTo>
                        <a:pt x="255" y="139"/>
                        <a:pt x="255" y="139"/>
                        <a:pt x="255" y="139"/>
                      </a:cubicBezTo>
                      <a:cubicBezTo>
                        <a:pt x="256" y="139"/>
                        <a:pt x="256" y="139"/>
                        <a:pt x="256" y="139"/>
                      </a:cubicBezTo>
                      <a:cubicBezTo>
                        <a:pt x="256" y="138"/>
                        <a:pt x="256" y="138"/>
                        <a:pt x="256" y="138"/>
                      </a:cubicBezTo>
                      <a:cubicBezTo>
                        <a:pt x="256" y="137"/>
                        <a:pt x="256" y="137"/>
                        <a:pt x="256" y="137"/>
                      </a:cubicBezTo>
                      <a:cubicBezTo>
                        <a:pt x="256" y="137"/>
                        <a:pt x="256" y="137"/>
                        <a:pt x="256" y="137"/>
                      </a:cubicBezTo>
                      <a:cubicBezTo>
                        <a:pt x="257" y="137"/>
                        <a:pt x="257" y="137"/>
                        <a:pt x="257" y="137"/>
                      </a:cubicBezTo>
                      <a:cubicBezTo>
                        <a:pt x="257" y="138"/>
                        <a:pt x="257" y="138"/>
                        <a:pt x="257" y="138"/>
                      </a:cubicBezTo>
                      <a:cubicBezTo>
                        <a:pt x="258" y="138"/>
                        <a:pt x="258" y="138"/>
                        <a:pt x="258" y="138"/>
                      </a:cubicBezTo>
                      <a:cubicBezTo>
                        <a:pt x="259" y="138"/>
                        <a:pt x="259" y="138"/>
                        <a:pt x="259" y="138"/>
                      </a:cubicBezTo>
                      <a:cubicBezTo>
                        <a:pt x="260" y="139"/>
                        <a:pt x="260" y="139"/>
                        <a:pt x="260" y="139"/>
                      </a:cubicBezTo>
                      <a:cubicBezTo>
                        <a:pt x="261" y="140"/>
                        <a:pt x="261" y="140"/>
                        <a:pt x="261" y="140"/>
                      </a:cubicBezTo>
                      <a:cubicBezTo>
                        <a:pt x="263" y="140"/>
                        <a:pt x="263" y="140"/>
                        <a:pt x="263" y="140"/>
                      </a:cubicBezTo>
                      <a:cubicBezTo>
                        <a:pt x="263" y="140"/>
                        <a:pt x="263" y="140"/>
                        <a:pt x="263" y="140"/>
                      </a:cubicBezTo>
                      <a:cubicBezTo>
                        <a:pt x="265" y="139"/>
                        <a:pt x="265" y="139"/>
                        <a:pt x="265" y="139"/>
                      </a:cubicBezTo>
                      <a:cubicBezTo>
                        <a:pt x="264" y="139"/>
                        <a:pt x="264" y="139"/>
                        <a:pt x="264" y="139"/>
                      </a:cubicBezTo>
                      <a:cubicBezTo>
                        <a:pt x="264" y="138"/>
                        <a:pt x="264" y="138"/>
                        <a:pt x="264" y="138"/>
                      </a:cubicBezTo>
                      <a:cubicBezTo>
                        <a:pt x="263" y="138"/>
                        <a:pt x="263" y="138"/>
                        <a:pt x="263" y="138"/>
                      </a:cubicBezTo>
                      <a:cubicBezTo>
                        <a:pt x="262" y="137"/>
                        <a:pt x="262" y="137"/>
                        <a:pt x="262" y="137"/>
                      </a:cubicBezTo>
                      <a:cubicBezTo>
                        <a:pt x="261" y="137"/>
                        <a:pt x="261" y="137"/>
                        <a:pt x="261" y="137"/>
                      </a:cubicBezTo>
                      <a:cubicBezTo>
                        <a:pt x="260" y="136"/>
                        <a:pt x="260" y="136"/>
                        <a:pt x="260" y="136"/>
                      </a:cubicBezTo>
                      <a:cubicBezTo>
                        <a:pt x="259" y="136"/>
                        <a:pt x="259" y="136"/>
                        <a:pt x="259" y="136"/>
                      </a:cubicBezTo>
                      <a:cubicBezTo>
                        <a:pt x="258" y="135"/>
                        <a:pt x="258" y="135"/>
                        <a:pt x="258" y="135"/>
                      </a:cubicBezTo>
                      <a:cubicBezTo>
                        <a:pt x="257" y="135"/>
                        <a:pt x="257" y="135"/>
                        <a:pt x="257" y="135"/>
                      </a:cubicBezTo>
                      <a:cubicBezTo>
                        <a:pt x="256" y="135"/>
                        <a:pt x="256" y="135"/>
                        <a:pt x="256" y="135"/>
                      </a:cubicBezTo>
                      <a:cubicBezTo>
                        <a:pt x="255" y="134"/>
                        <a:pt x="255" y="134"/>
                        <a:pt x="255" y="134"/>
                      </a:cubicBezTo>
                      <a:cubicBezTo>
                        <a:pt x="256" y="132"/>
                        <a:pt x="256" y="132"/>
                        <a:pt x="256" y="132"/>
                      </a:cubicBezTo>
                      <a:cubicBezTo>
                        <a:pt x="256" y="132"/>
                        <a:pt x="256" y="132"/>
                        <a:pt x="256" y="132"/>
                      </a:cubicBezTo>
                      <a:cubicBezTo>
                        <a:pt x="256" y="131"/>
                        <a:pt x="256" y="131"/>
                        <a:pt x="256" y="131"/>
                      </a:cubicBezTo>
                      <a:cubicBezTo>
                        <a:pt x="257" y="130"/>
                        <a:pt x="257" y="130"/>
                        <a:pt x="257" y="130"/>
                      </a:cubicBezTo>
                      <a:cubicBezTo>
                        <a:pt x="257" y="130"/>
                        <a:pt x="257" y="130"/>
                        <a:pt x="257" y="130"/>
                      </a:cubicBezTo>
                      <a:cubicBezTo>
                        <a:pt x="258" y="130"/>
                        <a:pt x="258" y="130"/>
                        <a:pt x="258" y="130"/>
                      </a:cubicBezTo>
                      <a:cubicBezTo>
                        <a:pt x="258" y="128"/>
                        <a:pt x="258" y="128"/>
                        <a:pt x="258" y="128"/>
                      </a:cubicBezTo>
                      <a:cubicBezTo>
                        <a:pt x="258" y="127"/>
                        <a:pt x="258" y="127"/>
                        <a:pt x="258" y="127"/>
                      </a:cubicBezTo>
                      <a:cubicBezTo>
                        <a:pt x="259" y="127"/>
                        <a:pt x="259" y="127"/>
                        <a:pt x="259" y="127"/>
                      </a:cubicBezTo>
                      <a:cubicBezTo>
                        <a:pt x="259" y="126"/>
                        <a:pt x="259" y="126"/>
                        <a:pt x="259" y="126"/>
                      </a:cubicBezTo>
                      <a:cubicBezTo>
                        <a:pt x="260" y="126"/>
                        <a:pt x="260" y="126"/>
                        <a:pt x="260" y="126"/>
                      </a:cubicBezTo>
                      <a:cubicBezTo>
                        <a:pt x="261" y="126"/>
                        <a:pt x="261" y="126"/>
                        <a:pt x="261" y="126"/>
                      </a:cubicBezTo>
                      <a:cubicBezTo>
                        <a:pt x="261" y="125"/>
                        <a:pt x="261" y="125"/>
                        <a:pt x="261" y="125"/>
                      </a:cubicBezTo>
                      <a:cubicBezTo>
                        <a:pt x="261" y="125"/>
                        <a:pt x="261" y="125"/>
                        <a:pt x="261" y="125"/>
                      </a:cubicBezTo>
                      <a:cubicBezTo>
                        <a:pt x="261" y="125"/>
                        <a:pt x="261" y="125"/>
                        <a:pt x="261" y="125"/>
                      </a:cubicBezTo>
                      <a:cubicBezTo>
                        <a:pt x="260" y="125"/>
                        <a:pt x="260" y="125"/>
                        <a:pt x="260" y="125"/>
                      </a:cubicBezTo>
                      <a:cubicBezTo>
                        <a:pt x="261" y="123"/>
                        <a:pt x="261" y="123"/>
                        <a:pt x="261" y="123"/>
                      </a:cubicBezTo>
                      <a:cubicBezTo>
                        <a:pt x="262" y="122"/>
                        <a:pt x="262" y="122"/>
                        <a:pt x="262" y="122"/>
                      </a:cubicBezTo>
                      <a:cubicBezTo>
                        <a:pt x="263" y="122"/>
                        <a:pt x="263" y="122"/>
                        <a:pt x="263" y="122"/>
                      </a:cubicBezTo>
                      <a:cubicBezTo>
                        <a:pt x="263" y="121"/>
                        <a:pt x="263" y="121"/>
                        <a:pt x="263" y="121"/>
                      </a:cubicBezTo>
                      <a:cubicBezTo>
                        <a:pt x="264" y="121"/>
                        <a:pt x="264" y="121"/>
                        <a:pt x="264" y="121"/>
                      </a:cubicBezTo>
                      <a:cubicBezTo>
                        <a:pt x="264" y="121"/>
                        <a:pt x="264" y="121"/>
                        <a:pt x="264" y="121"/>
                      </a:cubicBezTo>
                      <a:cubicBezTo>
                        <a:pt x="265" y="120"/>
                        <a:pt x="265" y="120"/>
                        <a:pt x="265" y="120"/>
                      </a:cubicBezTo>
                      <a:cubicBezTo>
                        <a:pt x="265" y="120"/>
                        <a:pt x="265" y="120"/>
                        <a:pt x="265" y="120"/>
                      </a:cubicBezTo>
                      <a:cubicBezTo>
                        <a:pt x="265" y="120"/>
                        <a:pt x="265" y="120"/>
                        <a:pt x="265" y="120"/>
                      </a:cubicBezTo>
                      <a:cubicBezTo>
                        <a:pt x="266" y="120"/>
                        <a:pt x="266" y="120"/>
                        <a:pt x="266" y="120"/>
                      </a:cubicBezTo>
                      <a:cubicBezTo>
                        <a:pt x="266" y="119"/>
                        <a:pt x="266" y="119"/>
                        <a:pt x="266" y="119"/>
                      </a:cubicBezTo>
                      <a:cubicBezTo>
                        <a:pt x="267" y="118"/>
                        <a:pt x="267" y="118"/>
                        <a:pt x="267" y="118"/>
                      </a:cubicBezTo>
                      <a:cubicBezTo>
                        <a:pt x="267" y="118"/>
                        <a:pt x="267" y="118"/>
                        <a:pt x="267" y="118"/>
                      </a:cubicBezTo>
                      <a:cubicBezTo>
                        <a:pt x="267" y="117"/>
                        <a:pt x="267" y="117"/>
                        <a:pt x="267" y="117"/>
                      </a:cubicBezTo>
                      <a:cubicBezTo>
                        <a:pt x="268" y="116"/>
                        <a:pt x="268" y="116"/>
                        <a:pt x="268" y="116"/>
                      </a:cubicBezTo>
                      <a:cubicBezTo>
                        <a:pt x="269" y="116"/>
                        <a:pt x="269" y="116"/>
                        <a:pt x="269" y="116"/>
                      </a:cubicBezTo>
                      <a:cubicBezTo>
                        <a:pt x="270" y="115"/>
                        <a:pt x="270" y="115"/>
                        <a:pt x="270" y="115"/>
                      </a:cubicBezTo>
                      <a:cubicBezTo>
                        <a:pt x="270" y="115"/>
                        <a:pt x="270" y="115"/>
                        <a:pt x="270" y="115"/>
                      </a:cubicBezTo>
                      <a:cubicBezTo>
                        <a:pt x="271" y="115"/>
                        <a:pt x="271" y="115"/>
                        <a:pt x="271" y="115"/>
                      </a:cubicBezTo>
                      <a:cubicBezTo>
                        <a:pt x="271" y="115"/>
                        <a:pt x="271" y="115"/>
                        <a:pt x="271" y="115"/>
                      </a:cubicBezTo>
                      <a:cubicBezTo>
                        <a:pt x="271" y="114"/>
                        <a:pt x="271" y="114"/>
                        <a:pt x="271" y="114"/>
                      </a:cubicBezTo>
                      <a:cubicBezTo>
                        <a:pt x="273" y="113"/>
                        <a:pt x="273" y="113"/>
                        <a:pt x="273" y="113"/>
                      </a:cubicBezTo>
                      <a:cubicBezTo>
                        <a:pt x="274" y="112"/>
                        <a:pt x="274" y="112"/>
                        <a:pt x="274" y="112"/>
                      </a:cubicBezTo>
                      <a:cubicBezTo>
                        <a:pt x="277" y="111"/>
                        <a:pt x="277" y="111"/>
                        <a:pt x="277" y="111"/>
                      </a:cubicBezTo>
                      <a:cubicBezTo>
                        <a:pt x="279" y="111"/>
                        <a:pt x="279" y="111"/>
                        <a:pt x="279" y="111"/>
                      </a:cubicBezTo>
                      <a:cubicBezTo>
                        <a:pt x="279" y="111"/>
                        <a:pt x="279" y="111"/>
                        <a:pt x="279" y="111"/>
                      </a:cubicBezTo>
                      <a:cubicBezTo>
                        <a:pt x="281" y="111"/>
                        <a:pt x="281" y="111"/>
                        <a:pt x="281" y="111"/>
                      </a:cubicBezTo>
                      <a:cubicBezTo>
                        <a:pt x="281" y="111"/>
                        <a:pt x="281" y="111"/>
                        <a:pt x="281" y="111"/>
                      </a:cubicBezTo>
                      <a:cubicBezTo>
                        <a:pt x="282" y="111"/>
                        <a:pt x="282" y="111"/>
                        <a:pt x="282" y="111"/>
                      </a:cubicBezTo>
                      <a:cubicBezTo>
                        <a:pt x="283" y="111"/>
                        <a:pt x="283" y="111"/>
                        <a:pt x="283" y="111"/>
                      </a:cubicBezTo>
                      <a:cubicBezTo>
                        <a:pt x="284" y="112"/>
                        <a:pt x="284" y="112"/>
                        <a:pt x="284" y="112"/>
                      </a:cubicBezTo>
                      <a:cubicBezTo>
                        <a:pt x="286" y="113"/>
                        <a:pt x="286" y="113"/>
                        <a:pt x="286" y="113"/>
                      </a:cubicBezTo>
                      <a:cubicBezTo>
                        <a:pt x="286" y="113"/>
                        <a:pt x="286" y="113"/>
                        <a:pt x="286" y="113"/>
                      </a:cubicBezTo>
                      <a:cubicBezTo>
                        <a:pt x="286" y="114"/>
                        <a:pt x="286" y="114"/>
                        <a:pt x="286" y="114"/>
                      </a:cubicBezTo>
                      <a:cubicBezTo>
                        <a:pt x="285" y="114"/>
                        <a:pt x="285" y="114"/>
                        <a:pt x="285" y="114"/>
                      </a:cubicBezTo>
                      <a:cubicBezTo>
                        <a:pt x="283" y="115"/>
                        <a:pt x="283" y="115"/>
                        <a:pt x="283" y="115"/>
                      </a:cubicBezTo>
                      <a:cubicBezTo>
                        <a:pt x="283" y="115"/>
                        <a:pt x="283" y="115"/>
                        <a:pt x="283" y="115"/>
                      </a:cubicBezTo>
                      <a:cubicBezTo>
                        <a:pt x="282" y="115"/>
                        <a:pt x="282" y="115"/>
                        <a:pt x="282" y="115"/>
                      </a:cubicBezTo>
                      <a:cubicBezTo>
                        <a:pt x="281" y="116"/>
                        <a:pt x="281" y="116"/>
                        <a:pt x="281" y="116"/>
                      </a:cubicBezTo>
                      <a:cubicBezTo>
                        <a:pt x="280" y="117"/>
                        <a:pt x="280" y="117"/>
                        <a:pt x="280" y="117"/>
                      </a:cubicBezTo>
                      <a:cubicBezTo>
                        <a:pt x="279" y="118"/>
                        <a:pt x="279" y="118"/>
                        <a:pt x="279" y="118"/>
                      </a:cubicBezTo>
                      <a:cubicBezTo>
                        <a:pt x="277" y="120"/>
                        <a:pt x="277" y="120"/>
                        <a:pt x="277" y="120"/>
                      </a:cubicBezTo>
                      <a:cubicBezTo>
                        <a:pt x="275" y="121"/>
                        <a:pt x="275" y="121"/>
                        <a:pt x="275" y="121"/>
                      </a:cubicBezTo>
                      <a:cubicBezTo>
                        <a:pt x="275" y="121"/>
                        <a:pt x="275" y="121"/>
                        <a:pt x="275" y="121"/>
                      </a:cubicBezTo>
                      <a:cubicBezTo>
                        <a:pt x="274" y="123"/>
                        <a:pt x="274" y="123"/>
                        <a:pt x="274" y="123"/>
                      </a:cubicBezTo>
                      <a:cubicBezTo>
                        <a:pt x="274" y="124"/>
                        <a:pt x="274" y="124"/>
                        <a:pt x="274" y="124"/>
                      </a:cubicBezTo>
                      <a:cubicBezTo>
                        <a:pt x="274" y="125"/>
                        <a:pt x="274" y="125"/>
                        <a:pt x="274" y="125"/>
                      </a:cubicBezTo>
                      <a:cubicBezTo>
                        <a:pt x="275" y="125"/>
                        <a:pt x="275" y="125"/>
                        <a:pt x="275" y="125"/>
                      </a:cubicBezTo>
                      <a:cubicBezTo>
                        <a:pt x="275" y="126"/>
                        <a:pt x="275" y="126"/>
                        <a:pt x="275" y="126"/>
                      </a:cubicBezTo>
                      <a:cubicBezTo>
                        <a:pt x="274" y="126"/>
                        <a:pt x="274" y="126"/>
                        <a:pt x="274" y="126"/>
                      </a:cubicBezTo>
                      <a:cubicBezTo>
                        <a:pt x="273" y="127"/>
                        <a:pt x="273" y="127"/>
                        <a:pt x="273" y="127"/>
                      </a:cubicBezTo>
                      <a:cubicBezTo>
                        <a:pt x="272" y="128"/>
                        <a:pt x="272" y="128"/>
                        <a:pt x="272" y="128"/>
                      </a:cubicBezTo>
                      <a:cubicBezTo>
                        <a:pt x="272" y="129"/>
                        <a:pt x="272" y="129"/>
                        <a:pt x="272" y="129"/>
                      </a:cubicBezTo>
                      <a:cubicBezTo>
                        <a:pt x="272" y="130"/>
                        <a:pt x="272" y="130"/>
                        <a:pt x="272" y="130"/>
                      </a:cubicBezTo>
                      <a:cubicBezTo>
                        <a:pt x="271" y="130"/>
                        <a:pt x="271" y="130"/>
                        <a:pt x="271" y="130"/>
                      </a:cubicBezTo>
                      <a:cubicBezTo>
                        <a:pt x="271" y="131"/>
                        <a:pt x="271" y="131"/>
                        <a:pt x="271" y="131"/>
                      </a:cubicBezTo>
                      <a:cubicBezTo>
                        <a:pt x="272" y="132"/>
                        <a:pt x="272" y="132"/>
                        <a:pt x="272" y="132"/>
                      </a:cubicBezTo>
                      <a:cubicBezTo>
                        <a:pt x="272" y="133"/>
                        <a:pt x="272" y="133"/>
                        <a:pt x="272" y="133"/>
                      </a:cubicBezTo>
                      <a:cubicBezTo>
                        <a:pt x="272" y="133"/>
                        <a:pt x="272" y="133"/>
                        <a:pt x="272" y="133"/>
                      </a:cubicBezTo>
                      <a:cubicBezTo>
                        <a:pt x="272" y="135"/>
                        <a:pt x="272" y="135"/>
                        <a:pt x="272" y="135"/>
                      </a:cubicBezTo>
                      <a:cubicBezTo>
                        <a:pt x="273" y="136"/>
                        <a:pt x="273" y="136"/>
                        <a:pt x="273" y="136"/>
                      </a:cubicBezTo>
                      <a:cubicBezTo>
                        <a:pt x="273" y="136"/>
                        <a:pt x="273" y="136"/>
                        <a:pt x="273" y="136"/>
                      </a:cubicBezTo>
                      <a:cubicBezTo>
                        <a:pt x="274" y="136"/>
                        <a:pt x="274" y="136"/>
                        <a:pt x="274" y="136"/>
                      </a:cubicBezTo>
                      <a:cubicBezTo>
                        <a:pt x="274" y="137"/>
                        <a:pt x="274" y="137"/>
                        <a:pt x="274" y="137"/>
                      </a:cubicBezTo>
                      <a:cubicBezTo>
                        <a:pt x="274" y="138"/>
                        <a:pt x="274" y="138"/>
                        <a:pt x="274" y="138"/>
                      </a:cubicBezTo>
                      <a:cubicBezTo>
                        <a:pt x="273" y="137"/>
                        <a:pt x="273" y="137"/>
                        <a:pt x="273" y="137"/>
                      </a:cubicBezTo>
                      <a:cubicBezTo>
                        <a:pt x="273" y="137"/>
                        <a:pt x="273" y="137"/>
                        <a:pt x="273" y="137"/>
                      </a:cubicBezTo>
                      <a:cubicBezTo>
                        <a:pt x="273" y="138"/>
                        <a:pt x="273" y="138"/>
                        <a:pt x="273" y="138"/>
                      </a:cubicBezTo>
                      <a:cubicBezTo>
                        <a:pt x="272" y="138"/>
                        <a:pt x="272" y="138"/>
                        <a:pt x="272" y="138"/>
                      </a:cubicBezTo>
                      <a:cubicBezTo>
                        <a:pt x="272" y="138"/>
                        <a:pt x="272" y="138"/>
                        <a:pt x="272" y="138"/>
                      </a:cubicBezTo>
                      <a:cubicBezTo>
                        <a:pt x="271" y="138"/>
                        <a:pt x="271" y="138"/>
                        <a:pt x="271" y="138"/>
                      </a:cubicBezTo>
                      <a:cubicBezTo>
                        <a:pt x="272" y="138"/>
                        <a:pt x="272" y="138"/>
                        <a:pt x="272" y="138"/>
                      </a:cubicBezTo>
                      <a:cubicBezTo>
                        <a:pt x="272" y="139"/>
                        <a:pt x="272" y="139"/>
                        <a:pt x="272" y="139"/>
                      </a:cubicBezTo>
                      <a:cubicBezTo>
                        <a:pt x="273" y="139"/>
                        <a:pt x="273" y="139"/>
                        <a:pt x="273" y="139"/>
                      </a:cubicBezTo>
                      <a:cubicBezTo>
                        <a:pt x="273" y="139"/>
                        <a:pt x="273" y="139"/>
                        <a:pt x="273" y="139"/>
                      </a:cubicBezTo>
                      <a:cubicBezTo>
                        <a:pt x="273" y="139"/>
                        <a:pt x="273" y="139"/>
                        <a:pt x="273" y="139"/>
                      </a:cubicBezTo>
                      <a:cubicBezTo>
                        <a:pt x="273" y="140"/>
                        <a:pt x="273" y="140"/>
                        <a:pt x="273" y="140"/>
                      </a:cubicBezTo>
                      <a:cubicBezTo>
                        <a:pt x="272" y="141"/>
                        <a:pt x="272" y="141"/>
                        <a:pt x="272" y="141"/>
                      </a:cubicBezTo>
                      <a:cubicBezTo>
                        <a:pt x="272" y="142"/>
                        <a:pt x="272" y="142"/>
                        <a:pt x="272" y="142"/>
                      </a:cubicBezTo>
                      <a:cubicBezTo>
                        <a:pt x="272" y="142"/>
                        <a:pt x="272" y="142"/>
                        <a:pt x="272" y="142"/>
                      </a:cubicBezTo>
                      <a:cubicBezTo>
                        <a:pt x="273" y="141"/>
                        <a:pt x="273" y="141"/>
                        <a:pt x="273" y="141"/>
                      </a:cubicBezTo>
                      <a:cubicBezTo>
                        <a:pt x="273" y="141"/>
                        <a:pt x="273" y="141"/>
                        <a:pt x="273" y="141"/>
                      </a:cubicBezTo>
                      <a:cubicBezTo>
                        <a:pt x="274" y="139"/>
                        <a:pt x="274" y="139"/>
                        <a:pt x="274" y="139"/>
                      </a:cubicBezTo>
                      <a:cubicBezTo>
                        <a:pt x="275" y="139"/>
                        <a:pt x="275" y="139"/>
                        <a:pt x="275" y="139"/>
                      </a:cubicBezTo>
                      <a:cubicBezTo>
                        <a:pt x="275" y="137"/>
                        <a:pt x="275" y="137"/>
                        <a:pt x="275" y="137"/>
                      </a:cubicBezTo>
                      <a:cubicBezTo>
                        <a:pt x="275" y="137"/>
                        <a:pt x="275" y="137"/>
                        <a:pt x="275" y="137"/>
                      </a:cubicBezTo>
                      <a:cubicBezTo>
                        <a:pt x="276" y="136"/>
                        <a:pt x="276" y="136"/>
                        <a:pt x="276" y="136"/>
                      </a:cubicBezTo>
                      <a:cubicBezTo>
                        <a:pt x="276" y="135"/>
                        <a:pt x="276" y="135"/>
                        <a:pt x="276" y="135"/>
                      </a:cubicBezTo>
                      <a:cubicBezTo>
                        <a:pt x="276" y="135"/>
                        <a:pt x="276" y="135"/>
                        <a:pt x="276" y="135"/>
                      </a:cubicBezTo>
                      <a:cubicBezTo>
                        <a:pt x="276" y="134"/>
                        <a:pt x="276" y="134"/>
                        <a:pt x="276" y="134"/>
                      </a:cubicBezTo>
                      <a:cubicBezTo>
                        <a:pt x="275" y="134"/>
                        <a:pt x="275" y="134"/>
                        <a:pt x="275" y="134"/>
                      </a:cubicBezTo>
                      <a:cubicBezTo>
                        <a:pt x="275" y="134"/>
                        <a:pt x="275" y="134"/>
                        <a:pt x="275" y="134"/>
                      </a:cubicBezTo>
                      <a:cubicBezTo>
                        <a:pt x="275" y="133"/>
                        <a:pt x="275" y="133"/>
                        <a:pt x="275" y="133"/>
                      </a:cubicBezTo>
                      <a:cubicBezTo>
                        <a:pt x="275" y="132"/>
                        <a:pt x="275" y="132"/>
                        <a:pt x="275" y="132"/>
                      </a:cubicBezTo>
                      <a:cubicBezTo>
                        <a:pt x="274" y="131"/>
                        <a:pt x="274" y="131"/>
                        <a:pt x="274" y="131"/>
                      </a:cubicBezTo>
                      <a:cubicBezTo>
                        <a:pt x="274" y="130"/>
                        <a:pt x="274" y="130"/>
                        <a:pt x="274" y="130"/>
                      </a:cubicBezTo>
                      <a:cubicBezTo>
                        <a:pt x="274" y="130"/>
                        <a:pt x="274" y="130"/>
                        <a:pt x="274" y="130"/>
                      </a:cubicBezTo>
                      <a:cubicBezTo>
                        <a:pt x="274" y="129"/>
                        <a:pt x="274" y="129"/>
                        <a:pt x="274" y="129"/>
                      </a:cubicBezTo>
                      <a:cubicBezTo>
                        <a:pt x="275" y="130"/>
                        <a:pt x="275" y="130"/>
                        <a:pt x="275" y="130"/>
                      </a:cubicBezTo>
                      <a:cubicBezTo>
                        <a:pt x="275" y="130"/>
                        <a:pt x="275" y="130"/>
                        <a:pt x="275" y="130"/>
                      </a:cubicBezTo>
                      <a:cubicBezTo>
                        <a:pt x="276" y="129"/>
                        <a:pt x="276" y="129"/>
                        <a:pt x="276" y="129"/>
                      </a:cubicBezTo>
                      <a:cubicBezTo>
                        <a:pt x="277" y="129"/>
                        <a:pt x="277" y="129"/>
                        <a:pt x="277" y="129"/>
                      </a:cubicBezTo>
                      <a:cubicBezTo>
                        <a:pt x="276" y="128"/>
                        <a:pt x="276" y="128"/>
                        <a:pt x="276" y="128"/>
                      </a:cubicBezTo>
                      <a:cubicBezTo>
                        <a:pt x="277" y="128"/>
                        <a:pt x="277" y="128"/>
                        <a:pt x="277" y="128"/>
                      </a:cubicBezTo>
                      <a:cubicBezTo>
                        <a:pt x="278" y="128"/>
                        <a:pt x="278" y="128"/>
                        <a:pt x="278" y="128"/>
                      </a:cubicBezTo>
                      <a:cubicBezTo>
                        <a:pt x="278" y="129"/>
                        <a:pt x="278" y="129"/>
                        <a:pt x="278" y="129"/>
                      </a:cubicBezTo>
                      <a:cubicBezTo>
                        <a:pt x="278" y="129"/>
                        <a:pt x="278" y="129"/>
                        <a:pt x="278" y="129"/>
                      </a:cubicBezTo>
                      <a:cubicBezTo>
                        <a:pt x="278" y="130"/>
                        <a:pt x="278" y="130"/>
                        <a:pt x="278" y="130"/>
                      </a:cubicBezTo>
                      <a:cubicBezTo>
                        <a:pt x="279" y="129"/>
                        <a:pt x="279" y="129"/>
                        <a:pt x="279" y="129"/>
                      </a:cubicBezTo>
                      <a:cubicBezTo>
                        <a:pt x="279" y="128"/>
                        <a:pt x="279" y="128"/>
                        <a:pt x="279" y="128"/>
                      </a:cubicBezTo>
                      <a:cubicBezTo>
                        <a:pt x="280" y="128"/>
                        <a:pt x="280" y="128"/>
                        <a:pt x="280" y="128"/>
                      </a:cubicBezTo>
                      <a:cubicBezTo>
                        <a:pt x="280" y="128"/>
                        <a:pt x="280" y="128"/>
                        <a:pt x="280" y="128"/>
                      </a:cubicBezTo>
                      <a:cubicBezTo>
                        <a:pt x="280" y="127"/>
                        <a:pt x="280" y="127"/>
                        <a:pt x="280" y="127"/>
                      </a:cubicBezTo>
                      <a:cubicBezTo>
                        <a:pt x="280" y="127"/>
                        <a:pt x="280" y="127"/>
                        <a:pt x="280" y="127"/>
                      </a:cubicBezTo>
                      <a:cubicBezTo>
                        <a:pt x="281" y="127"/>
                        <a:pt x="281" y="127"/>
                        <a:pt x="281" y="127"/>
                      </a:cubicBezTo>
                      <a:cubicBezTo>
                        <a:pt x="281" y="126"/>
                        <a:pt x="281" y="126"/>
                        <a:pt x="281" y="126"/>
                      </a:cubicBezTo>
                      <a:cubicBezTo>
                        <a:pt x="280" y="126"/>
                        <a:pt x="280" y="126"/>
                        <a:pt x="280" y="126"/>
                      </a:cubicBezTo>
                      <a:cubicBezTo>
                        <a:pt x="279" y="127"/>
                        <a:pt x="279" y="127"/>
                        <a:pt x="279" y="127"/>
                      </a:cubicBezTo>
                      <a:cubicBezTo>
                        <a:pt x="278" y="127"/>
                        <a:pt x="278" y="127"/>
                        <a:pt x="278" y="127"/>
                      </a:cubicBezTo>
                      <a:cubicBezTo>
                        <a:pt x="278" y="126"/>
                        <a:pt x="278" y="126"/>
                        <a:pt x="278" y="126"/>
                      </a:cubicBezTo>
                      <a:cubicBezTo>
                        <a:pt x="277" y="126"/>
                        <a:pt x="277" y="126"/>
                        <a:pt x="277" y="126"/>
                      </a:cubicBezTo>
                      <a:cubicBezTo>
                        <a:pt x="277" y="125"/>
                        <a:pt x="277" y="125"/>
                        <a:pt x="277" y="125"/>
                      </a:cubicBezTo>
                      <a:cubicBezTo>
                        <a:pt x="278" y="125"/>
                        <a:pt x="278" y="125"/>
                        <a:pt x="278" y="125"/>
                      </a:cubicBezTo>
                      <a:cubicBezTo>
                        <a:pt x="278" y="124"/>
                        <a:pt x="278" y="124"/>
                        <a:pt x="278" y="124"/>
                      </a:cubicBezTo>
                      <a:cubicBezTo>
                        <a:pt x="278" y="123"/>
                        <a:pt x="278" y="123"/>
                        <a:pt x="278" y="123"/>
                      </a:cubicBezTo>
                      <a:cubicBezTo>
                        <a:pt x="279" y="122"/>
                        <a:pt x="279" y="122"/>
                        <a:pt x="279" y="122"/>
                      </a:cubicBezTo>
                      <a:cubicBezTo>
                        <a:pt x="279" y="121"/>
                        <a:pt x="279" y="121"/>
                        <a:pt x="279" y="121"/>
                      </a:cubicBezTo>
                      <a:cubicBezTo>
                        <a:pt x="280" y="120"/>
                        <a:pt x="280" y="120"/>
                        <a:pt x="280" y="120"/>
                      </a:cubicBezTo>
                      <a:cubicBezTo>
                        <a:pt x="281" y="121"/>
                        <a:pt x="281" y="121"/>
                        <a:pt x="281" y="121"/>
                      </a:cubicBezTo>
                      <a:cubicBezTo>
                        <a:pt x="282" y="121"/>
                        <a:pt x="282" y="121"/>
                        <a:pt x="282" y="121"/>
                      </a:cubicBezTo>
                      <a:cubicBezTo>
                        <a:pt x="282" y="122"/>
                        <a:pt x="282" y="122"/>
                        <a:pt x="282" y="122"/>
                      </a:cubicBezTo>
                      <a:cubicBezTo>
                        <a:pt x="283" y="123"/>
                        <a:pt x="283" y="123"/>
                        <a:pt x="283" y="123"/>
                      </a:cubicBezTo>
                      <a:cubicBezTo>
                        <a:pt x="284" y="123"/>
                        <a:pt x="284" y="123"/>
                        <a:pt x="284" y="123"/>
                      </a:cubicBezTo>
                      <a:cubicBezTo>
                        <a:pt x="285" y="123"/>
                        <a:pt x="285" y="123"/>
                        <a:pt x="285" y="123"/>
                      </a:cubicBezTo>
                      <a:cubicBezTo>
                        <a:pt x="284" y="123"/>
                        <a:pt x="284" y="123"/>
                        <a:pt x="284" y="123"/>
                      </a:cubicBezTo>
                      <a:cubicBezTo>
                        <a:pt x="284" y="122"/>
                        <a:pt x="284" y="122"/>
                        <a:pt x="284" y="122"/>
                      </a:cubicBezTo>
                      <a:cubicBezTo>
                        <a:pt x="282" y="121"/>
                        <a:pt x="282" y="121"/>
                        <a:pt x="282" y="121"/>
                      </a:cubicBezTo>
                      <a:cubicBezTo>
                        <a:pt x="282" y="121"/>
                        <a:pt x="282" y="121"/>
                        <a:pt x="282" y="121"/>
                      </a:cubicBezTo>
                      <a:cubicBezTo>
                        <a:pt x="282" y="120"/>
                        <a:pt x="282" y="120"/>
                        <a:pt x="282" y="120"/>
                      </a:cubicBezTo>
                      <a:cubicBezTo>
                        <a:pt x="281" y="120"/>
                        <a:pt x="281" y="120"/>
                        <a:pt x="281" y="120"/>
                      </a:cubicBezTo>
                      <a:cubicBezTo>
                        <a:pt x="280" y="120"/>
                        <a:pt x="280" y="120"/>
                        <a:pt x="280" y="120"/>
                      </a:cubicBezTo>
                      <a:cubicBezTo>
                        <a:pt x="281" y="120"/>
                        <a:pt x="281" y="120"/>
                        <a:pt x="281" y="120"/>
                      </a:cubicBezTo>
                      <a:cubicBezTo>
                        <a:pt x="282" y="119"/>
                        <a:pt x="282" y="119"/>
                        <a:pt x="282" y="119"/>
                      </a:cubicBezTo>
                      <a:cubicBezTo>
                        <a:pt x="283" y="119"/>
                        <a:pt x="283" y="119"/>
                        <a:pt x="283" y="119"/>
                      </a:cubicBezTo>
                      <a:cubicBezTo>
                        <a:pt x="283" y="119"/>
                        <a:pt x="283" y="119"/>
                        <a:pt x="283" y="119"/>
                      </a:cubicBezTo>
                      <a:cubicBezTo>
                        <a:pt x="284" y="120"/>
                        <a:pt x="284" y="120"/>
                        <a:pt x="284" y="120"/>
                      </a:cubicBezTo>
                      <a:cubicBezTo>
                        <a:pt x="286" y="121"/>
                        <a:pt x="286" y="121"/>
                        <a:pt x="286" y="121"/>
                      </a:cubicBezTo>
                      <a:cubicBezTo>
                        <a:pt x="286" y="121"/>
                        <a:pt x="286" y="121"/>
                        <a:pt x="286" y="121"/>
                      </a:cubicBezTo>
                      <a:cubicBezTo>
                        <a:pt x="285" y="120"/>
                        <a:pt x="285" y="120"/>
                        <a:pt x="285" y="120"/>
                      </a:cubicBezTo>
                      <a:cubicBezTo>
                        <a:pt x="284" y="119"/>
                        <a:pt x="284" y="119"/>
                        <a:pt x="284" y="119"/>
                      </a:cubicBezTo>
                      <a:cubicBezTo>
                        <a:pt x="283" y="119"/>
                        <a:pt x="283" y="119"/>
                        <a:pt x="283" y="119"/>
                      </a:cubicBezTo>
                      <a:cubicBezTo>
                        <a:pt x="283" y="118"/>
                        <a:pt x="283" y="118"/>
                        <a:pt x="283" y="118"/>
                      </a:cubicBezTo>
                      <a:cubicBezTo>
                        <a:pt x="283" y="117"/>
                        <a:pt x="283" y="117"/>
                        <a:pt x="283" y="117"/>
                      </a:cubicBezTo>
                      <a:cubicBezTo>
                        <a:pt x="285" y="117"/>
                        <a:pt x="285" y="117"/>
                        <a:pt x="285" y="117"/>
                      </a:cubicBezTo>
                      <a:cubicBezTo>
                        <a:pt x="285" y="117"/>
                        <a:pt x="285" y="117"/>
                        <a:pt x="285" y="117"/>
                      </a:cubicBezTo>
                      <a:cubicBezTo>
                        <a:pt x="285" y="118"/>
                        <a:pt x="285" y="118"/>
                        <a:pt x="285" y="118"/>
                      </a:cubicBezTo>
                      <a:cubicBezTo>
                        <a:pt x="285" y="118"/>
                        <a:pt x="285" y="118"/>
                        <a:pt x="285" y="118"/>
                      </a:cubicBezTo>
                      <a:cubicBezTo>
                        <a:pt x="286" y="118"/>
                        <a:pt x="286" y="118"/>
                        <a:pt x="286" y="118"/>
                      </a:cubicBezTo>
                      <a:cubicBezTo>
                        <a:pt x="286" y="118"/>
                        <a:pt x="286" y="118"/>
                        <a:pt x="286" y="118"/>
                      </a:cubicBezTo>
                      <a:cubicBezTo>
                        <a:pt x="286" y="117"/>
                        <a:pt x="286" y="117"/>
                        <a:pt x="286" y="117"/>
                      </a:cubicBezTo>
                      <a:cubicBezTo>
                        <a:pt x="287" y="117"/>
                        <a:pt x="287" y="117"/>
                        <a:pt x="287" y="117"/>
                      </a:cubicBezTo>
                      <a:cubicBezTo>
                        <a:pt x="288" y="118"/>
                        <a:pt x="288" y="118"/>
                        <a:pt x="288" y="118"/>
                      </a:cubicBezTo>
                      <a:cubicBezTo>
                        <a:pt x="288" y="118"/>
                        <a:pt x="288" y="118"/>
                        <a:pt x="288" y="118"/>
                      </a:cubicBezTo>
                      <a:cubicBezTo>
                        <a:pt x="289" y="119"/>
                        <a:pt x="289" y="119"/>
                        <a:pt x="289" y="119"/>
                      </a:cubicBezTo>
                      <a:cubicBezTo>
                        <a:pt x="289" y="119"/>
                        <a:pt x="289" y="119"/>
                        <a:pt x="289" y="119"/>
                      </a:cubicBezTo>
                      <a:cubicBezTo>
                        <a:pt x="289" y="118"/>
                        <a:pt x="289" y="118"/>
                        <a:pt x="289" y="118"/>
                      </a:cubicBezTo>
                      <a:cubicBezTo>
                        <a:pt x="288" y="117"/>
                        <a:pt x="288" y="117"/>
                        <a:pt x="288" y="117"/>
                      </a:cubicBezTo>
                      <a:cubicBezTo>
                        <a:pt x="288" y="117"/>
                        <a:pt x="288" y="117"/>
                        <a:pt x="288" y="117"/>
                      </a:cubicBezTo>
                      <a:cubicBezTo>
                        <a:pt x="291" y="116"/>
                        <a:pt x="291" y="116"/>
                        <a:pt x="291" y="116"/>
                      </a:cubicBezTo>
                      <a:cubicBezTo>
                        <a:pt x="292" y="116"/>
                        <a:pt x="292" y="116"/>
                        <a:pt x="292" y="116"/>
                      </a:cubicBezTo>
                      <a:cubicBezTo>
                        <a:pt x="293" y="115"/>
                        <a:pt x="293" y="115"/>
                        <a:pt x="293" y="115"/>
                      </a:cubicBezTo>
                      <a:cubicBezTo>
                        <a:pt x="294" y="115"/>
                        <a:pt x="294" y="115"/>
                        <a:pt x="294" y="115"/>
                      </a:cubicBezTo>
                      <a:cubicBezTo>
                        <a:pt x="296" y="115"/>
                        <a:pt x="296" y="115"/>
                        <a:pt x="296" y="115"/>
                      </a:cubicBezTo>
                      <a:cubicBezTo>
                        <a:pt x="297" y="115"/>
                        <a:pt x="297" y="115"/>
                        <a:pt x="297" y="115"/>
                      </a:cubicBezTo>
                      <a:cubicBezTo>
                        <a:pt x="299" y="116"/>
                        <a:pt x="299" y="116"/>
                        <a:pt x="299" y="116"/>
                      </a:cubicBezTo>
                      <a:cubicBezTo>
                        <a:pt x="299" y="116"/>
                        <a:pt x="299" y="116"/>
                        <a:pt x="299" y="116"/>
                      </a:cubicBezTo>
                      <a:cubicBezTo>
                        <a:pt x="299" y="116"/>
                        <a:pt x="299" y="116"/>
                        <a:pt x="299" y="116"/>
                      </a:cubicBezTo>
                      <a:cubicBezTo>
                        <a:pt x="298" y="118"/>
                        <a:pt x="298" y="118"/>
                        <a:pt x="298" y="118"/>
                      </a:cubicBezTo>
                      <a:cubicBezTo>
                        <a:pt x="298" y="119"/>
                        <a:pt x="298" y="119"/>
                        <a:pt x="298" y="119"/>
                      </a:cubicBezTo>
                      <a:cubicBezTo>
                        <a:pt x="298" y="119"/>
                        <a:pt x="298" y="119"/>
                        <a:pt x="298" y="119"/>
                      </a:cubicBezTo>
                      <a:cubicBezTo>
                        <a:pt x="297" y="121"/>
                        <a:pt x="297" y="121"/>
                        <a:pt x="297" y="121"/>
                      </a:cubicBezTo>
                      <a:cubicBezTo>
                        <a:pt x="297" y="121"/>
                        <a:pt x="297" y="121"/>
                        <a:pt x="297" y="121"/>
                      </a:cubicBezTo>
                      <a:cubicBezTo>
                        <a:pt x="298" y="121"/>
                        <a:pt x="298" y="121"/>
                        <a:pt x="298" y="121"/>
                      </a:cubicBezTo>
                      <a:cubicBezTo>
                        <a:pt x="298" y="122"/>
                        <a:pt x="298" y="122"/>
                        <a:pt x="298" y="122"/>
                      </a:cubicBezTo>
                      <a:cubicBezTo>
                        <a:pt x="298" y="123"/>
                        <a:pt x="298" y="123"/>
                        <a:pt x="298" y="123"/>
                      </a:cubicBezTo>
                      <a:cubicBezTo>
                        <a:pt x="297" y="124"/>
                        <a:pt x="297" y="124"/>
                        <a:pt x="297" y="124"/>
                      </a:cubicBezTo>
                      <a:cubicBezTo>
                        <a:pt x="297" y="124"/>
                        <a:pt x="297" y="124"/>
                        <a:pt x="297" y="124"/>
                      </a:cubicBezTo>
                      <a:cubicBezTo>
                        <a:pt x="297" y="125"/>
                        <a:pt x="297" y="125"/>
                        <a:pt x="297" y="125"/>
                      </a:cubicBezTo>
                      <a:cubicBezTo>
                        <a:pt x="297" y="126"/>
                        <a:pt x="297" y="126"/>
                        <a:pt x="297" y="126"/>
                      </a:cubicBezTo>
                      <a:cubicBezTo>
                        <a:pt x="297" y="126"/>
                        <a:pt x="297" y="126"/>
                        <a:pt x="297" y="126"/>
                      </a:cubicBezTo>
                      <a:cubicBezTo>
                        <a:pt x="297" y="127"/>
                        <a:pt x="297" y="127"/>
                        <a:pt x="297" y="127"/>
                      </a:cubicBezTo>
                      <a:cubicBezTo>
                        <a:pt x="296" y="127"/>
                        <a:pt x="296" y="127"/>
                        <a:pt x="296" y="127"/>
                      </a:cubicBezTo>
                      <a:cubicBezTo>
                        <a:pt x="295" y="128"/>
                        <a:pt x="295" y="128"/>
                        <a:pt x="295" y="128"/>
                      </a:cubicBezTo>
                      <a:cubicBezTo>
                        <a:pt x="294" y="128"/>
                        <a:pt x="294" y="128"/>
                        <a:pt x="294" y="128"/>
                      </a:cubicBezTo>
                      <a:cubicBezTo>
                        <a:pt x="294" y="129"/>
                        <a:pt x="294" y="129"/>
                        <a:pt x="294" y="129"/>
                      </a:cubicBezTo>
                      <a:cubicBezTo>
                        <a:pt x="293" y="129"/>
                        <a:pt x="293" y="129"/>
                        <a:pt x="293" y="129"/>
                      </a:cubicBezTo>
                      <a:cubicBezTo>
                        <a:pt x="293" y="130"/>
                        <a:pt x="293" y="130"/>
                        <a:pt x="293" y="130"/>
                      </a:cubicBezTo>
                      <a:cubicBezTo>
                        <a:pt x="293" y="130"/>
                        <a:pt x="293" y="130"/>
                        <a:pt x="293" y="130"/>
                      </a:cubicBezTo>
                      <a:cubicBezTo>
                        <a:pt x="294" y="129"/>
                        <a:pt x="294" y="129"/>
                        <a:pt x="294" y="129"/>
                      </a:cubicBezTo>
                      <a:cubicBezTo>
                        <a:pt x="295" y="128"/>
                        <a:pt x="295" y="128"/>
                        <a:pt x="295" y="128"/>
                      </a:cubicBezTo>
                      <a:cubicBezTo>
                        <a:pt x="296" y="128"/>
                        <a:pt x="296" y="128"/>
                        <a:pt x="296" y="128"/>
                      </a:cubicBezTo>
                      <a:cubicBezTo>
                        <a:pt x="296" y="128"/>
                        <a:pt x="296" y="128"/>
                        <a:pt x="296" y="128"/>
                      </a:cubicBezTo>
                      <a:cubicBezTo>
                        <a:pt x="296" y="129"/>
                        <a:pt x="296" y="129"/>
                        <a:pt x="296" y="129"/>
                      </a:cubicBezTo>
                      <a:cubicBezTo>
                        <a:pt x="295" y="129"/>
                        <a:pt x="295" y="129"/>
                        <a:pt x="295" y="129"/>
                      </a:cubicBezTo>
                      <a:cubicBezTo>
                        <a:pt x="294" y="131"/>
                        <a:pt x="294" y="131"/>
                        <a:pt x="294" y="131"/>
                      </a:cubicBezTo>
                      <a:cubicBezTo>
                        <a:pt x="293" y="131"/>
                        <a:pt x="293" y="131"/>
                        <a:pt x="293" y="131"/>
                      </a:cubicBezTo>
                      <a:cubicBezTo>
                        <a:pt x="293" y="131"/>
                        <a:pt x="293" y="131"/>
                        <a:pt x="293" y="131"/>
                      </a:cubicBezTo>
                      <a:cubicBezTo>
                        <a:pt x="293" y="132"/>
                        <a:pt x="293" y="132"/>
                        <a:pt x="293" y="132"/>
                      </a:cubicBezTo>
                      <a:cubicBezTo>
                        <a:pt x="293" y="132"/>
                        <a:pt x="293" y="132"/>
                        <a:pt x="293" y="132"/>
                      </a:cubicBezTo>
                      <a:cubicBezTo>
                        <a:pt x="293" y="132"/>
                        <a:pt x="293" y="132"/>
                        <a:pt x="293" y="132"/>
                      </a:cubicBezTo>
                      <a:cubicBezTo>
                        <a:pt x="292" y="132"/>
                        <a:pt x="292" y="132"/>
                        <a:pt x="292" y="132"/>
                      </a:cubicBezTo>
                      <a:cubicBezTo>
                        <a:pt x="292" y="132"/>
                        <a:pt x="292" y="132"/>
                        <a:pt x="292" y="132"/>
                      </a:cubicBezTo>
                      <a:cubicBezTo>
                        <a:pt x="292" y="132"/>
                        <a:pt x="292" y="132"/>
                        <a:pt x="292" y="132"/>
                      </a:cubicBezTo>
                      <a:cubicBezTo>
                        <a:pt x="293" y="133"/>
                        <a:pt x="293" y="133"/>
                        <a:pt x="293" y="133"/>
                      </a:cubicBezTo>
                      <a:cubicBezTo>
                        <a:pt x="293" y="133"/>
                        <a:pt x="293" y="133"/>
                        <a:pt x="293" y="133"/>
                      </a:cubicBezTo>
                      <a:cubicBezTo>
                        <a:pt x="292" y="134"/>
                        <a:pt x="292" y="134"/>
                        <a:pt x="292" y="134"/>
                      </a:cubicBezTo>
                      <a:cubicBezTo>
                        <a:pt x="293" y="134"/>
                        <a:pt x="293" y="134"/>
                        <a:pt x="293" y="134"/>
                      </a:cubicBezTo>
                      <a:cubicBezTo>
                        <a:pt x="293" y="133"/>
                        <a:pt x="293" y="133"/>
                        <a:pt x="293" y="133"/>
                      </a:cubicBezTo>
                      <a:cubicBezTo>
                        <a:pt x="294" y="133"/>
                        <a:pt x="294" y="133"/>
                        <a:pt x="294" y="133"/>
                      </a:cubicBezTo>
                      <a:cubicBezTo>
                        <a:pt x="294" y="132"/>
                        <a:pt x="294" y="132"/>
                        <a:pt x="294" y="132"/>
                      </a:cubicBezTo>
                      <a:cubicBezTo>
                        <a:pt x="294" y="132"/>
                        <a:pt x="294" y="132"/>
                        <a:pt x="294" y="132"/>
                      </a:cubicBezTo>
                      <a:cubicBezTo>
                        <a:pt x="295" y="132"/>
                        <a:pt x="295" y="132"/>
                        <a:pt x="295" y="132"/>
                      </a:cubicBezTo>
                      <a:cubicBezTo>
                        <a:pt x="296" y="131"/>
                        <a:pt x="296" y="131"/>
                        <a:pt x="296" y="131"/>
                      </a:cubicBezTo>
                      <a:cubicBezTo>
                        <a:pt x="296" y="131"/>
                        <a:pt x="296" y="131"/>
                        <a:pt x="296" y="131"/>
                      </a:cubicBezTo>
                      <a:cubicBezTo>
                        <a:pt x="296" y="132"/>
                        <a:pt x="296" y="132"/>
                        <a:pt x="296" y="132"/>
                      </a:cubicBezTo>
                      <a:cubicBezTo>
                        <a:pt x="297" y="132"/>
                        <a:pt x="297" y="132"/>
                        <a:pt x="297" y="132"/>
                      </a:cubicBezTo>
                      <a:cubicBezTo>
                        <a:pt x="297" y="132"/>
                        <a:pt x="297" y="132"/>
                        <a:pt x="297" y="132"/>
                      </a:cubicBezTo>
                      <a:cubicBezTo>
                        <a:pt x="296" y="131"/>
                        <a:pt x="296" y="131"/>
                        <a:pt x="296" y="131"/>
                      </a:cubicBezTo>
                      <a:cubicBezTo>
                        <a:pt x="296" y="130"/>
                        <a:pt x="296" y="130"/>
                        <a:pt x="296" y="130"/>
                      </a:cubicBezTo>
                      <a:cubicBezTo>
                        <a:pt x="297" y="130"/>
                        <a:pt x="297" y="130"/>
                        <a:pt x="297" y="130"/>
                      </a:cubicBezTo>
                      <a:cubicBezTo>
                        <a:pt x="298" y="130"/>
                        <a:pt x="298" y="130"/>
                        <a:pt x="298" y="130"/>
                      </a:cubicBezTo>
                      <a:cubicBezTo>
                        <a:pt x="298" y="131"/>
                        <a:pt x="298" y="131"/>
                        <a:pt x="298" y="131"/>
                      </a:cubicBezTo>
                      <a:cubicBezTo>
                        <a:pt x="298" y="131"/>
                        <a:pt x="298" y="131"/>
                        <a:pt x="298" y="131"/>
                      </a:cubicBezTo>
                      <a:cubicBezTo>
                        <a:pt x="298" y="131"/>
                        <a:pt x="298" y="131"/>
                        <a:pt x="298" y="131"/>
                      </a:cubicBezTo>
                      <a:cubicBezTo>
                        <a:pt x="299" y="130"/>
                        <a:pt x="299" y="130"/>
                        <a:pt x="299" y="130"/>
                      </a:cubicBezTo>
                      <a:cubicBezTo>
                        <a:pt x="300" y="131"/>
                        <a:pt x="300" y="131"/>
                        <a:pt x="300" y="131"/>
                      </a:cubicBezTo>
                      <a:cubicBezTo>
                        <a:pt x="300" y="131"/>
                        <a:pt x="300" y="131"/>
                        <a:pt x="300" y="131"/>
                      </a:cubicBezTo>
                      <a:cubicBezTo>
                        <a:pt x="300" y="132"/>
                        <a:pt x="300" y="132"/>
                        <a:pt x="300" y="132"/>
                      </a:cubicBezTo>
                      <a:cubicBezTo>
                        <a:pt x="299" y="134"/>
                        <a:pt x="299" y="134"/>
                        <a:pt x="299" y="134"/>
                      </a:cubicBezTo>
                      <a:cubicBezTo>
                        <a:pt x="298" y="134"/>
                        <a:pt x="298" y="134"/>
                        <a:pt x="298" y="134"/>
                      </a:cubicBezTo>
                      <a:cubicBezTo>
                        <a:pt x="298" y="135"/>
                        <a:pt x="298" y="135"/>
                        <a:pt x="298" y="135"/>
                      </a:cubicBezTo>
                      <a:cubicBezTo>
                        <a:pt x="298" y="135"/>
                        <a:pt x="298" y="135"/>
                        <a:pt x="298" y="135"/>
                      </a:cubicBezTo>
                      <a:cubicBezTo>
                        <a:pt x="299" y="135"/>
                        <a:pt x="299" y="135"/>
                        <a:pt x="299" y="135"/>
                      </a:cubicBezTo>
                      <a:cubicBezTo>
                        <a:pt x="300" y="135"/>
                        <a:pt x="300" y="135"/>
                        <a:pt x="300" y="135"/>
                      </a:cubicBezTo>
                      <a:cubicBezTo>
                        <a:pt x="299" y="134"/>
                        <a:pt x="299" y="134"/>
                        <a:pt x="299" y="134"/>
                      </a:cubicBezTo>
                      <a:cubicBezTo>
                        <a:pt x="300" y="134"/>
                        <a:pt x="300" y="134"/>
                        <a:pt x="300" y="134"/>
                      </a:cubicBezTo>
                      <a:cubicBezTo>
                        <a:pt x="301" y="133"/>
                        <a:pt x="301" y="133"/>
                        <a:pt x="301" y="133"/>
                      </a:cubicBezTo>
                      <a:cubicBezTo>
                        <a:pt x="301" y="134"/>
                        <a:pt x="301" y="134"/>
                        <a:pt x="301" y="134"/>
                      </a:cubicBezTo>
                      <a:cubicBezTo>
                        <a:pt x="301" y="135"/>
                        <a:pt x="301" y="135"/>
                        <a:pt x="301" y="135"/>
                      </a:cubicBezTo>
                      <a:cubicBezTo>
                        <a:pt x="301" y="134"/>
                        <a:pt x="301" y="134"/>
                        <a:pt x="301" y="134"/>
                      </a:cubicBezTo>
                      <a:cubicBezTo>
                        <a:pt x="301" y="133"/>
                        <a:pt x="301" y="133"/>
                        <a:pt x="301" y="133"/>
                      </a:cubicBezTo>
                      <a:cubicBezTo>
                        <a:pt x="301" y="132"/>
                        <a:pt x="301" y="132"/>
                        <a:pt x="301" y="132"/>
                      </a:cubicBezTo>
                      <a:cubicBezTo>
                        <a:pt x="301" y="131"/>
                        <a:pt x="301" y="131"/>
                        <a:pt x="301" y="131"/>
                      </a:cubicBezTo>
                      <a:cubicBezTo>
                        <a:pt x="301" y="130"/>
                        <a:pt x="301" y="130"/>
                        <a:pt x="301" y="130"/>
                      </a:cubicBezTo>
                      <a:cubicBezTo>
                        <a:pt x="302" y="131"/>
                        <a:pt x="302" y="131"/>
                        <a:pt x="302" y="131"/>
                      </a:cubicBezTo>
                      <a:cubicBezTo>
                        <a:pt x="302" y="132"/>
                        <a:pt x="302" y="132"/>
                        <a:pt x="302" y="132"/>
                      </a:cubicBezTo>
                      <a:cubicBezTo>
                        <a:pt x="302" y="132"/>
                        <a:pt x="302" y="132"/>
                        <a:pt x="302" y="132"/>
                      </a:cubicBezTo>
                      <a:cubicBezTo>
                        <a:pt x="302" y="132"/>
                        <a:pt x="302" y="132"/>
                        <a:pt x="302" y="132"/>
                      </a:cubicBezTo>
                      <a:cubicBezTo>
                        <a:pt x="303" y="132"/>
                        <a:pt x="303" y="132"/>
                        <a:pt x="303" y="132"/>
                      </a:cubicBezTo>
                      <a:cubicBezTo>
                        <a:pt x="304" y="133"/>
                        <a:pt x="304" y="133"/>
                        <a:pt x="304" y="133"/>
                      </a:cubicBezTo>
                      <a:cubicBezTo>
                        <a:pt x="304" y="134"/>
                        <a:pt x="304" y="134"/>
                        <a:pt x="304" y="134"/>
                      </a:cubicBezTo>
                      <a:cubicBezTo>
                        <a:pt x="306" y="134"/>
                        <a:pt x="306" y="134"/>
                        <a:pt x="306" y="134"/>
                      </a:cubicBezTo>
                      <a:cubicBezTo>
                        <a:pt x="306" y="134"/>
                        <a:pt x="306" y="134"/>
                        <a:pt x="306" y="134"/>
                      </a:cubicBezTo>
                      <a:cubicBezTo>
                        <a:pt x="307" y="134"/>
                        <a:pt x="307" y="134"/>
                        <a:pt x="307" y="134"/>
                      </a:cubicBezTo>
                      <a:cubicBezTo>
                        <a:pt x="306" y="133"/>
                        <a:pt x="306" y="133"/>
                        <a:pt x="306" y="133"/>
                      </a:cubicBezTo>
                      <a:cubicBezTo>
                        <a:pt x="306" y="133"/>
                        <a:pt x="306" y="133"/>
                        <a:pt x="306" y="133"/>
                      </a:cubicBezTo>
                      <a:cubicBezTo>
                        <a:pt x="305" y="133"/>
                        <a:pt x="305" y="133"/>
                        <a:pt x="305" y="133"/>
                      </a:cubicBezTo>
                      <a:cubicBezTo>
                        <a:pt x="304" y="131"/>
                        <a:pt x="304" y="131"/>
                        <a:pt x="304" y="131"/>
                      </a:cubicBezTo>
                      <a:cubicBezTo>
                        <a:pt x="303" y="131"/>
                        <a:pt x="303" y="131"/>
                        <a:pt x="303" y="131"/>
                      </a:cubicBezTo>
                      <a:cubicBezTo>
                        <a:pt x="303" y="131"/>
                        <a:pt x="303" y="131"/>
                        <a:pt x="303" y="131"/>
                      </a:cubicBezTo>
                      <a:cubicBezTo>
                        <a:pt x="304" y="130"/>
                        <a:pt x="304" y="130"/>
                        <a:pt x="304" y="130"/>
                      </a:cubicBezTo>
                      <a:cubicBezTo>
                        <a:pt x="305" y="130"/>
                        <a:pt x="305" y="130"/>
                        <a:pt x="305" y="130"/>
                      </a:cubicBezTo>
                      <a:cubicBezTo>
                        <a:pt x="306" y="129"/>
                        <a:pt x="306" y="129"/>
                        <a:pt x="306" y="129"/>
                      </a:cubicBezTo>
                      <a:cubicBezTo>
                        <a:pt x="307" y="129"/>
                        <a:pt x="307" y="129"/>
                        <a:pt x="307" y="129"/>
                      </a:cubicBezTo>
                      <a:cubicBezTo>
                        <a:pt x="308" y="129"/>
                        <a:pt x="308" y="129"/>
                        <a:pt x="308" y="129"/>
                      </a:cubicBezTo>
                      <a:cubicBezTo>
                        <a:pt x="309" y="129"/>
                        <a:pt x="309" y="129"/>
                        <a:pt x="309" y="129"/>
                      </a:cubicBezTo>
                      <a:cubicBezTo>
                        <a:pt x="309" y="129"/>
                        <a:pt x="309" y="129"/>
                        <a:pt x="309" y="129"/>
                      </a:cubicBezTo>
                      <a:cubicBezTo>
                        <a:pt x="310" y="130"/>
                        <a:pt x="310" y="130"/>
                        <a:pt x="310" y="130"/>
                      </a:cubicBezTo>
                      <a:cubicBezTo>
                        <a:pt x="310" y="130"/>
                        <a:pt x="310" y="130"/>
                        <a:pt x="310" y="130"/>
                      </a:cubicBezTo>
                      <a:cubicBezTo>
                        <a:pt x="311" y="131"/>
                        <a:pt x="311" y="131"/>
                        <a:pt x="311" y="131"/>
                      </a:cubicBezTo>
                      <a:cubicBezTo>
                        <a:pt x="312" y="131"/>
                        <a:pt x="312" y="131"/>
                        <a:pt x="312" y="131"/>
                      </a:cubicBezTo>
                      <a:cubicBezTo>
                        <a:pt x="312" y="132"/>
                        <a:pt x="312" y="132"/>
                        <a:pt x="312" y="132"/>
                      </a:cubicBezTo>
                      <a:cubicBezTo>
                        <a:pt x="312" y="132"/>
                        <a:pt x="312" y="132"/>
                        <a:pt x="312" y="132"/>
                      </a:cubicBezTo>
                      <a:cubicBezTo>
                        <a:pt x="312" y="131"/>
                        <a:pt x="312" y="131"/>
                        <a:pt x="312" y="131"/>
                      </a:cubicBezTo>
                      <a:cubicBezTo>
                        <a:pt x="313" y="131"/>
                        <a:pt x="313" y="131"/>
                        <a:pt x="313" y="131"/>
                      </a:cubicBezTo>
                      <a:cubicBezTo>
                        <a:pt x="314" y="132"/>
                        <a:pt x="314" y="132"/>
                        <a:pt x="314" y="132"/>
                      </a:cubicBezTo>
                      <a:cubicBezTo>
                        <a:pt x="315" y="132"/>
                        <a:pt x="315" y="132"/>
                        <a:pt x="315" y="132"/>
                      </a:cubicBezTo>
                      <a:cubicBezTo>
                        <a:pt x="315" y="133"/>
                        <a:pt x="315" y="133"/>
                        <a:pt x="315" y="133"/>
                      </a:cubicBezTo>
                      <a:cubicBezTo>
                        <a:pt x="315" y="134"/>
                        <a:pt x="315" y="134"/>
                        <a:pt x="315" y="134"/>
                      </a:cubicBezTo>
                      <a:cubicBezTo>
                        <a:pt x="315" y="134"/>
                        <a:pt x="315" y="134"/>
                        <a:pt x="315" y="134"/>
                      </a:cubicBezTo>
                      <a:cubicBezTo>
                        <a:pt x="315" y="135"/>
                        <a:pt x="315" y="135"/>
                        <a:pt x="315" y="135"/>
                      </a:cubicBezTo>
                      <a:cubicBezTo>
                        <a:pt x="314" y="135"/>
                        <a:pt x="314" y="135"/>
                        <a:pt x="314" y="135"/>
                      </a:cubicBezTo>
                      <a:cubicBezTo>
                        <a:pt x="313" y="135"/>
                        <a:pt x="313" y="135"/>
                        <a:pt x="313" y="135"/>
                      </a:cubicBezTo>
                      <a:cubicBezTo>
                        <a:pt x="312" y="135"/>
                        <a:pt x="312" y="135"/>
                        <a:pt x="312" y="135"/>
                      </a:cubicBezTo>
                      <a:cubicBezTo>
                        <a:pt x="311" y="135"/>
                        <a:pt x="311" y="135"/>
                        <a:pt x="311" y="135"/>
                      </a:cubicBezTo>
                      <a:cubicBezTo>
                        <a:pt x="310" y="137"/>
                        <a:pt x="310" y="137"/>
                        <a:pt x="310" y="137"/>
                      </a:cubicBezTo>
                      <a:cubicBezTo>
                        <a:pt x="311" y="136"/>
                        <a:pt x="311" y="136"/>
                        <a:pt x="311" y="136"/>
                      </a:cubicBezTo>
                      <a:cubicBezTo>
                        <a:pt x="313" y="136"/>
                        <a:pt x="313" y="136"/>
                        <a:pt x="313" y="136"/>
                      </a:cubicBezTo>
                      <a:cubicBezTo>
                        <a:pt x="313" y="136"/>
                        <a:pt x="313" y="136"/>
                        <a:pt x="313" y="136"/>
                      </a:cubicBezTo>
                      <a:cubicBezTo>
                        <a:pt x="313" y="137"/>
                        <a:pt x="313" y="137"/>
                        <a:pt x="313" y="137"/>
                      </a:cubicBezTo>
                      <a:cubicBezTo>
                        <a:pt x="311" y="137"/>
                        <a:pt x="311" y="137"/>
                        <a:pt x="311" y="137"/>
                      </a:cubicBezTo>
                      <a:cubicBezTo>
                        <a:pt x="310" y="139"/>
                        <a:pt x="310" y="139"/>
                        <a:pt x="310" y="139"/>
                      </a:cubicBezTo>
                      <a:cubicBezTo>
                        <a:pt x="310" y="139"/>
                        <a:pt x="310" y="139"/>
                        <a:pt x="310" y="139"/>
                      </a:cubicBezTo>
                      <a:cubicBezTo>
                        <a:pt x="309" y="139"/>
                        <a:pt x="309" y="139"/>
                        <a:pt x="309" y="139"/>
                      </a:cubicBezTo>
                      <a:cubicBezTo>
                        <a:pt x="309" y="140"/>
                        <a:pt x="309" y="140"/>
                        <a:pt x="309" y="140"/>
                      </a:cubicBezTo>
                      <a:cubicBezTo>
                        <a:pt x="309" y="140"/>
                        <a:pt x="309" y="140"/>
                        <a:pt x="309" y="140"/>
                      </a:cubicBezTo>
                      <a:cubicBezTo>
                        <a:pt x="311" y="138"/>
                        <a:pt x="311" y="138"/>
                        <a:pt x="311" y="138"/>
                      </a:cubicBezTo>
                      <a:cubicBezTo>
                        <a:pt x="312" y="137"/>
                        <a:pt x="312" y="137"/>
                        <a:pt x="312" y="137"/>
                      </a:cubicBezTo>
                      <a:cubicBezTo>
                        <a:pt x="313" y="137"/>
                        <a:pt x="313" y="137"/>
                        <a:pt x="313" y="137"/>
                      </a:cubicBezTo>
                      <a:cubicBezTo>
                        <a:pt x="314" y="136"/>
                        <a:pt x="314" y="136"/>
                        <a:pt x="314" y="136"/>
                      </a:cubicBezTo>
                      <a:cubicBezTo>
                        <a:pt x="315" y="136"/>
                        <a:pt x="315" y="136"/>
                        <a:pt x="315" y="136"/>
                      </a:cubicBezTo>
                      <a:cubicBezTo>
                        <a:pt x="316" y="137"/>
                        <a:pt x="316" y="137"/>
                        <a:pt x="316" y="137"/>
                      </a:cubicBezTo>
                      <a:cubicBezTo>
                        <a:pt x="316" y="137"/>
                        <a:pt x="316" y="137"/>
                        <a:pt x="316" y="137"/>
                      </a:cubicBezTo>
                      <a:cubicBezTo>
                        <a:pt x="316" y="137"/>
                        <a:pt x="316" y="137"/>
                        <a:pt x="316" y="137"/>
                      </a:cubicBezTo>
                      <a:cubicBezTo>
                        <a:pt x="316" y="138"/>
                        <a:pt x="316" y="138"/>
                        <a:pt x="316" y="138"/>
                      </a:cubicBezTo>
                      <a:cubicBezTo>
                        <a:pt x="316" y="139"/>
                        <a:pt x="316" y="139"/>
                        <a:pt x="316" y="139"/>
                      </a:cubicBezTo>
                      <a:cubicBezTo>
                        <a:pt x="315" y="139"/>
                        <a:pt x="315" y="139"/>
                        <a:pt x="315" y="139"/>
                      </a:cubicBezTo>
                      <a:cubicBezTo>
                        <a:pt x="314" y="140"/>
                        <a:pt x="314" y="140"/>
                        <a:pt x="314" y="140"/>
                      </a:cubicBezTo>
                      <a:cubicBezTo>
                        <a:pt x="313" y="140"/>
                        <a:pt x="313" y="140"/>
                        <a:pt x="313" y="140"/>
                      </a:cubicBezTo>
                      <a:cubicBezTo>
                        <a:pt x="313" y="140"/>
                        <a:pt x="313" y="140"/>
                        <a:pt x="313" y="140"/>
                      </a:cubicBezTo>
                      <a:cubicBezTo>
                        <a:pt x="312" y="140"/>
                        <a:pt x="312" y="140"/>
                        <a:pt x="312" y="140"/>
                      </a:cubicBezTo>
                      <a:cubicBezTo>
                        <a:pt x="312" y="140"/>
                        <a:pt x="312" y="140"/>
                        <a:pt x="312" y="140"/>
                      </a:cubicBezTo>
                      <a:cubicBezTo>
                        <a:pt x="313" y="140"/>
                        <a:pt x="313" y="140"/>
                        <a:pt x="313" y="140"/>
                      </a:cubicBezTo>
                      <a:cubicBezTo>
                        <a:pt x="313" y="141"/>
                        <a:pt x="313" y="141"/>
                        <a:pt x="313" y="141"/>
                      </a:cubicBezTo>
                      <a:cubicBezTo>
                        <a:pt x="311" y="142"/>
                        <a:pt x="311" y="142"/>
                        <a:pt x="311" y="142"/>
                      </a:cubicBezTo>
                      <a:cubicBezTo>
                        <a:pt x="312" y="142"/>
                        <a:pt x="312" y="142"/>
                        <a:pt x="312" y="142"/>
                      </a:cubicBezTo>
                      <a:cubicBezTo>
                        <a:pt x="312" y="141"/>
                        <a:pt x="312" y="141"/>
                        <a:pt x="312" y="141"/>
                      </a:cubicBezTo>
                      <a:cubicBezTo>
                        <a:pt x="313" y="141"/>
                        <a:pt x="313" y="141"/>
                        <a:pt x="313" y="141"/>
                      </a:cubicBezTo>
                      <a:cubicBezTo>
                        <a:pt x="314" y="141"/>
                        <a:pt x="314" y="141"/>
                        <a:pt x="314" y="141"/>
                      </a:cubicBezTo>
                      <a:cubicBezTo>
                        <a:pt x="314" y="141"/>
                        <a:pt x="314" y="141"/>
                        <a:pt x="314" y="141"/>
                      </a:cubicBezTo>
                      <a:cubicBezTo>
                        <a:pt x="314" y="141"/>
                        <a:pt x="314" y="141"/>
                        <a:pt x="314" y="141"/>
                      </a:cubicBezTo>
                      <a:cubicBezTo>
                        <a:pt x="313" y="142"/>
                        <a:pt x="313" y="142"/>
                        <a:pt x="313" y="142"/>
                      </a:cubicBezTo>
                      <a:cubicBezTo>
                        <a:pt x="312" y="142"/>
                        <a:pt x="312" y="142"/>
                        <a:pt x="312" y="142"/>
                      </a:cubicBezTo>
                      <a:cubicBezTo>
                        <a:pt x="312" y="142"/>
                        <a:pt x="312" y="142"/>
                        <a:pt x="312" y="142"/>
                      </a:cubicBezTo>
                      <a:cubicBezTo>
                        <a:pt x="313" y="142"/>
                        <a:pt x="313" y="142"/>
                        <a:pt x="313" y="142"/>
                      </a:cubicBezTo>
                      <a:cubicBezTo>
                        <a:pt x="312" y="143"/>
                        <a:pt x="312" y="143"/>
                        <a:pt x="312" y="143"/>
                      </a:cubicBezTo>
                      <a:cubicBezTo>
                        <a:pt x="311" y="144"/>
                        <a:pt x="311" y="144"/>
                        <a:pt x="311" y="144"/>
                      </a:cubicBezTo>
                      <a:cubicBezTo>
                        <a:pt x="310" y="144"/>
                        <a:pt x="310" y="144"/>
                        <a:pt x="310" y="144"/>
                      </a:cubicBezTo>
                      <a:cubicBezTo>
                        <a:pt x="311" y="145"/>
                        <a:pt x="311" y="145"/>
                        <a:pt x="311" y="145"/>
                      </a:cubicBezTo>
                      <a:cubicBezTo>
                        <a:pt x="312" y="144"/>
                        <a:pt x="312" y="144"/>
                        <a:pt x="312" y="144"/>
                      </a:cubicBezTo>
                      <a:cubicBezTo>
                        <a:pt x="313" y="143"/>
                        <a:pt x="313" y="143"/>
                        <a:pt x="313" y="143"/>
                      </a:cubicBezTo>
                      <a:cubicBezTo>
                        <a:pt x="314" y="142"/>
                        <a:pt x="314" y="142"/>
                        <a:pt x="314" y="142"/>
                      </a:cubicBezTo>
                      <a:cubicBezTo>
                        <a:pt x="315" y="141"/>
                        <a:pt x="315" y="141"/>
                        <a:pt x="315" y="141"/>
                      </a:cubicBezTo>
                      <a:cubicBezTo>
                        <a:pt x="315" y="141"/>
                        <a:pt x="315" y="141"/>
                        <a:pt x="315" y="141"/>
                      </a:cubicBezTo>
                      <a:cubicBezTo>
                        <a:pt x="315" y="142"/>
                        <a:pt x="315" y="142"/>
                        <a:pt x="315" y="142"/>
                      </a:cubicBezTo>
                      <a:cubicBezTo>
                        <a:pt x="316" y="141"/>
                        <a:pt x="316" y="141"/>
                        <a:pt x="316" y="141"/>
                      </a:cubicBezTo>
                      <a:cubicBezTo>
                        <a:pt x="316" y="141"/>
                        <a:pt x="316" y="141"/>
                        <a:pt x="316" y="141"/>
                      </a:cubicBezTo>
                      <a:cubicBezTo>
                        <a:pt x="317" y="140"/>
                        <a:pt x="317" y="140"/>
                        <a:pt x="317" y="140"/>
                      </a:cubicBezTo>
                      <a:cubicBezTo>
                        <a:pt x="318" y="140"/>
                        <a:pt x="318" y="140"/>
                        <a:pt x="318" y="140"/>
                      </a:cubicBezTo>
                      <a:cubicBezTo>
                        <a:pt x="318" y="141"/>
                        <a:pt x="318" y="141"/>
                        <a:pt x="318" y="141"/>
                      </a:cubicBezTo>
                      <a:cubicBezTo>
                        <a:pt x="316" y="142"/>
                        <a:pt x="316" y="142"/>
                        <a:pt x="316" y="142"/>
                      </a:cubicBezTo>
                      <a:cubicBezTo>
                        <a:pt x="315" y="143"/>
                        <a:pt x="315" y="143"/>
                        <a:pt x="315" y="143"/>
                      </a:cubicBezTo>
                      <a:cubicBezTo>
                        <a:pt x="314" y="143"/>
                        <a:pt x="314" y="143"/>
                        <a:pt x="314" y="143"/>
                      </a:cubicBezTo>
                      <a:cubicBezTo>
                        <a:pt x="314" y="143"/>
                        <a:pt x="314" y="143"/>
                        <a:pt x="314" y="143"/>
                      </a:cubicBezTo>
                      <a:cubicBezTo>
                        <a:pt x="315" y="143"/>
                        <a:pt x="315" y="143"/>
                        <a:pt x="315" y="143"/>
                      </a:cubicBezTo>
                      <a:cubicBezTo>
                        <a:pt x="314" y="144"/>
                        <a:pt x="314" y="144"/>
                        <a:pt x="314" y="144"/>
                      </a:cubicBezTo>
                      <a:cubicBezTo>
                        <a:pt x="314" y="145"/>
                        <a:pt x="314" y="145"/>
                        <a:pt x="314" y="145"/>
                      </a:cubicBezTo>
                      <a:cubicBezTo>
                        <a:pt x="314" y="145"/>
                        <a:pt x="314" y="145"/>
                        <a:pt x="314" y="145"/>
                      </a:cubicBezTo>
                      <a:cubicBezTo>
                        <a:pt x="315" y="144"/>
                        <a:pt x="315" y="144"/>
                        <a:pt x="315" y="144"/>
                      </a:cubicBezTo>
                      <a:cubicBezTo>
                        <a:pt x="315" y="144"/>
                        <a:pt x="315" y="144"/>
                        <a:pt x="315" y="144"/>
                      </a:cubicBezTo>
                      <a:cubicBezTo>
                        <a:pt x="316" y="143"/>
                        <a:pt x="316" y="143"/>
                        <a:pt x="316" y="143"/>
                      </a:cubicBezTo>
                      <a:cubicBezTo>
                        <a:pt x="317" y="142"/>
                        <a:pt x="317" y="142"/>
                        <a:pt x="317" y="142"/>
                      </a:cubicBezTo>
                      <a:cubicBezTo>
                        <a:pt x="317" y="143"/>
                        <a:pt x="317" y="143"/>
                        <a:pt x="317" y="143"/>
                      </a:cubicBezTo>
                      <a:cubicBezTo>
                        <a:pt x="317" y="143"/>
                        <a:pt x="317" y="143"/>
                        <a:pt x="317" y="143"/>
                      </a:cubicBezTo>
                      <a:cubicBezTo>
                        <a:pt x="317" y="144"/>
                        <a:pt x="317" y="144"/>
                        <a:pt x="317" y="144"/>
                      </a:cubicBezTo>
                      <a:cubicBezTo>
                        <a:pt x="316" y="145"/>
                        <a:pt x="316" y="145"/>
                        <a:pt x="316" y="145"/>
                      </a:cubicBezTo>
                      <a:cubicBezTo>
                        <a:pt x="316" y="145"/>
                        <a:pt x="316" y="145"/>
                        <a:pt x="316" y="145"/>
                      </a:cubicBezTo>
                      <a:cubicBezTo>
                        <a:pt x="315" y="146"/>
                        <a:pt x="315" y="146"/>
                        <a:pt x="315" y="146"/>
                      </a:cubicBezTo>
                      <a:cubicBezTo>
                        <a:pt x="314" y="147"/>
                        <a:pt x="314" y="147"/>
                        <a:pt x="314" y="147"/>
                      </a:cubicBezTo>
                      <a:cubicBezTo>
                        <a:pt x="314" y="147"/>
                        <a:pt x="314" y="147"/>
                        <a:pt x="314" y="147"/>
                      </a:cubicBezTo>
                      <a:cubicBezTo>
                        <a:pt x="315" y="147"/>
                        <a:pt x="315" y="147"/>
                        <a:pt x="315" y="147"/>
                      </a:cubicBezTo>
                      <a:cubicBezTo>
                        <a:pt x="316" y="146"/>
                        <a:pt x="316" y="146"/>
                        <a:pt x="316" y="146"/>
                      </a:cubicBezTo>
                      <a:cubicBezTo>
                        <a:pt x="317" y="145"/>
                        <a:pt x="317" y="145"/>
                        <a:pt x="317" y="145"/>
                      </a:cubicBezTo>
                      <a:cubicBezTo>
                        <a:pt x="318" y="144"/>
                        <a:pt x="318" y="144"/>
                        <a:pt x="318" y="144"/>
                      </a:cubicBezTo>
                      <a:cubicBezTo>
                        <a:pt x="318" y="145"/>
                        <a:pt x="318" y="145"/>
                        <a:pt x="318" y="145"/>
                      </a:cubicBezTo>
                      <a:cubicBezTo>
                        <a:pt x="318" y="145"/>
                        <a:pt x="318" y="145"/>
                        <a:pt x="318" y="145"/>
                      </a:cubicBezTo>
                      <a:cubicBezTo>
                        <a:pt x="318" y="146"/>
                        <a:pt x="318" y="146"/>
                        <a:pt x="318" y="146"/>
                      </a:cubicBezTo>
                      <a:cubicBezTo>
                        <a:pt x="318" y="146"/>
                        <a:pt x="318" y="146"/>
                        <a:pt x="318" y="146"/>
                      </a:cubicBezTo>
                      <a:cubicBezTo>
                        <a:pt x="317" y="147"/>
                        <a:pt x="317" y="147"/>
                        <a:pt x="317" y="147"/>
                      </a:cubicBezTo>
                      <a:cubicBezTo>
                        <a:pt x="316" y="148"/>
                        <a:pt x="316" y="148"/>
                        <a:pt x="316" y="148"/>
                      </a:cubicBezTo>
                      <a:cubicBezTo>
                        <a:pt x="317" y="148"/>
                        <a:pt x="317" y="148"/>
                        <a:pt x="317" y="148"/>
                      </a:cubicBezTo>
                      <a:cubicBezTo>
                        <a:pt x="317" y="147"/>
                        <a:pt x="317" y="147"/>
                        <a:pt x="317" y="147"/>
                      </a:cubicBezTo>
                      <a:cubicBezTo>
                        <a:pt x="317" y="147"/>
                        <a:pt x="317" y="147"/>
                        <a:pt x="317" y="147"/>
                      </a:cubicBezTo>
                      <a:cubicBezTo>
                        <a:pt x="318" y="146"/>
                        <a:pt x="318" y="146"/>
                        <a:pt x="318" y="146"/>
                      </a:cubicBezTo>
                      <a:cubicBezTo>
                        <a:pt x="319" y="146"/>
                        <a:pt x="319" y="146"/>
                        <a:pt x="319" y="146"/>
                      </a:cubicBezTo>
                      <a:cubicBezTo>
                        <a:pt x="319" y="145"/>
                        <a:pt x="319" y="145"/>
                        <a:pt x="319" y="145"/>
                      </a:cubicBezTo>
                      <a:cubicBezTo>
                        <a:pt x="319" y="144"/>
                        <a:pt x="319" y="144"/>
                        <a:pt x="319" y="144"/>
                      </a:cubicBezTo>
                      <a:cubicBezTo>
                        <a:pt x="320" y="144"/>
                        <a:pt x="320" y="144"/>
                        <a:pt x="320" y="144"/>
                      </a:cubicBezTo>
                      <a:cubicBezTo>
                        <a:pt x="320" y="143"/>
                        <a:pt x="320" y="143"/>
                        <a:pt x="320" y="143"/>
                      </a:cubicBezTo>
                      <a:cubicBezTo>
                        <a:pt x="320" y="143"/>
                        <a:pt x="320" y="143"/>
                        <a:pt x="320" y="143"/>
                      </a:cubicBezTo>
                      <a:cubicBezTo>
                        <a:pt x="321" y="143"/>
                        <a:pt x="321" y="143"/>
                        <a:pt x="321" y="143"/>
                      </a:cubicBezTo>
                      <a:cubicBezTo>
                        <a:pt x="321" y="142"/>
                        <a:pt x="321" y="142"/>
                        <a:pt x="321" y="142"/>
                      </a:cubicBezTo>
                      <a:cubicBezTo>
                        <a:pt x="321" y="141"/>
                        <a:pt x="321" y="141"/>
                        <a:pt x="321" y="141"/>
                      </a:cubicBezTo>
                      <a:cubicBezTo>
                        <a:pt x="322" y="141"/>
                        <a:pt x="322" y="141"/>
                        <a:pt x="322" y="141"/>
                      </a:cubicBezTo>
                      <a:cubicBezTo>
                        <a:pt x="322" y="142"/>
                        <a:pt x="322" y="142"/>
                        <a:pt x="322" y="142"/>
                      </a:cubicBezTo>
                      <a:cubicBezTo>
                        <a:pt x="323" y="143"/>
                        <a:pt x="323" y="143"/>
                        <a:pt x="323" y="143"/>
                      </a:cubicBezTo>
                      <a:cubicBezTo>
                        <a:pt x="324" y="144"/>
                        <a:pt x="324" y="144"/>
                        <a:pt x="324" y="144"/>
                      </a:cubicBezTo>
                      <a:cubicBezTo>
                        <a:pt x="324" y="144"/>
                        <a:pt x="324" y="144"/>
                        <a:pt x="324" y="144"/>
                      </a:cubicBezTo>
                      <a:cubicBezTo>
                        <a:pt x="324" y="145"/>
                        <a:pt x="324" y="145"/>
                        <a:pt x="324" y="145"/>
                      </a:cubicBezTo>
                      <a:cubicBezTo>
                        <a:pt x="325" y="146"/>
                        <a:pt x="325" y="146"/>
                        <a:pt x="325" y="146"/>
                      </a:cubicBezTo>
                      <a:cubicBezTo>
                        <a:pt x="325" y="146"/>
                        <a:pt x="325" y="146"/>
                        <a:pt x="325" y="146"/>
                      </a:cubicBezTo>
                      <a:cubicBezTo>
                        <a:pt x="325" y="147"/>
                        <a:pt x="325" y="147"/>
                        <a:pt x="325" y="147"/>
                      </a:cubicBezTo>
                      <a:cubicBezTo>
                        <a:pt x="324" y="148"/>
                        <a:pt x="324" y="148"/>
                        <a:pt x="324" y="148"/>
                      </a:cubicBezTo>
                      <a:cubicBezTo>
                        <a:pt x="323" y="148"/>
                        <a:pt x="323" y="148"/>
                        <a:pt x="323" y="148"/>
                      </a:cubicBezTo>
                      <a:cubicBezTo>
                        <a:pt x="323" y="148"/>
                        <a:pt x="323" y="148"/>
                        <a:pt x="323" y="148"/>
                      </a:cubicBezTo>
                      <a:cubicBezTo>
                        <a:pt x="322" y="147"/>
                        <a:pt x="322" y="147"/>
                        <a:pt x="322" y="147"/>
                      </a:cubicBezTo>
                      <a:cubicBezTo>
                        <a:pt x="321" y="147"/>
                        <a:pt x="321" y="147"/>
                        <a:pt x="321" y="147"/>
                      </a:cubicBezTo>
                      <a:cubicBezTo>
                        <a:pt x="321" y="147"/>
                        <a:pt x="321" y="147"/>
                        <a:pt x="321" y="147"/>
                      </a:cubicBezTo>
                      <a:cubicBezTo>
                        <a:pt x="320" y="148"/>
                        <a:pt x="320" y="148"/>
                        <a:pt x="320" y="148"/>
                      </a:cubicBezTo>
                      <a:cubicBezTo>
                        <a:pt x="320" y="148"/>
                        <a:pt x="320" y="148"/>
                        <a:pt x="320" y="148"/>
                      </a:cubicBezTo>
                      <a:cubicBezTo>
                        <a:pt x="319" y="149"/>
                        <a:pt x="319" y="149"/>
                        <a:pt x="319" y="149"/>
                      </a:cubicBezTo>
                      <a:cubicBezTo>
                        <a:pt x="319" y="149"/>
                        <a:pt x="319" y="149"/>
                        <a:pt x="319" y="149"/>
                      </a:cubicBezTo>
                      <a:cubicBezTo>
                        <a:pt x="318" y="149"/>
                        <a:pt x="318" y="149"/>
                        <a:pt x="318" y="149"/>
                      </a:cubicBezTo>
                      <a:cubicBezTo>
                        <a:pt x="319" y="149"/>
                        <a:pt x="319" y="149"/>
                        <a:pt x="319" y="149"/>
                      </a:cubicBezTo>
                      <a:cubicBezTo>
                        <a:pt x="320" y="149"/>
                        <a:pt x="320" y="149"/>
                        <a:pt x="320" y="149"/>
                      </a:cubicBezTo>
                      <a:cubicBezTo>
                        <a:pt x="320" y="150"/>
                        <a:pt x="320" y="150"/>
                        <a:pt x="320" y="150"/>
                      </a:cubicBezTo>
                      <a:cubicBezTo>
                        <a:pt x="319" y="150"/>
                        <a:pt x="319" y="150"/>
                        <a:pt x="319" y="150"/>
                      </a:cubicBezTo>
                      <a:cubicBezTo>
                        <a:pt x="318" y="151"/>
                        <a:pt x="318" y="151"/>
                        <a:pt x="318" y="151"/>
                      </a:cubicBezTo>
                      <a:cubicBezTo>
                        <a:pt x="318" y="151"/>
                        <a:pt x="318" y="151"/>
                        <a:pt x="318" y="151"/>
                      </a:cubicBezTo>
                      <a:cubicBezTo>
                        <a:pt x="319" y="151"/>
                        <a:pt x="319" y="151"/>
                        <a:pt x="319" y="151"/>
                      </a:cubicBezTo>
                      <a:cubicBezTo>
                        <a:pt x="319" y="151"/>
                        <a:pt x="319" y="151"/>
                        <a:pt x="319" y="151"/>
                      </a:cubicBezTo>
                      <a:cubicBezTo>
                        <a:pt x="320" y="151"/>
                        <a:pt x="320" y="151"/>
                        <a:pt x="320" y="151"/>
                      </a:cubicBezTo>
                      <a:cubicBezTo>
                        <a:pt x="321" y="151"/>
                        <a:pt x="321" y="151"/>
                        <a:pt x="321" y="151"/>
                      </a:cubicBezTo>
                      <a:cubicBezTo>
                        <a:pt x="322" y="150"/>
                        <a:pt x="322" y="150"/>
                        <a:pt x="322" y="150"/>
                      </a:cubicBezTo>
                      <a:cubicBezTo>
                        <a:pt x="323" y="150"/>
                        <a:pt x="323" y="150"/>
                        <a:pt x="323" y="150"/>
                      </a:cubicBezTo>
                      <a:cubicBezTo>
                        <a:pt x="323" y="150"/>
                        <a:pt x="323" y="150"/>
                        <a:pt x="323" y="150"/>
                      </a:cubicBezTo>
                      <a:cubicBezTo>
                        <a:pt x="324" y="151"/>
                        <a:pt x="324" y="151"/>
                        <a:pt x="324" y="151"/>
                      </a:cubicBezTo>
                      <a:cubicBezTo>
                        <a:pt x="323" y="151"/>
                        <a:pt x="323" y="151"/>
                        <a:pt x="323" y="151"/>
                      </a:cubicBezTo>
                      <a:cubicBezTo>
                        <a:pt x="324" y="151"/>
                        <a:pt x="324" y="151"/>
                        <a:pt x="324" y="151"/>
                      </a:cubicBezTo>
                      <a:cubicBezTo>
                        <a:pt x="324" y="150"/>
                        <a:pt x="324" y="150"/>
                        <a:pt x="324" y="150"/>
                      </a:cubicBezTo>
                      <a:cubicBezTo>
                        <a:pt x="324" y="149"/>
                        <a:pt x="324" y="149"/>
                        <a:pt x="324" y="149"/>
                      </a:cubicBezTo>
                      <a:cubicBezTo>
                        <a:pt x="324" y="149"/>
                        <a:pt x="324" y="149"/>
                        <a:pt x="324" y="149"/>
                      </a:cubicBezTo>
                      <a:cubicBezTo>
                        <a:pt x="326" y="148"/>
                        <a:pt x="326" y="148"/>
                        <a:pt x="326" y="148"/>
                      </a:cubicBezTo>
                      <a:cubicBezTo>
                        <a:pt x="326" y="148"/>
                        <a:pt x="326" y="148"/>
                        <a:pt x="326" y="148"/>
                      </a:cubicBezTo>
                      <a:cubicBezTo>
                        <a:pt x="326" y="149"/>
                        <a:pt x="326" y="149"/>
                        <a:pt x="326" y="149"/>
                      </a:cubicBezTo>
                      <a:cubicBezTo>
                        <a:pt x="326" y="150"/>
                        <a:pt x="326" y="150"/>
                        <a:pt x="326" y="150"/>
                      </a:cubicBezTo>
                      <a:cubicBezTo>
                        <a:pt x="326" y="150"/>
                        <a:pt x="326" y="150"/>
                        <a:pt x="326" y="150"/>
                      </a:cubicBezTo>
                      <a:cubicBezTo>
                        <a:pt x="325" y="151"/>
                        <a:pt x="325" y="151"/>
                        <a:pt x="325" y="151"/>
                      </a:cubicBezTo>
                      <a:cubicBezTo>
                        <a:pt x="324" y="152"/>
                        <a:pt x="324" y="152"/>
                        <a:pt x="324" y="152"/>
                      </a:cubicBezTo>
                      <a:cubicBezTo>
                        <a:pt x="323" y="152"/>
                        <a:pt x="323" y="152"/>
                        <a:pt x="323" y="152"/>
                      </a:cubicBezTo>
                      <a:cubicBezTo>
                        <a:pt x="323" y="153"/>
                        <a:pt x="323" y="153"/>
                        <a:pt x="323" y="153"/>
                      </a:cubicBezTo>
                      <a:cubicBezTo>
                        <a:pt x="322" y="152"/>
                        <a:pt x="322" y="152"/>
                        <a:pt x="322" y="152"/>
                      </a:cubicBezTo>
                      <a:cubicBezTo>
                        <a:pt x="322" y="152"/>
                        <a:pt x="322" y="152"/>
                        <a:pt x="322" y="152"/>
                      </a:cubicBezTo>
                      <a:cubicBezTo>
                        <a:pt x="321" y="152"/>
                        <a:pt x="321" y="152"/>
                        <a:pt x="321" y="152"/>
                      </a:cubicBezTo>
                      <a:cubicBezTo>
                        <a:pt x="321" y="153"/>
                        <a:pt x="321" y="153"/>
                        <a:pt x="321" y="153"/>
                      </a:cubicBezTo>
                      <a:cubicBezTo>
                        <a:pt x="321" y="153"/>
                        <a:pt x="321" y="153"/>
                        <a:pt x="321" y="153"/>
                      </a:cubicBezTo>
                      <a:cubicBezTo>
                        <a:pt x="320" y="154"/>
                        <a:pt x="320" y="154"/>
                        <a:pt x="320" y="154"/>
                      </a:cubicBezTo>
                      <a:cubicBezTo>
                        <a:pt x="320" y="155"/>
                        <a:pt x="320" y="155"/>
                        <a:pt x="320" y="155"/>
                      </a:cubicBezTo>
                      <a:cubicBezTo>
                        <a:pt x="319" y="155"/>
                        <a:pt x="319" y="155"/>
                        <a:pt x="319" y="155"/>
                      </a:cubicBezTo>
                      <a:cubicBezTo>
                        <a:pt x="320" y="155"/>
                        <a:pt x="320" y="155"/>
                        <a:pt x="320" y="155"/>
                      </a:cubicBezTo>
                      <a:cubicBezTo>
                        <a:pt x="321" y="154"/>
                        <a:pt x="321" y="154"/>
                        <a:pt x="321" y="154"/>
                      </a:cubicBezTo>
                      <a:cubicBezTo>
                        <a:pt x="322" y="153"/>
                        <a:pt x="322" y="153"/>
                        <a:pt x="322" y="153"/>
                      </a:cubicBezTo>
                      <a:cubicBezTo>
                        <a:pt x="322" y="153"/>
                        <a:pt x="322" y="153"/>
                        <a:pt x="322" y="153"/>
                      </a:cubicBezTo>
                      <a:cubicBezTo>
                        <a:pt x="322" y="153"/>
                        <a:pt x="322" y="153"/>
                        <a:pt x="322" y="153"/>
                      </a:cubicBezTo>
                      <a:cubicBezTo>
                        <a:pt x="323" y="153"/>
                        <a:pt x="323" y="153"/>
                        <a:pt x="323" y="153"/>
                      </a:cubicBezTo>
                      <a:cubicBezTo>
                        <a:pt x="323" y="153"/>
                        <a:pt x="323" y="153"/>
                        <a:pt x="323" y="153"/>
                      </a:cubicBezTo>
                      <a:cubicBezTo>
                        <a:pt x="322" y="154"/>
                        <a:pt x="322" y="154"/>
                        <a:pt x="322" y="154"/>
                      </a:cubicBezTo>
                      <a:cubicBezTo>
                        <a:pt x="322" y="155"/>
                        <a:pt x="322" y="155"/>
                        <a:pt x="322" y="155"/>
                      </a:cubicBezTo>
                      <a:cubicBezTo>
                        <a:pt x="321" y="156"/>
                        <a:pt x="321" y="156"/>
                        <a:pt x="321" y="156"/>
                      </a:cubicBezTo>
                      <a:cubicBezTo>
                        <a:pt x="320" y="156"/>
                        <a:pt x="320" y="156"/>
                        <a:pt x="320" y="156"/>
                      </a:cubicBezTo>
                      <a:cubicBezTo>
                        <a:pt x="320" y="157"/>
                        <a:pt x="320" y="157"/>
                        <a:pt x="320" y="157"/>
                      </a:cubicBezTo>
                      <a:cubicBezTo>
                        <a:pt x="321" y="156"/>
                        <a:pt x="321" y="156"/>
                        <a:pt x="321" y="156"/>
                      </a:cubicBezTo>
                      <a:cubicBezTo>
                        <a:pt x="323" y="154"/>
                        <a:pt x="323" y="154"/>
                        <a:pt x="323" y="154"/>
                      </a:cubicBezTo>
                      <a:cubicBezTo>
                        <a:pt x="324" y="153"/>
                        <a:pt x="324" y="153"/>
                        <a:pt x="324" y="153"/>
                      </a:cubicBezTo>
                      <a:cubicBezTo>
                        <a:pt x="324" y="152"/>
                        <a:pt x="324" y="152"/>
                        <a:pt x="324" y="152"/>
                      </a:cubicBezTo>
                      <a:cubicBezTo>
                        <a:pt x="324" y="152"/>
                        <a:pt x="324" y="152"/>
                        <a:pt x="324" y="152"/>
                      </a:cubicBezTo>
                      <a:cubicBezTo>
                        <a:pt x="325" y="152"/>
                        <a:pt x="325" y="152"/>
                        <a:pt x="325" y="152"/>
                      </a:cubicBezTo>
                      <a:cubicBezTo>
                        <a:pt x="326" y="151"/>
                        <a:pt x="326" y="151"/>
                        <a:pt x="326" y="151"/>
                      </a:cubicBezTo>
                      <a:cubicBezTo>
                        <a:pt x="327" y="151"/>
                        <a:pt x="327" y="151"/>
                        <a:pt x="327" y="151"/>
                      </a:cubicBezTo>
                      <a:cubicBezTo>
                        <a:pt x="328" y="151"/>
                        <a:pt x="328" y="151"/>
                        <a:pt x="328" y="151"/>
                      </a:cubicBezTo>
                      <a:cubicBezTo>
                        <a:pt x="328" y="151"/>
                        <a:pt x="328" y="151"/>
                        <a:pt x="328" y="151"/>
                      </a:cubicBezTo>
                      <a:cubicBezTo>
                        <a:pt x="328" y="151"/>
                        <a:pt x="328" y="151"/>
                        <a:pt x="328" y="151"/>
                      </a:cubicBezTo>
                      <a:cubicBezTo>
                        <a:pt x="327" y="152"/>
                        <a:pt x="327" y="152"/>
                        <a:pt x="327" y="152"/>
                      </a:cubicBezTo>
                      <a:cubicBezTo>
                        <a:pt x="326" y="152"/>
                        <a:pt x="326" y="152"/>
                        <a:pt x="326" y="152"/>
                      </a:cubicBezTo>
                      <a:cubicBezTo>
                        <a:pt x="325" y="153"/>
                        <a:pt x="325" y="153"/>
                        <a:pt x="325" y="153"/>
                      </a:cubicBezTo>
                      <a:cubicBezTo>
                        <a:pt x="325" y="153"/>
                        <a:pt x="325" y="153"/>
                        <a:pt x="325" y="153"/>
                      </a:cubicBezTo>
                      <a:cubicBezTo>
                        <a:pt x="325" y="154"/>
                        <a:pt x="325" y="154"/>
                        <a:pt x="325" y="154"/>
                      </a:cubicBezTo>
                      <a:cubicBezTo>
                        <a:pt x="326" y="153"/>
                        <a:pt x="326" y="153"/>
                        <a:pt x="326" y="153"/>
                      </a:cubicBezTo>
                      <a:cubicBezTo>
                        <a:pt x="327" y="153"/>
                        <a:pt x="327" y="153"/>
                        <a:pt x="327" y="153"/>
                      </a:cubicBezTo>
                      <a:cubicBezTo>
                        <a:pt x="328" y="152"/>
                        <a:pt x="328" y="152"/>
                        <a:pt x="328" y="152"/>
                      </a:cubicBezTo>
                      <a:cubicBezTo>
                        <a:pt x="328" y="152"/>
                        <a:pt x="328" y="152"/>
                        <a:pt x="328" y="152"/>
                      </a:cubicBezTo>
                      <a:cubicBezTo>
                        <a:pt x="329" y="152"/>
                        <a:pt x="329" y="152"/>
                        <a:pt x="329" y="152"/>
                      </a:cubicBezTo>
                      <a:cubicBezTo>
                        <a:pt x="330" y="151"/>
                        <a:pt x="330" y="151"/>
                        <a:pt x="330" y="151"/>
                      </a:cubicBezTo>
                      <a:cubicBezTo>
                        <a:pt x="330" y="151"/>
                        <a:pt x="330" y="151"/>
                        <a:pt x="330" y="151"/>
                      </a:cubicBezTo>
                      <a:cubicBezTo>
                        <a:pt x="331" y="152"/>
                        <a:pt x="331" y="152"/>
                        <a:pt x="331" y="152"/>
                      </a:cubicBezTo>
                      <a:cubicBezTo>
                        <a:pt x="332" y="153"/>
                        <a:pt x="332" y="153"/>
                        <a:pt x="332" y="153"/>
                      </a:cubicBezTo>
                      <a:cubicBezTo>
                        <a:pt x="332" y="154"/>
                        <a:pt x="332" y="154"/>
                        <a:pt x="332" y="154"/>
                      </a:cubicBezTo>
                      <a:cubicBezTo>
                        <a:pt x="333" y="154"/>
                        <a:pt x="333" y="154"/>
                        <a:pt x="333" y="154"/>
                      </a:cubicBezTo>
                      <a:cubicBezTo>
                        <a:pt x="333" y="155"/>
                        <a:pt x="333" y="155"/>
                        <a:pt x="333" y="155"/>
                      </a:cubicBezTo>
                      <a:cubicBezTo>
                        <a:pt x="333" y="155"/>
                        <a:pt x="333" y="155"/>
                        <a:pt x="333" y="155"/>
                      </a:cubicBezTo>
                      <a:cubicBezTo>
                        <a:pt x="332" y="156"/>
                        <a:pt x="332" y="156"/>
                        <a:pt x="332" y="156"/>
                      </a:cubicBezTo>
                      <a:cubicBezTo>
                        <a:pt x="332" y="156"/>
                        <a:pt x="332" y="156"/>
                        <a:pt x="332" y="156"/>
                      </a:cubicBezTo>
                      <a:cubicBezTo>
                        <a:pt x="332" y="155"/>
                        <a:pt x="332" y="155"/>
                        <a:pt x="332" y="155"/>
                      </a:cubicBezTo>
                      <a:cubicBezTo>
                        <a:pt x="331" y="155"/>
                        <a:pt x="331" y="155"/>
                        <a:pt x="331" y="155"/>
                      </a:cubicBezTo>
                      <a:cubicBezTo>
                        <a:pt x="331" y="156"/>
                        <a:pt x="331" y="156"/>
                        <a:pt x="331" y="156"/>
                      </a:cubicBezTo>
                      <a:cubicBezTo>
                        <a:pt x="331" y="156"/>
                        <a:pt x="331" y="156"/>
                        <a:pt x="331" y="156"/>
                      </a:cubicBezTo>
                      <a:cubicBezTo>
                        <a:pt x="330" y="157"/>
                        <a:pt x="330" y="157"/>
                        <a:pt x="330" y="157"/>
                      </a:cubicBezTo>
                      <a:cubicBezTo>
                        <a:pt x="328" y="157"/>
                        <a:pt x="328" y="157"/>
                        <a:pt x="328" y="157"/>
                      </a:cubicBezTo>
                      <a:cubicBezTo>
                        <a:pt x="328" y="157"/>
                        <a:pt x="328" y="157"/>
                        <a:pt x="328" y="157"/>
                      </a:cubicBezTo>
                      <a:cubicBezTo>
                        <a:pt x="327" y="157"/>
                        <a:pt x="327" y="157"/>
                        <a:pt x="327" y="157"/>
                      </a:cubicBezTo>
                      <a:cubicBezTo>
                        <a:pt x="325" y="158"/>
                        <a:pt x="325" y="158"/>
                        <a:pt x="325" y="158"/>
                      </a:cubicBezTo>
                      <a:cubicBezTo>
                        <a:pt x="325" y="158"/>
                        <a:pt x="325" y="158"/>
                        <a:pt x="325" y="158"/>
                      </a:cubicBezTo>
                      <a:cubicBezTo>
                        <a:pt x="323" y="159"/>
                        <a:pt x="323" y="159"/>
                        <a:pt x="323" y="159"/>
                      </a:cubicBezTo>
                      <a:cubicBezTo>
                        <a:pt x="324" y="158"/>
                        <a:pt x="324" y="158"/>
                        <a:pt x="324" y="158"/>
                      </a:cubicBezTo>
                      <a:cubicBezTo>
                        <a:pt x="325" y="159"/>
                        <a:pt x="325" y="159"/>
                        <a:pt x="325" y="159"/>
                      </a:cubicBezTo>
                      <a:cubicBezTo>
                        <a:pt x="324" y="159"/>
                        <a:pt x="324" y="159"/>
                        <a:pt x="324" y="159"/>
                      </a:cubicBezTo>
                      <a:cubicBezTo>
                        <a:pt x="323" y="159"/>
                        <a:pt x="323" y="159"/>
                        <a:pt x="323" y="159"/>
                      </a:cubicBezTo>
                      <a:cubicBezTo>
                        <a:pt x="323" y="160"/>
                        <a:pt x="323" y="160"/>
                        <a:pt x="323" y="160"/>
                      </a:cubicBezTo>
                      <a:cubicBezTo>
                        <a:pt x="324" y="160"/>
                        <a:pt x="324" y="160"/>
                        <a:pt x="324" y="160"/>
                      </a:cubicBezTo>
                      <a:cubicBezTo>
                        <a:pt x="325" y="159"/>
                        <a:pt x="325" y="159"/>
                        <a:pt x="325" y="159"/>
                      </a:cubicBezTo>
                      <a:cubicBezTo>
                        <a:pt x="327" y="158"/>
                        <a:pt x="327" y="158"/>
                        <a:pt x="327" y="158"/>
                      </a:cubicBezTo>
                      <a:cubicBezTo>
                        <a:pt x="328" y="158"/>
                        <a:pt x="328" y="158"/>
                        <a:pt x="328" y="158"/>
                      </a:cubicBezTo>
                      <a:cubicBezTo>
                        <a:pt x="329" y="158"/>
                        <a:pt x="329" y="158"/>
                        <a:pt x="329" y="158"/>
                      </a:cubicBezTo>
                      <a:cubicBezTo>
                        <a:pt x="329" y="158"/>
                        <a:pt x="329" y="158"/>
                        <a:pt x="329" y="158"/>
                      </a:cubicBezTo>
                      <a:cubicBezTo>
                        <a:pt x="330" y="158"/>
                        <a:pt x="330" y="158"/>
                        <a:pt x="330" y="158"/>
                      </a:cubicBezTo>
                      <a:cubicBezTo>
                        <a:pt x="330" y="158"/>
                        <a:pt x="330" y="158"/>
                        <a:pt x="330" y="158"/>
                      </a:cubicBezTo>
                      <a:cubicBezTo>
                        <a:pt x="330" y="159"/>
                        <a:pt x="330" y="159"/>
                        <a:pt x="330" y="159"/>
                      </a:cubicBezTo>
                      <a:cubicBezTo>
                        <a:pt x="329" y="159"/>
                        <a:pt x="329" y="159"/>
                        <a:pt x="329" y="159"/>
                      </a:cubicBezTo>
                      <a:cubicBezTo>
                        <a:pt x="328" y="160"/>
                        <a:pt x="328" y="160"/>
                        <a:pt x="328" y="160"/>
                      </a:cubicBezTo>
                      <a:cubicBezTo>
                        <a:pt x="328" y="160"/>
                        <a:pt x="328" y="160"/>
                        <a:pt x="328" y="160"/>
                      </a:cubicBezTo>
                      <a:cubicBezTo>
                        <a:pt x="327" y="160"/>
                        <a:pt x="327" y="160"/>
                        <a:pt x="327" y="160"/>
                      </a:cubicBezTo>
                      <a:cubicBezTo>
                        <a:pt x="327" y="161"/>
                        <a:pt x="327" y="161"/>
                        <a:pt x="327" y="161"/>
                      </a:cubicBezTo>
                      <a:cubicBezTo>
                        <a:pt x="326" y="161"/>
                        <a:pt x="326" y="161"/>
                        <a:pt x="326" y="161"/>
                      </a:cubicBezTo>
                      <a:cubicBezTo>
                        <a:pt x="325" y="161"/>
                        <a:pt x="325" y="161"/>
                        <a:pt x="325" y="161"/>
                      </a:cubicBezTo>
                      <a:cubicBezTo>
                        <a:pt x="324" y="161"/>
                        <a:pt x="324" y="161"/>
                        <a:pt x="324" y="161"/>
                      </a:cubicBezTo>
                      <a:cubicBezTo>
                        <a:pt x="324" y="161"/>
                        <a:pt x="324" y="161"/>
                        <a:pt x="324" y="161"/>
                      </a:cubicBezTo>
                      <a:cubicBezTo>
                        <a:pt x="324" y="161"/>
                        <a:pt x="324" y="161"/>
                        <a:pt x="324" y="161"/>
                      </a:cubicBezTo>
                      <a:cubicBezTo>
                        <a:pt x="325" y="161"/>
                        <a:pt x="325" y="161"/>
                        <a:pt x="325" y="161"/>
                      </a:cubicBezTo>
                      <a:cubicBezTo>
                        <a:pt x="326" y="161"/>
                        <a:pt x="326" y="161"/>
                        <a:pt x="326" y="161"/>
                      </a:cubicBezTo>
                      <a:cubicBezTo>
                        <a:pt x="326" y="162"/>
                        <a:pt x="326" y="162"/>
                        <a:pt x="326" y="162"/>
                      </a:cubicBezTo>
                      <a:cubicBezTo>
                        <a:pt x="327" y="161"/>
                        <a:pt x="327" y="161"/>
                        <a:pt x="327" y="161"/>
                      </a:cubicBezTo>
                      <a:cubicBezTo>
                        <a:pt x="328" y="160"/>
                        <a:pt x="328" y="160"/>
                        <a:pt x="328" y="160"/>
                      </a:cubicBezTo>
                      <a:cubicBezTo>
                        <a:pt x="329" y="160"/>
                        <a:pt x="329" y="160"/>
                        <a:pt x="329" y="160"/>
                      </a:cubicBezTo>
                      <a:cubicBezTo>
                        <a:pt x="329" y="160"/>
                        <a:pt x="329" y="160"/>
                        <a:pt x="329" y="160"/>
                      </a:cubicBezTo>
                      <a:cubicBezTo>
                        <a:pt x="330" y="160"/>
                        <a:pt x="330" y="160"/>
                        <a:pt x="330" y="160"/>
                      </a:cubicBezTo>
                      <a:cubicBezTo>
                        <a:pt x="331" y="159"/>
                        <a:pt x="331" y="159"/>
                        <a:pt x="331" y="159"/>
                      </a:cubicBezTo>
                      <a:cubicBezTo>
                        <a:pt x="331" y="159"/>
                        <a:pt x="331" y="159"/>
                        <a:pt x="331" y="159"/>
                      </a:cubicBezTo>
                      <a:cubicBezTo>
                        <a:pt x="332" y="159"/>
                        <a:pt x="332" y="159"/>
                        <a:pt x="332" y="159"/>
                      </a:cubicBezTo>
                      <a:cubicBezTo>
                        <a:pt x="332" y="158"/>
                        <a:pt x="332" y="158"/>
                        <a:pt x="332" y="158"/>
                      </a:cubicBezTo>
                      <a:cubicBezTo>
                        <a:pt x="331" y="158"/>
                        <a:pt x="331" y="158"/>
                        <a:pt x="331" y="158"/>
                      </a:cubicBezTo>
                      <a:cubicBezTo>
                        <a:pt x="332" y="157"/>
                        <a:pt x="332" y="157"/>
                        <a:pt x="332" y="157"/>
                      </a:cubicBezTo>
                      <a:cubicBezTo>
                        <a:pt x="332" y="157"/>
                        <a:pt x="332" y="157"/>
                        <a:pt x="332" y="157"/>
                      </a:cubicBezTo>
                      <a:cubicBezTo>
                        <a:pt x="333" y="157"/>
                        <a:pt x="333" y="157"/>
                        <a:pt x="333" y="157"/>
                      </a:cubicBezTo>
                      <a:cubicBezTo>
                        <a:pt x="333" y="157"/>
                        <a:pt x="333" y="157"/>
                        <a:pt x="333" y="157"/>
                      </a:cubicBezTo>
                      <a:cubicBezTo>
                        <a:pt x="333" y="157"/>
                        <a:pt x="333" y="157"/>
                        <a:pt x="333" y="157"/>
                      </a:cubicBezTo>
                      <a:cubicBezTo>
                        <a:pt x="334" y="158"/>
                        <a:pt x="334" y="158"/>
                        <a:pt x="334" y="158"/>
                      </a:cubicBezTo>
                      <a:cubicBezTo>
                        <a:pt x="334" y="159"/>
                        <a:pt x="334" y="159"/>
                        <a:pt x="334" y="159"/>
                      </a:cubicBezTo>
                      <a:cubicBezTo>
                        <a:pt x="335" y="161"/>
                        <a:pt x="335" y="161"/>
                        <a:pt x="335" y="161"/>
                      </a:cubicBezTo>
                      <a:cubicBezTo>
                        <a:pt x="335" y="161"/>
                        <a:pt x="335" y="161"/>
                        <a:pt x="335" y="161"/>
                      </a:cubicBezTo>
                      <a:cubicBezTo>
                        <a:pt x="335" y="162"/>
                        <a:pt x="335" y="162"/>
                        <a:pt x="335" y="162"/>
                      </a:cubicBezTo>
                      <a:cubicBezTo>
                        <a:pt x="335" y="162"/>
                        <a:pt x="335" y="162"/>
                        <a:pt x="335" y="162"/>
                      </a:cubicBezTo>
                      <a:cubicBezTo>
                        <a:pt x="334" y="162"/>
                        <a:pt x="334" y="162"/>
                        <a:pt x="334" y="162"/>
                      </a:cubicBezTo>
                      <a:cubicBezTo>
                        <a:pt x="333" y="162"/>
                        <a:pt x="333" y="162"/>
                        <a:pt x="333" y="162"/>
                      </a:cubicBezTo>
                      <a:cubicBezTo>
                        <a:pt x="332" y="162"/>
                        <a:pt x="332" y="162"/>
                        <a:pt x="332" y="162"/>
                      </a:cubicBezTo>
                      <a:cubicBezTo>
                        <a:pt x="331" y="162"/>
                        <a:pt x="331" y="162"/>
                        <a:pt x="331" y="162"/>
                      </a:cubicBezTo>
                      <a:cubicBezTo>
                        <a:pt x="330" y="163"/>
                        <a:pt x="330" y="163"/>
                        <a:pt x="330" y="163"/>
                      </a:cubicBezTo>
                      <a:cubicBezTo>
                        <a:pt x="330" y="163"/>
                        <a:pt x="330" y="163"/>
                        <a:pt x="330" y="163"/>
                      </a:cubicBezTo>
                      <a:cubicBezTo>
                        <a:pt x="329" y="162"/>
                        <a:pt x="329" y="162"/>
                        <a:pt x="329" y="162"/>
                      </a:cubicBezTo>
                      <a:cubicBezTo>
                        <a:pt x="329" y="162"/>
                        <a:pt x="329" y="162"/>
                        <a:pt x="329" y="162"/>
                      </a:cubicBezTo>
                      <a:cubicBezTo>
                        <a:pt x="328" y="163"/>
                        <a:pt x="328" y="163"/>
                        <a:pt x="328" y="163"/>
                      </a:cubicBezTo>
                      <a:cubicBezTo>
                        <a:pt x="327" y="163"/>
                        <a:pt x="327" y="163"/>
                        <a:pt x="327" y="163"/>
                      </a:cubicBezTo>
                      <a:cubicBezTo>
                        <a:pt x="327" y="163"/>
                        <a:pt x="327" y="163"/>
                        <a:pt x="327" y="163"/>
                      </a:cubicBezTo>
                      <a:cubicBezTo>
                        <a:pt x="329" y="163"/>
                        <a:pt x="329" y="163"/>
                        <a:pt x="329" y="163"/>
                      </a:cubicBezTo>
                      <a:cubicBezTo>
                        <a:pt x="330" y="163"/>
                        <a:pt x="330" y="163"/>
                        <a:pt x="330" y="163"/>
                      </a:cubicBezTo>
                      <a:cubicBezTo>
                        <a:pt x="331" y="164"/>
                        <a:pt x="331" y="164"/>
                        <a:pt x="331" y="164"/>
                      </a:cubicBezTo>
                      <a:cubicBezTo>
                        <a:pt x="332" y="165"/>
                        <a:pt x="332" y="165"/>
                        <a:pt x="332" y="165"/>
                      </a:cubicBezTo>
                      <a:cubicBezTo>
                        <a:pt x="332" y="165"/>
                        <a:pt x="332" y="165"/>
                        <a:pt x="332" y="165"/>
                      </a:cubicBezTo>
                      <a:cubicBezTo>
                        <a:pt x="333" y="164"/>
                        <a:pt x="333" y="164"/>
                        <a:pt x="333" y="164"/>
                      </a:cubicBezTo>
                      <a:cubicBezTo>
                        <a:pt x="333" y="165"/>
                        <a:pt x="333" y="165"/>
                        <a:pt x="333" y="165"/>
                      </a:cubicBezTo>
                      <a:cubicBezTo>
                        <a:pt x="334" y="165"/>
                        <a:pt x="334" y="165"/>
                        <a:pt x="334" y="165"/>
                      </a:cubicBezTo>
                      <a:cubicBezTo>
                        <a:pt x="335" y="165"/>
                        <a:pt x="335" y="165"/>
                        <a:pt x="335" y="165"/>
                      </a:cubicBezTo>
                      <a:cubicBezTo>
                        <a:pt x="335" y="166"/>
                        <a:pt x="335" y="166"/>
                        <a:pt x="335" y="166"/>
                      </a:cubicBezTo>
                      <a:cubicBezTo>
                        <a:pt x="335" y="167"/>
                        <a:pt x="335" y="167"/>
                        <a:pt x="335" y="167"/>
                      </a:cubicBezTo>
                      <a:cubicBezTo>
                        <a:pt x="335" y="168"/>
                        <a:pt x="335" y="168"/>
                        <a:pt x="335" y="168"/>
                      </a:cubicBezTo>
                      <a:cubicBezTo>
                        <a:pt x="335" y="168"/>
                        <a:pt x="335" y="168"/>
                        <a:pt x="335" y="168"/>
                      </a:cubicBezTo>
                      <a:cubicBezTo>
                        <a:pt x="334" y="168"/>
                        <a:pt x="334" y="168"/>
                        <a:pt x="334" y="168"/>
                      </a:cubicBezTo>
                      <a:cubicBezTo>
                        <a:pt x="334" y="167"/>
                        <a:pt x="334" y="167"/>
                        <a:pt x="334" y="167"/>
                      </a:cubicBezTo>
                      <a:cubicBezTo>
                        <a:pt x="334" y="167"/>
                        <a:pt x="334" y="167"/>
                        <a:pt x="334" y="167"/>
                      </a:cubicBezTo>
                      <a:cubicBezTo>
                        <a:pt x="333" y="168"/>
                        <a:pt x="333" y="168"/>
                        <a:pt x="333" y="168"/>
                      </a:cubicBezTo>
                      <a:cubicBezTo>
                        <a:pt x="333" y="168"/>
                        <a:pt x="333" y="168"/>
                        <a:pt x="333" y="168"/>
                      </a:cubicBezTo>
                      <a:cubicBezTo>
                        <a:pt x="332" y="167"/>
                        <a:pt x="332" y="167"/>
                        <a:pt x="332" y="167"/>
                      </a:cubicBezTo>
                      <a:cubicBezTo>
                        <a:pt x="332" y="167"/>
                        <a:pt x="332" y="167"/>
                        <a:pt x="332" y="167"/>
                      </a:cubicBezTo>
                      <a:cubicBezTo>
                        <a:pt x="331" y="167"/>
                        <a:pt x="331" y="167"/>
                        <a:pt x="331" y="167"/>
                      </a:cubicBezTo>
                      <a:cubicBezTo>
                        <a:pt x="330" y="166"/>
                        <a:pt x="330" y="166"/>
                        <a:pt x="330" y="166"/>
                      </a:cubicBezTo>
                      <a:cubicBezTo>
                        <a:pt x="330" y="166"/>
                        <a:pt x="330" y="166"/>
                        <a:pt x="330" y="166"/>
                      </a:cubicBezTo>
                      <a:cubicBezTo>
                        <a:pt x="329" y="166"/>
                        <a:pt x="329" y="166"/>
                        <a:pt x="329" y="166"/>
                      </a:cubicBezTo>
                      <a:cubicBezTo>
                        <a:pt x="328" y="166"/>
                        <a:pt x="328" y="166"/>
                        <a:pt x="328" y="166"/>
                      </a:cubicBezTo>
                      <a:cubicBezTo>
                        <a:pt x="328" y="166"/>
                        <a:pt x="328" y="166"/>
                        <a:pt x="328" y="166"/>
                      </a:cubicBezTo>
                      <a:cubicBezTo>
                        <a:pt x="328" y="166"/>
                        <a:pt x="328" y="166"/>
                        <a:pt x="328" y="166"/>
                      </a:cubicBezTo>
                      <a:cubicBezTo>
                        <a:pt x="329" y="166"/>
                        <a:pt x="329" y="166"/>
                        <a:pt x="329" y="166"/>
                      </a:cubicBezTo>
                      <a:cubicBezTo>
                        <a:pt x="330" y="167"/>
                        <a:pt x="330" y="167"/>
                        <a:pt x="330" y="167"/>
                      </a:cubicBezTo>
                      <a:cubicBezTo>
                        <a:pt x="329" y="167"/>
                        <a:pt x="329" y="167"/>
                        <a:pt x="329" y="167"/>
                      </a:cubicBezTo>
                      <a:cubicBezTo>
                        <a:pt x="328" y="167"/>
                        <a:pt x="328" y="167"/>
                        <a:pt x="328" y="167"/>
                      </a:cubicBezTo>
                      <a:cubicBezTo>
                        <a:pt x="328" y="167"/>
                        <a:pt x="328" y="167"/>
                        <a:pt x="328" y="167"/>
                      </a:cubicBezTo>
                      <a:cubicBezTo>
                        <a:pt x="327" y="167"/>
                        <a:pt x="327" y="167"/>
                        <a:pt x="327" y="167"/>
                      </a:cubicBezTo>
                      <a:cubicBezTo>
                        <a:pt x="326" y="168"/>
                        <a:pt x="326" y="168"/>
                        <a:pt x="326" y="168"/>
                      </a:cubicBezTo>
                      <a:cubicBezTo>
                        <a:pt x="326" y="168"/>
                        <a:pt x="326" y="168"/>
                        <a:pt x="326" y="168"/>
                      </a:cubicBezTo>
                      <a:cubicBezTo>
                        <a:pt x="327" y="168"/>
                        <a:pt x="327" y="168"/>
                        <a:pt x="327" y="168"/>
                      </a:cubicBezTo>
                      <a:cubicBezTo>
                        <a:pt x="327" y="168"/>
                        <a:pt x="327" y="168"/>
                        <a:pt x="327" y="168"/>
                      </a:cubicBezTo>
                      <a:cubicBezTo>
                        <a:pt x="328" y="168"/>
                        <a:pt x="328" y="168"/>
                        <a:pt x="328" y="168"/>
                      </a:cubicBezTo>
                      <a:cubicBezTo>
                        <a:pt x="329" y="167"/>
                        <a:pt x="329" y="167"/>
                        <a:pt x="329" y="167"/>
                      </a:cubicBezTo>
                      <a:cubicBezTo>
                        <a:pt x="329" y="167"/>
                        <a:pt x="329" y="167"/>
                        <a:pt x="329" y="167"/>
                      </a:cubicBezTo>
                      <a:cubicBezTo>
                        <a:pt x="330" y="168"/>
                        <a:pt x="330" y="168"/>
                        <a:pt x="330" y="168"/>
                      </a:cubicBezTo>
                      <a:cubicBezTo>
                        <a:pt x="330" y="168"/>
                        <a:pt x="330" y="168"/>
                        <a:pt x="330" y="168"/>
                      </a:cubicBezTo>
                      <a:cubicBezTo>
                        <a:pt x="330" y="168"/>
                        <a:pt x="330" y="168"/>
                        <a:pt x="330" y="168"/>
                      </a:cubicBezTo>
                      <a:cubicBezTo>
                        <a:pt x="331" y="169"/>
                        <a:pt x="331" y="169"/>
                        <a:pt x="331" y="169"/>
                      </a:cubicBezTo>
                      <a:cubicBezTo>
                        <a:pt x="330" y="169"/>
                        <a:pt x="330" y="169"/>
                        <a:pt x="330" y="169"/>
                      </a:cubicBezTo>
                      <a:cubicBezTo>
                        <a:pt x="329" y="169"/>
                        <a:pt x="329" y="169"/>
                        <a:pt x="329" y="169"/>
                      </a:cubicBezTo>
                      <a:cubicBezTo>
                        <a:pt x="329" y="169"/>
                        <a:pt x="329" y="169"/>
                        <a:pt x="329" y="169"/>
                      </a:cubicBezTo>
                      <a:cubicBezTo>
                        <a:pt x="329" y="169"/>
                        <a:pt x="329" y="169"/>
                        <a:pt x="329" y="169"/>
                      </a:cubicBezTo>
                      <a:cubicBezTo>
                        <a:pt x="328" y="169"/>
                        <a:pt x="328" y="169"/>
                        <a:pt x="328" y="169"/>
                      </a:cubicBezTo>
                      <a:cubicBezTo>
                        <a:pt x="328" y="169"/>
                        <a:pt x="328" y="169"/>
                        <a:pt x="328" y="169"/>
                      </a:cubicBezTo>
                      <a:cubicBezTo>
                        <a:pt x="328" y="169"/>
                        <a:pt x="328" y="169"/>
                        <a:pt x="328" y="169"/>
                      </a:cubicBezTo>
                      <a:cubicBezTo>
                        <a:pt x="328" y="169"/>
                        <a:pt x="328" y="169"/>
                        <a:pt x="328" y="169"/>
                      </a:cubicBezTo>
                      <a:cubicBezTo>
                        <a:pt x="329" y="170"/>
                        <a:pt x="329" y="170"/>
                        <a:pt x="329" y="170"/>
                      </a:cubicBezTo>
                      <a:cubicBezTo>
                        <a:pt x="329" y="170"/>
                        <a:pt x="329" y="170"/>
                        <a:pt x="329" y="170"/>
                      </a:cubicBezTo>
                      <a:cubicBezTo>
                        <a:pt x="329" y="170"/>
                        <a:pt x="329" y="170"/>
                        <a:pt x="329" y="170"/>
                      </a:cubicBezTo>
                      <a:cubicBezTo>
                        <a:pt x="330" y="171"/>
                        <a:pt x="330" y="171"/>
                        <a:pt x="330" y="171"/>
                      </a:cubicBezTo>
                      <a:cubicBezTo>
                        <a:pt x="329" y="171"/>
                        <a:pt x="329" y="171"/>
                        <a:pt x="329" y="171"/>
                      </a:cubicBezTo>
                      <a:cubicBezTo>
                        <a:pt x="327" y="170"/>
                        <a:pt x="327" y="170"/>
                        <a:pt x="327" y="170"/>
                      </a:cubicBezTo>
                      <a:cubicBezTo>
                        <a:pt x="326" y="170"/>
                        <a:pt x="326" y="170"/>
                        <a:pt x="326" y="170"/>
                      </a:cubicBezTo>
                      <a:cubicBezTo>
                        <a:pt x="324" y="170"/>
                        <a:pt x="324" y="170"/>
                        <a:pt x="324" y="170"/>
                      </a:cubicBezTo>
                      <a:cubicBezTo>
                        <a:pt x="324" y="170"/>
                        <a:pt x="324" y="170"/>
                        <a:pt x="324" y="170"/>
                      </a:cubicBezTo>
                      <a:cubicBezTo>
                        <a:pt x="324" y="170"/>
                        <a:pt x="324" y="170"/>
                        <a:pt x="324" y="170"/>
                      </a:cubicBezTo>
                      <a:cubicBezTo>
                        <a:pt x="325" y="170"/>
                        <a:pt x="325" y="170"/>
                        <a:pt x="325" y="170"/>
                      </a:cubicBezTo>
                      <a:cubicBezTo>
                        <a:pt x="327" y="172"/>
                        <a:pt x="327" y="172"/>
                        <a:pt x="327" y="172"/>
                      </a:cubicBezTo>
                      <a:cubicBezTo>
                        <a:pt x="328" y="172"/>
                        <a:pt x="328" y="172"/>
                        <a:pt x="328" y="172"/>
                      </a:cubicBezTo>
                      <a:cubicBezTo>
                        <a:pt x="327" y="172"/>
                        <a:pt x="327" y="172"/>
                        <a:pt x="327" y="172"/>
                      </a:cubicBezTo>
                      <a:cubicBezTo>
                        <a:pt x="326" y="171"/>
                        <a:pt x="326" y="171"/>
                        <a:pt x="326" y="171"/>
                      </a:cubicBezTo>
                      <a:cubicBezTo>
                        <a:pt x="325" y="171"/>
                        <a:pt x="325" y="171"/>
                        <a:pt x="325" y="171"/>
                      </a:cubicBezTo>
                      <a:cubicBezTo>
                        <a:pt x="325" y="172"/>
                        <a:pt x="325" y="172"/>
                        <a:pt x="325" y="172"/>
                      </a:cubicBezTo>
                      <a:cubicBezTo>
                        <a:pt x="325" y="172"/>
                        <a:pt x="325" y="172"/>
                        <a:pt x="325" y="172"/>
                      </a:cubicBezTo>
                      <a:cubicBezTo>
                        <a:pt x="326" y="172"/>
                        <a:pt x="326" y="172"/>
                        <a:pt x="326" y="172"/>
                      </a:cubicBezTo>
                      <a:cubicBezTo>
                        <a:pt x="326" y="173"/>
                        <a:pt x="326" y="173"/>
                        <a:pt x="326" y="173"/>
                      </a:cubicBezTo>
                      <a:cubicBezTo>
                        <a:pt x="327" y="173"/>
                        <a:pt x="327" y="173"/>
                        <a:pt x="327" y="173"/>
                      </a:cubicBezTo>
                      <a:cubicBezTo>
                        <a:pt x="327" y="173"/>
                        <a:pt x="327" y="173"/>
                        <a:pt x="327" y="173"/>
                      </a:cubicBezTo>
                      <a:cubicBezTo>
                        <a:pt x="327" y="173"/>
                        <a:pt x="327" y="173"/>
                        <a:pt x="327" y="173"/>
                      </a:cubicBezTo>
                      <a:cubicBezTo>
                        <a:pt x="327" y="174"/>
                        <a:pt x="327" y="174"/>
                        <a:pt x="327" y="174"/>
                      </a:cubicBezTo>
                      <a:cubicBezTo>
                        <a:pt x="328" y="174"/>
                        <a:pt x="328" y="174"/>
                        <a:pt x="328" y="174"/>
                      </a:cubicBezTo>
                      <a:cubicBezTo>
                        <a:pt x="328" y="173"/>
                        <a:pt x="328" y="173"/>
                        <a:pt x="328" y="173"/>
                      </a:cubicBezTo>
                      <a:cubicBezTo>
                        <a:pt x="329" y="173"/>
                        <a:pt x="329" y="173"/>
                        <a:pt x="329" y="173"/>
                      </a:cubicBezTo>
                      <a:cubicBezTo>
                        <a:pt x="329" y="173"/>
                        <a:pt x="329" y="173"/>
                        <a:pt x="329" y="173"/>
                      </a:cubicBezTo>
                      <a:cubicBezTo>
                        <a:pt x="328" y="174"/>
                        <a:pt x="328" y="174"/>
                        <a:pt x="328" y="174"/>
                      </a:cubicBezTo>
                      <a:cubicBezTo>
                        <a:pt x="328" y="174"/>
                        <a:pt x="328" y="174"/>
                        <a:pt x="328" y="174"/>
                      </a:cubicBezTo>
                      <a:cubicBezTo>
                        <a:pt x="329" y="174"/>
                        <a:pt x="329" y="174"/>
                        <a:pt x="329" y="174"/>
                      </a:cubicBezTo>
                      <a:cubicBezTo>
                        <a:pt x="329" y="173"/>
                        <a:pt x="329" y="173"/>
                        <a:pt x="329" y="173"/>
                      </a:cubicBezTo>
                      <a:cubicBezTo>
                        <a:pt x="329" y="173"/>
                        <a:pt x="329" y="173"/>
                        <a:pt x="329" y="173"/>
                      </a:cubicBezTo>
                      <a:cubicBezTo>
                        <a:pt x="330" y="174"/>
                        <a:pt x="330" y="174"/>
                        <a:pt x="330" y="174"/>
                      </a:cubicBezTo>
                      <a:cubicBezTo>
                        <a:pt x="331" y="174"/>
                        <a:pt x="331" y="174"/>
                        <a:pt x="331" y="174"/>
                      </a:cubicBezTo>
                      <a:cubicBezTo>
                        <a:pt x="332" y="174"/>
                        <a:pt x="332" y="174"/>
                        <a:pt x="332" y="174"/>
                      </a:cubicBezTo>
                      <a:cubicBezTo>
                        <a:pt x="332" y="175"/>
                        <a:pt x="332" y="175"/>
                        <a:pt x="332" y="175"/>
                      </a:cubicBezTo>
                      <a:cubicBezTo>
                        <a:pt x="332" y="175"/>
                        <a:pt x="332" y="175"/>
                        <a:pt x="332" y="175"/>
                      </a:cubicBezTo>
                      <a:cubicBezTo>
                        <a:pt x="331" y="175"/>
                        <a:pt x="331" y="175"/>
                        <a:pt x="331" y="175"/>
                      </a:cubicBezTo>
                      <a:cubicBezTo>
                        <a:pt x="330" y="175"/>
                        <a:pt x="330" y="175"/>
                        <a:pt x="330" y="175"/>
                      </a:cubicBezTo>
                      <a:cubicBezTo>
                        <a:pt x="329" y="175"/>
                        <a:pt x="329" y="175"/>
                        <a:pt x="329" y="175"/>
                      </a:cubicBezTo>
                      <a:cubicBezTo>
                        <a:pt x="328" y="175"/>
                        <a:pt x="328" y="175"/>
                        <a:pt x="328" y="175"/>
                      </a:cubicBezTo>
                      <a:cubicBezTo>
                        <a:pt x="328" y="176"/>
                        <a:pt x="328" y="176"/>
                        <a:pt x="328" y="176"/>
                      </a:cubicBezTo>
                      <a:cubicBezTo>
                        <a:pt x="328" y="175"/>
                        <a:pt x="328" y="175"/>
                        <a:pt x="328" y="175"/>
                      </a:cubicBezTo>
                      <a:cubicBezTo>
                        <a:pt x="329" y="175"/>
                        <a:pt x="329" y="175"/>
                        <a:pt x="329" y="175"/>
                      </a:cubicBezTo>
                      <a:cubicBezTo>
                        <a:pt x="330" y="176"/>
                        <a:pt x="330" y="176"/>
                        <a:pt x="330" y="176"/>
                      </a:cubicBezTo>
                      <a:cubicBezTo>
                        <a:pt x="329" y="176"/>
                        <a:pt x="329" y="176"/>
                        <a:pt x="329" y="176"/>
                      </a:cubicBezTo>
                      <a:cubicBezTo>
                        <a:pt x="329" y="176"/>
                        <a:pt x="329" y="176"/>
                        <a:pt x="329" y="176"/>
                      </a:cubicBezTo>
                      <a:cubicBezTo>
                        <a:pt x="330" y="176"/>
                        <a:pt x="330" y="176"/>
                        <a:pt x="330" y="176"/>
                      </a:cubicBezTo>
                      <a:cubicBezTo>
                        <a:pt x="331" y="176"/>
                        <a:pt x="331" y="176"/>
                        <a:pt x="331" y="176"/>
                      </a:cubicBezTo>
                      <a:cubicBezTo>
                        <a:pt x="331" y="176"/>
                        <a:pt x="331" y="176"/>
                        <a:pt x="331" y="176"/>
                      </a:cubicBezTo>
                      <a:cubicBezTo>
                        <a:pt x="331" y="177"/>
                        <a:pt x="331" y="177"/>
                        <a:pt x="331" y="177"/>
                      </a:cubicBezTo>
                      <a:cubicBezTo>
                        <a:pt x="332" y="177"/>
                        <a:pt x="332" y="177"/>
                        <a:pt x="332" y="177"/>
                      </a:cubicBezTo>
                      <a:cubicBezTo>
                        <a:pt x="332" y="177"/>
                        <a:pt x="332" y="177"/>
                        <a:pt x="332" y="177"/>
                      </a:cubicBezTo>
                      <a:cubicBezTo>
                        <a:pt x="332" y="178"/>
                        <a:pt x="332" y="178"/>
                        <a:pt x="332" y="178"/>
                      </a:cubicBezTo>
                      <a:cubicBezTo>
                        <a:pt x="332" y="179"/>
                        <a:pt x="332" y="179"/>
                        <a:pt x="332" y="179"/>
                      </a:cubicBezTo>
                      <a:cubicBezTo>
                        <a:pt x="332" y="179"/>
                        <a:pt x="332" y="179"/>
                        <a:pt x="332" y="179"/>
                      </a:cubicBezTo>
                      <a:cubicBezTo>
                        <a:pt x="332" y="179"/>
                        <a:pt x="332" y="179"/>
                        <a:pt x="332" y="179"/>
                      </a:cubicBezTo>
                      <a:cubicBezTo>
                        <a:pt x="332" y="179"/>
                        <a:pt x="332" y="179"/>
                        <a:pt x="332" y="179"/>
                      </a:cubicBezTo>
                      <a:cubicBezTo>
                        <a:pt x="333" y="178"/>
                        <a:pt x="333" y="178"/>
                        <a:pt x="333" y="178"/>
                      </a:cubicBezTo>
                      <a:cubicBezTo>
                        <a:pt x="333" y="178"/>
                        <a:pt x="333" y="178"/>
                        <a:pt x="333" y="178"/>
                      </a:cubicBezTo>
                      <a:cubicBezTo>
                        <a:pt x="333" y="179"/>
                        <a:pt x="333" y="179"/>
                        <a:pt x="333" y="179"/>
                      </a:cubicBezTo>
                      <a:cubicBezTo>
                        <a:pt x="333" y="179"/>
                        <a:pt x="333" y="179"/>
                        <a:pt x="333" y="179"/>
                      </a:cubicBezTo>
                      <a:cubicBezTo>
                        <a:pt x="332" y="180"/>
                        <a:pt x="332" y="180"/>
                        <a:pt x="332" y="180"/>
                      </a:cubicBezTo>
                      <a:cubicBezTo>
                        <a:pt x="332" y="181"/>
                        <a:pt x="332" y="181"/>
                        <a:pt x="332" y="181"/>
                      </a:cubicBezTo>
                      <a:cubicBezTo>
                        <a:pt x="332" y="182"/>
                        <a:pt x="332" y="182"/>
                        <a:pt x="332" y="182"/>
                      </a:cubicBezTo>
                      <a:cubicBezTo>
                        <a:pt x="332" y="181"/>
                        <a:pt x="332" y="181"/>
                        <a:pt x="332" y="181"/>
                      </a:cubicBezTo>
                      <a:cubicBezTo>
                        <a:pt x="333" y="180"/>
                        <a:pt x="333" y="180"/>
                        <a:pt x="333" y="180"/>
                      </a:cubicBezTo>
                      <a:cubicBezTo>
                        <a:pt x="333" y="180"/>
                        <a:pt x="333" y="180"/>
                        <a:pt x="333" y="180"/>
                      </a:cubicBezTo>
                      <a:cubicBezTo>
                        <a:pt x="333" y="179"/>
                        <a:pt x="333" y="179"/>
                        <a:pt x="333" y="179"/>
                      </a:cubicBezTo>
                      <a:cubicBezTo>
                        <a:pt x="334" y="179"/>
                        <a:pt x="334" y="179"/>
                        <a:pt x="334" y="179"/>
                      </a:cubicBezTo>
                      <a:cubicBezTo>
                        <a:pt x="334" y="179"/>
                        <a:pt x="334" y="179"/>
                        <a:pt x="334" y="179"/>
                      </a:cubicBezTo>
                      <a:cubicBezTo>
                        <a:pt x="335" y="178"/>
                        <a:pt x="335" y="178"/>
                        <a:pt x="335" y="178"/>
                      </a:cubicBezTo>
                      <a:cubicBezTo>
                        <a:pt x="335" y="178"/>
                        <a:pt x="335" y="178"/>
                        <a:pt x="335" y="178"/>
                      </a:cubicBezTo>
                      <a:cubicBezTo>
                        <a:pt x="335" y="178"/>
                        <a:pt x="335" y="178"/>
                        <a:pt x="335" y="178"/>
                      </a:cubicBezTo>
                      <a:cubicBezTo>
                        <a:pt x="335" y="179"/>
                        <a:pt x="335" y="179"/>
                        <a:pt x="335" y="179"/>
                      </a:cubicBezTo>
                      <a:cubicBezTo>
                        <a:pt x="334" y="180"/>
                        <a:pt x="334" y="180"/>
                        <a:pt x="334" y="180"/>
                      </a:cubicBezTo>
                      <a:cubicBezTo>
                        <a:pt x="334" y="180"/>
                        <a:pt x="334" y="180"/>
                        <a:pt x="334" y="180"/>
                      </a:cubicBezTo>
                      <a:cubicBezTo>
                        <a:pt x="334" y="181"/>
                        <a:pt x="334" y="181"/>
                        <a:pt x="334" y="181"/>
                      </a:cubicBezTo>
                      <a:cubicBezTo>
                        <a:pt x="334" y="182"/>
                        <a:pt x="334" y="182"/>
                        <a:pt x="334" y="182"/>
                      </a:cubicBezTo>
                      <a:cubicBezTo>
                        <a:pt x="334" y="182"/>
                        <a:pt x="334" y="182"/>
                        <a:pt x="334" y="182"/>
                      </a:cubicBezTo>
                      <a:cubicBezTo>
                        <a:pt x="334" y="181"/>
                        <a:pt x="334" y="181"/>
                        <a:pt x="334" y="181"/>
                      </a:cubicBezTo>
                      <a:cubicBezTo>
                        <a:pt x="334" y="180"/>
                        <a:pt x="334" y="180"/>
                        <a:pt x="334" y="180"/>
                      </a:cubicBezTo>
                      <a:cubicBezTo>
                        <a:pt x="335" y="180"/>
                        <a:pt x="335" y="180"/>
                        <a:pt x="335" y="180"/>
                      </a:cubicBezTo>
                      <a:cubicBezTo>
                        <a:pt x="336" y="179"/>
                        <a:pt x="336" y="179"/>
                        <a:pt x="336" y="179"/>
                      </a:cubicBezTo>
                      <a:cubicBezTo>
                        <a:pt x="337" y="178"/>
                        <a:pt x="337" y="178"/>
                        <a:pt x="337" y="178"/>
                      </a:cubicBezTo>
                      <a:cubicBezTo>
                        <a:pt x="337" y="178"/>
                        <a:pt x="337" y="178"/>
                        <a:pt x="337" y="178"/>
                      </a:cubicBezTo>
                      <a:cubicBezTo>
                        <a:pt x="338" y="178"/>
                        <a:pt x="338" y="178"/>
                        <a:pt x="338" y="178"/>
                      </a:cubicBezTo>
                      <a:cubicBezTo>
                        <a:pt x="337" y="179"/>
                        <a:pt x="337" y="179"/>
                        <a:pt x="337" y="179"/>
                      </a:cubicBezTo>
                      <a:cubicBezTo>
                        <a:pt x="337" y="179"/>
                        <a:pt x="337" y="179"/>
                        <a:pt x="337" y="179"/>
                      </a:cubicBezTo>
                      <a:cubicBezTo>
                        <a:pt x="336" y="180"/>
                        <a:pt x="336" y="180"/>
                        <a:pt x="336" y="180"/>
                      </a:cubicBezTo>
                      <a:cubicBezTo>
                        <a:pt x="336" y="180"/>
                        <a:pt x="336" y="180"/>
                        <a:pt x="336" y="180"/>
                      </a:cubicBezTo>
                      <a:cubicBezTo>
                        <a:pt x="336" y="181"/>
                        <a:pt x="336" y="181"/>
                        <a:pt x="336" y="181"/>
                      </a:cubicBezTo>
                      <a:cubicBezTo>
                        <a:pt x="336" y="181"/>
                        <a:pt x="336" y="181"/>
                        <a:pt x="336" y="181"/>
                      </a:cubicBezTo>
                      <a:cubicBezTo>
                        <a:pt x="336" y="181"/>
                        <a:pt x="336" y="181"/>
                        <a:pt x="336" y="181"/>
                      </a:cubicBezTo>
                      <a:cubicBezTo>
                        <a:pt x="337" y="181"/>
                        <a:pt x="337" y="181"/>
                        <a:pt x="337" y="181"/>
                      </a:cubicBezTo>
                      <a:cubicBezTo>
                        <a:pt x="337" y="181"/>
                        <a:pt x="337" y="181"/>
                        <a:pt x="337" y="181"/>
                      </a:cubicBezTo>
                      <a:cubicBezTo>
                        <a:pt x="338" y="181"/>
                        <a:pt x="338" y="181"/>
                        <a:pt x="338" y="181"/>
                      </a:cubicBezTo>
                      <a:cubicBezTo>
                        <a:pt x="338" y="181"/>
                        <a:pt x="338" y="181"/>
                        <a:pt x="338" y="181"/>
                      </a:cubicBezTo>
                      <a:cubicBezTo>
                        <a:pt x="339" y="182"/>
                        <a:pt x="339" y="182"/>
                        <a:pt x="339" y="182"/>
                      </a:cubicBezTo>
                      <a:cubicBezTo>
                        <a:pt x="339" y="183"/>
                        <a:pt x="339" y="183"/>
                        <a:pt x="339" y="183"/>
                      </a:cubicBezTo>
                      <a:cubicBezTo>
                        <a:pt x="338" y="183"/>
                        <a:pt x="338" y="183"/>
                        <a:pt x="338" y="183"/>
                      </a:cubicBezTo>
                      <a:cubicBezTo>
                        <a:pt x="338" y="183"/>
                        <a:pt x="338" y="183"/>
                        <a:pt x="338" y="183"/>
                      </a:cubicBezTo>
                      <a:cubicBezTo>
                        <a:pt x="339" y="183"/>
                        <a:pt x="339" y="183"/>
                        <a:pt x="339" y="183"/>
                      </a:cubicBezTo>
                      <a:cubicBezTo>
                        <a:pt x="339" y="184"/>
                        <a:pt x="339" y="184"/>
                        <a:pt x="339" y="184"/>
                      </a:cubicBezTo>
                      <a:cubicBezTo>
                        <a:pt x="338" y="184"/>
                        <a:pt x="338" y="184"/>
                        <a:pt x="338" y="184"/>
                      </a:cubicBezTo>
                      <a:cubicBezTo>
                        <a:pt x="338" y="184"/>
                        <a:pt x="338" y="184"/>
                        <a:pt x="338" y="184"/>
                      </a:cubicBezTo>
                      <a:cubicBezTo>
                        <a:pt x="338" y="184"/>
                        <a:pt x="338" y="184"/>
                        <a:pt x="338" y="184"/>
                      </a:cubicBezTo>
                      <a:cubicBezTo>
                        <a:pt x="339" y="185"/>
                        <a:pt x="339" y="185"/>
                        <a:pt x="339" y="185"/>
                      </a:cubicBezTo>
                      <a:cubicBezTo>
                        <a:pt x="337" y="185"/>
                        <a:pt x="337" y="185"/>
                        <a:pt x="337" y="185"/>
                      </a:cubicBezTo>
                      <a:cubicBezTo>
                        <a:pt x="336" y="185"/>
                        <a:pt x="336" y="185"/>
                        <a:pt x="336" y="185"/>
                      </a:cubicBezTo>
                      <a:cubicBezTo>
                        <a:pt x="337" y="185"/>
                        <a:pt x="337" y="185"/>
                        <a:pt x="337" y="185"/>
                      </a:cubicBezTo>
                      <a:cubicBezTo>
                        <a:pt x="338" y="185"/>
                        <a:pt x="338" y="185"/>
                        <a:pt x="338" y="185"/>
                      </a:cubicBezTo>
                      <a:cubicBezTo>
                        <a:pt x="339" y="186"/>
                        <a:pt x="339" y="186"/>
                        <a:pt x="339" y="186"/>
                      </a:cubicBezTo>
                      <a:cubicBezTo>
                        <a:pt x="339" y="185"/>
                        <a:pt x="339" y="185"/>
                        <a:pt x="339" y="185"/>
                      </a:cubicBezTo>
                      <a:cubicBezTo>
                        <a:pt x="340" y="185"/>
                        <a:pt x="340" y="185"/>
                        <a:pt x="340" y="185"/>
                      </a:cubicBezTo>
                      <a:cubicBezTo>
                        <a:pt x="340" y="185"/>
                        <a:pt x="340" y="185"/>
                        <a:pt x="340" y="185"/>
                      </a:cubicBezTo>
                      <a:cubicBezTo>
                        <a:pt x="340" y="186"/>
                        <a:pt x="340" y="186"/>
                        <a:pt x="340" y="186"/>
                      </a:cubicBezTo>
                      <a:cubicBezTo>
                        <a:pt x="339" y="187"/>
                        <a:pt x="339" y="187"/>
                        <a:pt x="339" y="187"/>
                      </a:cubicBezTo>
                      <a:cubicBezTo>
                        <a:pt x="340" y="186"/>
                        <a:pt x="340" y="186"/>
                        <a:pt x="340" y="186"/>
                      </a:cubicBezTo>
                      <a:cubicBezTo>
                        <a:pt x="341" y="186"/>
                        <a:pt x="341" y="186"/>
                        <a:pt x="341" y="186"/>
                      </a:cubicBezTo>
                      <a:cubicBezTo>
                        <a:pt x="341" y="185"/>
                        <a:pt x="341" y="185"/>
                        <a:pt x="341" y="185"/>
                      </a:cubicBezTo>
                      <a:cubicBezTo>
                        <a:pt x="342" y="185"/>
                        <a:pt x="342" y="185"/>
                        <a:pt x="342" y="185"/>
                      </a:cubicBezTo>
                      <a:cubicBezTo>
                        <a:pt x="343" y="185"/>
                        <a:pt x="343" y="185"/>
                        <a:pt x="343" y="185"/>
                      </a:cubicBezTo>
                      <a:cubicBezTo>
                        <a:pt x="343" y="185"/>
                        <a:pt x="343" y="185"/>
                        <a:pt x="343" y="185"/>
                      </a:cubicBezTo>
                      <a:cubicBezTo>
                        <a:pt x="342" y="186"/>
                        <a:pt x="342" y="186"/>
                        <a:pt x="342" y="186"/>
                      </a:cubicBezTo>
                      <a:cubicBezTo>
                        <a:pt x="342" y="186"/>
                        <a:pt x="342" y="186"/>
                        <a:pt x="342" y="186"/>
                      </a:cubicBezTo>
                      <a:cubicBezTo>
                        <a:pt x="341" y="187"/>
                        <a:pt x="341" y="187"/>
                        <a:pt x="341" y="187"/>
                      </a:cubicBezTo>
                      <a:cubicBezTo>
                        <a:pt x="341" y="187"/>
                        <a:pt x="341" y="187"/>
                        <a:pt x="341" y="187"/>
                      </a:cubicBezTo>
                      <a:cubicBezTo>
                        <a:pt x="340" y="188"/>
                        <a:pt x="340" y="188"/>
                        <a:pt x="340" y="188"/>
                      </a:cubicBezTo>
                      <a:cubicBezTo>
                        <a:pt x="340" y="188"/>
                        <a:pt x="340" y="188"/>
                        <a:pt x="340" y="188"/>
                      </a:cubicBezTo>
                      <a:cubicBezTo>
                        <a:pt x="340" y="189"/>
                        <a:pt x="340" y="189"/>
                        <a:pt x="340" y="189"/>
                      </a:cubicBezTo>
                      <a:cubicBezTo>
                        <a:pt x="340" y="189"/>
                        <a:pt x="340" y="189"/>
                        <a:pt x="340" y="189"/>
                      </a:cubicBezTo>
                      <a:cubicBezTo>
                        <a:pt x="341" y="188"/>
                        <a:pt x="341" y="188"/>
                        <a:pt x="341" y="188"/>
                      </a:cubicBezTo>
                      <a:cubicBezTo>
                        <a:pt x="341" y="188"/>
                        <a:pt x="341" y="188"/>
                        <a:pt x="341" y="188"/>
                      </a:cubicBezTo>
                      <a:cubicBezTo>
                        <a:pt x="342" y="187"/>
                        <a:pt x="342" y="187"/>
                        <a:pt x="342" y="187"/>
                      </a:cubicBezTo>
                      <a:cubicBezTo>
                        <a:pt x="343" y="187"/>
                        <a:pt x="343" y="187"/>
                        <a:pt x="343" y="187"/>
                      </a:cubicBezTo>
                      <a:cubicBezTo>
                        <a:pt x="342" y="187"/>
                        <a:pt x="342" y="187"/>
                        <a:pt x="342" y="187"/>
                      </a:cubicBezTo>
                      <a:cubicBezTo>
                        <a:pt x="342" y="188"/>
                        <a:pt x="342" y="188"/>
                        <a:pt x="342" y="188"/>
                      </a:cubicBezTo>
                      <a:cubicBezTo>
                        <a:pt x="342" y="189"/>
                        <a:pt x="342" y="189"/>
                        <a:pt x="342" y="189"/>
                      </a:cubicBezTo>
                      <a:cubicBezTo>
                        <a:pt x="341" y="190"/>
                        <a:pt x="341" y="190"/>
                        <a:pt x="341" y="190"/>
                      </a:cubicBezTo>
                      <a:cubicBezTo>
                        <a:pt x="342" y="189"/>
                        <a:pt x="342" y="189"/>
                        <a:pt x="342" y="189"/>
                      </a:cubicBezTo>
                      <a:cubicBezTo>
                        <a:pt x="343" y="188"/>
                        <a:pt x="343" y="188"/>
                        <a:pt x="343" y="188"/>
                      </a:cubicBezTo>
                      <a:cubicBezTo>
                        <a:pt x="343" y="188"/>
                        <a:pt x="343" y="188"/>
                        <a:pt x="343" y="188"/>
                      </a:cubicBezTo>
                      <a:cubicBezTo>
                        <a:pt x="343" y="188"/>
                        <a:pt x="343" y="188"/>
                        <a:pt x="343" y="188"/>
                      </a:cubicBezTo>
                      <a:cubicBezTo>
                        <a:pt x="343" y="188"/>
                        <a:pt x="343" y="188"/>
                        <a:pt x="343" y="188"/>
                      </a:cubicBezTo>
                      <a:cubicBezTo>
                        <a:pt x="343" y="189"/>
                        <a:pt x="343" y="189"/>
                        <a:pt x="343" y="189"/>
                      </a:cubicBezTo>
                      <a:cubicBezTo>
                        <a:pt x="344" y="189"/>
                        <a:pt x="344" y="189"/>
                        <a:pt x="344" y="189"/>
                      </a:cubicBezTo>
                      <a:cubicBezTo>
                        <a:pt x="344" y="189"/>
                        <a:pt x="344" y="189"/>
                        <a:pt x="344" y="189"/>
                      </a:cubicBezTo>
                      <a:cubicBezTo>
                        <a:pt x="344" y="189"/>
                        <a:pt x="344" y="189"/>
                        <a:pt x="344" y="189"/>
                      </a:cubicBezTo>
                      <a:cubicBezTo>
                        <a:pt x="344" y="188"/>
                        <a:pt x="344" y="188"/>
                        <a:pt x="344" y="188"/>
                      </a:cubicBezTo>
                      <a:cubicBezTo>
                        <a:pt x="346" y="187"/>
                        <a:pt x="346" y="187"/>
                        <a:pt x="346" y="187"/>
                      </a:cubicBezTo>
                      <a:cubicBezTo>
                        <a:pt x="346" y="188"/>
                        <a:pt x="346" y="188"/>
                        <a:pt x="346" y="188"/>
                      </a:cubicBezTo>
                      <a:cubicBezTo>
                        <a:pt x="345" y="188"/>
                        <a:pt x="345" y="188"/>
                        <a:pt x="345" y="188"/>
                      </a:cubicBezTo>
                      <a:cubicBezTo>
                        <a:pt x="346" y="188"/>
                        <a:pt x="346" y="188"/>
                        <a:pt x="346" y="188"/>
                      </a:cubicBezTo>
                      <a:cubicBezTo>
                        <a:pt x="346" y="188"/>
                        <a:pt x="346" y="188"/>
                        <a:pt x="346" y="188"/>
                      </a:cubicBezTo>
                      <a:cubicBezTo>
                        <a:pt x="347" y="189"/>
                        <a:pt x="347" y="189"/>
                        <a:pt x="347" y="189"/>
                      </a:cubicBezTo>
                      <a:cubicBezTo>
                        <a:pt x="347" y="190"/>
                        <a:pt x="347" y="190"/>
                        <a:pt x="347" y="190"/>
                      </a:cubicBezTo>
                      <a:cubicBezTo>
                        <a:pt x="347" y="190"/>
                        <a:pt x="347" y="190"/>
                        <a:pt x="347" y="190"/>
                      </a:cubicBezTo>
                      <a:cubicBezTo>
                        <a:pt x="348" y="190"/>
                        <a:pt x="348" y="190"/>
                        <a:pt x="348" y="190"/>
                      </a:cubicBezTo>
                      <a:cubicBezTo>
                        <a:pt x="348" y="191"/>
                        <a:pt x="348" y="191"/>
                        <a:pt x="348" y="191"/>
                      </a:cubicBezTo>
                      <a:cubicBezTo>
                        <a:pt x="348" y="191"/>
                        <a:pt x="348" y="191"/>
                        <a:pt x="348" y="191"/>
                      </a:cubicBezTo>
                      <a:cubicBezTo>
                        <a:pt x="348" y="191"/>
                        <a:pt x="348" y="191"/>
                        <a:pt x="348" y="191"/>
                      </a:cubicBezTo>
                      <a:cubicBezTo>
                        <a:pt x="348" y="192"/>
                        <a:pt x="348" y="192"/>
                        <a:pt x="348" y="192"/>
                      </a:cubicBezTo>
                      <a:cubicBezTo>
                        <a:pt x="348" y="192"/>
                        <a:pt x="348" y="192"/>
                        <a:pt x="348" y="192"/>
                      </a:cubicBezTo>
                      <a:cubicBezTo>
                        <a:pt x="347" y="192"/>
                        <a:pt x="347" y="192"/>
                        <a:pt x="347" y="192"/>
                      </a:cubicBezTo>
                      <a:cubicBezTo>
                        <a:pt x="347" y="191"/>
                        <a:pt x="347" y="191"/>
                        <a:pt x="347" y="191"/>
                      </a:cubicBezTo>
                      <a:cubicBezTo>
                        <a:pt x="346" y="191"/>
                        <a:pt x="346" y="191"/>
                        <a:pt x="346" y="191"/>
                      </a:cubicBezTo>
                      <a:cubicBezTo>
                        <a:pt x="346" y="191"/>
                        <a:pt x="346" y="191"/>
                        <a:pt x="346" y="191"/>
                      </a:cubicBezTo>
                      <a:cubicBezTo>
                        <a:pt x="346" y="190"/>
                        <a:pt x="346" y="190"/>
                        <a:pt x="346" y="190"/>
                      </a:cubicBezTo>
                      <a:cubicBezTo>
                        <a:pt x="345" y="191"/>
                        <a:pt x="345" y="191"/>
                        <a:pt x="345" y="191"/>
                      </a:cubicBezTo>
                      <a:cubicBezTo>
                        <a:pt x="345" y="191"/>
                        <a:pt x="345" y="191"/>
                        <a:pt x="345" y="191"/>
                      </a:cubicBezTo>
                      <a:cubicBezTo>
                        <a:pt x="345" y="191"/>
                        <a:pt x="345" y="191"/>
                        <a:pt x="345" y="191"/>
                      </a:cubicBezTo>
                      <a:cubicBezTo>
                        <a:pt x="346" y="191"/>
                        <a:pt x="346" y="191"/>
                        <a:pt x="346" y="191"/>
                      </a:cubicBezTo>
                      <a:cubicBezTo>
                        <a:pt x="346" y="192"/>
                        <a:pt x="346" y="192"/>
                        <a:pt x="346" y="192"/>
                      </a:cubicBezTo>
                      <a:cubicBezTo>
                        <a:pt x="346" y="192"/>
                        <a:pt x="346" y="192"/>
                        <a:pt x="346" y="192"/>
                      </a:cubicBezTo>
                      <a:cubicBezTo>
                        <a:pt x="346" y="192"/>
                        <a:pt x="346" y="192"/>
                        <a:pt x="346" y="192"/>
                      </a:cubicBezTo>
                      <a:cubicBezTo>
                        <a:pt x="346" y="192"/>
                        <a:pt x="346" y="192"/>
                        <a:pt x="346" y="192"/>
                      </a:cubicBezTo>
                      <a:cubicBezTo>
                        <a:pt x="346" y="193"/>
                        <a:pt x="346" y="193"/>
                        <a:pt x="346" y="193"/>
                      </a:cubicBezTo>
                      <a:cubicBezTo>
                        <a:pt x="345" y="192"/>
                        <a:pt x="345" y="192"/>
                        <a:pt x="345" y="192"/>
                      </a:cubicBezTo>
                      <a:cubicBezTo>
                        <a:pt x="345" y="193"/>
                        <a:pt x="345" y="193"/>
                        <a:pt x="345" y="193"/>
                      </a:cubicBezTo>
                      <a:cubicBezTo>
                        <a:pt x="345" y="193"/>
                        <a:pt x="345" y="193"/>
                        <a:pt x="345" y="193"/>
                      </a:cubicBezTo>
                      <a:cubicBezTo>
                        <a:pt x="346" y="193"/>
                        <a:pt x="346" y="193"/>
                        <a:pt x="346" y="193"/>
                      </a:cubicBezTo>
                      <a:cubicBezTo>
                        <a:pt x="347" y="193"/>
                        <a:pt x="347" y="193"/>
                        <a:pt x="347" y="193"/>
                      </a:cubicBezTo>
                      <a:cubicBezTo>
                        <a:pt x="347" y="193"/>
                        <a:pt x="347" y="193"/>
                        <a:pt x="347" y="193"/>
                      </a:cubicBezTo>
                      <a:cubicBezTo>
                        <a:pt x="346" y="194"/>
                        <a:pt x="346" y="194"/>
                        <a:pt x="346" y="194"/>
                      </a:cubicBezTo>
                      <a:cubicBezTo>
                        <a:pt x="346" y="194"/>
                        <a:pt x="346" y="194"/>
                        <a:pt x="346" y="194"/>
                      </a:cubicBezTo>
                      <a:cubicBezTo>
                        <a:pt x="345" y="194"/>
                        <a:pt x="345" y="194"/>
                        <a:pt x="345" y="194"/>
                      </a:cubicBezTo>
                      <a:cubicBezTo>
                        <a:pt x="344" y="194"/>
                        <a:pt x="344" y="194"/>
                        <a:pt x="344" y="194"/>
                      </a:cubicBezTo>
                      <a:cubicBezTo>
                        <a:pt x="343" y="194"/>
                        <a:pt x="343" y="194"/>
                        <a:pt x="343" y="194"/>
                      </a:cubicBezTo>
                      <a:cubicBezTo>
                        <a:pt x="343" y="193"/>
                        <a:pt x="343" y="193"/>
                        <a:pt x="343" y="193"/>
                      </a:cubicBezTo>
                      <a:cubicBezTo>
                        <a:pt x="343" y="193"/>
                        <a:pt x="343" y="193"/>
                        <a:pt x="343" y="193"/>
                      </a:cubicBezTo>
                      <a:cubicBezTo>
                        <a:pt x="343" y="192"/>
                        <a:pt x="343" y="192"/>
                        <a:pt x="343" y="192"/>
                      </a:cubicBezTo>
                      <a:cubicBezTo>
                        <a:pt x="343" y="192"/>
                        <a:pt x="343" y="192"/>
                        <a:pt x="343" y="192"/>
                      </a:cubicBezTo>
                      <a:cubicBezTo>
                        <a:pt x="342" y="192"/>
                        <a:pt x="342" y="192"/>
                        <a:pt x="342" y="192"/>
                      </a:cubicBezTo>
                      <a:cubicBezTo>
                        <a:pt x="342" y="193"/>
                        <a:pt x="342" y="193"/>
                        <a:pt x="342" y="193"/>
                      </a:cubicBezTo>
                      <a:cubicBezTo>
                        <a:pt x="343" y="193"/>
                        <a:pt x="343" y="193"/>
                        <a:pt x="343" y="193"/>
                      </a:cubicBezTo>
                      <a:cubicBezTo>
                        <a:pt x="343" y="194"/>
                        <a:pt x="343" y="194"/>
                        <a:pt x="343" y="194"/>
                      </a:cubicBezTo>
                      <a:cubicBezTo>
                        <a:pt x="343" y="194"/>
                        <a:pt x="343" y="194"/>
                        <a:pt x="343" y="194"/>
                      </a:cubicBezTo>
                      <a:cubicBezTo>
                        <a:pt x="342" y="194"/>
                        <a:pt x="342" y="194"/>
                        <a:pt x="342" y="194"/>
                      </a:cubicBezTo>
                      <a:cubicBezTo>
                        <a:pt x="341" y="194"/>
                        <a:pt x="341" y="194"/>
                        <a:pt x="341" y="194"/>
                      </a:cubicBezTo>
                      <a:cubicBezTo>
                        <a:pt x="341" y="193"/>
                        <a:pt x="341" y="193"/>
                        <a:pt x="341" y="193"/>
                      </a:cubicBezTo>
                      <a:cubicBezTo>
                        <a:pt x="341" y="194"/>
                        <a:pt x="341" y="194"/>
                        <a:pt x="341" y="194"/>
                      </a:cubicBezTo>
                      <a:cubicBezTo>
                        <a:pt x="342" y="194"/>
                        <a:pt x="342" y="194"/>
                        <a:pt x="342" y="194"/>
                      </a:cubicBezTo>
                      <a:cubicBezTo>
                        <a:pt x="343" y="194"/>
                        <a:pt x="343" y="194"/>
                        <a:pt x="343" y="194"/>
                      </a:cubicBezTo>
                      <a:cubicBezTo>
                        <a:pt x="343" y="195"/>
                        <a:pt x="343" y="195"/>
                        <a:pt x="343" y="195"/>
                      </a:cubicBezTo>
                      <a:cubicBezTo>
                        <a:pt x="344" y="195"/>
                        <a:pt x="344" y="195"/>
                        <a:pt x="344" y="195"/>
                      </a:cubicBezTo>
                      <a:cubicBezTo>
                        <a:pt x="344" y="195"/>
                        <a:pt x="344" y="195"/>
                        <a:pt x="344" y="195"/>
                      </a:cubicBezTo>
                      <a:cubicBezTo>
                        <a:pt x="343" y="196"/>
                        <a:pt x="343" y="196"/>
                        <a:pt x="343" y="196"/>
                      </a:cubicBezTo>
                      <a:cubicBezTo>
                        <a:pt x="342" y="196"/>
                        <a:pt x="342" y="196"/>
                        <a:pt x="342" y="196"/>
                      </a:cubicBezTo>
                      <a:cubicBezTo>
                        <a:pt x="342" y="195"/>
                        <a:pt x="342" y="195"/>
                        <a:pt x="342" y="195"/>
                      </a:cubicBezTo>
                      <a:cubicBezTo>
                        <a:pt x="341" y="195"/>
                        <a:pt x="341" y="195"/>
                        <a:pt x="341" y="195"/>
                      </a:cubicBezTo>
                      <a:cubicBezTo>
                        <a:pt x="341" y="195"/>
                        <a:pt x="341" y="195"/>
                        <a:pt x="341" y="195"/>
                      </a:cubicBezTo>
                      <a:cubicBezTo>
                        <a:pt x="340" y="195"/>
                        <a:pt x="340" y="195"/>
                        <a:pt x="340" y="195"/>
                      </a:cubicBezTo>
                      <a:cubicBezTo>
                        <a:pt x="340" y="195"/>
                        <a:pt x="340" y="195"/>
                        <a:pt x="340" y="195"/>
                      </a:cubicBezTo>
                      <a:cubicBezTo>
                        <a:pt x="341" y="196"/>
                        <a:pt x="341" y="196"/>
                        <a:pt x="341" y="196"/>
                      </a:cubicBezTo>
                      <a:cubicBezTo>
                        <a:pt x="342" y="196"/>
                        <a:pt x="342" y="196"/>
                        <a:pt x="342" y="196"/>
                      </a:cubicBezTo>
                      <a:cubicBezTo>
                        <a:pt x="342" y="197"/>
                        <a:pt x="342" y="197"/>
                        <a:pt x="342" y="197"/>
                      </a:cubicBezTo>
                      <a:cubicBezTo>
                        <a:pt x="341" y="198"/>
                        <a:pt x="341" y="198"/>
                        <a:pt x="341" y="198"/>
                      </a:cubicBezTo>
                      <a:cubicBezTo>
                        <a:pt x="341" y="198"/>
                        <a:pt x="341" y="198"/>
                        <a:pt x="341" y="198"/>
                      </a:cubicBezTo>
                      <a:cubicBezTo>
                        <a:pt x="341" y="197"/>
                        <a:pt x="341" y="197"/>
                        <a:pt x="341" y="197"/>
                      </a:cubicBezTo>
                      <a:cubicBezTo>
                        <a:pt x="340" y="197"/>
                        <a:pt x="340" y="197"/>
                        <a:pt x="340" y="197"/>
                      </a:cubicBezTo>
                      <a:cubicBezTo>
                        <a:pt x="340" y="196"/>
                        <a:pt x="340" y="196"/>
                        <a:pt x="340" y="196"/>
                      </a:cubicBezTo>
                      <a:cubicBezTo>
                        <a:pt x="340" y="197"/>
                        <a:pt x="340" y="197"/>
                        <a:pt x="340" y="197"/>
                      </a:cubicBezTo>
                      <a:cubicBezTo>
                        <a:pt x="340" y="197"/>
                        <a:pt x="340" y="197"/>
                        <a:pt x="340" y="197"/>
                      </a:cubicBezTo>
                      <a:cubicBezTo>
                        <a:pt x="340" y="198"/>
                        <a:pt x="340" y="198"/>
                        <a:pt x="340" y="198"/>
                      </a:cubicBezTo>
                      <a:cubicBezTo>
                        <a:pt x="340" y="199"/>
                        <a:pt x="340" y="199"/>
                        <a:pt x="340" y="199"/>
                      </a:cubicBezTo>
                      <a:cubicBezTo>
                        <a:pt x="340" y="199"/>
                        <a:pt x="340" y="199"/>
                        <a:pt x="340" y="199"/>
                      </a:cubicBezTo>
                      <a:cubicBezTo>
                        <a:pt x="339" y="199"/>
                        <a:pt x="339" y="199"/>
                        <a:pt x="339" y="199"/>
                      </a:cubicBezTo>
                      <a:cubicBezTo>
                        <a:pt x="339" y="199"/>
                        <a:pt x="339" y="199"/>
                        <a:pt x="339" y="199"/>
                      </a:cubicBezTo>
                      <a:cubicBezTo>
                        <a:pt x="339" y="198"/>
                        <a:pt x="339" y="198"/>
                        <a:pt x="339" y="198"/>
                      </a:cubicBezTo>
                      <a:cubicBezTo>
                        <a:pt x="339" y="198"/>
                        <a:pt x="339" y="198"/>
                        <a:pt x="339" y="198"/>
                      </a:cubicBezTo>
                      <a:cubicBezTo>
                        <a:pt x="339" y="198"/>
                        <a:pt x="339" y="198"/>
                        <a:pt x="339" y="198"/>
                      </a:cubicBezTo>
                      <a:cubicBezTo>
                        <a:pt x="338" y="199"/>
                        <a:pt x="338" y="199"/>
                        <a:pt x="338" y="199"/>
                      </a:cubicBezTo>
                      <a:cubicBezTo>
                        <a:pt x="337" y="198"/>
                        <a:pt x="337" y="198"/>
                        <a:pt x="337" y="198"/>
                      </a:cubicBezTo>
                      <a:cubicBezTo>
                        <a:pt x="338" y="198"/>
                        <a:pt x="338" y="198"/>
                        <a:pt x="338" y="198"/>
                      </a:cubicBezTo>
                      <a:cubicBezTo>
                        <a:pt x="337" y="197"/>
                        <a:pt x="337" y="197"/>
                        <a:pt x="337" y="197"/>
                      </a:cubicBezTo>
                      <a:cubicBezTo>
                        <a:pt x="337" y="197"/>
                        <a:pt x="337" y="197"/>
                        <a:pt x="337" y="197"/>
                      </a:cubicBezTo>
                      <a:cubicBezTo>
                        <a:pt x="337" y="196"/>
                        <a:pt x="337" y="196"/>
                        <a:pt x="337" y="196"/>
                      </a:cubicBezTo>
                      <a:cubicBezTo>
                        <a:pt x="337" y="197"/>
                        <a:pt x="337" y="197"/>
                        <a:pt x="337" y="197"/>
                      </a:cubicBezTo>
                      <a:cubicBezTo>
                        <a:pt x="337" y="198"/>
                        <a:pt x="337" y="198"/>
                        <a:pt x="337" y="198"/>
                      </a:cubicBezTo>
                      <a:cubicBezTo>
                        <a:pt x="336" y="198"/>
                        <a:pt x="336" y="198"/>
                        <a:pt x="336" y="198"/>
                      </a:cubicBezTo>
                      <a:cubicBezTo>
                        <a:pt x="336" y="198"/>
                        <a:pt x="336" y="198"/>
                        <a:pt x="336" y="198"/>
                      </a:cubicBezTo>
                      <a:cubicBezTo>
                        <a:pt x="336" y="198"/>
                        <a:pt x="336" y="198"/>
                        <a:pt x="336" y="198"/>
                      </a:cubicBezTo>
                      <a:cubicBezTo>
                        <a:pt x="337" y="198"/>
                        <a:pt x="337" y="198"/>
                        <a:pt x="337" y="198"/>
                      </a:cubicBezTo>
                      <a:cubicBezTo>
                        <a:pt x="337" y="199"/>
                        <a:pt x="337" y="199"/>
                        <a:pt x="337" y="199"/>
                      </a:cubicBezTo>
                      <a:cubicBezTo>
                        <a:pt x="336" y="199"/>
                        <a:pt x="336" y="199"/>
                        <a:pt x="336" y="199"/>
                      </a:cubicBezTo>
                      <a:cubicBezTo>
                        <a:pt x="336" y="199"/>
                        <a:pt x="336" y="199"/>
                        <a:pt x="336" y="199"/>
                      </a:cubicBezTo>
                      <a:cubicBezTo>
                        <a:pt x="336" y="199"/>
                        <a:pt x="336" y="199"/>
                        <a:pt x="336" y="199"/>
                      </a:cubicBezTo>
                      <a:cubicBezTo>
                        <a:pt x="335" y="199"/>
                        <a:pt x="335" y="199"/>
                        <a:pt x="335" y="199"/>
                      </a:cubicBezTo>
                      <a:cubicBezTo>
                        <a:pt x="336" y="200"/>
                        <a:pt x="336" y="200"/>
                        <a:pt x="336" y="200"/>
                      </a:cubicBezTo>
                      <a:cubicBezTo>
                        <a:pt x="336" y="200"/>
                        <a:pt x="336" y="200"/>
                        <a:pt x="336" y="200"/>
                      </a:cubicBezTo>
                      <a:cubicBezTo>
                        <a:pt x="336" y="200"/>
                        <a:pt x="336" y="200"/>
                        <a:pt x="336" y="200"/>
                      </a:cubicBezTo>
                      <a:cubicBezTo>
                        <a:pt x="336" y="200"/>
                        <a:pt x="336" y="200"/>
                        <a:pt x="336" y="200"/>
                      </a:cubicBezTo>
                      <a:cubicBezTo>
                        <a:pt x="336" y="201"/>
                        <a:pt x="336" y="201"/>
                        <a:pt x="336" y="201"/>
                      </a:cubicBezTo>
                      <a:cubicBezTo>
                        <a:pt x="336" y="201"/>
                        <a:pt x="336" y="201"/>
                        <a:pt x="336" y="201"/>
                      </a:cubicBezTo>
                      <a:cubicBezTo>
                        <a:pt x="336" y="202"/>
                        <a:pt x="336" y="202"/>
                        <a:pt x="336" y="202"/>
                      </a:cubicBezTo>
                      <a:cubicBezTo>
                        <a:pt x="336" y="202"/>
                        <a:pt x="336" y="202"/>
                        <a:pt x="336" y="202"/>
                      </a:cubicBezTo>
                      <a:cubicBezTo>
                        <a:pt x="336" y="202"/>
                        <a:pt x="336" y="202"/>
                        <a:pt x="336" y="202"/>
                      </a:cubicBezTo>
                      <a:cubicBezTo>
                        <a:pt x="336" y="202"/>
                        <a:pt x="336" y="202"/>
                        <a:pt x="336" y="202"/>
                      </a:cubicBezTo>
                      <a:cubicBezTo>
                        <a:pt x="335" y="202"/>
                        <a:pt x="335" y="202"/>
                        <a:pt x="335" y="202"/>
                      </a:cubicBezTo>
                      <a:cubicBezTo>
                        <a:pt x="336" y="202"/>
                        <a:pt x="336" y="202"/>
                        <a:pt x="336" y="202"/>
                      </a:cubicBezTo>
                      <a:cubicBezTo>
                        <a:pt x="336" y="203"/>
                        <a:pt x="336" y="203"/>
                        <a:pt x="336" y="203"/>
                      </a:cubicBezTo>
                      <a:cubicBezTo>
                        <a:pt x="336" y="204"/>
                        <a:pt x="336" y="204"/>
                        <a:pt x="336" y="204"/>
                      </a:cubicBezTo>
                      <a:cubicBezTo>
                        <a:pt x="335" y="204"/>
                        <a:pt x="335" y="204"/>
                        <a:pt x="335" y="204"/>
                      </a:cubicBezTo>
                      <a:cubicBezTo>
                        <a:pt x="335" y="204"/>
                        <a:pt x="335" y="204"/>
                        <a:pt x="335" y="204"/>
                      </a:cubicBezTo>
                      <a:cubicBezTo>
                        <a:pt x="334" y="204"/>
                        <a:pt x="334" y="204"/>
                        <a:pt x="334" y="204"/>
                      </a:cubicBezTo>
                      <a:cubicBezTo>
                        <a:pt x="334" y="204"/>
                        <a:pt x="334" y="204"/>
                        <a:pt x="334" y="204"/>
                      </a:cubicBezTo>
                      <a:cubicBezTo>
                        <a:pt x="334" y="204"/>
                        <a:pt x="334" y="204"/>
                        <a:pt x="334" y="204"/>
                      </a:cubicBezTo>
                      <a:cubicBezTo>
                        <a:pt x="334" y="203"/>
                        <a:pt x="334" y="203"/>
                        <a:pt x="334" y="203"/>
                      </a:cubicBezTo>
                      <a:cubicBezTo>
                        <a:pt x="334" y="203"/>
                        <a:pt x="334" y="203"/>
                        <a:pt x="334" y="203"/>
                      </a:cubicBezTo>
                      <a:cubicBezTo>
                        <a:pt x="334" y="203"/>
                        <a:pt x="334" y="203"/>
                        <a:pt x="334" y="203"/>
                      </a:cubicBezTo>
                      <a:cubicBezTo>
                        <a:pt x="334" y="202"/>
                        <a:pt x="334" y="202"/>
                        <a:pt x="334" y="202"/>
                      </a:cubicBezTo>
                      <a:cubicBezTo>
                        <a:pt x="334" y="202"/>
                        <a:pt x="334" y="202"/>
                        <a:pt x="334" y="202"/>
                      </a:cubicBezTo>
                      <a:cubicBezTo>
                        <a:pt x="334" y="202"/>
                        <a:pt x="334" y="202"/>
                        <a:pt x="334" y="202"/>
                      </a:cubicBezTo>
                      <a:cubicBezTo>
                        <a:pt x="333" y="202"/>
                        <a:pt x="333" y="202"/>
                        <a:pt x="333" y="202"/>
                      </a:cubicBezTo>
                      <a:cubicBezTo>
                        <a:pt x="333" y="203"/>
                        <a:pt x="333" y="203"/>
                        <a:pt x="333" y="203"/>
                      </a:cubicBezTo>
                      <a:cubicBezTo>
                        <a:pt x="332" y="203"/>
                        <a:pt x="332" y="203"/>
                        <a:pt x="332" y="203"/>
                      </a:cubicBezTo>
                      <a:cubicBezTo>
                        <a:pt x="332" y="202"/>
                        <a:pt x="332" y="202"/>
                        <a:pt x="332" y="202"/>
                      </a:cubicBezTo>
                      <a:cubicBezTo>
                        <a:pt x="332" y="202"/>
                        <a:pt x="332" y="202"/>
                        <a:pt x="332" y="202"/>
                      </a:cubicBezTo>
                      <a:cubicBezTo>
                        <a:pt x="332" y="201"/>
                        <a:pt x="332" y="201"/>
                        <a:pt x="332" y="201"/>
                      </a:cubicBezTo>
                      <a:cubicBezTo>
                        <a:pt x="332" y="201"/>
                        <a:pt x="332" y="201"/>
                        <a:pt x="332" y="201"/>
                      </a:cubicBezTo>
                      <a:cubicBezTo>
                        <a:pt x="332" y="201"/>
                        <a:pt x="332" y="201"/>
                        <a:pt x="332" y="201"/>
                      </a:cubicBezTo>
                      <a:cubicBezTo>
                        <a:pt x="332" y="201"/>
                        <a:pt x="332" y="201"/>
                        <a:pt x="332" y="201"/>
                      </a:cubicBezTo>
                      <a:cubicBezTo>
                        <a:pt x="332" y="200"/>
                        <a:pt x="332" y="200"/>
                        <a:pt x="332" y="200"/>
                      </a:cubicBezTo>
                      <a:cubicBezTo>
                        <a:pt x="332" y="200"/>
                        <a:pt x="332" y="200"/>
                        <a:pt x="332" y="200"/>
                      </a:cubicBezTo>
                      <a:cubicBezTo>
                        <a:pt x="332" y="201"/>
                        <a:pt x="332" y="201"/>
                        <a:pt x="332" y="201"/>
                      </a:cubicBezTo>
                      <a:cubicBezTo>
                        <a:pt x="331" y="201"/>
                        <a:pt x="331" y="201"/>
                        <a:pt x="331" y="201"/>
                      </a:cubicBezTo>
                      <a:cubicBezTo>
                        <a:pt x="331" y="202"/>
                        <a:pt x="331" y="202"/>
                        <a:pt x="331" y="202"/>
                      </a:cubicBezTo>
                      <a:cubicBezTo>
                        <a:pt x="331" y="202"/>
                        <a:pt x="331" y="202"/>
                        <a:pt x="331" y="202"/>
                      </a:cubicBezTo>
                      <a:cubicBezTo>
                        <a:pt x="331" y="201"/>
                        <a:pt x="331" y="201"/>
                        <a:pt x="331" y="201"/>
                      </a:cubicBezTo>
                      <a:cubicBezTo>
                        <a:pt x="330" y="201"/>
                        <a:pt x="330" y="201"/>
                        <a:pt x="330" y="201"/>
                      </a:cubicBezTo>
                      <a:cubicBezTo>
                        <a:pt x="330" y="200"/>
                        <a:pt x="330" y="200"/>
                        <a:pt x="330" y="200"/>
                      </a:cubicBezTo>
                      <a:cubicBezTo>
                        <a:pt x="331" y="200"/>
                        <a:pt x="331" y="200"/>
                        <a:pt x="331" y="200"/>
                      </a:cubicBezTo>
                      <a:cubicBezTo>
                        <a:pt x="331" y="200"/>
                        <a:pt x="331" y="200"/>
                        <a:pt x="331" y="200"/>
                      </a:cubicBezTo>
                      <a:cubicBezTo>
                        <a:pt x="331" y="199"/>
                        <a:pt x="331" y="199"/>
                        <a:pt x="331" y="199"/>
                      </a:cubicBezTo>
                      <a:cubicBezTo>
                        <a:pt x="332" y="199"/>
                        <a:pt x="332" y="199"/>
                        <a:pt x="332" y="199"/>
                      </a:cubicBezTo>
                      <a:cubicBezTo>
                        <a:pt x="332" y="199"/>
                        <a:pt x="332" y="199"/>
                        <a:pt x="332" y="199"/>
                      </a:cubicBezTo>
                      <a:cubicBezTo>
                        <a:pt x="331" y="199"/>
                        <a:pt x="331" y="199"/>
                        <a:pt x="331" y="199"/>
                      </a:cubicBezTo>
                      <a:cubicBezTo>
                        <a:pt x="330" y="199"/>
                        <a:pt x="330" y="199"/>
                        <a:pt x="330" y="199"/>
                      </a:cubicBezTo>
                      <a:cubicBezTo>
                        <a:pt x="330" y="199"/>
                        <a:pt x="330" y="199"/>
                        <a:pt x="330" y="199"/>
                      </a:cubicBezTo>
                      <a:cubicBezTo>
                        <a:pt x="330" y="199"/>
                        <a:pt x="330" y="199"/>
                        <a:pt x="330" y="199"/>
                      </a:cubicBezTo>
                      <a:cubicBezTo>
                        <a:pt x="330" y="198"/>
                        <a:pt x="330" y="198"/>
                        <a:pt x="330" y="198"/>
                      </a:cubicBezTo>
                      <a:cubicBezTo>
                        <a:pt x="331" y="198"/>
                        <a:pt x="331" y="198"/>
                        <a:pt x="331" y="198"/>
                      </a:cubicBezTo>
                      <a:cubicBezTo>
                        <a:pt x="331" y="197"/>
                        <a:pt x="331" y="197"/>
                        <a:pt x="331" y="197"/>
                      </a:cubicBezTo>
                      <a:cubicBezTo>
                        <a:pt x="331" y="197"/>
                        <a:pt x="331" y="197"/>
                        <a:pt x="331" y="197"/>
                      </a:cubicBezTo>
                      <a:cubicBezTo>
                        <a:pt x="330" y="198"/>
                        <a:pt x="330" y="198"/>
                        <a:pt x="330" y="198"/>
                      </a:cubicBezTo>
                      <a:cubicBezTo>
                        <a:pt x="330" y="197"/>
                        <a:pt x="330" y="197"/>
                        <a:pt x="330" y="197"/>
                      </a:cubicBezTo>
                      <a:cubicBezTo>
                        <a:pt x="330" y="197"/>
                        <a:pt x="330" y="197"/>
                        <a:pt x="330" y="197"/>
                      </a:cubicBezTo>
                      <a:cubicBezTo>
                        <a:pt x="330" y="197"/>
                        <a:pt x="330" y="197"/>
                        <a:pt x="330" y="197"/>
                      </a:cubicBezTo>
                      <a:cubicBezTo>
                        <a:pt x="331" y="197"/>
                        <a:pt x="331" y="197"/>
                        <a:pt x="331" y="197"/>
                      </a:cubicBezTo>
                      <a:cubicBezTo>
                        <a:pt x="331" y="196"/>
                        <a:pt x="331" y="196"/>
                        <a:pt x="331" y="196"/>
                      </a:cubicBezTo>
                      <a:cubicBezTo>
                        <a:pt x="331" y="196"/>
                        <a:pt x="331" y="196"/>
                        <a:pt x="331" y="196"/>
                      </a:cubicBezTo>
                      <a:cubicBezTo>
                        <a:pt x="330" y="196"/>
                        <a:pt x="330" y="196"/>
                        <a:pt x="330" y="196"/>
                      </a:cubicBezTo>
                      <a:cubicBezTo>
                        <a:pt x="330" y="197"/>
                        <a:pt x="330" y="197"/>
                        <a:pt x="330" y="197"/>
                      </a:cubicBezTo>
                      <a:cubicBezTo>
                        <a:pt x="329" y="196"/>
                        <a:pt x="329" y="196"/>
                        <a:pt x="329" y="196"/>
                      </a:cubicBezTo>
                      <a:cubicBezTo>
                        <a:pt x="330" y="196"/>
                        <a:pt x="330" y="196"/>
                        <a:pt x="330" y="196"/>
                      </a:cubicBezTo>
                      <a:cubicBezTo>
                        <a:pt x="330" y="195"/>
                        <a:pt x="330" y="195"/>
                        <a:pt x="330" y="195"/>
                      </a:cubicBezTo>
                      <a:cubicBezTo>
                        <a:pt x="331" y="195"/>
                        <a:pt x="331" y="195"/>
                        <a:pt x="331" y="195"/>
                      </a:cubicBezTo>
                      <a:cubicBezTo>
                        <a:pt x="332" y="195"/>
                        <a:pt x="332" y="195"/>
                        <a:pt x="332" y="195"/>
                      </a:cubicBezTo>
                      <a:cubicBezTo>
                        <a:pt x="332" y="194"/>
                        <a:pt x="332" y="194"/>
                        <a:pt x="332" y="194"/>
                      </a:cubicBezTo>
                      <a:cubicBezTo>
                        <a:pt x="333" y="194"/>
                        <a:pt x="333" y="194"/>
                        <a:pt x="333" y="194"/>
                      </a:cubicBezTo>
                      <a:cubicBezTo>
                        <a:pt x="333" y="193"/>
                        <a:pt x="333" y="193"/>
                        <a:pt x="333" y="193"/>
                      </a:cubicBezTo>
                      <a:cubicBezTo>
                        <a:pt x="334" y="192"/>
                        <a:pt x="334" y="192"/>
                        <a:pt x="334" y="192"/>
                      </a:cubicBezTo>
                      <a:cubicBezTo>
                        <a:pt x="334" y="192"/>
                        <a:pt x="334" y="192"/>
                        <a:pt x="334" y="192"/>
                      </a:cubicBezTo>
                      <a:cubicBezTo>
                        <a:pt x="334" y="192"/>
                        <a:pt x="334" y="192"/>
                        <a:pt x="334" y="192"/>
                      </a:cubicBezTo>
                      <a:cubicBezTo>
                        <a:pt x="334" y="192"/>
                        <a:pt x="334" y="192"/>
                        <a:pt x="334" y="192"/>
                      </a:cubicBezTo>
                      <a:cubicBezTo>
                        <a:pt x="333" y="193"/>
                        <a:pt x="333" y="193"/>
                        <a:pt x="333" y="193"/>
                      </a:cubicBezTo>
                      <a:cubicBezTo>
                        <a:pt x="333" y="193"/>
                        <a:pt x="333" y="193"/>
                        <a:pt x="333" y="193"/>
                      </a:cubicBezTo>
                      <a:cubicBezTo>
                        <a:pt x="332" y="194"/>
                        <a:pt x="332" y="194"/>
                        <a:pt x="332" y="194"/>
                      </a:cubicBezTo>
                      <a:cubicBezTo>
                        <a:pt x="331" y="194"/>
                        <a:pt x="331" y="194"/>
                        <a:pt x="331" y="194"/>
                      </a:cubicBezTo>
                      <a:cubicBezTo>
                        <a:pt x="331" y="194"/>
                        <a:pt x="331" y="194"/>
                        <a:pt x="331" y="194"/>
                      </a:cubicBezTo>
                      <a:cubicBezTo>
                        <a:pt x="329" y="195"/>
                        <a:pt x="329" y="195"/>
                        <a:pt x="329" y="195"/>
                      </a:cubicBezTo>
                      <a:cubicBezTo>
                        <a:pt x="328" y="195"/>
                        <a:pt x="328" y="195"/>
                        <a:pt x="328" y="195"/>
                      </a:cubicBezTo>
                      <a:cubicBezTo>
                        <a:pt x="328" y="195"/>
                        <a:pt x="328" y="195"/>
                        <a:pt x="328" y="195"/>
                      </a:cubicBezTo>
                      <a:cubicBezTo>
                        <a:pt x="328" y="194"/>
                        <a:pt x="328" y="194"/>
                        <a:pt x="328" y="194"/>
                      </a:cubicBezTo>
                      <a:cubicBezTo>
                        <a:pt x="329" y="193"/>
                        <a:pt x="329" y="193"/>
                        <a:pt x="329" y="193"/>
                      </a:cubicBezTo>
                      <a:cubicBezTo>
                        <a:pt x="330" y="193"/>
                        <a:pt x="330" y="193"/>
                        <a:pt x="330" y="193"/>
                      </a:cubicBezTo>
                      <a:cubicBezTo>
                        <a:pt x="330" y="192"/>
                        <a:pt x="330" y="192"/>
                        <a:pt x="330" y="192"/>
                      </a:cubicBezTo>
                      <a:cubicBezTo>
                        <a:pt x="331" y="192"/>
                        <a:pt x="331" y="192"/>
                        <a:pt x="331" y="192"/>
                      </a:cubicBezTo>
                      <a:cubicBezTo>
                        <a:pt x="331" y="191"/>
                        <a:pt x="331" y="191"/>
                        <a:pt x="331" y="191"/>
                      </a:cubicBezTo>
                      <a:cubicBezTo>
                        <a:pt x="330" y="192"/>
                        <a:pt x="330" y="192"/>
                        <a:pt x="330" y="192"/>
                      </a:cubicBezTo>
                      <a:cubicBezTo>
                        <a:pt x="328" y="193"/>
                        <a:pt x="328" y="193"/>
                        <a:pt x="328" y="193"/>
                      </a:cubicBezTo>
                      <a:cubicBezTo>
                        <a:pt x="328" y="193"/>
                        <a:pt x="328" y="193"/>
                        <a:pt x="328" y="193"/>
                      </a:cubicBezTo>
                      <a:cubicBezTo>
                        <a:pt x="327" y="193"/>
                        <a:pt x="327" y="193"/>
                        <a:pt x="327" y="193"/>
                      </a:cubicBezTo>
                      <a:cubicBezTo>
                        <a:pt x="327" y="193"/>
                        <a:pt x="327" y="193"/>
                        <a:pt x="327" y="193"/>
                      </a:cubicBezTo>
                      <a:cubicBezTo>
                        <a:pt x="327" y="192"/>
                        <a:pt x="327" y="192"/>
                        <a:pt x="327" y="192"/>
                      </a:cubicBezTo>
                      <a:cubicBezTo>
                        <a:pt x="327" y="192"/>
                        <a:pt x="327" y="192"/>
                        <a:pt x="327" y="192"/>
                      </a:cubicBezTo>
                      <a:cubicBezTo>
                        <a:pt x="326" y="192"/>
                        <a:pt x="326" y="192"/>
                        <a:pt x="326" y="192"/>
                      </a:cubicBezTo>
                      <a:cubicBezTo>
                        <a:pt x="326" y="192"/>
                        <a:pt x="326" y="192"/>
                        <a:pt x="326" y="192"/>
                      </a:cubicBezTo>
                      <a:cubicBezTo>
                        <a:pt x="326" y="192"/>
                        <a:pt x="326" y="192"/>
                        <a:pt x="326" y="192"/>
                      </a:cubicBezTo>
                      <a:cubicBezTo>
                        <a:pt x="327" y="192"/>
                        <a:pt x="327" y="192"/>
                        <a:pt x="327" y="192"/>
                      </a:cubicBezTo>
                      <a:cubicBezTo>
                        <a:pt x="327" y="191"/>
                        <a:pt x="327" y="191"/>
                        <a:pt x="327" y="191"/>
                      </a:cubicBezTo>
                      <a:cubicBezTo>
                        <a:pt x="326" y="191"/>
                        <a:pt x="326" y="191"/>
                        <a:pt x="326" y="191"/>
                      </a:cubicBezTo>
                      <a:cubicBezTo>
                        <a:pt x="326" y="191"/>
                        <a:pt x="326" y="191"/>
                        <a:pt x="326" y="191"/>
                      </a:cubicBezTo>
                      <a:cubicBezTo>
                        <a:pt x="326" y="191"/>
                        <a:pt x="326" y="191"/>
                        <a:pt x="326" y="191"/>
                      </a:cubicBezTo>
                      <a:cubicBezTo>
                        <a:pt x="326" y="190"/>
                        <a:pt x="326" y="190"/>
                        <a:pt x="326" y="190"/>
                      </a:cubicBezTo>
                      <a:cubicBezTo>
                        <a:pt x="326" y="190"/>
                        <a:pt x="326" y="190"/>
                        <a:pt x="326" y="190"/>
                      </a:cubicBezTo>
                      <a:cubicBezTo>
                        <a:pt x="326" y="189"/>
                        <a:pt x="326" y="189"/>
                        <a:pt x="326" y="189"/>
                      </a:cubicBezTo>
                      <a:cubicBezTo>
                        <a:pt x="326" y="189"/>
                        <a:pt x="326" y="189"/>
                        <a:pt x="326" y="189"/>
                      </a:cubicBezTo>
                      <a:cubicBezTo>
                        <a:pt x="325" y="189"/>
                        <a:pt x="325" y="189"/>
                        <a:pt x="325" y="189"/>
                      </a:cubicBezTo>
                      <a:cubicBezTo>
                        <a:pt x="325" y="189"/>
                        <a:pt x="325" y="189"/>
                        <a:pt x="325" y="189"/>
                      </a:cubicBezTo>
                      <a:cubicBezTo>
                        <a:pt x="325" y="189"/>
                        <a:pt x="325" y="189"/>
                        <a:pt x="325" y="189"/>
                      </a:cubicBezTo>
                      <a:cubicBezTo>
                        <a:pt x="325" y="190"/>
                        <a:pt x="325" y="190"/>
                        <a:pt x="325" y="190"/>
                      </a:cubicBezTo>
                      <a:cubicBezTo>
                        <a:pt x="324" y="190"/>
                        <a:pt x="324" y="190"/>
                        <a:pt x="324" y="190"/>
                      </a:cubicBezTo>
                      <a:cubicBezTo>
                        <a:pt x="324" y="190"/>
                        <a:pt x="324" y="190"/>
                        <a:pt x="324" y="190"/>
                      </a:cubicBezTo>
                      <a:cubicBezTo>
                        <a:pt x="324" y="189"/>
                        <a:pt x="324" y="189"/>
                        <a:pt x="324" y="189"/>
                      </a:cubicBezTo>
                      <a:cubicBezTo>
                        <a:pt x="323" y="189"/>
                        <a:pt x="323" y="189"/>
                        <a:pt x="323" y="189"/>
                      </a:cubicBezTo>
                      <a:cubicBezTo>
                        <a:pt x="324" y="190"/>
                        <a:pt x="324" y="190"/>
                        <a:pt x="324" y="190"/>
                      </a:cubicBezTo>
                      <a:cubicBezTo>
                        <a:pt x="324" y="190"/>
                        <a:pt x="324" y="190"/>
                        <a:pt x="324" y="190"/>
                      </a:cubicBezTo>
                      <a:cubicBezTo>
                        <a:pt x="324" y="191"/>
                        <a:pt x="324" y="191"/>
                        <a:pt x="324" y="191"/>
                      </a:cubicBezTo>
                      <a:cubicBezTo>
                        <a:pt x="324" y="191"/>
                        <a:pt x="324" y="191"/>
                        <a:pt x="324" y="191"/>
                      </a:cubicBezTo>
                      <a:cubicBezTo>
                        <a:pt x="323" y="191"/>
                        <a:pt x="323" y="191"/>
                        <a:pt x="323" y="191"/>
                      </a:cubicBezTo>
                      <a:cubicBezTo>
                        <a:pt x="324" y="191"/>
                        <a:pt x="324" y="191"/>
                        <a:pt x="324" y="191"/>
                      </a:cubicBezTo>
                      <a:cubicBezTo>
                        <a:pt x="323" y="192"/>
                        <a:pt x="323" y="192"/>
                        <a:pt x="323" y="192"/>
                      </a:cubicBezTo>
                      <a:cubicBezTo>
                        <a:pt x="322" y="191"/>
                        <a:pt x="322" y="191"/>
                        <a:pt x="322" y="191"/>
                      </a:cubicBezTo>
                      <a:cubicBezTo>
                        <a:pt x="322" y="190"/>
                        <a:pt x="322" y="190"/>
                        <a:pt x="322" y="190"/>
                      </a:cubicBezTo>
                      <a:cubicBezTo>
                        <a:pt x="322" y="190"/>
                        <a:pt x="322" y="190"/>
                        <a:pt x="322" y="190"/>
                      </a:cubicBezTo>
                      <a:cubicBezTo>
                        <a:pt x="322" y="190"/>
                        <a:pt x="322" y="190"/>
                        <a:pt x="322" y="190"/>
                      </a:cubicBezTo>
                      <a:cubicBezTo>
                        <a:pt x="322" y="191"/>
                        <a:pt x="322" y="191"/>
                        <a:pt x="322" y="191"/>
                      </a:cubicBezTo>
                      <a:cubicBezTo>
                        <a:pt x="322" y="191"/>
                        <a:pt x="322" y="191"/>
                        <a:pt x="322" y="191"/>
                      </a:cubicBezTo>
                      <a:cubicBezTo>
                        <a:pt x="322" y="192"/>
                        <a:pt x="322" y="192"/>
                        <a:pt x="322" y="192"/>
                      </a:cubicBezTo>
                      <a:cubicBezTo>
                        <a:pt x="322" y="192"/>
                        <a:pt x="322" y="192"/>
                        <a:pt x="322" y="192"/>
                      </a:cubicBezTo>
                      <a:cubicBezTo>
                        <a:pt x="323" y="193"/>
                        <a:pt x="323" y="193"/>
                        <a:pt x="323" y="193"/>
                      </a:cubicBezTo>
                      <a:cubicBezTo>
                        <a:pt x="323" y="193"/>
                        <a:pt x="323" y="193"/>
                        <a:pt x="323" y="193"/>
                      </a:cubicBezTo>
                      <a:cubicBezTo>
                        <a:pt x="323" y="194"/>
                        <a:pt x="323" y="194"/>
                        <a:pt x="323" y="194"/>
                      </a:cubicBezTo>
                      <a:cubicBezTo>
                        <a:pt x="324" y="194"/>
                        <a:pt x="324" y="194"/>
                        <a:pt x="324" y="194"/>
                      </a:cubicBezTo>
                      <a:cubicBezTo>
                        <a:pt x="324" y="194"/>
                        <a:pt x="324" y="194"/>
                        <a:pt x="324" y="194"/>
                      </a:cubicBezTo>
                      <a:cubicBezTo>
                        <a:pt x="323" y="195"/>
                        <a:pt x="323" y="195"/>
                        <a:pt x="323" y="195"/>
                      </a:cubicBezTo>
                      <a:cubicBezTo>
                        <a:pt x="322" y="194"/>
                        <a:pt x="322" y="194"/>
                        <a:pt x="322" y="194"/>
                      </a:cubicBezTo>
                      <a:cubicBezTo>
                        <a:pt x="322" y="194"/>
                        <a:pt x="322" y="194"/>
                        <a:pt x="322" y="194"/>
                      </a:cubicBezTo>
                      <a:cubicBezTo>
                        <a:pt x="321" y="195"/>
                        <a:pt x="321" y="195"/>
                        <a:pt x="321" y="195"/>
                      </a:cubicBezTo>
                      <a:cubicBezTo>
                        <a:pt x="321" y="195"/>
                        <a:pt x="321" y="195"/>
                        <a:pt x="321" y="195"/>
                      </a:cubicBezTo>
                      <a:cubicBezTo>
                        <a:pt x="320" y="194"/>
                        <a:pt x="320" y="194"/>
                        <a:pt x="320" y="194"/>
                      </a:cubicBezTo>
                      <a:cubicBezTo>
                        <a:pt x="320" y="193"/>
                        <a:pt x="320" y="193"/>
                        <a:pt x="320" y="193"/>
                      </a:cubicBezTo>
                      <a:cubicBezTo>
                        <a:pt x="320" y="193"/>
                        <a:pt x="320" y="193"/>
                        <a:pt x="320" y="193"/>
                      </a:cubicBezTo>
                      <a:cubicBezTo>
                        <a:pt x="320" y="192"/>
                        <a:pt x="320" y="192"/>
                        <a:pt x="320" y="192"/>
                      </a:cubicBezTo>
                      <a:cubicBezTo>
                        <a:pt x="319" y="192"/>
                        <a:pt x="319" y="192"/>
                        <a:pt x="319" y="192"/>
                      </a:cubicBezTo>
                      <a:cubicBezTo>
                        <a:pt x="319" y="192"/>
                        <a:pt x="319" y="192"/>
                        <a:pt x="319" y="192"/>
                      </a:cubicBezTo>
                      <a:cubicBezTo>
                        <a:pt x="319" y="191"/>
                        <a:pt x="319" y="191"/>
                        <a:pt x="319" y="191"/>
                      </a:cubicBezTo>
                      <a:cubicBezTo>
                        <a:pt x="318" y="191"/>
                        <a:pt x="318" y="191"/>
                        <a:pt x="318" y="191"/>
                      </a:cubicBezTo>
                      <a:cubicBezTo>
                        <a:pt x="318" y="191"/>
                        <a:pt x="318" y="191"/>
                        <a:pt x="318" y="191"/>
                      </a:cubicBezTo>
                      <a:cubicBezTo>
                        <a:pt x="317" y="191"/>
                        <a:pt x="317" y="191"/>
                        <a:pt x="317" y="191"/>
                      </a:cubicBezTo>
                      <a:cubicBezTo>
                        <a:pt x="316" y="191"/>
                        <a:pt x="316" y="191"/>
                        <a:pt x="316" y="191"/>
                      </a:cubicBezTo>
                      <a:cubicBezTo>
                        <a:pt x="316" y="192"/>
                        <a:pt x="316" y="192"/>
                        <a:pt x="316" y="192"/>
                      </a:cubicBezTo>
                      <a:cubicBezTo>
                        <a:pt x="317" y="192"/>
                        <a:pt x="317" y="192"/>
                        <a:pt x="317" y="192"/>
                      </a:cubicBezTo>
                      <a:cubicBezTo>
                        <a:pt x="318" y="192"/>
                        <a:pt x="318" y="192"/>
                        <a:pt x="318" y="192"/>
                      </a:cubicBezTo>
                      <a:cubicBezTo>
                        <a:pt x="319" y="192"/>
                        <a:pt x="319" y="192"/>
                        <a:pt x="319" y="192"/>
                      </a:cubicBezTo>
                      <a:cubicBezTo>
                        <a:pt x="319" y="193"/>
                        <a:pt x="319" y="193"/>
                        <a:pt x="319" y="193"/>
                      </a:cubicBezTo>
                      <a:cubicBezTo>
                        <a:pt x="319" y="194"/>
                        <a:pt x="319" y="194"/>
                        <a:pt x="319" y="194"/>
                      </a:cubicBezTo>
                      <a:cubicBezTo>
                        <a:pt x="319" y="194"/>
                        <a:pt x="319" y="194"/>
                        <a:pt x="319" y="194"/>
                      </a:cubicBezTo>
                      <a:cubicBezTo>
                        <a:pt x="319" y="194"/>
                        <a:pt x="319" y="194"/>
                        <a:pt x="319" y="194"/>
                      </a:cubicBezTo>
                      <a:cubicBezTo>
                        <a:pt x="319" y="195"/>
                        <a:pt x="319" y="195"/>
                        <a:pt x="319" y="195"/>
                      </a:cubicBezTo>
                      <a:cubicBezTo>
                        <a:pt x="319" y="195"/>
                        <a:pt x="319" y="195"/>
                        <a:pt x="319" y="195"/>
                      </a:cubicBezTo>
                      <a:cubicBezTo>
                        <a:pt x="320" y="195"/>
                        <a:pt x="320" y="195"/>
                        <a:pt x="320" y="195"/>
                      </a:cubicBezTo>
                      <a:cubicBezTo>
                        <a:pt x="320" y="195"/>
                        <a:pt x="320" y="195"/>
                        <a:pt x="320" y="195"/>
                      </a:cubicBezTo>
                      <a:cubicBezTo>
                        <a:pt x="320" y="196"/>
                        <a:pt x="320" y="196"/>
                        <a:pt x="320" y="196"/>
                      </a:cubicBezTo>
                      <a:cubicBezTo>
                        <a:pt x="320" y="196"/>
                        <a:pt x="320" y="196"/>
                        <a:pt x="320" y="196"/>
                      </a:cubicBezTo>
                      <a:cubicBezTo>
                        <a:pt x="319" y="197"/>
                        <a:pt x="319" y="197"/>
                        <a:pt x="319" y="197"/>
                      </a:cubicBezTo>
                      <a:cubicBezTo>
                        <a:pt x="318" y="198"/>
                        <a:pt x="318" y="198"/>
                        <a:pt x="318" y="198"/>
                      </a:cubicBezTo>
                      <a:cubicBezTo>
                        <a:pt x="319" y="197"/>
                        <a:pt x="319" y="197"/>
                        <a:pt x="319" y="197"/>
                      </a:cubicBezTo>
                      <a:cubicBezTo>
                        <a:pt x="320" y="197"/>
                        <a:pt x="320" y="197"/>
                        <a:pt x="320" y="197"/>
                      </a:cubicBezTo>
                      <a:cubicBezTo>
                        <a:pt x="320" y="197"/>
                        <a:pt x="320" y="197"/>
                        <a:pt x="320" y="197"/>
                      </a:cubicBezTo>
                      <a:cubicBezTo>
                        <a:pt x="321" y="197"/>
                        <a:pt x="321" y="197"/>
                        <a:pt x="321" y="197"/>
                      </a:cubicBezTo>
                      <a:cubicBezTo>
                        <a:pt x="322" y="197"/>
                        <a:pt x="322" y="197"/>
                        <a:pt x="322" y="197"/>
                      </a:cubicBezTo>
                      <a:cubicBezTo>
                        <a:pt x="322" y="197"/>
                        <a:pt x="322" y="197"/>
                        <a:pt x="322" y="197"/>
                      </a:cubicBezTo>
                      <a:cubicBezTo>
                        <a:pt x="321" y="198"/>
                        <a:pt x="321" y="198"/>
                        <a:pt x="321" y="198"/>
                      </a:cubicBezTo>
                      <a:cubicBezTo>
                        <a:pt x="321" y="198"/>
                        <a:pt x="321" y="198"/>
                        <a:pt x="321" y="198"/>
                      </a:cubicBezTo>
                      <a:cubicBezTo>
                        <a:pt x="321" y="198"/>
                        <a:pt x="321" y="198"/>
                        <a:pt x="321" y="198"/>
                      </a:cubicBezTo>
                      <a:cubicBezTo>
                        <a:pt x="322" y="198"/>
                        <a:pt x="322" y="198"/>
                        <a:pt x="322" y="198"/>
                      </a:cubicBezTo>
                      <a:cubicBezTo>
                        <a:pt x="322" y="199"/>
                        <a:pt x="322" y="199"/>
                        <a:pt x="322" y="199"/>
                      </a:cubicBezTo>
                      <a:cubicBezTo>
                        <a:pt x="322" y="199"/>
                        <a:pt x="322" y="199"/>
                        <a:pt x="322" y="199"/>
                      </a:cubicBezTo>
                      <a:cubicBezTo>
                        <a:pt x="321" y="199"/>
                        <a:pt x="321" y="199"/>
                        <a:pt x="321" y="199"/>
                      </a:cubicBezTo>
                      <a:cubicBezTo>
                        <a:pt x="321" y="200"/>
                        <a:pt x="321" y="200"/>
                        <a:pt x="321" y="200"/>
                      </a:cubicBezTo>
                      <a:cubicBezTo>
                        <a:pt x="321" y="200"/>
                        <a:pt x="321" y="200"/>
                        <a:pt x="321" y="200"/>
                      </a:cubicBezTo>
                      <a:cubicBezTo>
                        <a:pt x="321" y="200"/>
                        <a:pt x="321" y="200"/>
                        <a:pt x="321" y="200"/>
                      </a:cubicBezTo>
                      <a:cubicBezTo>
                        <a:pt x="321" y="200"/>
                        <a:pt x="321" y="200"/>
                        <a:pt x="321" y="200"/>
                      </a:cubicBezTo>
                      <a:cubicBezTo>
                        <a:pt x="321" y="201"/>
                        <a:pt x="321" y="201"/>
                        <a:pt x="321" y="201"/>
                      </a:cubicBezTo>
                      <a:cubicBezTo>
                        <a:pt x="322" y="201"/>
                        <a:pt x="322" y="201"/>
                        <a:pt x="322" y="201"/>
                      </a:cubicBezTo>
                      <a:cubicBezTo>
                        <a:pt x="322" y="201"/>
                        <a:pt x="322" y="201"/>
                        <a:pt x="322" y="201"/>
                      </a:cubicBezTo>
                      <a:cubicBezTo>
                        <a:pt x="322" y="201"/>
                        <a:pt x="322" y="201"/>
                        <a:pt x="322" y="201"/>
                      </a:cubicBezTo>
                      <a:cubicBezTo>
                        <a:pt x="322" y="202"/>
                        <a:pt x="322" y="202"/>
                        <a:pt x="322" y="202"/>
                      </a:cubicBezTo>
                      <a:cubicBezTo>
                        <a:pt x="322" y="203"/>
                        <a:pt x="322" y="203"/>
                        <a:pt x="322" y="203"/>
                      </a:cubicBezTo>
                      <a:cubicBezTo>
                        <a:pt x="322" y="203"/>
                        <a:pt x="322" y="203"/>
                        <a:pt x="322" y="203"/>
                      </a:cubicBezTo>
                      <a:cubicBezTo>
                        <a:pt x="323" y="203"/>
                        <a:pt x="323" y="203"/>
                        <a:pt x="323" y="203"/>
                      </a:cubicBezTo>
                      <a:cubicBezTo>
                        <a:pt x="323" y="202"/>
                        <a:pt x="323" y="202"/>
                        <a:pt x="323" y="202"/>
                      </a:cubicBezTo>
                      <a:cubicBezTo>
                        <a:pt x="323" y="202"/>
                        <a:pt x="323" y="202"/>
                        <a:pt x="323" y="202"/>
                      </a:cubicBezTo>
                      <a:cubicBezTo>
                        <a:pt x="324" y="202"/>
                        <a:pt x="324" y="202"/>
                        <a:pt x="324" y="202"/>
                      </a:cubicBezTo>
                      <a:cubicBezTo>
                        <a:pt x="324" y="203"/>
                        <a:pt x="324" y="203"/>
                        <a:pt x="324" y="203"/>
                      </a:cubicBezTo>
                      <a:cubicBezTo>
                        <a:pt x="324" y="203"/>
                        <a:pt x="324" y="203"/>
                        <a:pt x="324" y="203"/>
                      </a:cubicBezTo>
                      <a:cubicBezTo>
                        <a:pt x="324" y="204"/>
                        <a:pt x="324" y="204"/>
                        <a:pt x="324" y="204"/>
                      </a:cubicBezTo>
                      <a:cubicBezTo>
                        <a:pt x="323" y="204"/>
                        <a:pt x="323" y="204"/>
                        <a:pt x="323" y="204"/>
                      </a:cubicBezTo>
                      <a:cubicBezTo>
                        <a:pt x="323" y="204"/>
                        <a:pt x="323" y="204"/>
                        <a:pt x="323" y="204"/>
                      </a:cubicBezTo>
                      <a:cubicBezTo>
                        <a:pt x="325" y="204"/>
                        <a:pt x="325" y="204"/>
                        <a:pt x="325" y="204"/>
                      </a:cubicBezTo>
                      <a:cubicBezTo>
                        <a:pt x="325" y="204"/>
                        <a:pt x="325" y="204"/>
                        <a:pt x="325" y="204"/>
                      </a:cubicBezTo>
                      <a:cubicBezTo>
                        <a:pt x="325" y="205"/>
                        <a:pt x="325" y="205"/>
                        <a:pt x="325" y="205"/>
                      </a:cubicBezTo>
                      <a:cubicBezTo>
                        <a:pt x="325" y="204"/>
                        <a:pt x="325" y="204"/>
                        <a:pt x="325" y="204"/>
                      </a:cubicBezTo>
                      <a:cubicBezTo>
                        <a:pt x="325" y="204"/>
                        <a:pt x="325" y="204"/>
                        <a:pt x="325" y="204"/>
                      </a:cubicBezTo>
                      <a:cubicBezTo>
                        <a:pt x="326" y="204"/>
                        <a:pt x="326" y="204"/>
                        <a:pt x="326" y="204"/>
                      </a:cubicBezTo>
                      <a:cubicBezTo>
                        <a:pt x="326" y="204"/>
                        <a:pt x="326" y="204"/>
                        <a:pt x="326" y="204"/>
                      </a:cubicBezTo>
                      <a:cubicBezTo>
                        <a:pt x="326" y="205"/>
                        <a:pt x="326" y="205"/>
                        <a:pt x="326" y="205"/>
                      </a:cubicBezTo>
                      <a:cubicBezTo>
                        <a:pt x="326" y="206"/>
                        <a:pt x="326" y="206"/>
                        <a:pt x="326" y="206"/>
                      </a:cubicBezTo>
                      <a:cubicBezTo>
                        <a:pt x="325" y="206"/>
                        <a:pt x="325" y="206"/>
                        <a:pt x="325" y="206"/>
                      </a:cubicBezTo>
                      <a:cubicBezTo>
                        <a:pt x="325" y="206"/>
                        <a:pt x="325" y="206"/>
                        <a:pt x="325" y="206"/>
                      </a:cubicBezTo>
                      <a:cubicBezTo>
                        <a:pt x="326" y="207"/>
                        <a:pt x="326" y="207"/>
                        <a:pt x="326" y="207"/>
                      </a:cubicBezTo>
                      <a:cubicBezTo>
                        <a:pt x="327" y="207"/>
                        <a:pt x="327" y="207"/>
                        <a:pt x="327" y="207"/>
                      </a:cubicBezTo>
                      <a:cubicBezTo>
                        <a:pt x="327" y="206"/>
                        <a:pt x="327" y="206"/>
                        <a:pt x="327" y="206"/>
                      </a:cubicBezTo>
                      <a:cubicBezTo>
                        <a:pt x="328" y="207"/>
                        <a:pt x="328" y="207"/>
                        <a:pt x="328" y="207"/>
                      </a:cubicBezTo>
                      <a:cubicBezTo>
                        <a:pt x="327" y="207"/>
                        <a:pt x="327" y="207"/>
                        <a:pt x="327" y="207"/>
                      </a:cubicBezTo>
                      <a:cubicBezTo>
                        <a:pt x="327" y="207"/>
                        <a:pt x="327" y="207"/>
                        <a:pt x="327" y="207"/>
                      </a:cubicBezTo>
                      <a:cubicBezTo>
                        <a:pt x="326" y="208"/>
                        <a:pt x="326" y="208"/>
                        <a:pt x="326" y="208"/>
                      </a:cubicBezTo>
                      <a:cubicBezTo>
                        <a:pt x="326" y="208"/>
                        <a:pt x="326" y="208"/>
                        <a:pt x="326" y="208"/>
                      </a:cubicBezTo>
                      <a:cubicBezTo>
                        <a:pt x="327" y="209"/>
                        <a:pt x="327" y="209"/>
                        <a:pt x="327" y="209"/>
                      </a:cubicBezTo>
                      <a:cubicBezTo>
                        <a:pt x="327" y="210"/>
                        <a:pt x="327" y="210"/>
                        <a:pt x="327" y="210"/>
                      </a:cubicBezTo>
                      <a:cubicBezTo>
                        <a:pt x="327" y="210"/>
                        <a:pt x="327" y="210"/>
                        <a:pt x="327" y="210"/>
                      </a:cubicBezTo>
                      <a:cubicBezTo>
                        <a:pt x="327" y="211"/>
                        <a:pt x="327" y="211"/>
                        <a:pt x="327" y="211"/>
                      </a:cubicBezTo>
                      <a:cubicBezTo>
                        <a:pt x="328" y="212"/>
                        <a:pt x="328" y="212"/>
                        <a:pt x="328" y="212"/>
                      </a:cubicBezTo>
                      <a:cubicBezTo>
                        <a:pt x="329" y="213"/>
                        <a:pt x="329" y="213"/>
                        <a:pt x="329" y="213"/>
                      </a:cubicBezTo>
                      <a:cubicBezTo>
                        <a:pt x="328" y="213"/>
                        <a:pt x="328" y="213"/>
                        <a:pt x="328" y="213"/>
                      </a:cubicBezTo>
                      <a:cubicBezTo>
                        <a:pt x="328" y="214"/>
                        <a:pt x="328" y="214"/>
                        <a:pt x="328" y="214"/>
                      </a:cubicBezTo>
                      <a:cubicBezTo>
                        <a:pt x="327" y="215"/>
                        <a:pt x="327" y="215"/>
                        <a:pt x="327" y="215"/>
                      </a:cubicBezTo>
                      <a:cubicBezTo>
                        <a:pt x="328" y="216"/>
                        <a:pt x="328" y="216"/>
                        <a:pt x="328" y="216"/>
                      </a:cubicBezTo>
                      <a:cubicBezTo>
                        <a:pt x="327" y="216"/>
                        <a:pt x="327" y="216"/>
                        <a:pt x="327" y="216"/>
                      </a:cubicBezTo>
                      <a:cubicBezTo>
                        <a:pt x="326" y="215"/>
                        <a:pt x="326" y="215"/>
                        <a:pt x="326" y="215"/>
                      </a:cubicBezTo>
                      <a:cubicBezTo>
                        <a:pt x="326" y="214"/>
                        <a:pt x="326" y="214"/>
                        <a:pt x="326" y="214"/>
                      </a:cubicBezTo>
                      <a:cubicBezTo>
                        <a:pt x="326" y="213"/>
                        <a:pt x="326" y="213"/>
                        <a:pt x="326" y="213"/>
                      </a:cubicBezTo>
                      <a:cubicBezTo>
                        <a:pt x="326" y="212"/>
                        <a:pt x="326" y="212"/>
                        <a:pt x="326" y="212"/>
                      </a:cubicBezTo>
                      <a:cubicBezTo>
                        <a:pt x="326" y="213"/>
                        <a:pt x="326" y="213"/>
                        <a:pt x="326" y="213"/>
                      </a:cubicBezTo>
                      <a:cubicBezTo>
                        <a:pt x="325" y="214"/>
                        <a:pt x="325" y="214"/>
                        <a:pt x="325" y="214"/>
                      </a:cubicBezTo>
                      <a:cubicBezTo>
                        <a:pt x="326" y="216"/>
                        <a:pt x="326" y="216"/>
                        <a:pt x="326" y="216"/>
                      </a:cubicBezTo>
                      <a:cubicBezTo>
                        <a:pt x="326" y="217"/>
                        <a:pt x="326" y="217"/>
                        <a:pt x="326" y="217"/>
                      </a:cubicBezTo>
                      <a:cubicBezTo>
                        <a:pt x="326" y="218"/>
                        <a:pt x="326" y="218"/>
                        <a:pt x="326" y="218"/>
                      </a:cubicBezTo>
                      <a:cubicBezTo>
                        <a:pt x="326" y="218"/>
                        <a:pt x="326" y="218"/>
                        <a:pt x="326" y="218"/>
                      </a:cubicBezTo>
                      <a:cubicBezTo>
                        <a:pt x="326" y="219"/>
                        <a:pt x="326" y="219"/>
                        <a:pt x="326" y="219"/>
                      </a:cubicBezTo>
                      <a:cubicBezTo>
                        <a:pt x="325" y="219"/>
                        <a:pt x="325" y="219"/>
                        <a:pt x="325" y="219"/>
                      </a:cubicBezTo>
                      <a:cubicBezTo>
                        <a:pt x="325" y="218"/>
                        <a:pt x="325" y="218"/>
                        <a:pt x="325" y="218"/>
                      </a:cubicBezTo>
                      <a:cubicBezTo>
                        <a:pt x="324" y="218"/>
                        <a:pt x="324" y="218"/>
                        <a:pt x="324" y="218"/>
                      </a:cubicBezTo>
                      <a:cubicBezTo>
                        <a:pt x="324" y="220"/>
                        <a:pt x="324" y="220"/>
                        <a:pt x="324" y="220"/>
                      </a:cubicBezTo>
                      <a:cubicBezTo>
                        <a:pt x="324" y="221"/>
                        <a:pt x="324" y="221"/>
                        <a:pt x="324" y="221"/>
                      </a:cubicBezTo>
                      <a:cubicBezTo>
                        <a:pt x="325" y="221"/>
                        <a:pt x="325" y="221"/>
                        <a:pt x="325" y="221"/>
                      </a:cubicBezTo>
                      <a:cubicBezTo>
                        <a:pt x="325" y="221"/>
                        <a:pt x="325" y="221"/>
                        <a:pt x="325" y="221"/>
                      </a:cubicBezTo>
                      <a:cubicBezTo>
                        <a:pt x="324" y="221"/>
                        <a:pt x="324" y="221"/>
                        <a:pt x="324" y="221"/>
                      </a:cubicBezTo>
                      <a:cubicBezTo>
                        <a:pt x="323" y="221"/>
                        <a:pt x="323" y="221"/>
                        <a:pt x="323" y="221"/>
                      </a:cubicBezTo>
                      <a:cubicBezTo>
                        <a:pt x="323" y="219"/>
                        <a:pt x="323" y="219"/>
                        <a:pt x="323" y="219"/>
                      </a:cubicBezTo>
                      <a:cubicBezTo>
                        <a:pt x="323" y="219"/>
                        <a:pt x="323" y="219"/>
                        <a:pt x="323" y="219"/>
                      </a:cubicBezTo>
                      <a:cubicBezTo>
                        <a:pt x="323" y="218"/>
                        <a:pt x="323" y="218"/>
                        <a:pt x="323" y="218"/>
                      </a:cubicBezTo>
                      <a:cubicBezTo>
                        <a:pt x="323" y="219"/>
                        <a:pt x="323" y="219"/>
                        <a:pt x="323" y="219"/>
                      </a:cubicBezTo>
                      <a:cubicBezTo>
                        <a:pt x="322" y="219"/>
                        <a:pt x="322" y="219"/>
                        <a:pt x="322" y="219"/>
                      </a:cubicBezTo>
                      <a:cubicBezTo>
                        <a:pt x="322" y="218"/>
                        <a:pt x="322" y="218"/>
                        <a:pt x="322" y="218"/>
                      </a:cubicBezTo>
                      <a:cubicBezTo>
                        <a:pt x="322" y="217"/>
                        <a:pt x="322" y="217"/>
                        <a:pt x="322" y="217"/>
                      </a:cubicBezTo>
                      <a:cubicBezTo>
                        <a:pt x="321" y="217"/>
                        <a:pt x="321" y="217"/>
                        <a:pt x="321" y="217"/>
                      </a:cubicBezTo>
                      <a:cubicBezTo>
                        <a:pt x="321" y="218"/>
                        <a:pt x="321" y="218"/>
                        <a:pt x="321" y="218"/>
                      </a:cubicBezTo>
                      <a:cubicBezTo>
                        <a:pt x="321" y="218"/>
                        <a:pt x="321" y="218"/>
                        <a:pt x="321" y="218"/>
                      </a:cubicBezTo>
                      <a:cubicBezTo>
                        <a:pt x="321" y="217"/>
                        <a:pt x="321" y="217"/>
                        <a:pt x="321" y="217"/>
                      </a:cubicBezTo>
                      <a:cubicBezTo>
                        <a:pt x="321" y="216"/>
                        <a:pt x="321" y="216"/>
                        <a:pt x="321" y="216"/>
                      </a:cubicBezTo>
                      <a:cubicBezTo>
                        <a:pt x="320" y="216"/>
                        <a:pt x="320" y="216"/>
                        <a:pt x="320" y="216"/>
                      </a:cubicBezTo>
                      <a:cubicBezTo>
                        <a:pt x="320" y="217"/>
                        <a:pt x="320" y="217"/>
                        <a:pt x="320" y="217"/>
                      </a:cubicBezTo>
                      <a:cubicBezTo>
                        <a:pt x="320" y="217"/>
                        <a:pt x="320" y="217"/>
                        <a:pt x="320" y="217"/>
                      </a:cubicBezTo>
                      <a:cubicBezTo>
                        <a:pt x="320" y="217"/>
                        <a:pt x="320" y="217"/>
                        <a:pt x="320" y="217"/>
                      </a:cubicBezTo>
                      <a:cubicBezTo>
                        <a:pt x="320" y="217"/>
                        <a:pt x="320" y="217"/>
                        <a:pt x="320" y="217"/>
                      </a:cubicBezTo>
                      <a:cubicBezTo>
                        <a:pt x="319" y="217"/>
                        <a:pt x="319" y="217"/>
                        <a:pt x="319" y="217"/>
                      </a:cubicBezTo>
                      <a:cubicBezTo>
                        <a:pt x="319" y="216"/>
                        <a:pt x="319" y="216"/>
                        <a:pt x="319" y="216"/>
                      </a:cubicBezTo>
                      <a:cubicBezTo>
                        <a:pt x="319" y="215"/>
                        <a:pt x="319" y="215"/>
                        <a:pt x="319" y="215"/>
                      </a:cubicBezTo>
                      <a:cubicBezTo>
                        <a:pt x="319" y="214"/>
                        <a:pt x="319" y="214"/>
                        <a:pt x="319" y="214"/>
                      </a:cubicBezTo>
                      <a:cubicBezTo>
                        <a:pt x="319" y="214"/>
                        <a:pt x="319" y="214"/>
                        <a:pt x="319" y="214"/>
                      </a:cubicBezTo>
                      <a:cubicBezTo>
                        <a:pt x="318" y="214"/>
                        <a:pt x="318" y="214"/>
                        <a:pt x="318" y="214"/>
                      </a:cubicBezTo>
                      <a:cubicBezTo>
                        <a:pt x="318" y="216"/>
                        <a:pt x="318" y="216"/>
                        <a:pt x="318" y="216"/>
                      </a:cubicBezTo>
                      <a:cubicBezTo>
                        <a:pt x="319" y="216"/>
                        <a:pt x="319" y="216"/>
                        <a:pt x="319" y="216"/>
                      </a:cubicBezTo>
                      <a:cubicBezTo>
                        <a:pt x="318" y="217"/>
                        <a:pt x="318" y="217"/>
                        <a:pt x="318" y="217"/>
                      </a:cubicBezTo>
                      <a:cubicBezTo>
                        <a:pt x="318" y="216"/>
                        <a:pt x="318" y="216"/>
                        <a:pt x="318" y="216"/>
                      </a:cubicBezTo>
                      <a:cubicBezTo>
                        <a:pt x="317" y="215"/>
                        <a:pt x="317" y="215"/>
                        <a:pt x="317" y="215"/>
                      </a:cubicBezTo>
                      <a:cubicBezTo>
                        <a:pt x="317" y="215"/>
                        <a:pt x="317" y="215"/>
                        <a:pt x="317" y="215"/>
                      </a:cubicBezTo>
                      <a:cubicBezTo>
                        <a:pt x="316" y="214"/>
                        <a:pt x="316" y="214"/>
                        <a:pt x="316" y="214"/>
                      </a:cubicBezTo>
                      <a:cubicBezTo>
                        <a:pt x="316" y="213"/>
                        <a:pt x="316" y="213"/>
                        <a:pt x="316" y="213"/>
                      </a:cubicBezTo>
                      <a:cubicBezTo>
                        <a:pt x="315" y="213"/>
                        <a:pt x="315" y="213"/>
                        <a:pt x="315" y="213"/>
                      </a:cubicBezTo>
                      <a:cubicBezTo>
                        <a:pt x="315" y="212"/>
                        <a:pt x="315" y="212"/>
                        <a:pt x="315" y="212"/>
                      </a:cubicBezTo>
                      <a:cubicBezTo>
                        <a:pt x="315" y="212"/>
                        <a:pt x="315" y="212"/>
                        <a:pt x="315" y="212"/>
                      </a:cubicBezTo>
                      <a:cubicBezTo>
                        <a:pt x="314" y="212"/>
                        <a:pt x="314" y="212"/>
                        <a:pt x="314" y="212"/>
                      </a:cubicBezTo>
                      <a:cubicBezTo>
                        <a:pt x="314" y="212"/>
                        <a:pt x="314" y="212"/>
                        <a:pt x="314" y="212"/>
                      </a:cubicBezTo>
                      <a:cubicBezTo>
                        <a:pt x="315" y="213"/>
                        <a:pt x="315" y="213"/>
                        <a:pt x="315" y="213"/>
                      </a:cubicBezTo>
                      <a:cubicBezTo>
                        <a:pt x="315" y="214"/>
                        <a:pt x="315" y="214"/>
                        <a:pt x="315" y="214"/>
                      </a:cubicBezTo>
                      <a:cubicBezTo>
                        <a:pt x="315" y="214"/>
                        <a:pt x="315" y="214"/>
                        <a:pt x="315" y="214"/>
                      </a:cubicBezTo>
                      <a:cubicBezTo>
                        <a:pt x="314" y="213"/>
                        <a:pt x="314" y="213"/>
                        <a:pt x="314" y="213"/>
                      </a:cubicBezTo>
                      <a:cubicBezTo>
                        <a:pt x="314" y="213"/>
                        <a:pt x="314" y="213"/>
                        <a:pt x="314" y="213"/>
                      </a:cubicBezTo>
                      <a:cubicBezTo>
                        <a:pt x="313" y="212"/>
                        <a:pt x="313" y="212"/>
                        <a:pt x="313" y="212"/>
                      </a:cubicBezTo>
                      <a:cubicBezTo>
                        <a:pt x="312" y="211"/>
                        <a:pt x="312" y="211"/>
                        <a:pt x="312" y="211"/>
                      </a:cubicBezTo>
                      <a:cubicBezTo>
                        <a:pt x="312" y="210"/>
                        <a:pt x="312" y="210"/>
                        <a:pt x="312" y="210"/>
                      </a:cubicBezTo>
                      <a:cubicBezTo>
                        <a:pt x="311" y="210"/>
                        <a:pt x="311" y="210"/>
                        <a:pt x="311" y="210"/>
                      </a:cubicBezTo>
                      <a:cubicBezTo>
                        <a:pt x="311" y="211"/>
                        <a:pt x="311" y="211"/>
                        <a:pt x="311" y="211"/>
                      </a:cubicBezTo>
                      <a:cubicBezTo>
                        <a:pt x="310" y="210"/>
                        <a:pt x="310" y="210"/>
                        <a:pt x="310" y="210"/>
                      </a:cubicBezTo>
                      <a:cubicBezTo>
                        <a:pt x="310" y="211"/>
                        <a:pt x="310" y="211"/>
                        <a:pt x="310" y="211"/>
                      </a:cubicBezTo>
                      <a:cubicBezTo>
                        <a:pt x="310" y="212"/>
                        <a:pt x="310" y="212"/>
                        <a:pt x="310" y="212"/>
                      </a:cubicBezTo>
                      <a:cubicBezTo>
                        <a:pt x="312" y="213"/>
                        <a:pt x="312" y="213"/>
                        <a:pt x="312" y="213"/>
                      </a:cubicBezTo>
                      <a:cubicBezTo>
                        <a:pt x="312" y="214"/>
                        <a:pt x="312" y="214"/>
                        <a:pt x="312" y="214"/>
                      </a:cubicBezTo>
                      <a:cubicBezTo>
                        <a:pt x="312" y="214"/>
                        <a:pt x="312" y="214"/>
                        <a:pt x="312" y="214"/>
                      </a:cubicBezTo>
                      <a:cubicBezTo>
                        <a:pt x="312" y="215"/>
                        <a:pt x="312" y="215"/>
                        <a:pt x="312" y="215"/>
                      </a:cubicBezTo>
                      <a:cubicBezTo>
                        <a:pt x="312" y="215"/>
                        <a:pt x="312" y="215"/>
                        <a:pt x="312" y="215"/>
                      </a:cubicBezTo>
                      <a:cubicBezTo>
                        <a:pt x="313" y="215"/>
                        <a:pt x="313" y="215"/>
                        <a:pt x="313" y="215"/>
                      </a:cubicBezTo>
                      <a:cubicBezTo>
                        <a:pt x="314" y="216"/>
                        <a:pt x="314" y="216"/>
                        <a:pt x="314" y="216"/>
                      </a:cubicBezTo>
                      <a:cubicBezTo>
                        <a:pt x="314" y="217"/>
                        <a:pt x="314" y="217"/>
                        <a:pt x="314" y="217"/>
                      </a:cubicBezTo>
                      <a:cubicBezTo>
                        <a:pt x="314" y="216"/>
                        <a:pt x="314" y="216"/>
                        <a:pt x="314" y="216"/>
                      </a:cubicBezTo>
                      <a:cubicBezTo>
                        <a:pt x="315" y="217"/>
                        <a:pt x="315" y="217"/>
                        <a:pt x="315" y="217"/>
                      </a:cubicBezTo>
                      <a:cubicBezTo>
                        <a:pt x="314" y="217"/>
                        <a:pt x="314" y="217"/>
                        <a:pt x="314" y="217"/>
                      </a:cubicBezTo>
                      <a:cubicBezTo>
                        <a:pt x="315" y="217"/>
                        <a:pt x="315" y="217"/>
                        <a:pt x="315" y="217"/>
                      </a:cubicBezTo>
                      <a:cubicBezTo>
                        <a:pt x="315" y="218"/>
                        <a:pt x="315" y="218"/>
                        <a:pt x="315" y="218"/>
                      </a:cubicBezTo>
                      <a:cubicBezTo>
                        <a:pt x="316" y="219"/>
                        <a:pt x="316" y="219"/>
                        <a:pt x="316" y="219"/>
                      </a:cubicBezTo>
                      <a:cubicBezTo>
                        <a:pt x="316" y="219"/>
                        <a:pt x="316" y="219"/>
                        <a:pt x="316" y="219"/>
                      </a:cubicBezTo>
                      <a:cubicBezTo>
                        <a:pt x="317" y="219"/>
                        <a:pt x="317" y="219"/>
                        <a:pt x="317" y="219"/>
                      </a:cubicBezTo>
                      <a:cubicBezTo>
                        <a:pt x="317" y="219"/>
                        <a:pt x="317" y="219"/>
                        <a:pt x="317" y="219"/>
                      </a:cubicBezTo>
                      <a:cubicBezTo>
                        <a:pt x="317" y="220"/>
                        <a:pt x="317" y="220"/>
                        <a:pt x="317" y="220"/>
                      </a:cubicBezTo>
                      <a:cubicBezTo>
                        <a:pt x="317" y="221"/>
                        <a:pt x="317" y="221"/>
                        <a:pt x="317" y="221"/>
                      </a:cubicBezTo>
                      <a:cubicBezTo>
                        <a:pt x="317" y="221"/>
                        <a:pt x="317" y="221"/>
                        <a:pt x="317" y="221"/>
                      </a:cubicBezTo>
                      <a:cubicBezTo>
                        <a:pt x="317" y="222"/>
                        <a:pt x="317" y="222"/>
                        <a:pt x="317" y="222"/>
                      </a:cubicBezTo>
                      <a:cubicBezTo>
                        <a:pt x="317" y="222"/>
                        <a:pt x="317" y="222"/>
                        <a:pt x="317" y="222"/>
                      </a:cubicBezTo>
                      <a:cubicBezTo>
                        <a:pt x="318" y="221"/>
                        <a:pt x="318" y="221"/>
                        <a:pt x="318" y="221"/>
                      </a:cubicBezTo>
                      <a:cubicBezTo>
                        <a:pt x="318" y="222"/>
                        <a:pt x="318" y="222"/>
                        <a:pt x="318" y="222"/>
                      </a:cubicBezTo>
                      <a:cubicBezTo>
                        <a:pt x="318" y="223"/>
                        <a:pt x="318" y="223"/>
                        <a:pt x="318" y="223"/>
                      </a:cubicBezTo>
                      <a:cubicBezTo>
                        <a:pt x="318" y="223"/>
                        <a:pt x="318" y="223"/>
                        <a:pt x="318" y="223"/>
                      </a:cubicBezTo>
                      <a:cubicBezTo>
                        <a:pt x="319" y="223"/>
                        <a:pt x="319" y="223"/>
                        <a:pt x="319" y="223"/>
                      </a:cubicBezTo>
                      <a:cubicBezTo>
                        <a:pt x="319" y="223"/>
                        <a:pt x="319" y="223"/>
                        <a:pt x="319" y="223"/>
                      </a:cubicBezTo>
                      <a:cubicBezTo>
                        <a:pt x="319" y="224"/>
                        <a:pt x="319" y="224"/>
                        <a:pt x="319" y="224"/>
                      </a:cubicBezTo>
                      <a:cubicBezTo>
                        <a:pt x="318" y="223"/>
                        <a:pt x="318" y="223"/>
                        <a:pt x="318" y="223"/>
                      </a:cubicBezTo>
                      <a:cubicBezTo>
                        <a:pt x="318" y="224"/>
                        <a:pt x="318" y="224"/>
                        <a:pt x="318" y="224"/>
                      </a:cubicBezTo>
                      <a:cubicBezTo>
                        <a:pt x="318" y="224"/>
                        <a:pt x="318" y="224"/>
                        <a:pt x="318" y="224"/>
                      </a:cubicBezTo>
                      <a:cubicBezTo>
                        <a:pt x="319" y="225"/>
                        <a:pt x="319" y="225"/>
                        <a:pt x="319" y="225"/>
                      </a:cubicBezTo>
                      <a:cubicBezTo>
                        <a:pt x="319" y="225"/>
                        <a:pt x="319" y="225"/>
                        <a:pt x="319" y="225"/>
                      </a:cubicBezTo>
                      <a:cubicBezTo>
                        <a:pt x="318" y="226"/>
                        <a:pt x="318" y="226"/>
                        <a:pt x="318" y="226"/>
                      </a:cubicBezTo>
                      <a:close/>
                      <a:moveTo>
                        <a:pt x="239" y="204"/>
                      </a:moveTo>
                      <a:cubicBezTo>
                        <a:pt x="239" y="204"/>
                        <a:pt x="239" y="204"/>
                        <a:pt x="239" y="204"/>
                      </a:cubicBezTo>
                      <a:cubicBezTo>
                        <a:pt x="239" y="204"/>
                        <a:pt x="239" y="204"/>
                        <a:pt x="239" y="204"/>
                      </a:cubicBezTo>
                      <a:cubicBezTo>
                        <a:pt x="240" y="203"/>
                        <a:pt x="240" y="203"/>
                        <a:pt x="240" y="203"/>
                      </a:cubicBezTo>
                      <a:cubicBezTo>
                        <a:pt x="240" y="204"/>
                        <a:pt x="240" y="204"/>
                        <a:pt x="240" y="204"/>
                      </a:cubicBezTo>
                      <a:cubicBezTo>
                        <a:pt x="241" y="204"/>
                        <a:pt x="241" y="204"/>
                        <a:pt x="241" y="204"/>
                      </a:cubicBezTo>
                      <a:cubicBezTo>
                        <a:pt x="241" y="204"/>
                        <a:pt x="241" y="204"/>
                        <a:pt x="241" y="204"/>
                      </a:cubicBezTo>
                      <a:cubicBezTo>
                        <a:pt x="242" y="204"/>
                        <a:pt x="242" y="204"/>
                        <a:pt x="242" y="204"/>
                      </a:cubicBezTo>
                      <a:cubicBezTo>
                        <a:pt x="242" y="204"/>
                        <a:pt x="242" y="204"/>
                        <a:pt x="242" y="204"/>
                      </a:cubicBezTo>
                      <a:cubicBezTo>
                        <a:pt x="243" y="204"/>
                        <a:pt x="243" y="204"/>
                        <a:pt x="243" y="204"/>
                      </a:cubicBezTo>
                      <a:cubicBezTo>
                        <a:pt x="243" y="205"/>
                        <a:pt x="243" y="205"/>
                        <a:pt x="243" y="205"/>
                      </a:cubicBezTo>
                      <a:cubicBezTo>
                        <a:pt x="242" y="205"/>
                        <a:pt x="242" y="205"/>
                        <a:pt x="242" y="205"/>
                      </a:cubicBezTo>
                      <a:cubicBezTo>
                        <a:pt x="242" y="206"/>
                        <a:pt x="242" y="206"/>
                        <a:pt x="242" y="206"/>
                      </a:cubicBezTo>
                      <a:cubicBezTo>
                        <a:pt x="242" y="207"/>
                        <a:pt x="242" y="207"/>
                        <a:pt x="242" y="207"/>
                      </a:cubicBezTo>
                      <a:cubicBezTo>
                        <a:pt x="242" y="208"/>
                        <a:pt x="242" y="208"/>
                        <a:pt x="242" y="208"/>
                      </a:cubicBezTo>
                      <a:cubicBezTo>
                        <a:pt x="242" y="208"/>
                        <a:pt x="242" y="208"/>
                        <a:pt x="242" y="208"/>
                      </a:cubicBezTo>
                      <a:cubicBezTo>
                        <a:pt x="242" y="208"/>
                        <a:pt x="242" y="208"/>
                        <a:pt x="242" y="208"/>
                      </a:cubicBezTo>
                      <a:cubicBezTo>
                        <a:pt x="243" y="208"/>
                        <a:pt x="243" y="208"/>
                        <a:pt x="243" y="208"/>
                      </a:cubicBezTo>
                      <a:cubicBezTo>
                        <a:pt x="244" y="208"/>
                        <a:pt x="244" y="208"/>
                        <a:pt x="244" y="208"/>
                      </a:cubicBezTo>
                      <a:cubicBezTo>
                        <a:pt x="244" y="208"/>
                        <a:pt x="244" y="208"/>
                        <a:pt x="244" y="208"/>
                      </a:cubicBezTo>
                      <a:cubicBezTo>
                        <a:pt x="245" y="208"/>
                        <a:pt x="245" y="208"/>
                        <a:pt x="245" y="208"/>
                      </a:cubicBezTo>
                      <a:cubicBezTo>
                        <a:pt x="245" y="208"/>
                        <a:pt x="245" y="208"/>
                        <a:pt x="245" y="208"/>
                      </a:cubicBezTo>
                      <a:cubicBezTo>
                        <a:pt x="246" y="207"/>
                        <a:pt x="246" y="207"/>
                        <a:pt x="246" y="207"/>
                      </a:cubicBezTo>
                      <a:cubicBezTo>
                        <a:pt x="246" y="207"/>
                        <a:pt x="246" y="207"/>
                        <a:pt x="246" y="207"/>
                      </a:cubicBezTo>
                      <a:cubicBezTo>
                        <a:pt x="247" y="207"/>
                        <a:pt x="247" y="207"/>
                        <a:pt x="247" y="207"/>
                      </a:cubicBezTo>
                      <a:cubicBezTo>
                        <a:pt x="247" y="206"/>
                        <a:pt x="247" y="206"/>
                        <a:pt x="247" y="206"/>
                      </a:cubicBezTo>
                      <a:cubicBezTo>
                        <a:pt x="248" y="205"/>
                        <a:pt x="248" y="205"/>
                        <a:pt x="248" y="205"/>
                      </a:cubicBezTo>
                      <a:cubicBezTo>
                        <a:pt x="249" y="205"/>
                        <a:pt x="249" y="205"/>
                        <a:pt x="249" y="205"/>
                      </a:cubicBezTo>
                      <a:cubicBezTo>
                        <a:pt x="249" y="205"/>
                        <a:pt x="249" y="205"/>
                        <a:pt x="249" y="205"/>
                      </a:cubicBezTo>
                      <a:cubicBezTo>
                        <a:pt x="249" y="205"/>
                        <a:pt x="249" y="205"/>
                        <a:pt x="249" y="205"/>
                      </a:cubicBezTo>
                      <a:cubicBezTo>
                        <a:pt x="250" y="205"/>
                        <a:pt x="250" y="205"/>
                        <a:pt x="250" y="205"/>
                      </a:cubicBezTo>
                      <a:cubicBezTo>
                        <a:pt x="251" y="204"/>
                        <a:pt x="251" y="204"/>
                        <a:pt x="251" y="204"/>
                      </a:cubicBezTo>
                      <a:cubicBezTo>
                        <a:pt x="251" y="204"/>
                        <a:pt x="251" y="204"/>
                        <a:pt x="251" y="204"/>
                      </a:cubicBezTo>
                      <a:cubicBezTo>
                        <a:pt x="251" y="203"/>
                        <a:pt x="251" y="203"/>
                        <a:pt x="251" y="203"/>
                      </a:cubicBezTo>
                      <a:cubicBezTo>
                        <a:pt x="251" y="202"/>
                        <a:pt x="251" y="202"/>
                        <a:pt x="251" y="202"/>
                      </a:cubicBezTo>
                      <a:cubicBezTo>
                        <a:pt x="252" y="202"/>
                        <a:pt x="252" y="202"/>
                        <a:pt x="252" y="202"/>
                      </a:cubicBezTo>
                      <a:cubicBezTo>
                        <a:pt x="252" y="201"/>
                        <a:pt x="252" y="201"/>
                        <a:pt x="252" y="201"/>
                      </a:cubicBezTo>
                      <a:cubicBezTo>
                        <a:pt x="253" y="201"/>
                        <a:pt x="253" y="201"/>
                        <a:pt x="253" y="201"/>
                      </a:cubicBezTo>
                      <a:cubicBezTo>
                        <a:pt x="253" y="201"/>
                        <a:pt x="253" y="201"/>
                        <a:pt x="253" y="201"/>
                      </a:cubicBezTo>
                      <a:cubicBezTo>
                        <a:pt x="254" y="201"/>
                        <a:pt x="254" y="201"/>
                        <a:pt x="254" y="201"/>
                      </a:cubicBezTo>
                      <a:cubicBezTo>
                        <a:pt x="254" y="201"/>
                        <a:pt x="254" y="201"/>
                        <a:pt x="254" y="201"/>
                      </a:cubicBezTo>
                      <a:cubicBezTo>
                        <a:pt x="255" y="201"/>
                        <a:pt x="255" y="201"/>
                        <a:pt x="255" y="201"/>
                      </a:cubicBezTo>
                      <a:cubicBezTo>
                        <a:pt x="255" y="202"/>
                        <a:pt x="255" y="202"/>
                        <a:pt x="255" y="202"/>
                      </a:cubicBezTo>
                      <a:cubicBezTo>
                        <a:pt x="254" y="202"/>
                        <a:pt x="254" y="202"/>
                        <a:pt x="254" y="202"/>
                      </a:cubicBezTo>
                      <a:cubicBezTo>
                        <a:pt x="254" y="203"/>
                        <a:pt x="254" y="203"/>
                        <a:pt x="254" y="203"/>
                      </a:cubicBezTo>
                      <a:cubicBezTo>
                        <a:pt x="255" y="203"/>
                        <a:pt x="255" y="203"/>
                        <a:pt x="255" y="203"/>
                      </a:cubicBezTo>
                      <a:cubicBezTo>
                        <a:pt x="256" y="203"/>
                        <a:pt x="256" y="203"/>
                        <a:pt x="256" y="203"/>
                      </a:cubicBezTo>
                      <a:cubicBezTo>
                        <a:pt x="257" y="203"/>
                        <a:pt x="257" y="203"/>
                        <a:pt x="257" y="203"/>
                      </a:cubicBezTo>
                      <a:cubicBezTo>
                        <a:pt x="257" y="204"/>
                        <a:pt x="257" y="204"/>
                        <a:pt x="257" y="204"/>
                      </a:cubicBezTo>
                      <a:cubicBezTo>
                        <a:pt x="256" y="205"/>
                        <a:pt x="256" y="205"/>
                        <a:pt x="256" y="205"/>
                      </a:cubicBezTo>
                      <a:cubicBezTo>
                        <a:pt x="256" y="205"/>
                        <a:pt x="256" y="205"/>
                        <a:pt x="256" y="205"/>
                      </a:cubicBezTo>
                      <a:cubicBezTo>
                        <a:pt x="256" y="206"/>
                        <a:pt x="256" y="206"/>
                        <a:pt x="256" y="206"/>
                      </a:cubicBezTo>
                      <a:cubicBezTo>
                        <a:pt x="256" y="206"/>
                        <a:pt x="256" y="206"/>
                        <a:pt x="256" y="206"/>
                      </a:cubicBezTo>
                      <a:cubicBezTo>
                        <a:pt x="257" y="206"/>
                        <a:pt x="257" y="206"/>
                        <a:pt x="257" y="206"/>
                      </a:cubicBezTo>
                      <a:cubicBezTo>
                        <a:pt x="257" y="206"/>
                        <a:pt x="257" y="206"/>
                        <a:pt x="257" y="206"/>
                      </a:cubicBezTo>
                      <a:cubicBezTo>
                        <a:pt x="258" y="206"/>
                        <a:pt x="258" y="206"/>
                        <a:pt x="258" y="206"/>
                      </a:cubicBezTo>
                      <a:cubicBezTo>
                        <a:pt x="258" y="206"/>
                        <a:pt x="258" y="206"/>
                        <a:pt x="258" y="206"/>
                      </a:cubicBezTo>
                      <a:cubicBezTo>
                        <a:pt x="259" y="207"/>
                        <a:pt x="259" y="207"/>
                        <a:pt x="259" y="207"/>
                      </a:cubicBezTo>
                      <a:cubicBezTo>
                        <a:pt x="259" y="207"/>
                        <a:pt x="259" y="207"/>
                        <a:pt x="259" y="207"/>
                      </a:cubicBezTo>
                      <a:cubicBezTo>
                        <a:pt x="260" y="207"/>
                        <a:pt x="260" y="207"/>
                        <a:pt x="260" y="207"/>
                      </a:cubicBezTo>
                      <a:cubicBezTo>
                        <a:pt x="260" y="207"/>
                        <a:pt x="260" y="207"/>
                        <a:pt x="260" y="207"/>
                      </a:cubicBezTo>
                      <a:cubicBezTo>
                        <a:pt x="262" y="208"/>
                        <a:pt x="262" y="208"/>
                        <a:pt x="262" y="208"/>
                      </a:cubicBezTo>
                      <a:cubicBezTo>
                        <a:pt x="262" y="208"/>
                        <a:pt x="262" y="208"/>
                        <a:pt x="262" y="208"/>
                      </a:cubicBezTo>
                      <a:cubicBezTo>
                        <a:pt x="262" y="207"/>
                        <a:pt x="262" y="207"/>
                        <a:pt x="262" y="207"/>
                      </a:cubicBezTo>
                      <a:cubicBezTo>
                        <a:pt x="263" y="206"/>
                        <a:pt x="263" y="206"/>
                        <a:pt x="263" y="206"/>
                      </a:cubicBezTo>
                      <a:cubicBezTo>
                        <a:pt x="264" y="206"/>
                        <a:pt x="264" y="206"/>
                        <a:pt x="264" y="206"/>
                      </a:cubicBezTo>
                      <a:cubicBezTo>
                        <a:pt x="265" y="206"/>
                        <a:pt x="265" y="206"/>
                        <a:pt x="265" y="206"/>
                      </a:cubicBezTo>
                      <a:cubicBezTo>
                        <a:pt x="265" y="205"/>
                        <a:pt x="265" y="205"/>
                        <a:pt x="265" y="205"/>
                      </a:cubicBezTo>
                      <a:cubicBezTo>
                        <a:pt x="264" y="205"/>
                        <a:pt x="264" y="205"/>
                        <a:pt x="264" y="205"/>
                      </a:cubicBezTo>
                      <a:cubicBezTo>
                        <a:pt x="264" y="204"/>
                        <a:pt x="264" y="204"/>
                        <a:pt x="264" y="204"/>
                      </a:cubicBezTo>
                      <a:cubicBezTo>
                        <a:pt x="264" y="204"/>
                        <a:pt x="264" y="204"/>
                        <a:pt x="264" y="204"/>
                      </a:cubicBezTo>
                      <a:cubicBezTo>
                        <a:pt x="265" y="204"/>
                        <a:pt x="265" y="204"/>
                        <a:pt x="265" y="204"/>
                      </a:cubicBezTo>
                      <a:cubicBezTo>
                        <a:pt x="264" y="204"/>
                        <a:pt x="264" y="204"/>
                        <a:pt x="264" y="204"/>
                      </a:cubicBezTo>
                      <a:cubicBezTo>
                        <a:pt x="264" y="203"/>
                        <a:pt x="264" y="203"/>
                        <a:pt x="264" y="203"/>
                      </a:cubicBezTo>
                      <a:cubicBezTo>
                        <a:pt x="263" y="203"/>
                        <a:pt x="263" y="203"/>
                        <a:pt x="263" y="203"/>
                      </a:cubicBezTo>
                      <a:cubicBezTo>
                        <a:pt x="263" y="204"/>
                        <a:pt x="263" y="204"/>
                        <a:pt x="263" y="204"/>
                      </a:cubicBezTo>
                      <a:cubicBezTo>
                        <a:pt x="263" y="204"/>
                        <a:pt x="263" y="204"/>
                        <a:pt x="263" y="204"/>
                      </a:cubicBezTo>
                      <a:cubicBezTo>
                        <a:pt x="263" y="204"/>
                        <a:pt x="263" y="204"/>
                        <a:pt x="263" y="204"/>
                      </a:cubicBezTo>
                      <a:cubicBezTo>
                        <a:pt x="262" y="203"/>
                        <a:pt x="262" y="203"/>
                        <a:pt x="262" y="203"/>
                      </a:cubicBezTo>
                      <a:cubicBezTo>
                        <a:pt x="262" y="203"/>
                        <a:pt x="262" y="203"/>
                        <a:pt x="262" y="203"/>
                      </a:cubicBezTo>
                      <a:cubicBezTo>
                        <a:pt x="261" y="203"/>
                        <a:pt x="261" y="203"/>
                        <a:pt x="261" y="203"/>
                      </a:cubicBezTo>
                      <a:cubicBezTo>
                        <a:pt x="261" y="203"/>
                        <a:pt x="261" y="203"/>
                        <a:pt x="261" y="203"/>
                      </a:cubicBezTo>
                      <a:cubicBezTo>
                        <a:pt x="259" y="203"/>
                        <a:pt x="259" y="203"/>
                        <a:pt x="259" y="203"/>
                      </a:cubicBezTo>
                      <a:cubicBezTo>
                        <a:pt x="259" y="203"/>
                        <a:pt x="259" y="203"/>
                        <a:pt x="259" y="203"/>
                      </a:cubicBezTo>
                      <a:cubicBezTo>
                        <a:pt x="260" y="202"/>
                        <a:pt x="260" y="202"/>
                        <a:pt x="260" y="202"/>
                      </a:cubicBezTo>
                      <a:cubicBezTo>
                        <a:pt x="260" y="202"/>
                        <a:pt x="260" y="202"/>
                        <a:pt x="260" y="202"/>
                      </a:cubicBezTo>
                      <a:cubicBezTo>
                        <a:pt x="261" y="202"/>
                        <a:pt x="261" y="202"/>
                        <a:pt x="261" y="202"/>
                      </a:cubicBezTo>
                      <a:cubicBezTo>
                        <a:pt x="261" y="201"/>
                        <a:pt x="261" y="201"/>
                        <a:pt x="261" y="201"/>
                      </a:cubicBezTo>
                      <a:cubicBezTo>
                        <a:pt x="261" y="201"/>
                        <a:pt x="261" y="201"/>
                        <a:pt x="261" y="201"/>
                      </a:cubicBezTo>
                      <a:cubicBezTo>
                        <a:pt x="260" y="200"/>
                        <a:pt x="260" y="200"/>
                        <a:pt x="260" y="200"/>
                      </a:cubicBezTo>
                      <a:cubicBezTo>
                        <a:pt x="261" y="200"/>
                        <a:pt x="261" y="200"/>
                        <a:pt x="261" y="200"/>
                      </a:cubicBezTo>
                      <a:cubicBezTo>
                        <a:pt x="261" y="199"/>
                        <a:pt x="261" y="199"/>
                        <a:pt x="261" y="199"/>
                      </a:cubicBezTo>
                      <a:cubicBezTo>
                        <a:pt x="260" y="199"/>
                        <a:pt x="260" y="199"/>
                        <a:pt x="260" y="199"/>
                      </a:cubicBezTo>
                      <a:cubicBezTo>
                        <a:pt x="260" y="198"/>
                        <a:pt x="260" y="198"/>
                        <a:pt x="260" y="198"/>
                      </a:cubicBezTo>
                      <a:cubicBezTo>
                        <a:pt x="259" y="197"/>
                        <a:pt x="259" y="197"/>
                        <a:pt x="259" y="197"/>
                      </a:cubicBezTo>
                      <a:cubicBezTo>
                        <a:pt x="258" y="197"/>
                        <a:pt x="258" y="197"/>
                        <a:pt x="258" y="197"/>
                      </a:cubicBezTo>
                      <a:cubicBezTo>
                        <a:pt x="258" y="196"/>
                        <a:pt x="258" y="196"/>
                        <a:pt x="258" y="196"/>
                      </a:cubicBezTo>
                      <a:cubicBezTo>
                        <a:pt x="257" y="195"/>
                        <a:pt x="257" y="195"/>
                        <a:pt x="257" y="195"/>
                      </a:cubicBezTo>
                      <a:cubicBezTo>
                        <a:pt x="257" y="195"/>
                        <a:pt x="257" y="195"/>
                        <a:pt x="257" y="195"/>
                      </a:cubicBezTo>
                      <a:cubicBezTo>
                        <a:pt x="257" y="195"/>
                        <a:pt x="257" y="195"/>
                        <a:pt x="257" y="195"/>
                      </a:cubicBezTo>
                      <a:cubicBezTo>
                        <a:pt x="257" y="194"/>
                        <a:pt x="257" y="194"/>
                        <a:pt x="257" y="194"/>
                      </a:cubicBezTo>
                      <a:cubicBezTo>
                        <a:pt x="256" y="193"/>
                        <a:pt x="256" y="193"/>
                        <a:pt x="256" y="193"/>
                      </a:cubicBezTo>
                      <a:cubicBezTo>
                        <a:pt x="255" y="193"/>
                        <a:pt x="255" y="193"/>
                        <a:pt x="255" y="193"/>
                      </a:cubicBezTo>
                      <a:cubicBezTo>
                        <a:pt x="254" y="192"/>
                        <a:pt x="254" y="192"/>
                        <a:pt x="254" y="192"/>
                      </a:cubicBezTo>
                      <a:cubicBezTo>
                        <a:pt x="253" y="192"/>
                        <a:pt x="253" y="192"/>
                        <a:pt x="253" y="192"/>
                      </a:cubicBezTo>
                      <a:cubicBezTo>
                        <a:pt x="254" y="191"/>
                        <a:pt x="254" y="191"/>
                        <a:pt x="254" y="191"/>
                      </a:cubicBezTo>
                      <a:cubicBezTo>
                        <a:pt x="254" y="191"/>
                        <a:pt x="254" y="191"/>
                        <a:pt x="254" y="191"/>
                      </a:cubicBezTo>
                      <a:cubicBezTo>
                        <a:pt x="253" y="190"/>
                        <a:pt x="253" y="190"/>
                        <a:pt x="253" y="190"/>
                      </a:cubicBezTo>
                      <a:cubicBezTo>
                        <a:pt x="253" y="190"/>
                        <a:pt x="253" y="190"/>
                        <a:pt x="253" y="190"/>
                      </a:cubicBezTo>
                      <a:cubicBezTo>
                        <a:pt x="252" y="190"/>
                        <a:pt x="252" y="190"/>
                        <a:pt x="252" y="190"/>
                      </a:cubicBezTo>
                      <a:cubicBezTo>
                        <a:pt x="252" y="191"/>
                        <a:pt x="252" y="191"/>
                        <a:pt x="252" y="191"/>
                      </a:cubicBezTo>
                      <a:cubicBezTo>
                        <a:pt x="251" y="191"/>
                        <a:pt x="251" y="191"/>
                        <a:pt x="251" y="191"/>
                      </a:cubicBezTo>
                      <a:cubicBezTo>
                        <a:pt x="251" y="192"/>
                        <a:pt x="251" y="192"/>
                        <a:pt x="251" y="192"/>
                      </a:cubicBezTo>
                      <a:cubicBezTo>
                        <a:pt x="250" y="191"/>
                        <a:pt x="250" y="191"/>
                        <a:pt x="250" y="191"/>
                      </a:cubicBezTo>
                      <a:cubicBezTo>
                        <a:pt x="250" y="190"/>
                        <a:pt x="250" y="190"/>
                        <a:pt x="250" y="190"/>
                      </a:cubicBezTo>
                      <a:cubicBezTo>
                        <a:pt x="250" y="190"/>
                        <a:pt x="250" y="190"/>
                        <a:pt x="250" y="190"/>
                      </a:cubicBezTo>
                      <a:cubicBezTo>
                        <a:pt x="250" y="189"/>
                        <a:pt x="250" y="189"/>
                        <a:pt x="250" y="189"/>
                      </a:cubicBezTo>
                      <a:cubicBezTo>
                        <a:pt x="251" y="189"/>
                        <a:pt x="251" y="189"/>
                        <a:pt x="251" y="189"/>
                      </a:cubicBezTo>
                      <a:cubicBezTo>
                        <a:pt x="251" y="189"/>
                        <a:pt x="251" y="189"/>
                        <a:pt x="251" y="189"/>
                      </a:cubicBezTo>
                      <a:cubicBezTo>
                        <a:pt x="251" y="189"/>
                        <a:pt x="251" y="189"/>
                        <a:pt x="251" y="189"/>
                      </a:cubicBezTo>
                      <a:cubicBezTo>
                        <a:pt x="251" y="188"/>
                        <a:pt x="251" y="188"/>
                        <a:pt x="251" y="188"/>
                      </a:cubicBezTo>
                      <a:cubicBezTo>
                        <a:pt x="251" y="187"/>
                        <a:pt x="251" y="187"/>
                        <a:pt x="251" y="187"/>
                      </a:cubicBezTo>
                      <a:cubicBezTo>
                        <a:pt x="250" y="187"/>
                        <a:pt x="250" y="187"/>
                        <a:pt x="250" y="187"/>
                      </a:cubicBezTo>
                      <a:cubicBezTo>
                        <a:pt x="250" y="187"/>
                        <a:pt x="250" y="187"/>
                        <a:pt x="250" y="187"/>
                      </a:cubicBezTo>
                      <a:cubicBezTo>
                        <a:pt x="251" y="186"/>
                        <a:pt x="251" y="186"/>
                        <a:pt x="251" y="186"/>
                      </a:cubicBezTo>
                      <a:cubicBezTo>
                        <a:pt x="250" y="186"/>
                        <a:pt x="250" y="186"/>
                        <a:pt x="250" y="186"/>
                      </a:cubicBezTo>
                      <a:cubicBezTo>
                        <a:pt x="249" y="186"/>
                        <a:pt x="249" y="186"/>
                        <a:pt x="249" y="186"/>
                      </a:cubicBezTo>
                      <a:cubicBezTo>
                        <a:pt x="248" y="187"/>
                        <a:pt x="248" y="187"/>
                        <a:pt x="248" y="187"/>
                      </a:cubicBezTo>
                      <a:cubicBezTo>
                        <a:pt x="247" y="189"/>
                        <a:pt x="247" y="189"/>
                        <a:pt x="247" y="189"/>
                      </a:cubicBezTo>
                      <a:cubicBezTo>
                        <a:pt x="246" y="190"/>
                        <a:pt x="246" y="190"/>
                        <a:pt x="246" y="190"/>
                      </a:cubicBezTo>
                      <a:cubicBezTo>
                        <a:pt x="246" y="191"/>
                        <a:pt x="246" y="191"/>
                        <a:pt x="246" y="191"/>
                      </a:cubicBezTo>
                      <a:cubicBezTo>
                        <a:pt x="246" y="191"/>
                        <a:pt x="246" y="191"/>
                        <a:pt x="246" y="191"/>
                      </a:cubicBezTo>
                      <a:cubicBezTo>
                        <a:pt x="245" y="192"/>
                        <a:pt x="245" y="192"/>
                        <a:pt x="245" y="192"/>
                      </a:cubicBezTo>
                      <a:cubicBezTo>
                        <a:pt x="245" y="193"/>
                        <a:pt x="245" y="193"/>
                        <a:pt x="245" y="193"/>
                      </a:cubicBezTo>
                      <a:cubicBezTo>
                        <a:pt x="245" y="194"/>
                        <a:pt x="245" y="194"/>
                        <a:pt x="245" y="194"/>
                      </a:cubicBezTo>
                      <a:cubicBezTo>
                        <a:pt x="244" y="194"/>
                        <a:pt x="244" y="194"/>
                        <a:pt x="244" y="194"/>
                      </a:cubicBezTo>
                      <a:cubicBezTo>
                        <a:pt x="244" y="195"/>
                        <a:pt x="244" y="195"/>
                        <a:pt x="244" y="195"/>
                      </a:cubicBezTo>
                      <a:cubicBezTo>
                        <a:pt x="244" y="195"/>
                        <a:pt x="244" y="195"/>
                        <a:pt x="244" y="195"/>
                      </a:cubicBezTo>
                      <a:cubicBezTo>
                        <a:pt x="243" y="196"/>
                        <a:pt x="243" y="196"/>
                        <a:pt x="243" y="196"/>
                      </a:cubicBezTo>
                      <a:cubicBezTo>
                        <a:pt x="242" y="197"/>
                        <a:pt x="242" y="197"/>
                        <a:pt x="242" y="197"/>
                      </a:cubicBezTo>
                      <a:cubicBezTo>
                        <a:pt x="242" y="198"/>
                        <a:pt x="242" y="198"/>
                        <a:pt x="242" y="198"/>
                      </a:cubicBezTo>
                      <a:cubicBezTo>
                        <a:pt x="242" y="199"/>
                        <a:pt x="242" y="199"/>
                        <a:pt x="242" y="199"/>
                      </a:cubicBezTo>
                      <a:cubicBezTo>
                        <a:pt x="242" y="200"/>
                        <a:pt x="242" y="200"/>
                        <a:pt x="242" y="200"/>
                      </a:cubicBezTo>
                      <a:cubicBezTo>
                        <a:pt x="242" y="201"/>
                        <a:pt x="242" y="201"/>
                        <a:pt x="242" y="201"/>
                      </a:cubicBezTo>
                      <a:cubicBezTo>
                        <a:pt x="241" y="201"/>
                        <a:pt x="241" y="201"/>
                        <a:pt x="241" y="201"/>
                      </a:cubicBezTo>
                      <a:cubicBezTo>
                        <a:pt x="239" y="201"/>
                        <a:pt x="239" y="201"/>
                        <a:pt x="239" y="201"/>
                      </a:cubicBezTo>
                      <a:cubicBezTo>
                        <a:pt x="239" y="202"/>
                        <a:pt x="239" y="202"/>
                        <a:pt x="239" y="202"/>
                      </a:cubicBezTo>
                      <a:cubicBezTo>
                        <a:pt x="238" y="203"/>
                        <a:pt x="238" y="203"/>
                        <a:pt x="238" y="203"/>
                      </a:cubicBezTo>
                      <a:cubicBezTo>
                        <a:pt x="239" y="204"/>
                        <a:pt x="239" y="204"/>
                        <a:pt x="239" y="204"/>
                      </a:cubicBezTo>
                      <a:close/>
                      <a:moveTo>
                        <a:pt x="246" y="217"/>
                      </a:moveTo>
                      <a:cubicBezTo>
                        <a:pt x="246" y="217"/>
                        <a:pt x="247" y="217"/>
                        <a:pt x="247" y="217"/>
                      </a:cubicBezTo>
                      <a:cubicBezTo>
                        <a:pt x="247" y="217"/>
                        <a:pt x="247" y="217"/>
                        <a:pt x="247" y="217"/>
                      </a:cubicBezTo>
                      <a:cubicBezTo>
                        <a:pt x="248" y="216"/>
                        <a:pt x="248" y="216"/>
                        <a:pt x="248" y="216"/>
                      </a:cubicBezTo>
                      <a:cubicBezTo>
                        <a:pt x="248" y="216"/>
                        <a:pt x="248" y="216"/>
                        <a:pt x="248" y="216"/>
                      </a:cubicBezTo>
                      <a:cubicBezTo>
                        <a:pt x="249" y="216"/>
                        <a:pt x="249" y="216"/>
                        <a:pt x="249" y="216"/>
                      </a:cubicBezTo>
                      <a:cubicBezTo>
                        <a:pt x="249" y="217"/>
                        <a:pt x="249" y="217"/>
                        <a:pt x="249" y="217"/>
                      </a:cubicBezTo>
                      <a:cubicBezTo>
                        <a:pt x="250" y="217"/>
                        <a:pt x="250" y="217"/>
                        <a:pt x="250" y="217"/>
                      </a:cubicBezTo>
                      <a:cubicBezTo>
                        <a:pt x="251" y="216"/>
                        <a:pt x="251" y="216"/>
                        <a:pt x="251" y="216"/>
                      </a:cubicBezTo>
                      <a:cubicBezTo>
                        <a:pt x="252" y="215"/>
                        <a:pt x="252" y="215"/>
                        <a:pt x="252" y="215"/>
                      </a:cubicBezTo>
                      <a:cubicBezTo>
                        <a:pt x="253" y="215"/>
                        <a:pt x="253" y="215"/>
                        <a:pt x="253" y="215"/>
                      </a:cubicBezTo>
                      <a:cubicBezTo>
                        <a:pt x="253" y="214"/>
                        <a:pt x="253" y="214"/>
                        <a:pt x="253" y="214"/>
                      </a:cubicBezTo>
                      <a:cubicBezTo>
                        <a:pt x="254" y="214"/>
                        <a:pt x="254" y="214"/>
                        <a:pt x="254" y="214"/>
                      </a:cubicBezTo>
                      <a:cubicBezTo>
                        <a:pt x="255" y="213"/>
                        <a:pt x="255" y="213"/>
                        <a:pt x="255" y="213"/>
                      </a:cubicBezTo>
                      <a:cubicBezTo>
                        <a:pt x="255" y="213"/>
                        <a:pt x="255" y="213"/>
                        <a:pt x="255" y="213"/>
                      </a:cubicBezTo>
                      <a:cubicBezTo>
                        <a:pt x="256" y="212"/>
                        <a:pt x="256" y="212"/>
                        <a:pt x="256" y="212"/>
                      </a:cubicBezTo>
                      <a:cubicBezTo>
                        <a:pt x="256" y="212"/>
                        <a:pt x="256" y="212"/>
                        <a:pt x="256" y="212"/>
                      </a:cubicBezTo>
                      <a:cubicBezTo>
                        <a:pt x="255" y="212"/>
                        <a:pt x="255" y="212"/>
                        <a:pt x="255" y="212"/>
                      </a:cubicBezTo>
                      <a:cubicBezTo>
                        <a:pt x="254" y="211"/>
                        <a:pt x="254" y="211"/>
                        <a:pt x="254" y="211"/>
                      </a:cubicBezTo>
                      <a:cubicBezTo>
                        <a:pt x="254" y="211"/>
                        <a:pt x="254" y="211"/>
                        <a:pt x="254" y="211"/>
                      </a:cubicBezTo>
                      <a:cubicBezTo>
                        <a:pt x="253" y="212"/>
                        <a:pt x="253" y="212"/>
                        <a:pt x="253" y="212"/>
                      </a:cubicBezTo>
                      <a:cubicBezTo>
                        <a:pt x="253" y="211"/>
                        <a:pt x="253" y="211"/>
                        <a:pt x="253" y="211"/>
                      </a:cubicBezTo>
                      <a:cubicBezTo>
                        <a:pt x="252" y="212"/>
                        <a:pt x="252" y="212"/>
                        <a:pt x="252" y="212"/>
                      </a:cubicBezTo>
                      <a:cubicBezTo>
                        <a:pt x="252" y="212"/>
                        <a:pt x="252" y="212"/>
                        <a:pt x="252" y="212"/>
                      </a:cubicBezTo>
                      <a:cubicBezTo>
                        <a:pt x="251" y="212"/>
                        <a:pt x="251" y="212"/>
                        <a:pt x="251" y="212"/>
                      </a:cubicBezTo>
                      <a:cubicBezTo>
                        <a:pt x="250" y="211"/>
                        <a:pt x="250" y="211"/>
                        <a:pt x="250" y="211"/>
                      </a:cubicBezTo>
                      <a:cubicBezTo>
                        <a:pt x="250" y="211"/>
                        <a:pt x="250" y="211"/>
                        <a:pt x="250" y="211"/>
                      </a:cubicBezTo>
                      <a:cubicBezTo>
                        <a:pt x="249" y="211"/>
                        <a:pt x="249" y="211"/>
                        <a:pt x="249" y="211"/>
                      </a:cubicBezTo>
                      <a:cubicBezTo>
                        <a:pt x="248" y="213"/>
                        <a:pt x="248" y="213"/>
                        <a:pt x="248" y="213"/>
                      </a:cubicBezTo>
                      <a:cubicBezTo>
                        <a:pt x="248" y="213"/>
                        <a:pt x="248" y="213"/>
                        <a:pt x="248" y="213"/>
                      </a:cubicBezTo>
                      <a:cubicBezTo>
                        <a:pt x="248" y="213"/>
                        <a:pt x="248" y="213"/>
                        <a:pt x="248" y="213"/>
                      </a:cubicBezTo>
                      <a:cubicBezTo>
                        <a:pt x="246" y="214"/>
                        <a:pt x="246" y="214"/>
                        <a:pt x="246" y="214"/>
                      </a:cubicBezTo>
                      <a:cubicBezTo>
                        <a:pt x="246" y="214"/>
                        <a:pt x="246" y="214"/>
                        <a:pt x="246" y="214"/>
                      </a:cubicBezTo>
                      <a:cubicBezTo>
                        <a:pt x="246" y="215"/>
                        <a:pt x="246" y="215"/>
                        <a:pt x="246" y="215"/>
                      </a:cubicBezTo>
                      <a:cubicBezTo>
                        <a:pt x="247" y="216"/>
                        <a:pt x="247" y="216"/>
                        <a:pt x="247" y="216"/>
                      </a:cubicBezTo>
                      <a:cubicBezTo>
                        <a:pt x="246" y="216"/>
                        <a:pt x="246" y="216"/>
                        <a:pt x="246" y="216"/>
                      </a:cubicBezTo>
                      <a:cubicBezTo>
                        <a:pt x="246" y="217"/>
                        <a:pt x="246" y="217"/>
                        <a:pt x="246" y="217"/>
                      </a:cubicBezTo>
                      <a:close/>
                      <a:moveTo>
                        <a:pt x="323" y="223"/>
                      </a:moveTo>
                      <a:cubicBezTo>
                        <a:pt x="324" y="223"/>
                        <a:pt x="324" y="223"/>
                        <a:pt x="324" y="223"/>
                      </a:cubicBezTo>
                      <a:cubicBezTo>
                        <a:pt x="324" y="223"/>
                        <a:pt x="324" y="223"/>
                        <a:pt x="324" y="223"/>
                      </a:cubicBezTo>
                      <a:cubicBezTo>
                        <a:pt x="325" y="223"/>
                        <a:pt x="325" y="223"/>
                        <a:pt x="325" y="223"/>
                      </a:cubicBezTo>
                      <a:cubicBezTo>
                        <a:pt x="326" y="223"/>
                        <a:pt x="326" y="223"/>
                        <a:pt x="326" y="223"/>
                      </a:cubicBezTo>
                      <a:cubicBezTo>
                        <a:pt x="326" y="223"/>
                        <a:pt x="326" y="223"/>
                        <a:pt x="326" y="223"/>
                      </a:cubicBezTo>
                      <a:cubicBezTo>
                        <a:pt x="326" y="222"/>
                        <a:pt x="326" y="222"/>
                        <a:pt x="326" y="222"/>
                      </a:cubicBezTo>
                      <a:cubicBezTo>
                        <a:pt x="326" y="222"/>
                        <a:pt x="326" y="222"/>
                        <a:pt x="326" y="222"/>
                      </a:cubicBezTo>
                      <a:cubicBezTo>
                        <a:pt x="326" y="222"/>
                        <a:pt x="326" y="222"/>
                        <a:pt x="326" y="222"/>
                      </a:cubicBezTo>
                      <a:cubicBezTo>
                        <a:pt x="325" y="222"/>
                        <a:pt x="325" y="222"/>
                        <a:pt x="325" y="222"/>
                      </a:cubicBezTo>
                      <a:cubicBezTo>
                        <a:pt x="324" y="222"/>
                        <a:pt x="324" y="222"/>
                        <a:pt x="324" y="222"/>
                      </a:cubicBezTo>
                      <a:cubicBezTo>
                        <a:pt x="323" y="223"/>
                        <a:pt x="323" y="223"/>
                        <a:pt x="323" y="223"/>
                      </a:cubicBezTo>
                      <a:close/>
                      <a:moveTo>
                        <a:pt x="299" y="217"/>
                      </a:moveTo>
                      <a:cubicBezTo>
                        <a:pt x="300" y="217"/>
                        <a:pt x="300" y="217"/>
                        <a:pt x="300" y="217"/>
                      </a:cubicBezTo>
                      <a:cubicBezTo>
                        <a:pt x="301" y="217"/>
                        <a:pt x="301" y="217"/>
                        <a:pt x="301" y="217"/>
                      </a:cubicBezTo>
                      <a:cubicBezTo>
                        <a:pt x="301" y="218"/>
                        <a:pt x="301" y="218"/>
                        <a:pt x="301" y="218"/>
                      </a:cubicBezTo>
                      <a:cubicBezTo>
                        <a:pt x="301" y="218"/>
                        <a:pt x="301" y="218"/>
                        <a:pt x="301" y="218"/>
                      </a:cubicBezTo>
                      <a:cubicBezTo>
                        <a:pt x="301" y="219"/>
                        <a:pt x="301" y="219"/>
                        <a:pt x="301" y="219"/>
                      </a:cubicBezTo>
                      <a:cubicBezTo>
                        <a:pt x="301" y="219"/>
                        <a:pt x="301" y="219"/>
                        <a:pt x="301" y="219"/>
                      </a:cubicBezTo>
                      <a:cubicBezTo>
                        <a:pt x="302" y="219"/>
                        <a:pt x="302" y="219"/>
                        <a:pt x="302" y="219"/>
                      </a:cubicBezTo>
                      <a:cubicBezTo>
                        <a:pt x="302" y="219"/>
                        <a:pt x="302" y="219"/>
                        <a:pt x="302" y="219"/>
                      </a:cubicBezTo>
                      <a:cubicBezTo>
                        <a:pt x="302" y="219"/>
                        <a:pt x="302" y="219"/>
                        <a:pt x="302" y="219"/>
                      </a:cubicBezTo>
                      <a:cubicBezTo>
                        <a:pt x="303" y="219"/>
                        <a:pt x="303" y="219"/>
                        <a:pt x="303" y="219"/>
                      </a:cubicBezTo>
                      <a:cubicBezTo>
                        <a:pt x="303" y="218"/>
                        <a:pt x="303" y="218"/>
                        <a:pt x="303" y="218"/>
                      </a:cubicBezTo>
                      <a:cubicBezTo>
                        <a:pt x="302" y="218"/>
                        <a:pt x="302" y="218"/>
                        <a:pt x="302" y="218"/>
                      </a:cubicBezTo>
                      <a:cubicBezTo>
                        <a:pt x="301" y="217"/>
                        <a:pt x="301" y="217"/>
                        <a:pt x="301" y="217"/>
                      </a:cubicBezTo>
                      <a:cubicBezTo>
                        <a:pt x="301" y="217"/>
                        <a:pt x="301" y="217"/>
                        <a:pt x="301" y="217"/>
                      </a:cubicBezTo>
                      <a:cubicBezTo>
                        <a:pt x="300" y="217"/>
                        <a:pt x="300" y="217"/>
                        <a:pt x="300" y="217"/>
                      </a:cubicBezTo>
                      <a:cubicBezTo>
                        <a:pt x="300" y="217"/>
                        <a:pt x="300" y="217"/>
                        <a:pt x="300" y="217"/>
                      </a:cubicBezTo>
                      <a:cubicBezTo>
                        <a:pt x="299" y="217"/>
                        <a:pt x="299" y="217"/>
                        <a:pt x="299" y="217"/>
                      </a:cubicBezTo>
                      <a:close/>
                      <a:moveTo>
                        <a:pt x="323" y="228"/>
                      </a:moveTo>
                      <a:cubicBezTo>
                        <a:pt x="322" y="227"/>
                        <a:pt x="322" y="227"/>
                        <a:pt x="322" y="227"/>
                      </a:cubicBezTo>
                      <a:cubicBezTo>
                        <a:pt x="322" y="227"/>
                        <a:pt x="322" y="227"/>
                        <a:pt x="322" y="227"/>
                      </a:cubicBezTo>
                      <a:cubicBezTo>
                        <a:pt x="321" y="227"/>
                        <a:pt x="321" y="227"/>
                        <a:pt x="321" y="227"/>
                      </a:cubicBezTo>
                      <a:cubicBezTo>
                        <a:pt x="321" y="226"/>
                        <a:pt x="321" y="226"/>
                        <a:pt x="321" y="226"/>
                      </a:cubicBezTo>
                      <a:cubicBezTo>
                        <a:pt x="322" y="226"/>
                        <a:pt x="322" y="226"/>
                        <a:pt x="322" y="226"/>
                      </a:cubicBezTo>
                      <a:cubicBezTo>
                        <a:pt x="322" y="226"/>
                        <a:pt x="322" y="226"/>
                        <a:pt x="322" y="226"/>
                      </a:cubicBezTo>
                      <a:cubicBezTo>
                        <a:pt x="322" y="227"/>
                        <a:pt x="322" y="227"/>
                        <a:pt x="322" y="227"/>
                      </a:cubicBezTo>
                      <a:cubicBezTo>
                        <a:pt x="323" y="227"/>
                        <a:pt x="323" y="227"/>
                        <a:pt x="323" y="227"/>
                      </a:cubicBezTo>
                      <a:cubicBezTo>
                        <a:pt x="323" y="228"/>
                        <a:pt x="323" y="228"/>
                        <a:pt x="323" y="228"/>
                      </a:cubicBezTo>
                      <a:cubicBezTo>
                        <a:pt x="323" y="228"/>
                        <a:pt x="323" y="228"/>
                        <a:pt x="323" y="228"/>
                      </a:cubicBezTo>
                      <a:close/>
                      <a:moveTo>
                        <a:pt x="322" y="231"/>
                      </a:moveTo>
                      <a:cubicBezTo>
                        <a:pt x="321" y="230"/>
                        <a:pt x="321" y="230"/>
                        <a:pt x="321" y="230"/>
                      </a:cubicBezTo>
                      <a:cubicBezTo>
                        <a:pt x="321" y="230"/>
                        <a:pt x="321" y="230"/>
                        <a:pt x="321" y="230"/>
                      </a:cubicBezTo>
                      <a:cubicBezTo>
                        <a:pt x="321" y="230"/>
                        <a:pt x="321" y="230"/>
                        <a:pt x="321" y="230"/>
                      </a:cubicBezTo>
                      <a:cubicBezTo>
                        <a:pt x="320" y="229"/>
                        <a:pt x="320" y="229"/>
                        <a:pt x="320" y="229"/>
                      </a:cubicBezTo>
                      <a:cubicBezTo>
                        <a:pt x="320" y="229"/>
                        <a:pt x="320" y="229"/>
                        <a:pt x="320" y="229"/>
                      </a:cubicBezTo>
                      <a:cubicBezTo>
                        <a:pt x="320" y="228"/>
                        <a:pt x="320" y="228"/>
                        <a:pt x="320" y="228"/>
                      </a:cubicBezTo>
                      <a:cubicBezTo>
                        <a:pt x="320" y="228"/>
                        <a:pt x="320" y="228"/>
                        <a:pt x="320" y="228"/>
                      </a:cubicBezTo>
                      <a:cubicBezTo>
                        <a:pt x="321" y="228"/>
                        <a:pt x="321" y="228"/>
                        <a:pt x="321" y="228"/>
                      </a:cubicBezTo>
                      <a:cubicBezTo>
                        <a:pt x="322" y="228"/>
                        <a:pt x="322" y="228"/>
                        <a:pt x="322" y="228"/>
                      </a:cubicBezTo>
                      <a:cubicBezTo>
                        <a:pt x="323" y="229"/>
                        <a:pt x="323" y="229"/>
                        <a:pt x="323" y="229"/>
                      </a:cubicBezTo>
                      <a:cubicBezTo>
                        <a:pt x="323" y="229"/>
                        <a:pt x="323" y="229"/>
                        <a:pt x="323" y="229"/>
                      </a:cubicBezTo>
                      <a:cubicBezTo>
                        <a:pt x="322" y="229"/>
                        <a:pt x="322" y="229"/>
                        <a:pt x="322" y="229"/>
                      </a:cubicBezTo>
                      <a:cubicBezTo>
                        <a:pt x="322" y="230"/>
                        <a:pt x="322" y="230"/>
                        <a:pt x="322" y="230"/>
                      </a:cubicBezTo>
                      <a:cubicBezTo>
                        <a:pt x="322" y="230"/>
                        <a:pt x="322" y="230"/>
                        <a:pt x="322" y="230"/>
                      </a:cubicBezTo>
                      <a:cubicBezTo>
                        <a:pt x="322" y="231"/>
                        <a:pt x="322" y="231"/>
                        <a:pt x="322" y="231"/>
                      </a:cubicBezTo>
                      <a:cubicBezTo>
                        <a:pt x="322" y="231"/>
                        <a:pt x="322" y="231"/>
                        <a:pt x="322" y="231"/>
                      </a:cubicBezTo>
                      <a:close/>
                      <a:moveTo>
                        <a:pt x="298" y="244"/>
                      </a:moveTo>
                      <a:cubicBezTo>
                        <a:pt x="298" y="244"/>
                        <a:pt x="298" y="244"/>
                        <a:pt x="298" y="244"/>
                      </a:cubicBezTo>
                      <a:cubicBezTo>
                        <a:pt x="298" y="244"/>
                        <a:pt x="298" y="244"/>
                        <a:pt x="298" y="244"/>
                      </a:cubicBezTo>
                      <a:cubicBezTo>
                        <a:pt x="298" y="244"/>
                        <a:pt x="298" y="244"/>
                        <a:pt x="298" y="244"/>
                      </a:cubicBezTo>
                      <a:close/>
                      <a:moveTo>
                        <a:pt x="298" y="244"/>
                      </a:moveTo>
                      <a:cubicBezTo>
                        <a:pt x="298" y="244"/>
                        <a:pt x="298" y="244"/>
                        <a:pt x="298" y="244"/>
                      </a:cubicBezTo>
                      <a:cubicBezTo>
                        <a:pt x="298" y="244"/>
                        <a:pt x="298" y="244"/>
                        <a:pt x="298" y="244"/>
                      </a:cubicBezTo>
                      <a:cubicBezTo>
                        <a:pt x="298" y="244"/>
                        <a:pt x="298" y="244"/>
                        <a:pt x="298" y="244"/>
                      </a:cubicBezTo>
                      <a:close/>
                      <a:moveTo>
                        <a:pt x="299" y="244"/>
                      </a:moveTo>
                      <a:cubicBezTo>
                        <a:pt x="299" y="244"/>
                        <a:pt x="299" y="244"/>
                        <a:pt x="299" y="244"/>
                      </a:cubicBezTo>
                      <a:cubicBezTo>
                        <a:pt x="299" y="245"/>
                        <a:pt x="299" y="245"/>
                        <a:pt x="299" y="245"/>
                      </a:cubicBezTo>
                      <a:cubicBezTo>
                        <a:pt x="299" y="245"/>
                        <a:pt x="299" y="245"/>
                        <a:pt x="299" y="245"/>
                      </a:cubicBezTo>
                      <a:cubicBezTo>
                        <a:pt x="299" y="245"/>
                        <a:pt x="299" y="245"/>
                        <a:pt x="299" y="245"/>
                      </a:cubicBezTo>
                      <a:cubicBezTo>
                        <a:pt x="299" y="244"/>
                        <a:pt x="299" y="244"/>
                        <a:pt x="299" y="244"/>
                      </a:cubicBezTo>
                      <a:cubicBezTo>
                        <a:pt x="299" y="244"/>
                        <a:pt x="299" y="244"/>
                        <a:pt x="299" y="244"/>
                      </a:cubicBezTo>
                      <a:close/>
                      <a:moveTo>
                        <a:pt x="305" y="237"/>
                      </a:moveTo>
                      <a:cubicBezTo>
                        <a:pt x="305" y="237"/>
                        <a:pt x="305" y="237"/>
                        <a:pt x="305" y="237"/>
                      </a:cubicBezTo>
                      <a:cubicBezTo>
                        <a:pt x="305" y="236"/>
                        <a:pt x="305" y="236"/>
                        <a:pt x="305" y="236"/>
                      </a:cubicBezTo>
                      <a:cubicBezTo>
                        <a:pt x="306" y="236"/>
                        <a:pt x="306" y="236"/>
                        <a:pt x="306" y="236"/>
                      </a:cubicBezTo>
                      <a:cubicBezTo>
                        <a:pt x="306" y="235"/>
                        <a:pt x="306" y="235"/>
                        <a:pt x="306" y="235"/>
                      </a:cubicBezTo>
                      <a:cubicBezTo>
                        <a:pt x="307" y="235"/>
                        <a:pt x="307" y="235"/>
                        <a:pt x="307" y="235"/>
                      </a:cubicBezTo>
                      <a:cubicBezTo>
                        <a:pt x="308" y="234"/>
                        <a:pt x="308" y="234"/>
                        <a:pt x="308" y="234"/>
                      </a:cubicBezTo>
                      <a:cubicBezTo>
                        <a:pt x="308" y="235"/>
                        <a:pt x="308" y="235"/>
                        <a:pt x="308" y="235"/>
                      </a:cubicBezTo>
                      <a:cubicBezTo>
                        <a:pt x="308" y="235"/>
                        <a:pt x="308" y="235"/>
                        <a:pt x="308" y="235"/>
                      </a:cubicBezTo>
                      <a:cubicBezTo>
                        <a:pt x="308" y="235"/>
                        <a:pt x="308" y="235"/>
                        <a:pt x="308" y="235"/>
                      </a:cubicBezTo>
                      <a:cubicBezTo>
                        <a:pt x="308" y="236"/>
                        <a:pt x="308" y="236"/>
                        <a:pt x="308" y="236"/>
                      </a:cubicBezTo>
                      <a:cubicBezTo>
                        <a:pt x="307" y="236"/>
                        <a:pt x="307" y="236"/>
                        <a:pt x="307" y="236"/>
                      </a:cubicBezTo>
                      <a:cubicBezTo>
                        <a:pt x="307" y="237"/>
                        <a:pt x="307" y="237"/>
                        <a:pt x="307" y="237"/>
                      </a:cubicBezTo>
                      <a:cubicBezTo>
                        <a:pt x="306" y="237"/>
                        <a:pt x="306" y="237"/>
                        <a:pt x="306" y="237"/>
                      </a:cubicBezTo>
                      <a:cubicBezTo>
                        <a:pt x="306" y="237"/>
                        <a:pt x="306" y="237"/>
                        <a:pt x="306" y="237"/>
                      </a:cubicBezTo>
                      <a:cubicBezTo>
                        <a:pt x="305" y="237"/>
                        <a:pt x="305" y="237"/>
                        <a:pt x="305" y="237"/>
                      </a:cubicBezTo>
                      <a:close/>
                      <a:moveTo>
                        <a:pt x="284" y="216"/>
                      </a:moveTo>
                      <a:cubicBezTo>
                        <a:pt x="285" y="216"/>
                        <a:pt x="285" y="216"/>
                        <a:pt x="285" y="216"/>
                      </a:cubicBezTo>
                      <a:cubicBezTo>
                        <a:pt x="286" y="217"/>
                        <a:pt x="286" y="217"/>
                        <a:pt x="286" y="217"/>
                      </a:cubicBezTo>
                      <a:cubicBezTo>
                        <a:pt x="286" y="217"/>
                        <a:pt x="286" y="217"/>
                        <a:pt x="286" y="217"/>
                      </a:cubicBezTo>
                      <a:cubicBezTo>
                        <a:pt x="287" y="217"/>
                        <a:pt x="287" y="217"/>
                        <a:pt x="287" y="217"/>
                      </a:cubicBezTo>
                      <a:cubicBezTo>
                        <a:pt x="287" y="217"/>
                        <a:pt x="287" y="217"/>
                        <a:pt x="287" y="217"/>
                      </a:cubicBezTo>
                      <a:cubicBezTo>
                        <a:pt x="286" y="217"/>
                        <a:pt x="286" y="217"/>
                        <a:pt x="286" y="217"/>
                      </a:cubicBezTo>
                      <a:cubicBezTo>
                        <a:pt x="285" y="216"/>
                        <a:pt x="285" y="216"/>
                        <a:pt x="285" y="216"/>
                      </a:cubicBezTo>
                      <a:cubicBezTo>
                        <a:pt x="285" y="216"/>
                        <a:pt x="285" y="216"/>
                        <a:pt x="285" y="216"/>
                      </a:cubicBezTo>
                      <a:cubicBezTo>
                        <a:pt x="284" y="216"/>
                        <a:pt x="284" y="216"/>
                        <a:pt x="284" y="216"/>
                      </a:cubicBezTo>
                      <a:close/>
                      <a:moveTo>
                        <a:pt x="277" y="210"/>
                      </a:moveTo>
                      <a:cubicBezTo>
                        <a:pt x="277" y="210"/>
                        <a:pt x="277" y="210"/>
                        <a:pt x="277" y="210"/>
                      </a:cubicBezTo>
                      <a:cubicBezTo>
                        <a:pt x="278" y="210"/>
                        <a:pt x="278" y="210"/>
                        <a:pt x="278" y="210"/>
                      </a:cubicBezTo>
                      <a:cubicBezTo>
                        <a:pt x="278" y="211"/>
                        <a:pt x="278" y="211"/>
                        <a:pt x="278" y="211"/>
                      </a:cubicBezTo>
                      <a:cubicBezTo>
                        <a:pt x="279" y="210"/>
                        <a:pt x="279" y="210"/>
                        <a:pt x="279" y="210"/>
                      </a:cubicBezTo>
                      <a:cubicBezTo>
                        <a:pt x="279" y="210"/>
                        <a:pt x="279" y="210"/>
                        <a:pt x="279" y="210"/>
                      </a:cubicBezTo>
                      <a:cubicBezTo>
                        <a:pt x="279" y="210"/>
                        <a:pt x="279" y="210"/>
                        <a:pt x="279" y="210"/>
                      </a:cubicBezTo>
                      <a:cubicBezTo>
                        <a:pt x="279" y="210"/>
                        <a:pt x="279" y="210"/>
                        <a:pt x="279" y="210"/>
                      </a:cubicBezTo>
                      <a:cubicBezTo>
                        <a:pt x="279" y="209"/>
                        <a:pt x="279" y="209"/>
                        <a:pt x="279" y="209"/>
                      </a:cubicBezTo>
                      <a:cubicBezTo>
                        <a:pt x="279" y="209"/>
                        <a:pt x="279" y="209"/>
                        <a:pt x="279" y="209"/>
                      </a:cubicBezTo>
                      <a:cubicBezTo>
                        <a:pt x="279" y="209"/>
                        <a:pt x="279" y="209"/>
                        <a:pt x="279" y="209"/>
                      </a:cubicBezTo>
                      <a:cubicBezTo>
                        <a:pt x="278" y="208"/>
                        <a:pt x="278" y="208"/>
                        <a:pt x="278" y="208"/>
                      </a:cubicBezTo>
                      <a:cubicBezTo>
                        <a:pt x="278" y="208"/>
                        <a:pt x="278" y="208"/>
                        <a:pt x="278" y="208"/>
                      </a:cubicBezTo>
                      <a:cubicBezTo>
                        <a:pt x="278" y="208"/>
                        <a:pt x="278" y="208"/>
                        <a:pt x="278" y="208"/>
                      </a:cubicBezTo>
                      <a:cubicBezTo>
                        <a:pt x="277" y="208"/>
                        <a:pt x="277" y="208"/>
                        <a:pt x="277" y="208"/>
                      </a:cubicBezTo>
                      <a:cubicBezTo>
                        <a:pt x="277" y="208"/>
                        <a:pt x="277" y="208"/>
                        <a:pt x="277" y="208"/>
                      </a:cubicBezTo>
                      <a:cubicBezTo>
                        <a:pt x="276" y="207"/>
                        <a:pt x="276" y="207"/>
                        <a:pt x="276" y="207"/>
                      </a:cubicBezTo>
                      <a:cubicBezTo>
                        <a:pt x="276" y="208"/>
                        <a:pt x="276" y="208"/>
                        <a:pt x="276" y="208"/>
                      </a:cubicBezTo>
                      <a:cubicBezTo>
                        <a:pt x="276" y="208"/>
                        <a:pt x="276" y="208"/>
                        <a:pt x="276" y="208"/>
                      </a:cubicBezTo>
                      <a:cubicBezTo>
                        <a:pt x="276" y="208"/>
                        <a:pt x="276" y="208"/>
                        <a:pt x="276" y="208"/>
                      </a:cubicBezTo>
                      <a:cubicBezTo>
                        <a:pt x="276" y="208"/>
                        <a:pt x="276" y="208"/>
                        <a:pt x="276" y="208"/>
                      </a:cubicBezTo>
                      <a:cubicBezTo>
                        <a:pt x="276" y="209"/>
                        <a:pt x="276" y="209"/>
                        <a:pt x="276" y="209"/>
                      </a:cubicBezTo>
                      <a:cubicBezTo>
                        <a:pt x="277" y="209"/>
                        <a:pt x="277" y="209"/>
                        <a:pt x="277" y="209"/>
                      </a:cubicBezTo>
                      <a:cubicBezTo>
                        <a:pt x="277" y="209"/>
                        <a:pt x="277" y="209"/>
                        <a:pt x="277" y="209"/>
                      </a:cubicBezTo>
                      <a:cubicBezTo>
                        <a:pt x="277" y="210"/>
                        <a:pt x="277" y="210"/>
                        <a:pt x="277" y="210"/>
                      </a:cubicBezTo>
                      <a:close/>
                      <a:moveTo>
                        <a:pt x="272" y="212"/>
                      </a:moveTo>
                      <a:cubicBezTo>
                        <a:pt x="273" y="212"/>
                        <a:pt x="273" y="212"/>
                        <a:pt x="273" y="212"/>
                      </a:cubicBezTo>
                      <a:cubicBezTo>
                        <a:pt x="273" y="212"/>
                        <a:pt x="273" y="212"/>
                        <a:pt x="273" y="212"/>
                      </a:cubicBezTo>
                      <a:cubicBezTo>
                        <a:pt x="274" y="212"/>
                        <a:pt x="274" y="212"/>
                        <a:pt x="274" y="212"/>
                      </a:cubicBezTo>
                      <a:cubicBezTo>
                        <a:pt x="274" y="211"/>
                        <a:pt x="274" y="211"/>
                        <a:pt x="274" y="211"/>
                      </a:cubicBezTo>
                      <a:cubicBezTo>
                        <a:pt x="274" y="211"/>
                        <a:pt x="274" y="211"/>
                        <a:pt x="274" y="211"/>
                      </a:cubicBezTo>
                      <a:cubicBezTo>
                        <a:pt x="274" y="211"/>
                        <a:pt x="274" y="211"/>
                        <a:pt x="274" y="211"/>
                      </a:cubicBezTo>
                      <a:cubicBezTo>
                        <a:pt x="274" y="210"/>
                        <a:pt x="274" y="210"/>
                        <a:pt x="274" y="210"/>
                      </a:cubicBezTo>
                      <a:cubicBezTo>
                        <a:pt x="274" y="209"/>
                        <a:pt x="274" y="209"/>
                        <a:pt x="274" y="209"/>
                      </a:cubicBezTo>
                      <a:cubicBezTo>
                        <a:pt x="273" y="209"/>
                        <a:pt x="273" y="209"/>
                        <a:pt x="273" y="209"/>
                      </a:cubicBezTo>
                      <a:cubicBezTo>
                        <a:pt x="273" y="209"/>
                        <a:pt x="273" y="209"/>
                        <a:pt x="273" y="209"/>
                      </a:cubicBezTo>
                      <a:cubicBezTo>
                        <a:pt x="272" y="208"/>
                        <a:pt x="272" y="208"/>
                        <a:pt x="272" y="208"/>
                      </a:cubicBezTo>
                      <a:cubicBezTo>
                        <a:pt x="272" y="209"/>
                        <a:pt x="272" y="209"/>
                        <a:pt x="272" y="209"/>
                      </a:cubicBezTo>
                      <a:cubicBezTo>
                        <a:pt x="271" y="209"/>
                        <a:pt x="271" y="209"/>
                        <a:pt x="271" y="209"/>
                      </a:cubicBezTo>
                      <a:cubicBezTo>
                        <a:pt x="270" y="208"/>
                        <a:pt x="270" y="208"/>
                        <a:pt x="270" y="208"/>
                      </a:cubicBezTo>
                      <a:cubicBezTo>
                        <a:pt x="270" y="209"/>
                        <a:pt x="270" y="209"/>
                        <a:pt x="270" y="209"/>
                      </a:cubicBezTo>
                      <a:cubicBezTo>
                        <a:pt x="270" y="210"/>
                        <a:pt x="270" y="210"/>
                        <a:pt x="270" y="210"/>
                      </a:cubicBezTo>
                      <a:cubicBezTo>
                        <a:pt x="271" y="210"/>
                        <a:pt x="271" y="210"/>
                        <a:pt x="271" y="210"/>
                      </a:cubicBezTo>
                      <a:cubicBezTo>
                        <a:pt x="271" y="211"/>
                        <a:pt x="271" y="211"/>
                        <a:pt x="271" y="211"/>
                      </a:cubicBezTo>
                      <a:cubicBezTo>
                        <a:pt x="272" y="211"/>
                        <a:pt x="272" y="211"/>
                        <a:pt x="272" y="211"/>
                      </a:cubicBezTo>
                      <a:cubicBezTo>
                        <a:pt x="272" y="212"/>
                        <a:pt x="272" y="212"/>
                        <a:pt x="272" y="212"/>
                      </a:cubicBezTo>
                      <a:cubicBezTo>
                        <a:pt x="272" y="212"/>
                        <a:pt x="272" y="212"/>
                        <a:pt x="272" y="212"/>
                      </a:cubicBezTo>
                      <a:close/>
                      <a:moveTo>
                        <a:pt x="272" y="216"/>
                      </a:moveTo>
                      <a:cubicBezTo>
                        <a:pt x="271" y="216"/>
                        <a:pt x="272" y="216"/>
                        <a:pt x="272" y="216"/>
                      </a:cubicBezTo>
                      <a:cubicBezTo>
                        <a:pt x="271" y="215"/>
                        <a:pt x="271" y="215"/>
                        <a:pt x="271" y="215"/>
                      </a:cubicBezTo>
                      <a:cubicBezTo>
                        <a:pt x="270" y="216"/>
                        <a:pt x="270" y="216"/>
                        <a:pt x="270" y="216"/>
                      </a:cubicBezTo>
                      <a:cubicBezTo>
                        <a:pt x="271" y="216"/>
                        <a:pt x="271" y="216"/>
                        <a:pt x="271" y="216"/>
                      </a:cubicBezTo>
                      <a:cubicBezTo>
                        <a:pt x="272" y="216"/>
                        <a:pt x="272" y="216"/>
                        <a:pt x="272" y="216"/>
                      </a:cubicBezTo>
                      <a:close/>
                      <a:moveTo>
                        <a:pt x="261" y="223"/>
                      </a:moveTo>
                      <a:cubicBezTo>
                        <a:pt x="261" y="223"/>
                        <a:pt x="261" y="223"/>
                        <a:pt x="261" y="223"/>
                      </a:cubicBezTo>
                      <a:cubicBezTo>
                        <a:pt x="261" y="222"/>
                        <a:pt x="261" y="222"/>
                        <a:pt x="261" y="222"/>
                      </a:cubicBezTo>
                      <a:cubicBezTo>
                        <a:pt x="262" y="222"/>
                        <a:pt x="262" y="222"/>
                        <a:pt x="262" y="222"/>
                      </a:cubicBezTo>
                      <a:cubicBezTo>
                        <a:pt x="262" y="222"/>
                        <a:pt x="262" y="222"/>
                        <a:pt x="262" y="222"/>
                      </a:cubicBezTo>
                      <a:cubicBezTo>
                        <a:pt x="262" y="221"/>
                        <a:pt x="262" y="221"/>
                        <a:pt x="262" y="221"/>
                      </a:cubicBezTo>
                      <a:cubicBezTo>
                        <a:pt x="262" y="221"/>
                        <a:pt x="262" y="221"/>
                        <a:pt x="262" y="221"/>
                      </a:cubicBezTo>
                      <a:cubicBezTo>
                        <a:pt x="262" y="221"/>
                        <a:pt x="262" y="221"/>
                        <a:pt x="262" y="221"/>
                      </a:cubicBezTo>
                      <a:cubicBezTo>
                        <a:pt x="263" y="220"/>
                        <a:pt x="263" y="220"/>
                        <a:pt x="263" y="220"/>
                      </a:cubicBezTo>
                      <a:cubicBezTo>
                        <a:pt x="263" y="219"/>
                        <a:pt x="263" y="219"/>
                        <a:pt x="263" y="219"/>
                      </a:cubicBezTo>
                      <a:cubicBezTo>
                        <a:pt x="264" y="219"/>
                        <a:pt x="264" y="219"/>
                        <a:pt x="264" y="219"/>
                      </a:cubicBezTo>
                      <a:cubicBezTo>
                        <a:pt x="264" y="219"/>
                        <a:pt x="264" y="219"/>
                        <a:pt x="264" y="219"/>
                      </a:cubicBezTo>
                      <a:cubicBezTo>
                        <a:pt x="264" y="219"/>
                        <a:pt x="264" y="219"/>
                        <a:pt x="264" y="219"/>
                      </a:cubicBezTo>
                      <a:cubicBezTo>
                        <a:pt x="264" y="218"/>
                        <a:pt x="264" y="218"/>
                        <a:pt x="264" y="218"/>
                      </a:cubicBezTo>
                      <a:cubicBezTo>
                        <a:pt x="264" y="218"/>
                        <a:pt x="264" y="218"/>
                        <a:pt x="264" y="218"/>
                      </a:cubicBezTo>
                      <a:cubicBezTo>
                        <a:pt x="265" y="217"/>
                        <a:pt x="265" y="217"/>
                        <a:pt x="265" y="217"/>
                      </a:cubicBezTo>
                      <a:cubicBezTo>
                        <a:pt x="264" y="217"/>
                        <a:pt x="264" y="217"/>
                        <a:pt x="264" y="217"/>
                      </a:cubicBezTo>
                      <a:cubicBezTo>
                        <a:pt x="264" y="216"/>
                        <a:pt x="264" y="216"/>
                        <a:pt x="264" y="216"/>
                      </a:cubicBezTo>
                      <a:cubicBezTo>
                        <a:pt x="264" y="216"/>
                        <a:pt x="264" y="216"/>
                        <a:pt x="264" y="216"/>
                      </a:cubicBezTo>
                      <a:cubicBezTo>
                        <a:pt x="264" y="216"/>
                        <a:pt x="264" y="216"/>
                        <a:pt x="264" y="216"/>
                      </a:cubicBezTo>
                      <a:cubicBezTo>
                        <a:pt x="263" y="216"/>
                        <a:pt x="263" y="216"/>
                        <a:pt x="263" y="216"/>
                      </a:cubicBezTo>
                      <a:cubicBezTo>
                        <a:pt x="263" y="216"/>
                        <a:pt x="263" y="216"/>
                        <a:pt x="263" y="216"/>
                      </a:cubicBezTo>
                      <a:cubicBezTo>
                        <a:pt x="262" y="215"/>
                        <a:pt x="262" y="215"/>
                        <a:pt x="262" y="215"/>
                      </a:cubicBezTo>
                      <a:cubicBezTo>
                        <a:pt x="262" y="216"/>
                        <a:pt x="262" y="216"/>
                        <a:pt x="262" y="216"/>
                      </a:cubicBezTo>
                      <a:cubicBezTo>
                        <a:pt x="261" y="217"/>
                        <a:pt x="261" y="217"/>
                        <a:pt x="261" y="217"/>
                      </a:cubicBezTo>
                      <a:cubicBezTo>
                        <a:pt x="261" y="217"/>
                        <a:pt x="261" y="217"/>
                        <a:pt x="261" y="217"/>
                      </a:cubicBezTo>
                      <a:cubicBezTo>
                        <a:pt x="260" y="217"/>
                        <a:pt x="260" y="217"/>
                        <a:pt x="260" y="217"/>
                      </a:cubicBezTo>
                      <a:cubicBezTo>
                        <a:pt x="260" y="218"/>
                        <a:pt x="260" y="218"/>
                        <a:pt x="260" y="218"/>
                      </a:cubicBezTo>
                      <a:cubicBezTo>
                        <a:pt x="260" y="219"/>
                        <a:pt x="260" y="219"/>
                        <a:pt x="260" y="219"/>
                      </a:cubicBezTo>
                      <a:cubicBezTo>
                        <a:pt x="260" y="219"/>
                        <a:pt x="260" y="219"/>
                        <a:pt x="260" y="219"/>
                      </a:cubicBezTo>
                      <a:cubicBezTo>
                        <a:pt x="259" y="220"/>
                        <a:pt x="259" y="220"/>
                        <a:pt x="259" y="220"/>
                      </a:cubicBezTo>
                      <a:cubicBezTo>
                        <a:pt x="260" y="220"/>
                        <a:pt x="260" y="220"/>
                        <a:pt x="260" y="220"/>
                      </a:cubicBezTo>
                      <a:cubicBezTo>
                        <a:pt x="259" y="221"/>
                        <a:pt x="259" y="221"/>
                        <a:pt x="259" y="221"/>
                      </a:cubicBezTo>
                      <a:cubicBezTo>
                        <a:pt x="259" y="221"/>
                        <a:pt x="259" y="221"/>
                        <a:pt x="259" y="221"/>
                      </a:cubicBezTo>
                      <a:cubicBezTo>
                        <a:pt x="260" y="221"/>
                        <a:pt x="260" y="221"/>
                        <a:pt x="260" y="221"/>
                      </a:cubicBezTo>
                      <a:cubicBezTo>
                        <a:pt x="260" y="222"/>
                        <a:pt x="260" y="222"/>
                        <a:pt x="260" y="222"/>
                      </a:cubicBezTo>
                      <a:cubicBezTo>
                        <a:pt x="261" y="222"/>
                        <a:pt x="261" y="222"/>
                        <a:pt x="261" y="222"/>
                      </a:cubicBezTo>
                      <a:cubicBezTo>
                        <a:pt x="261" y="223"/>
                        <a:pt x="261" y="223"/>
                        <a:pt x="261" y="223"/>
                      </a:cubicBezTo>
                      <a:close/>
                      <a:moveTo>
                        <a:pt x="251" y="259"/>
                      </a:moveTo>
                      <a:cubicBezTo>
                        <a:pt x="252" y="259"/>
                        <a:pt x="252" y="259"/>
                        <a:pt x="252" y="259"/>
                      </a:cubicBezTo>
                      <a:cubicBezTo>
                        <a:pt x="252" y="259"/>
                        <a:pt x="252" y="259"/>
                        <a:pt x="252" y="259"/>
                      </a:cubicBezTo>
                      <a:cubicBezTo>
                        <a:pt x="252" y="259"/>
                        <a:pt x="252" y="259"/>
                        <a:pt x="252" y="259"/>
                      </a:cubicBezTo>
                      <a:cubicBezTo>
                        <a:pt x="251" y="259"/>
                        <a:pt x="251" y="259"/>
                        <a:pt x="251" y="259"/>
                      </a:cubicBezTo>
                      <a:close/>
                      <a:moveTo>
                        <a:pt x="252" y="262"/>
                      </a:moveTo>
                      <a:cubicBezTo>
                        <a:pt x="253" y="262"/>
                        <a:pt x="253" y="262"/>
                        <a:pt x="253" y="262"/>
                      </a:cubicBezTo>
                      <a:cubicBezTo>
                        <a:pt x="253" y="261"/>
                        <a:pt x="253" y="261"/>
                        <a:pt x="253" y="261"/>
                      </a:cubicBezTo>
                      <a:cubicBezTo>
                        <a:pt x="253" y="261"/>
                        <a:pt x="253" y="261"/>
                        <a:pt x="253" y="261"/>
                      </a:cubicBezTo>
                      <a:cubicBezTo>
                        <a:pt x="253" y="262"/>
                        <a:pt x="253" y="262"/>
                        <a:pt x="253" y="262"/>
                      </a:cubicBezTo>
                      <a:cubicBezTo>
                        <a:pt x="252" y="262"/>
                        <a:pt x="252" y="262"/>
                        <a:pt x="252" y="262"/>
                      </a:cubicBezTo>
                      <a:cubicBezTo>
                        <a:pt x="252" y="262"/>
                        <a:pt x="252" y="262"/>
                        <a:pt x="252" y="262"/>
                      </a:cubicBezTo>
                      <a:close/>
                      <a:moveTo>
                        <a:pt x="246" y="261"/>
                      </a:moveTo>
                      <a:cubicBezTo>
                        <a:pt x="247" y="260"/>
                        <a:pt x="247" y="260"/>
                        <a:pt x="247" y="260"/>
                      </a:cubicBezTo>
                      <a:cubicBezTo>
                        <a:pt x="247" y="260"/>
                        <a:pt x="247" y="260"/>
                        <a:pt x="247" y="260"/>
                      </a:cubicBezTo>
                      <a:cubicBezTo>
                        <a:pt x="248" y="260"/>
                        <a:pt x="248" y="260"/>
                        <a:pt x="248" y="260"/>
                      </a:cubicBezTo>
                      <a:cubicBezTo>
                        <a:pt x="248" y="260"/>
                        <a:pt x="248" y="260"/>
                        <a:pt x="248" y="260"/>
                      </a:cubicBezTo>
                      <a:cubicBezTo>
                        <a:pt x="249" y="260"/>
                        <a:pt x="249" y="260"/>
                        <a:pt x="249" y="260"/>
                      </a:cubicBezTo>
                      <a:cubicBezTo>
                        <a:pt x="249" y="259"/>
                        <a:pt x="249" y="259"/>
                        <a:pt x="249" y="259"/>
                      </a:cubicBezTo>
                      <a:cubicBezTo>
                        <a:pt x="249" y="260"/>
                        <a:pt x="249" y="260"/>
                        <a:pt x="249" y="260"/>
                      </a:cubicBezTo>
                      <a:cubicBezTo>
                        <a:pt x="247" y="261"/>
                        <a:pt x="247" y="261"/>
                        <a:pt x="247" y="261"/>
                      </a:cubicBezTo>
                      <a:cubicBezTo>
                        <a:pt x="247" y="261"/>
                        <a:pt x="247" y="261"/>
                        <a:pt x="247" y="261"/>
                      </a:cubicBezTo>
                      <a:cubicBezTo>
                        <a:pt x="246" y="261"/>
                        <a:pt x="246" y="261"/>
                        <a:pt x="246" y="261"/>
                      </a:cubicBezTo>
                      <a:close/>
                      <a:moveTo>
                        <a:pt x="250" y="263"/>
                      </a:moveTo>
                      <a:cubicBezTo>
                        <a:pt x="251" y="261"/>
                        <a:pt x="251" y="261"/>
                        <a:pt x="251" y="261"/>
                      </a:cubicBezTo>
                      <a:cubicBezTo>
                        <a:pt x="251" y="261"/>
                        <a:pt x="251" y="261"/>
                        <a:pt x="251" y="261"/>
                      </a:cubicBezTo>
                      <a:cubicBezTo>
                        <a:pt x="252" y="261"/>
                        <a:pt x="252" y="261"/>
                        <a:pt x="252" y="261"/>
                      </a:cubicBezTo>
                      <a:cubicBezTo>
                        <a:pt x="252" y="261"/>
                        <a:pt x="252" y="261"/>
                        <a:pt x="252" y="261"/>
                      </a:cubicBezTo>
                      <a:cubicBezTo>
                        <a:pt x="251" y="263"/>
                        <a:pt x="251" y="263"/>
                        <a:pt x="251" y="263"/>
                      </a:cubicBezTo>
                      <a:cubicBezTo>
                        <a:pt x="250" y="263"/>
                        <a:pt x="250" y="263"/>
                        <a:pt x="250" y="263"/>
                      </a:cubicBezTo>
                      <a:cubicBezTo>
                        <a:pt x="251" y="263"/>
                        <a:pt x="251" y="263"/>
                        <a:pt x="251" y="263"/>
                      </a:cubicBezTo>
                      <a:cubicBezTo>
                        <a:pt x="252" y="262"/>
                        <a:pt x="252" y="262"/>
                        <a:pt x="252" y="262"/>
                      </a:cubicBezTo>
                      <a:cubicBezTo>
                        <a:pt x="252" y="261"/>
                        <a:pt x="252" y="261"/>
                        <a:pt x="252" y="261"/>
                      </a:cubicBezTo>
                      <a:cubicBezTo>
                        <a:pt x="252" y="261"/>
                        <a:pt x="252" y="261"/>
                        <a:pt x="252" y="261"/>
                      </a:cubicBezTo>
                      <a:cubicBezTo>
                        <a:pt x="252" y="260"/>
                        <a:pt x="252" y="260"/>
                        <a:pt x="252" y="260"/>
                      </a:cubicBezTo>
                      <a:cubicBezTo>
                        <a:pt x="252" y="260"/>
                        <a:pt x="252" y="260"/>
                        <a:pt x="252" y="260"/>
                      </a:cubicBezTo>
                      <a:cubicBezTo>
                        <a:pt x="252" y="260"/>
                        <a:pt x="252" y="260"/>
                        <a:pt x="252" y="260"/>
                      </a:cubicBezTo>
                      <a:cubicBezTo>
                        <a:pt x="251" y="259"/>
                        <a:pt x="251" y="259"/>
                        <a:pt x="251" y="259"/>
                      </a:cubicBezTo>
                      <a:cubicBezTo>
                        <a:pt x="251" y="260"/>
                        <a:pt x="251" y="260"/>
                        <a:pt x="251" y="260"/>
                      </a:cubicBezTo>
                      <a:cubicBezTo>
                        <a:pt x="250" y="261"/>
                        <a:pt x="250" y="261"/>
                        <a:pt x="250" y="261"/>
                      </a:cubicBezTo>
                      <a:cubicBezTo>
                        <a:pt x="250" y="261"/>
                        <a:pt x="250" y="261"/>
                        <a:pt x="250" y="261"/>
                      </a:cubicBezTo>
                      <a:cubicBezTo>
                        <a:pt x="249" y="262"/>
                        <a:pt x="249" y="262"/>
                        <a:pt x="249" y="262"/>
                      </a:cubicBezTo>
                      <a:cubicBezTo>
                        <a:pt x="249" y="261"/>
                        <a:pt x="249" y="261"/>
                        <a:pt x="249" y="261"/>
                      </a:cubicBezTo>
                      <a:cubicBezTo>
                        <a:pt x="250" y="261"/>
                        <a:pt x="250" y="261"/>
                        <a:pt x="250" y="261"/>
                      </a:cubicBezTo>
                      <a:cubicBezTo>
                        <a:pt x="250" y="260"/>
                        <a:pt x="250" y="260"/>
                        <a:pt x="250" y="260"/>
                      </a:cubicBezTo>
                      <a:cubicBezTo>
                        <a:pt x="250" y="260"/>
                        <a:pt x="250" y="260"/>
                        <a:pt x="250" y="260"/>
                      </a:cubicBezTo>
                      <a:cubicBezTo>
                        <a:pt x="249" y="260"/>
                        <a:pt x="249" y="260"/>
                        <a:pt x="249" y="260"/>
                      </a:cubicBezTo>
                      <a:cubicBezTo>
                        <a:pt x="249" y="261"/>
                        <a:pt x="249" y="261"/>
                        <a:pt x="249" y="261"/>
                      </a:cubicBezTo>
                      <a:cubicBezTo>
                        <a:pt x="248" y="262"/>
                        <a:pt x="248" y="262"/>
                        <a:pt x="248" y="262"/>
                      </a:cubicBezTo>
                      <a:cubicBezTo>
                        <a:pt x="248" y="263"/>
                        <a:pt x="248" y="263"/>
                        <a:pt x="248" y="263"/>
                      </a:cubicBezTo>
                      <a:cubicBezTo>
                        <a:pt x="247" y="263"/>
                        <a:pt x="247" y="263"/>
                        <a:pt x="247" y="263"/>
                      </a:cubicBezTo>
                      <a:cubicBezTo>
                        <a:pt x="247" y="264"/>
                        <a:pt x="247" y="264"/>
                        <a:pt x="247" y="264"/>
                      </a:cubicBezTo>
                      <a:cubicBezTo>
                        <a:pt x="247" y="264"/>
                        <a:pt x="247" y="264"/>
                        <a:pt x="247" y="264"/>
                      </a:cubicBezTo>
                      <a:cubicBezTo>
                        <a:pt x="248" y="263"/>
                        <a:pt x="248" y="263"/>
                        <a:pt x="248" y="263"/>
                      </a:cubicBezTo>
                      <a:cubicBezTo>
                        <a:pt x="249" y="262"/>
                        <a:pt x="249" y="262"/>
                        <a:pt x="249" y="262"/>
                      </a:cubicBezTo>
                      <a:cubicBezTo>
                        <a:pt x="249" y="263"/>
                        <a:pt x="249" y="263"/>
                        <a:pt x="249" y="263"/>
                      </a:cubicBezTo>
                      <a:cubicBezTo>
                        <a:pt x="248" y="264"/>
                        <a:pt x="248" y="264"/>
                        <a:pt x="248" y="264"/>
                      </a:cubicBezTo>
                      <a:cubicBezTo>
                        <a:pt x="248" y="264"/>
                        <a:pt x="248" y="264"/>
                        <a:pt x="248" y="264"/>
                      </a:cubicBezTo>
                      <a:cubicBezTo>
                        <a:pt x="249" y="264"/>
                        <a:pt x="249" y="264"/>
                        <a:pt x="249" y="264"/>
                      </a:cubicBezTo>
                      <a:cubicBezTo>
                        <a:pt x="249" y="264"/>
                        <a:pt x="249" y="264"/>
                        <a:pt x="249" y="264"/>
                      </a:cubicBezTo>
                      <a:cubicBezTo>
                        <a:pt x="249" y="264"/>
                        <a:pt x="250" y="263"/>
                        <a:pt x="250" y="263"/>
                      </a:cubicBezTo>
                      <a:close/>
                      <a:moveTo>
                        <a:pt x="249" y="263"/>
                      </a:moveTo>
                      <a:cubicBezTo>
                        <a:pt x="249" y="262"/>
                        <a:pt x="249" y="262"/>
                        <a:pt x="249" y="262"/>
                      </a:cubicBezTo>
                      <a:cubicBezTo>
                        <a:pt x="251" y="261"/>
                        <a:pt x="251" y="261"/>
                        <a:pt x="251" y="261"/>
                      </a:cubicBezTo>
                      <a:cubicBezTo>
                        <a:pt x="250" y="262"/>
                        <a:pt x="250" y="262"/>
                        <a:pt x="250" y="262"/>
                      </a:cubicBezTo>
                      <a:cubicBezTo>
                        <a:pt x="250" y="263"/>
                        <a:pt x="250" y="263"/>
                        <a:pt x="250" y="263"/>
                      </a:cubicBezTo>
                      <a:cubicBezTo>
                        <a:pt x="249" y="263"/>
                        <a:pt x="249" y="263"/>
                        <a:pt x="249" y="263"/>
                      </a:cubicBezTo>
                      <a:close/>
                      <a:moveTo>
                        <a:pt x="314" y="322"/>
                      </a:moveTo>
                      <a:cubicBezTo>
                        <a:pt x="313" y="322"/>
                        <a:pt x="313" y="322"/>
                        <a:pt x="313" y="322"/>
                      </a:cubicBezTo>
                      <a:cubicBezTo>
                        <a:pt x="313" y="322"/>
                        <a:pt x="313" y="322"/>
                        <a:pt x="313" y="322"/>
                      </a:cubicBezTo>
                      <a:cubicBezTo>
                        <a:pt x="313" y="322"/>
                        <a:pt x="313" y="322"/>
                        <a:pt x="313" y="322"/>
                      </a:cubicBezTo>
                      <a:cubicBezTo>
                        <a:pt x="314" y="321"/>
                        <a:pt x="314" y="321"/>
                        <a:pt x="314" y="321"/>
                      </a:cubicBezTo>
                      <a:cubicBezTo>
                        <a:pt x="314" y="320"/>
                        <a:pt x="314" y="320"/>
                        <a:pt x="314" y="320"/>
                      </a:cubicBezTo>
                      <a:cubicBezTo>
                        <a:pt x="314" y="321"/>
                        <a:pt x="314" y="321"/>
                        <a:pt x="314" y="321"/>
                      </a:cubicBezTo>
                      <a:cubicBezTo>
                        <a:pt x="314" y="320"/>
                        <a:pt x="314" y="320"/>
                        <a:pt x="314" y="320"/>
                      </a:cubicBezTo>
                      <a:cubicBezTo>
                        <a:pt x="314" y="320"/>
                        <a:pt x="314" y="320"/>
                        <a:pt x="314" y="320"/>
                      </a:cubicBezTo>
                      <a:cubicBezTo>
                        <a:pt x="313" y="321"/>
                        <a:pt x="313" y="321"/>
                        <a:pt x="313" y="321"/>
                      </a:cubicBezTo>
                      <a:cubicBezTo>
                        <a:pt x="313" y="322"/>
                        <a:pt x="313" y="322"/>
                        <a:pt x="313" y="322"/>
                      </a:cubicBezTo>
                      <a:cubicBezTo>
                        <a:pt x="313" y="322"/>
                        <a:pt x="313" y="322"/>
                        <a:pt x="313" y="322"/>
                      </a:cubicBezTo>
                      <a:cubicBezTo>
                        <a:pt x="313" y="322"/>
                        <a:pt x="313" y="322"/>
                        <a:pt x="313" y="322"/>
                      </a:cubicBezTo>
                      <a:cubicBezTo>
                        <a:pt x="314" y="322"/>
                        <a:pt x="314" y="322"/>
                        <a:pt x="314" y="322"/>
                      </a:cubicBezTo>
                      <a:close/>
                      <a:moveTo>
                        <a:pt x="337" y="326"/>
                      </a:moveTo>
                      <a:cubicBezTo>
                        <a:pt x="337" y="325"/>
                        <a:pt x="337" y="325"/>
                        <a:pt x="337" y="325"/>
                      </a:cubicBezTo>
                      <a:cubicBezTo>
                        <a:pt x="337" y="325"/>
                        <a:pt x="337" y="325"/>
                        <a:pt x="337" y="325"/>
                      </a:cubicBezTo>
                      <a:cubicBezTo>
                        <a:pt x="337" y="324"/>
                        <a:pt x="337" y="324"/>
                        <a:pt x="337" y="324"/>
                      </a:cubicBezTo>
                      <a:cubicBezTo>
                        <a:pt x="337" y="324"/>
                        <a:pt x="337" y="324"/>
                        <a:pt x="337" y="324"/>
                      </a:cubicBezTo>
                      <a:cubicBezTo>
                        <a:pt x="337" y="323"/>
                        <a:pt x="337" y="323"/>
                        <a:pt x="337" y="323"/>
                      </a:cubicBezTo>
                      <a:cubicBezTo>
                        <a:pt x="337" y="323"/>
                        <a:pt x="337" y="323"/>
                        <a:pt x="337" y="323"/>
                      </a:cubicBezTo>
                      <a:cubicBezTo>
                        <a:pt x="337" y="323"/>
                        <a:pt x="337" y="323"/>
                        <a:pt x="337" y="323"/>
                      </a:cubicBezTo>
                      <a:cubicBezTo>
                        <a:pt x="338" y="324"/>
                        <a:pt x="338" y="324"/>
                        <a:pt x="338" y="324"/>
                      </a:cubicBezTo>
                      <a:cubicBezTo>
                        <a:pt x="338" y="324"/>
                        <a:pt x="338" y="324"/>
                        <a:pt x="338" y="324"/>
                      </a:cubicBezTo>
                      <a:cubicBezTo>
                        <a:pt x="337" y="324"/>
                        <a:pt x="337" y="324"/>
                        <a:pt x="337" y="324"/>
                      </a:cubicBezTo>
                      <a:cubicBezTo>
                        <a:pt x="337" y="325"/>
                        <a:pt x="337" y="325"/>
                        <a:pt x="337" y="325"/>
                      </a:cubicBezTo>
                      <a:cubicBezTo>
                        <a:pt x="338" y="325"/>
                        <a:pt x="338" y="325"/>
                        <a:pt x="338" y="325"/>
                      </a:cubicBezTo>
                      <a:cubicBezTo>
                        <a:pt x="338" y="325"/>
                        <a:pt x="338" y="325"/>
                        <a:pt x="338" y="325"/>
                      </a:cubicBezTo>
                      <a:cubicBezTo>
                        <a:pt x="337" y="326"/>
                        <a:pt x="337" y="326"/>
                        <a:pt x="337" y="326"/>
                      </a:cubicBezTo>
                      <a:cubicBezTo>
                        <a:pt x="337" y="326"/>
                        <a:pt x="337" y="326"/>
                        <a:pt x="337" y="326"/>
                      </a:cubicBezTo>
                      <a:close/>
                      <a:moveTo>
                        <a:pt x="338" y="326"/>
                      </a:moveTo>
                      <a:cubicBezTo>
                        <a:pt x="338" y="326"/>
                        <a:pt x="338" y="326"/>
                        <a:pt x="338" y="326"/>
                      </a:cubicBezTo>
                      <a:cubicBezTo>
                        <a:pt x="339" y="326"/>
                        <a:pt x="339" y="326"/>
                        <a:pt x="339" y="326"/>
                      </a:cubicBezTo>
                      <a:cubicBezTo>
                        <a:pt x="339" y="326"/>
                        <a:pt x="339" y="326"/>
                        <a:pt x="339" y="326"/>
                      </a:cubicBezTo>
                      <a:cubicBezTo>
                        <a:pt x="338" y="327"/>
                        <a:pt x="338" y="327"/>
                        <a:pt x="338" y="327"/>
                      </a:cubicBezTo>
                      <a:cubicBezTo>
                        <a:pt x="338" y="326"/>
                        <a:pt x="338" y="326"/>
                        <a:pt x="338" y="326"/>
                      </a:cubicBezTo>
                      <a:close/>
                      <a:moveTo>
                        <a:pt x="347" y="296"/>
                      </a:moveTo>
                      <a:cubicBezTo>
                        <a:pt x="348" y="295"/>
                        <a:pt x="348" y="295"/>
                        <a:pt x="348" y="295"/>
                      </a:cubicBezTo>
                      <a:cubicBezTo>
                        <a:pt x="348" y="295"/>
                        <a:pt x="348" y="295"/>
                        <a:pt x="348" y="295"/>
                      </a:cubicBezTo>
                      <a:cubicBezTo>
                        <a:pt x="348" y="295"/>
                        <a:pt x="348" y="295"/>
                        <a:pt x="348" y="295"/>
                      </a:cubicBezTo>
                      <a:cubicBezTo>
                        <a:pt x="348" y="296"/>
                        <a:pt x="348" y="296"/>
                        <a:pt x="348" y="296"/>
                      </a:cubicBezTo>
                      <a:cubicBezTo>
                        <a:pt x="348" y="296"/>
                        <a:pt x="348" y="296"/>
                        <a:pt x="348" y="296"/>
                      </a:cubicBezTo>
                      <a:cubicBezTo>
                        <a:pt x="348" y="296"/>
                        <a:pt x="347" y="296"/>
                        <a:pt x="347" y="296"/>
                      </a:cubicBezTo>
                      <a:close/>
                      <a:moveTo>
                        <a:pt x="345" y="302"/>
                      </a:moveTo>
                      <a:cubicBezTo>
                        <a:pt x="345" y="303"/>
                        <a:pt x="345" y="303"/>
                        <a:pt x="345" y="303"/>
                      </a:cubicBezTo>
                      <a:cubicBezTo>
                        <a:pt x="345" y="303"/>
                        <a:pt x="345" y="303"/>
                        <a:pt x="345" y="303"/>
                      </a:cubicBezTo>
                      <a:cubicBezTo>
                        <a:pt x="345" y="303"/>
                        <a:pt x="345" y="303"/>
                        <a:pt x="345" y="303"/>
                      </a:cubicBezTo>
                      <a:cubicBezTo>
                        <a:pt x="345" y="303"/>
                        <a:pt x="345" y="303"/>
                        <a:pt x="345" y="303"/>
                      </a:cubicBezTo>
                      <a:cubicBezTo>
                        <a:pt x="345" y="302"/>
                        <a:pt x="345" y="302"/>
                        <a:pt x="345" y="302"/>
                      </a:cubicBezTo>
                      <a:cubicBezTo>
                        <a:pt x="345" y="302"/>
                        <a:pt x="345" y="302"/>
                        <a:pt x="345" y="302"/>
                      </a:cubicBezTo>
                      <a:cubicBezTo>
                        <a:pt x="345" y="302"/>
                        <a:pt x="345" y="302"/>
                        <a:pt x="345" y="302"/>
                      </a:cubicBezTo>
                      <a:close/>
                      <a:moveTo>
                        <a:pt x="349" y="310"/>
                      </a:moveTo>
                      <a:cubicBezTo>
                        <a:pt x="349" y="309"/>
                        <a:pt x="349" y="309"/>
                        <a:pt x="349" y="309"/>
                      </a:cubicBezTo>
                      <a:cubicBezTo>
                        <a:pt x="349" y="308"/>
                        <a:pt x="349" y="308"/>
                        <a:pt x="349" y="308"/>
                      </a:cubicBezTo>
                      <a:cubicBezTo>
                        <a:pt x="350" y="308"/>
                        <a:pt x="350" y="308"/>
                        <a:pt x="350" y="308"/>
                      </a:cubicBezTo>
                      <a:cubicBezTo>
                        <a:pt x="350" y="309"/>
                        <a:pt x="350" y="309"/>
                        <a:pt x="350" y="309"/>
                      </a:cubicBezTo>
                      <a:cubicBezTo>
                        <a:pt x="350" y="309"/>
                        <a:pt x="350" y="309"/>
                        <a:pt x="350" y="309"/>
                      </a:cubicBezTo>
                      <a:cubicBezTo>
                        <a:pt x="350" y="309"/>
                        <a:pt x="350" y="309"/>
                        <a:pt x="350" y="309"/>
                      </a:cubicBezTo>
                      <a:cubicBezTo>
                        <a:pt x="350" y="309"/>
                        <a:pt x="350" y="309"/>
                        <a:pt x="350" y="309"/>
                      </a:cubicBezTo>
                      <a:cubicBezTo>
                        <a:pt x="350" y="310"/>
                        <a:pt x="350" y="310"/>
                        <a:pt x="350" y="310"/>
                      </a:cubicBezTo>
                      <a:cubicBezTo>
                        <a:pt x="350" y="310"/>
                        <a:pt x="349" y="310"/>
                        <a:pt x="349" y="310"/>
                      </a:cubicBezTo>
                      <a:close/>
                      <a:moveTo>
                        <a:pt x="347" y="309"/>
                      </a:moveTo>
                      <a:cubicBezTo>
                        <a:pt x="348" y="310"/>
                        <a:pt x="348" y="310"/>
                        <a:pt x="348" y="310"/>
                      </a:cubicBezTo>
                      <a:cubicBezTo>
                        <a:pt x="348" y="309"/>
                        <a:pt x="348" y="309"/>
                        <a:pt x="348" y="309"/>
                      </a:cubicBezTo>
                      <a:cubicBezTo>
                        <a:pt x="348" y="309"/>
                        <a:pt x="348" y="309"/>
                        <a:pt x="348" y="309"/>
                      </a:cubicBezTo>
                      <a:cubicBezTo>
                        <a:pt x="348" y="309"/>
                        <a:pt x="348" y="309"/>
                        <a:pt x="348" y="309"/>
                      </a:cubicBezTo>
                      <a:cubicBezTo>
                        <a:pt x="348" y="309"/>
                        <a:pt x="348" y="309"/>
                        <a:pt x="348" y="309"/>
                      </a:cubicBezTo>
                      <a:cubicBezTo>
                        <a:pt x="348" y="309"/>
                        <a:pt x="348" y="309"/>
                        <a:pt x="348" y="309"/>
                      </a:cubicBezTo>
                      <a:cubicBezTo>
                        <a:pt x="348" y="310"/>
                        <a:pt x="348" y="310"/>
                        <a:pt x="348" y="310"/>
                      </a:cubicBezTo>
                      <a:cubicBezTo>
                        <a:pt x="347" y="310"/>
                        <a:pt x="347" y="310"/>
                        <a:pt x="347" y="310"/>
                      </a:cubicBezTo>
                      <a:cubicBezTo>
                        <a:pt x="347" y="310"/>
                        <a:pt x="347" y="310"/>
                        <a:pt x="347" y="310"/>
                      </a:cubicBezTo>
                      <a:cubicBezTo>
                        <a:pt x="347" y="310"/>
                        <a:pt x="347" y="310"/>
                        <a:pt x="347" y="310"/>
                      </a:cubicBezTo>
                      <a:cubicBezTo>
                        <a:pt x="347" y="309"/>
                        <a:pt x="347" y="309"/>
                        <a:pt x="347" y="309"/>
                      </a:cubicBezTo>
                      <a:close/>
                      <a:moveTo>
                        <a:pt x="339" y="320"/>
                      </a:moveTo>
                      <a:cubicBezTo>
                        <a:pt x="340" y="320"/>
                        <a:pt x="340" y="320"/>
                        <a:pt x="340" y="320"/>
                      </a:cubicBezTo>
                      <a:cubicBezTo>
                        <a:pt x="340" y="320"/>
                        <a:pt x="340" y="320"/>
                        <a:pt x="340" y="320"/>
                      </a:cubicBezTo>
                      <a:cubicBezTo>
                        <a:pt x="340" y="321"/>
                        <a:pt x="340" y="321"/>
                        <a:pt x="340" y="321"/>
                      </a:cubicBezTo>
                      <a:cubicBezTo>
                        <a:pt x="339" y="320"/>
                        <a:pt x="339" y="320"/>
                        <a:pt x="339" y="320"/>
                      </a:cubicBezTo>
                      <a:close/>
                      <a:moveTo>
                        <a:pt x="350" y="318"/>
                      </a:moveTo>
                      <a:cubicBezTo>
                        <a:pt x="350" y="318"/>
                        <a:pt x="350" y="318"/>
                        <a:pt x="350" y="318"/>
                      </a:cubicBezTo>
                      <a:cubicBezTo>
                        <a:pt x="350" y="318"/>
                        <a:pt x="350" y="318"/>
                        <a:pt x="350" y="318"/>
                      </a:cubicBezTo>
                      <a:cubicBezTo>
                        <a:pt x="351" y="318"/>
                        <a:pt x="351" y="318"/>
                        <a:pt x="351" y="318"/>
                      </a:cubicBezTo>
                      <a:cubicBezTo>
                        <a:pt x="351" y="318"/>
                        <a:pt x="351" y="318"/>
                        <a:pt x="351" y="318"/>
                      </a:cubicBezTo>
                      <a:cubicBezTo>
                        <a:pt x="350" y="318"/>
                        <a:pt x="350" y="318"/>
                        <a:pt x="350" y="318"/>
                      </a:cubicBezTo>
                      <a:cubicBezTo>
                        <a:pt x="350" y="318"/>
                        <a:pt x="350" y="318"/>
                        <a:pt x="350" y="318"/>
                      </a:cubicBezTo>
                      <a:close/>
                      <a:moveTo>
                        <a:pt x="339" y="301"/>
                      </a:moveTo>
                      <a:cubicBezTo>
                        <a:pt x="338" y="302"/>
                        <a:pt x="338" y="302"/>
                        <a:pt x="338" y="302"/>
                      </a:cubicBezTo>
                      <a:cubicBezTo>
                        <a:pt x="338" y="303"/>
                        <a:pt x="338" y="303"/>
                        <a:pt x="338" y="303"/>
                      </a:cubicBezTo>
                      <a:cubicBezTo>
                        <a:pt x="337" y="303"/>
                        <a:pt x="337" y="303"/>
                        <a:pt x="337" y="303"/>
                      </a:cubicBezTo>
                      <a:cubicBezTo>
                        <a:pt x="337" y="303"/>
                        <a:pt x="337" y="303"/>
                        <a:pt x="337" y="303"/>
                      </a:cubicBezTo>
                      <a:cubicBezTo>
                        <a:pt x="337" y="303"/>
                        <a:pt x="337" y="303"/>
                        <a:pt x="337" y="303"/>
                      </a:cubicBezTo>
                      <a:cubicBezTo>
                        <a:pt x="337" y="303"/>
                        <a:pt x="337" y="303"/>
                        <a:pt x="337" y="303"/>
                      </a:cubicBezTo>
                      <a:cubicBezTo>
                        <a:pt x="337" y="304"/>
                        <a:pt x="337" y="304"/>
                        <a:pt x="337" y="304"/>
                      </a:cubicBezTo>
                      <a:cubicBezTo>
                        <a:pt x="337" y="304"/>
                        <a:pt x="337" y="304"/>
                        <a:pt x="337" y="304"/>
                      </a:cubicBezTo>
                      <a:cubicBezTo>
                        <a:pt x="337" y="304"/>
                        <a:pt x="337" y="304"/>
                        <a:pt x="337" y="304"/>
                      </a:cubicBezTo>
                      <a:cubicBezTo>
                        <a:pt x="336" y="304"/>
                        <a:pt x="336" y="304"/>
                        <a:pt x="336" y="304"/>
                      </a:cubicBezTo>
                      <a:cubicBezTo>
                        <a:pt x="336" y="305"/>
                        <a:pt x="336" y="305"/>
                        <a:pt x="336" y="305"/>
                      </a:cubicBezTo>
                      <a:cubicBezTo>
                        <a:pt x="335" y="305"/>
                        <a:pt x="335" y="305"/>
                        <a:pt x="335" y="305"/>
                      </a:cubicBezTo>
                      <a:cubicBezTo>
                        <a:pt x="336" y="305"/>
                        <a:pt x="336" y="305"/>
                        <a:pt x="336" y="305"/>
                      </a:cubicBezTo>
                      <a:cubicBezTo>
                        <a:pt x="336" y="305"/>
                        <a:pt x="336" y="305"/>
                        <a:pt x="336" y="305"/>
                      </a:cubicBezTo>
                      <a:cubicBezTo>
                        <a:pt x="336" y="306"/>
                        <a:pt x="336" y="306"/>
                        <a:pt x="336" y="306"/>
                      </a:cubicBezTo>
                      <a:cubicBezTo>
                        <a:pt x="335" y="306"/>
                        <a:pt x="335" y="306"/>
                        <a:pt x="335" y="306"/>
                      </a:cubicBezTo>
                      <a:cubicBezTo>
                        <a:pt x="334" y="306"/>
                        <a:pt x="334" y="306"/>
                        <a:pt x="334" y="306"/>
                      </a:cubicBezTo>
                      <a:cubicBezTo>
                        <a:pt x="334" y="307"/>
                        <a:pt x="334" y="307"/>
                        <a:pt x="334" y="307"/>
                      </a:cubicBezTo>
                      <a:cubicBezTo>
                        <a:pt x="333" y="308"/>
                        <a:pt x="333" y="308"/>
                        <a:pt x="333" y="308"/>
                      </a:cubicBezTo>
                      <a:cubicBezTo>
                        <a:pt x="333" y="309"/>
                        <a:pt x="333" y="309"/>
                        <a:pt x="333" y="309"/>
                      </a:cubicBezTo>
                      <a:cubicBezTo>
                        <a:pt x="334" y="309"/>
                        <a:pt x="334" y="309"/>
                        <a:pt x="334" y="309"/>
                      </a:cubicBezTo>
                      <a:cubicBezTo>
                        <a:pt x="334" y="309"/>
                        <a:pt x="334" y="309"/>
                        <a:pt x="334" y="309"/>
                      </a:cubicBezTo>
                      <a:cubicBezTo>
                        <a:pt x="333" y="310"/>
                        <a:pt x="333" y="310"/>
                        <a:pt x="333" y="310"/>
                      </a:cubicBezTo>
                      <a:cubicBezTo>
                        <a:pt x="333" y="309"/>
                        <a:pt x="333" y="309"/>
                        <a:pt x="333" y="309"/>
                      </a:cubicBezTo>
                      <a:cubicBezTo>
                        <a:pt x="333" y="309"/>
                        <a:pt x="333" y="309"/>
                        <a:pt x="333" y="309"/>
                      </a:cubicBezTo>
                      <a:cubicBezTo>
                        <a:pt x="332" y="310"/>
                        <a:pt x="332" y="310"/>
                        <a:pt x="332" y="310"/>
                      </a:cubicBezTo>
                      <a:cubicBezTo>
                        <a:pt x="332" y="310"/>
                        <a:pt x="332" y="310"/>
                        <a:pt x="332" y="310"/>
                      </a:cubicBezTo>
                      <a:cubicBezTo>
                        <a:pt x="332" y="311"/>
                        <a:pt x="332" y="311"/>
                        <a:pt x="332" y="311"/>
                      </a:cubicBezTo>
                      <a:cubicBezTo>
                        <a:pt x="332" y="311"/>
                        <a:pt x="332" y="311"/>
                        <a:pt x="332" y="311"/>
                      </a:cubicBezTo>
                      <a:cubicBezTo>
                        <a:pt x="333" y="311"/>
                        <a:pt x="333" y="311"/>
                        <a:pt x="333" y="311"/>
                      </a:cubicBezTo>
                      <a:cubicBezTo>
                        <a:pt x="332" y="311"/>
                        <a:pt x="332" y="311"/>
                        <a:pt x="332" y="311"/>
                      </a:cubicBezTo>
                      <a:cubicBezTo>
                        <a:pt x="332" y="312"/>
                        <a:pt x="332" y="312"/>
                        <a:pt x="332" y="312"/>
                      </a:cubicBezTo>
                      <a:cubicBezTo>
                        <a:pt x="332" y="312"/>
                        <a:pt x="332" y="312"/>
                        <a:pt x="332" y="312"/>
                      </a:cubicBezTo>
                      <a:cubicBezTo>
                        <a:pt x="331" y="312"/>
                        <a:pt x="331" y="312"/>
                        <a:pt x="331" y="312"/>
                      </a:cubicBezTo>
                      <a:cubicBezTo>
                        <a:pt x="330" y="312"/>
                        <a:pt x="330" y="312"/>
                        <a:pt x="330" y="312"/>
                      </a:cubicBezTo>
                      <a:cubicBezTo>
                        <a:pt x="330" y="312"/>
                        <a:pt x="330" y="312"/>
                        <a:pt x="330" y="312"/>
                      </a:cubicBezTo>
                      <a:cubicBezTo>
                        <a:pt x="330" y="313"/>
                        <a:pt x="330" y="313"/>
                        <a:pt x="330" y="313"/>
                      </a:cubicBezTo>
                      <a:cubicBezTo>
                        <a:pt x="329" y="314"/>
                        <a:pt x="329" y="314"/>
                        <a:pt x="329" y="314"/>
                      </a:cubicBezTo>
                      <a:cubicBezTo>
                        <a:pt x="329" y="314"/>
                        <a:pt x="329" y="314"/>
                        <a:pt x="329" y="314"/>
                      </a:cubicBezTo>
                      <a:cubicBezTo>
                        <a:pt x="329" y="314"/>
                        <a:pt x="329" y="314"/>
                        <a:pt x="329" y="314"/>
                      </a:cubicBezTo>
                      <a:cubicBezTo>
                        <a:pt x="329" y="314"/>
                        <a:pt x="329" y="314"/>
                        <a:pt x="329" y="314"/>
                      </a:cubicBezTo>
                      <a:cubicBezTo>
                        <a:pt x="328" y="314"/>
                        <a:pt x="328" y="314"/>
                        <a:pt x="328" y="314"/>
                      </a:cubicBezTo>
                      <a:cubicBezTo>
                        <a:pt x="328" y="314"/>
                        <a:pt x="328" y="314"/>
                        <a:pt x="328" y="314"/>
                      </a:cubicBezTo>
                      <a:cubicBezTo>
                        <a:pt x="328" y="313"/>
                        <a:pt x="328" y="313"/>
                        <a:pt x="328" y="313"/>
                      </a:cubicBezTo>
                      <a:cubicBezTo>
                        <a:pt x="329" y="313"/>
                        <a:pt x="329" y="313"/>
                        <a:pt x="329" y="313"/>
                      </a:cubicBezTo>
                      <a:cubicBezTo>
                        <a:pt x="329" y="313"/>
                        <a:pt x="329" y="313"/>
                        <a:pt x="329" y="313"/>
                      </a:cubicBezTo>
                      <a:cubicBezTo>
                        <a:pt x="328" y="313"/>
                        <a:pt x="328" y="313"/>
                        <a:pt x="328" y="313"/>
                      </a:cubicBezTo>
                      <a:cubicBezTo>
                        <a:pt x="328" y="313"/>
                        <a:pt x="328" y="313"/>
                        <a:pt x="328" y="313"/>
                      </a:cubicBezTo>
                      <a:cubicBezTo>
                        <a:pt x="327" y="314"/>
                        <a:pt x="327" y="314"/>
                        <a:pt x="327" y="314"/>
                      </a:cubicBezTo>
                      <a:cubicBezTo>
                        <a:pt x="326" y="315"/>
                        <a:pt x="326" y="315"/>
                        <a:pt x="326" y="315"/>
                      </a:cubicBezTo>
                      <a:cubicBezTo>
                        <a:pt x="327" y="315"/>
                        <a:pt x="327" y="315"/>
                        <a:pt x="327" y="315"/>
                      </a:cubicBezTo>
                      <a:cubicBezTo>
                        <a:pt x="327" y="315"/>
                        <a:pt x="327" y="315"/>
                        <a:pt x="327" y="315"/>
                      </a:cubicBezTo>
                      <a:cubicBezTo>
                        <a:pt x="329" y="315"/>
                        <a:pt x="329" y="315"/>
                        <a:pt x="329" y="315"/>
                      </a:cubicBezTo>
                      <a:cubicBezTo>
                        <a:pt x="330" y="315"/>
                        <a:pt x="330" y="315"/>
                        <a:pt x="330" y="315"/>
                      </a:cubicBezTo>
                      <a:cubicBezTo>
                        <a:pt x="329" y="315"/>
                        <a:pt x="329" y="315"/>
                        <a:pt x="329" y="315"/>
                      </a:cubicBezTo>
                      <a:cubicBezTo>
                        <a:pt x="328" y="316"/>
                        <a:pt x="328" y="316"/>
                        <a:pt x="328" y="316"/>
                      </a:cubicBezTo>
                      <a:cubicBezTo>
                        <a:pt x="328" y="317"/>
                        <a:pt x="328" y="317"/>
                        <a:pt x="328" y="317"/>
                      </a:cubicBezTo>
                      <a:cubicBezTo>
                        <a:pt x="326" y="318"/>
                        <a:pt x="326" y="318"/>
                        <a:pt x="326" y="318"/>
                      </a:cubicBezTo>
                      <a:cubicBezTo>
                        <a:pt x="326" y="318"/>
                        <a:pt x="326" y="318"/>
                        <a:pt x="326" y="318"/>
                      </a:cubicBezTo>
                      <a:cubicBezTo>
                        <a:pt x="325" y="318"/>
                        <a:pt x="325" y="318"/>
                        <a:pt x="325" y="318"/>
                      </a:cubicBezTo>
                      <a:cubicBezTo>
                        <a:pt x="325" y="319"/>
                        <a:pt x="325" y="319"/>
                        <a:pt x="325" y="319"/>
                      </a:cubicBezTo>
                      <a:cubicBezTo>
                        <a:pt x="325" y="319"/>
                        <a:pt x="325" y="319"/>
                        <a:pt x="325" y="319"/>
                      </a:cubicBezTo>
                      <a:cubicBezTo>
                        <a:pt x="325" y="320"/>
                        <a:pt x="325" y="320"/>
                        <a:pt x="325" y="320"/>
                      </a:cubicBezTo>
                      <a:cubicBezTo>
                        <a:pt x="325" y="320"/>
                        <a:pt x="325" y="320"/>
                        <a:pt x="325" y="320"/>
                      </a:cubicBezTo>
                      <a:cubicBezTo>
                        <a:pt x="326" y="320"/>
                        <a:pt x="326" y="320"/>
                        <a:pt x="326" y="320"/>
                      </a:cubicBezTo>
                      <a:cubicBezTo>
                        <a:pt x="326" y="320"/>
                        <a:pt x="326" y="320"/>
                        <a:pt x="326" y="320"/>
                      </a:cubicBezTo>
                      <a:cubicBezTo>
                        <a:pt x="328" y="320"/>
                        <a:pt x="328" y="320"/>
                        <a:pt x="328" y="320"/>
                      </a:cubicBezTo>
                      <a:cubicBezTo>
                        <a:pt x="328" y="320"/>
                        <a:pt x="328" y="320"/>
                        <a:pt x="328" y="320"/>
                      </a:cubicBezTo>
                      <a:cubicBezTo>
                        <a:pt x="329" y="320"/>
                        <a:pt x="329" y="320"/>
                        <a:pt x="329" y="320"/>
                      </a:cubicBezTo>
                      <a:cubicBezTo>
                        <a:pt x="330" y="319"/>
                        <a:pt x="330" y="319"/>
                        <a:pt x="330" y="319"/>
                      </a:cubicBezTo>
                      <a:cubicBezTo>
                        <a:pt x="330" y="319"/>
                        <a:pt x="330" y="319"/>
                        <a:pt x="330" y="319"/>
                      </a:cubicBezTo>
                      <a:cubicBezTo>
                        <a:pt x="330" y="319"/>
                        <a:pt x="330" y="319"/>
                        <a:pt x="330" y="319"/>
                      </a:cubicBezTo>
                      <a:cubicBezTo>
                        <a:pt x="329" y="320"/>
                        <a:pt x="329" y="320"/>
                        <a:pt x="329" y="320"/>
                      </a:cubicBezTo>
                      <a:cubicBezTo>
                        <a:pt x="330" y="320"/>
                        <a:pt x="330" y="320"/>
                        <a:pt x="330" y="320"/>
                      </a:cubicBezTo>
                      <a:cubicBezTo>
                        <a:pt x="331" y="320"/>
                        <a:pt x="331" y="320"/>
                        <a:pt x="331" y="320"/>
                      </a:cubicBezTo>
                      <a:cubicBezTo>
                        <a:pt x="331" y="320"/>
                        <a:pt x="331" y="320"/>
                        <a:pt x="331" y="320"/>
                      </a:cubicBezTo>
                      <a:cubicBezTo>
                        <a:pt x="333" y="320"/>
                        <a:pt x="333" y="320"/>
                        <a:pt x="333" y="320"/>
                      </a:cubicBezTo>
                      <a:cubicBezTo>
                        <a:pt x="333" y="320"/>
                        <a:pt x="333" y="320"/>
                        <a:pt x="333" y="320"/>
                      </a:cubicBezTo>
                      <a:cubicBezTo>
                        <a:pt x="334" y="320"/>
                        <a:pt x="334" y="320"/>
                        <a:pt x="334" y="320"/>
                      </a:cubicBezTo>
                      <a:cubicBezTo>
                        <a:pt x="334" y="321"/>
                        <a:pt x="334" y="321"/>
                        <a:pt x="334" y="321"/>
                      </a:cubicBezTo>
                      <a:cubicBezTo>
                        <a:pt x="335" y="321"/>
                        <a:pt x="335" y="321"/>
                        <a:pt x="335" y="321"/>
                      </a:cubicBezTo>
                      <a:cubicBezTo>
                        <a:pt x="335" y="321"/>
                        <a:pt x="335" y="321"/>
                        <a:pt x="335" y="321"/>
                      </a:cubicBezTo>
                      <a:cubicBezTo>
                        <a:pt x="335" y="321"/>
                        <a:pt x="335" y="321"/>
                        <a:pt x="335" y="321"/>
                      </a:cubicBezTo>
                      <a:cubicBezTo>
                        <a:pt x="336" y="321"/>
                        <a:pt x="336" y="321"/>
                        <a:pt x="336" y="321"/>
                      </a:cubicBezTo>
                      <a:cubicBezTo>
                        <a:pt x="336" y="321"/>
                        <a:pt x="336" y="321"/>
                        <a:pt x="336" y="321"/>
                      </a:cubicBezTo>
                      <a:cubicBezTo>
                        <a:pt x="336" y="320"/>
                        <a:pt x="336" y="320"/>
                        <a:pt x="336" y="320"/>
                      </a:cubicBezTo>
                      <a:cubicBezTo>
                        <a:pt x="337" y="320"/>
                        <a:pt x="337" y="320"/>
                        <a:pt x="337" y="320"/>
                      </a:cubicBezTo>
                      <a:cubicBezTo>
                        <a:pt x="337" y="321"/>
                        <a:pt x="337" y="321"/>
                        <a:pt x="337" y="321"/>
                      </a:cubicBezTo>
                      <a:cubicBezTo>
                        <a:pt x="338" y="320"/>
                        <a:pt x="338" y="320"/>
                        <a:pt x="338" y="320"/>
                      </a:cubicBezTo>
                      <a:cubicBezTo>
                        <a:pt x="338" y="320"/>
                        <a:pt x="338" y="320"/>
                        <a:pt x="338" y="320"/>
                      </a:cubicBezTo>
                      <a:cubicBezTo>
                        <a:pt x="338" y="320"/>
                        <a:pt x="338" y="320"/>
                        <a:pt x="338" y="320"/>
                      </a:cubicBezTo>
                      <a:cubicBezTo>
                        <a:pt x="339" y="320"/>
                        <a:pt x="339" y="320"/>
                        <a:pt x="339" y="320"/>
                      </a:cubicBezTo>
                      <a:cubicBezTo>
                        <a:pt x="339" y="320"/>
                        <a:pt x="339" y="320"/>
                        <a:pt x="339" y="320"/>
                      </a:cubicBezTo>
                      <a:cubicBezTo>
                        <a:pt x="339" y="320"/>
                        <a:pt x="339" y="320"/>
                        <a:pt x="339" y="320"/>
                      </a:cubicBezTo>
                      <a:cubicBezTo>
                        <a:pt x="339" y="319"/>
                        <a:pt x="339" y="319"/>
                        <a:pt x="339" y="319"/>
                      </a:cubicBezTo>
                      <a:cubicBezTo>
                        <a:pt x="339" y="319"/>
                        <a:pt x="339" y="319"/>
                        <a:pt x="339" y="319"/>
                      </a:cubicBezTo>
                      <a:cubicBezTo>
                        <a:pt x="339" y="319"/>
                        <a:pt x="339" y="319"/>
                        <a:pt x="339" y="319"/>
                      </a:cubicBezTo>
                      <a:cubicBezTo>
                        <a:pt x="340" y="319"/>
                        <a:pt x="340" y="319"/>
                        <a:pt x="340" y="319"/>
                      </a:cubicBezTo>
                      <a:cubicBezTo>
                        <a:pt x="340" y="319"/>
                        <a:pt x="340" y="319"/>
                        <a:pt x="340" y="319"/>
                      </a:cubicBezTo>
                      <a:cubicBezTo>
                        <a:pt x="339" y="320"/>
                        <a:pt x="339" y="320"/>
                        <a:pt x="339" y="320"/>
                      </a:cubicBezTo>
                      <a:cubicBezTo>
                        <a:pt x="340" y="320"/>
                        <a:pt x="340" y="320"/>
                        <a:pt x="340" y="320"/>
                      </a:cubicBezTo>
                      <a:cubicBezTo>
                        <a:pt x="340" y="319"/>
                        <a:pt x="340" y="319"/>
                        <a:pt x="340" y="319"/>
                      </a:cubicBezTo>
                      <a:cubicBezTo>
                        <a:pt x="340" y="319"/>
                        <a:pt x="340" y="319"/>
                        <a:pt x="340" y="319"/>
                      </a:cubicBezTo>
                      <a:cubicBezTo>
                        <a:pt x="340" y="319"/>
                        <a:pt x="340" y="319"/>
                        <a:pt x="340" y="319"/>
                      </a:cubicBezTo>
                      <a:cubicBezTo>
                        <a:pt x="340" y="319"/>
                        <a:pt x="340" y="319"/>
                        <a:pt x="340" y="319"/>
                      </a:cubicBezTo>
                      <a:cubicBezTo>
                        <a:pt x="340" y="320"/>
                        <a:pt x="340" y="320"/>
                        <a:pt x="340" y="320"/>
                      </a:cubicBezTo>
                      <a:cubicBezTo>
                        <a:pt x="340" y="320"/>
                        <a:pt x="340" y="320"/>
                        <a:pt x="340" y="320"/>
                      </a:cubicBezTo>
                      <a:cubicBezTo>
                        <a:pt x="341" y="320"/>
                        <a:pt x="341" y="320"/>
                        <a:pt x="341" y="320"/>
                      </a:cubicBezTo>
                      <a:cubicBezTo>
                        <a:pt x="341" y="320"/>
                        <a:pt x="341" y="320"/>
                        <a:pt x="341" y="320"/>
                      </a:cubicBezTo>
                      <a:cubicBezTo>
                        <a:pt x="341" y="320"/>
                        <a:pt x="341" y="320"/>
                        <a:pt x="341" y="320"/>
                      </a:cubicBezTo>
                      <a:cubicBezTo>
                        <a:pt x="340" y="321"/>
                        <a:pt x="340" y="321"/>
                        <a:pt x="340" y="321"/>
                      </a:cubicBezTo>
                      <a:cubicBezTo>
                        <a:pt x="339" y="321"/>
                        <a:pt x="339" y="321"/>
                        <a:pt x="339" y="321"/>
                      </a:cubicBezTo>
                      <a:cubicBezTo>
                        <a:pt x="339" y="321"/>
                        <a:pt x="339" y="321"/>
                        <a:pt x="339" y="321"/>
                      </a:cubicBezTo>
                      <a:cubicBezTo>
                        <a:pt x="340" y="321"/>
                        <a:pt x="340" y="321"/>
                        <a:pt x="340" y="321"/>
                      </a:cubicBezTo>
                      <a:cubicBezTo>
                        <a:pt x="340" y="321"/>
                        <a:pt x="340" y="321"/>
                        <a:pt x="340" y="321"/>
                      </a:cubicBezTo>
                      <a:cubicBezTo>
                        <a:pt x="340" y="321"/>
                        <a:pt x="340" y="321"/>
                        <a:pt x="340" y="321"/>
                      </a:cubicBezTo>
                      <a:cubicBezTo>
                        <a:pt x="341" y="321"/>
                        <a:pt x="341" y="321"/>
                        <a:pt x="341" y="321"/>
                      </a:cubicBezTo>
                      <a:cubicBezTo>
                        <a:pt x="341" y="322"/>
                        <a:pt x="341" y="322"/>
                        <a:pt x="341" y="322"/>
                      </a:cubicBezTo>
                      <a:cubicBezTo>
                        <a:pt x="341" y="321"/>
                        <a:pt x="341" y="321"/>
                        <a:pt x="341" y="321"/>
                      </a:cubicBezTo>
                      <a:cubicBezTo>
                        <a:pt x="342" y="321"/>
                        <a:pt x="342" y="321"/>
                        <a:pt x="342" y="321"/>
                      </a:cubicBezTo>
                      <a:cubicBezTo>
                        <a:pt x="342" y="321"/>
                        <a:pt x="342" y="321"/>
                        <a:pt x="342" y="321"/>
                      </a:cubicBezTo>
                      <a:cubicBezTo>
                        <a:pt x="342" y="320"/>
                        <a:pt x="342" y="320"/>
                        <a:pt x="342" y="320"/>
                      </a:cubicBezTo>
                      <a:cubicBezTo>
                        <a:pt x="343" y="320"/>
                        <a:pt x="343" y="320"/>
                        <a:pt x="343" y="320"/>
                      </a:cubicBezTo>
                      <a:cubicBezTo>
                        <a:pt x="343" y="321"/>
                        <a:pt x="343" y="321"/>
                        <a:pt x="343" y="321"/>
                      </a:cubicBezTo>
                      <a:cubicBezTo>
                        <a:pt x="344" y="321"/>
                        <a:pt x="344" y="321"/>
                        <a:pt x="344" y="321"/>
                      </a:cubicBezTo>
                      <a:cubicBezTo>
                        <a:pt x="344" y="321"/>
                        <a:pt x="344" y="321"/>
                        <a:pt x="344" y="321"/>
                      </a:cubicBezTo>
                      <a:cubicBezTo>
                        <a:pt x="345" y="321"/>
                        <a:pt x="345" y="321"/>
                        <a:pt x="345" y="321"/>
                      </a:cubicBezTo>
                      <a:cubicBezTo>
                        <a:pt x="345" y="321"/>
                        <a:pt x="345" y="321"/>
                        <a:pt x="345" y="321"/>
                      </a:cubicBezTo>
                      <a:cubicBezTo>
                        <a:pt x="345" y="321"/>
                        <a:pt x="345" y="321"/>
                        <a:pt x="345" y="321"/>
                      </a:cubicBezTo>
                      <a:cubicBezTo>
                        <a:pt x="345" y="321"/>
                        <a:pt x="345" y="321"/>
                        <a:pt x="345" y="321"/>
                      </a:cubicBezTo>
                      <a:cubicBezTo>
                        <a:pt x="344" y="322"/>
                        <a:pt x="344" y="322"/>
                        <a:pt x="344" y="322"/>
                      </a:cubicBezTo>
                      <a:cubicBezTo>
                        <a:pt x="343" y="322"/>
                        <a:pt x="343" y="322"/>
                        <a:pt x="343" y="322"/>
                      </a:cubicBezTo>
                      <a:cubicBezTo>
                        <a:pt x="343" y="322"/>
                        <a:pt x="343" y="322"/>
                        <a:pt x="343" y="322"/>
                      </a:cubicBezTo>
                      <a:cubicBezTo>
                        <a:pt x="343" y="322"/>
                        <a:pt x="343" y="322"/>
                        <a:pt x="343" y="322"/>
                      </a:cubicBezTo>
                      <a:cubicBezTo>
                        <a:pt x="342" y="322"/>
                        <a:pt x="342" y="322"/>
                        <a:pt x="342" y="322"/>
                      </a:cubicBezTo>
                      <a:cubicBezTo>
                        <a:pt x="342" y="323"/>
                        <a:pt x="342" y="323"/>
                        <a:pt x="342" y="323"/>
                      </a:cubicBezTo>
                      <a:cubicBezTo>
                        <a:pt x="342" y="323"/>
                        <a:pt x="342" y="323"/>
                        <a:pt x="342" y="323"/>
                      </a:cubicBezTo>
                      <a:cubicBezTo>
                        <a:pt x="341" y="323"/>
                        <a:pt x="341" y="323"/>
                        <a:pt x="341" y="323"/>
                      </a:cubicBezTo>
                      <a:cubicBezTo>
                        <a:pt x="341" y="323"/>
                        <a:pt x="341" y="323"/>
                        <a:pt x="341" y="323"/>
                      </a:cubicBezTo>
                      <a:cubicBezTo>
                        <a:pt x="341" y="324"/>
                        <a:pt x="341" y="324"/>
                        <a:pt x="341" y="324"/>
                      </a:cubicBezTo>
                      <a:cubicBezTo>
                        <a:pt x="340" y="324"/>
                        <a:pt x="340" y="324"/>
                        <a:pt x="340" y="324"/>
                      </a:cubicBezTo>
                      <a:cubicBezTo>
                        <a:pt x="339" y="324"/>
                        <a:pt x="339" y="324"/>
                        <a:pt x="339" y="324"/>
                      </a:cubicBezTo>
                      <a:cubicBezTo>
                        <a:pt x="339" y="325"/>
                        <a:pt x="339" y="325"/>
                        <a:pt x="339" y="325"/>
                      </a:cubicBezTo>
                      <a:cubicBezTo>
                        <a:pt x="339" y="325"/>
                        <a:pt x="339" y="325"/>
                        <a:pt x="339" y="325"/>
                      </a:cubicBezTo>
                      <a:cubicBezTo>
                        <a:pt x="340" y="325"/>
                        <a:pt x="340" y="325"/>
                        <a:pt x="340" y="325"/>
                      </a:cubicBezTo>
                      <a:cubicBezTo>
                        <a:pt x="340" y="325"/>
                        <a:pt x="340" y="325"/>
                        <a:pt x="340" y="325"/>
                      </a:cubicBezTo>
                      <a:cubicBezTo>
                        <a:pt x="340" y="325"/>
                        <a:pt x="340" y="325"/>
                        <a:pt x="340" y="325"/>
                      </a:cubicBezTo>
                      <a:cubicBezTo>
                        <a:pt x="341" y="324"/>
                        <a:pt x="341" y="324"/>
                        <a:pt x="341" y="324"/>
                      </a:cubicBezTo>
                      <a:cubicBezTo>
                        <a:pt x="341" y="325"/>
                        <a:pt x="341" y="325"/>
                        <a:pt x="341" y="325"/>
                      </a:cubicBezTo>
                      <a:cubicBezTo>
                        <a:pt x="341" y="325"/>
                        <a:pt x="341" y="325"/>
                        <a:pt x="341" y="325"/>
                      </a:cubicBezTo>
                      <a:cubicBezTo>
                        <a:pt x="341" y="325"/>
                        <a:pt x="341" y="325"/>
                        <a:pt x="341" y="325"/>
                      </a:cubicBezTo>
                      <a:cubicBezTo>
                        <a:pt x="342" y="325"/>
                        <a:pt x="342" y="325"/>
                        <a:pt x="342" y="325"/>
                      </a:cubicBezTo>
                      <a:cubicBezTo>
                        <a:pt x="343" y="324"/>
                        <a:pt x="343" y="324"/>
                        <a:pt x="343" y="324"/>
                      </a:cubicBezTo>
                      <a:cubicBezTo>
                        <a:pt x="343" y="324"/>
                        <a:pt x="343" y="324"/>
                        <a:pt x="343" y="324"/>
                      </a:cubicBezTo>
                      <a:cubicBezTo>
                        <a:pt x="343" y="324"/>
                        <a:pt x="343" y="324"/>
                        <a:pt x="343" y="324"/>
                      </a:cubicBezTo>
                      <a:cubicBezTo>
                        <a:pt x="343" y="324"/>
                        <a:pt x="343" y="324"/>
                        <a:pt x="343" y="324"/>
                      </a:cubicBezTo>
                      <a:cubicBezTo>
                        <a:pt x="343" y="323"/>
                        <a:pt x="343" y="323"/>
                        <a:pt x="343" y="323"/>
                      </a:cubicBezTo>
                      <a:cubicBezTo>
                        <a:pt x="344" y="323"/>
                        <a:pt x="344" y="323"/>
                        <a:pt x="344" y="323"/>
                      </a:cubicBezTo>
                      <a:cubicBezTo>
                        <a:pt x="344" y="322"/>
                        <a:pt x="344" y="322"/>
                        <a:pt x="344" y="322"/>
                      </a:cubicBezTo>
                      <a:cubicBezTo>
                        <a:pt x="345" y="322"/>
                        <a:pt x="345" y="322"/>
                        <a:pt x="345" y="322"/>
                      </a:cubicBezTo>
                      <a:cubicBezTo>
                        <a:pt x="345" y="322"/>
                        <a:pt x="345" y="322"/>
                        <a:pt x="345" y="322"/>
                      </a:cubicBezTo>
                      <a:cubicBezTo>
                        <a:pt x="346" y="322"/>
                        <a:pt x="346" y="322"/>
                        <a:pt x="346" y="322"/>
                      </a:cubicBezTo>
                      <a:cubicBezTo>
                        <a:pt x="345" y="322"/>
                        <a:pt x="345" y="322"/>
                        <a:pt x="345" y="322"/>
                      </a:cubicBezTo>
                      <a:cubicBezTo>
                        <a:pt x="346" y="322"/>
                        <a:pt x="346" y="322"/>
                        <a:pt x="346" y="322"/>
                      </a:cubicBezTo>
                      <a:cubicBezTo>
                        <a:pt x="346" y="322"/>
                        <a:pt x="346" y="322"/>
                        <a:pt x="346" y="322"/>
                      </a:cubicBezTo>
                      <a:cubicBezTo>
                        <a:pt x="347" y="321"/>
                        <a:pt x="347" y="321"/>
                        <a:pt x="347" y="321"/>
                      </a:cubicBezTo>
                      <a:cubicBezTo>
                        <a:pt x="347" y="320"/>
                        <a:pt x="347" y="320"/>
                        <a:pt x="347" y="320"/>
                      </a:cubicBezTo>
                      <a:cubicBezTo>
                        <a:pt x="347" y="319"/>
                        <a:pt x="347" y="319"/>
                        <a:pt x="347" y="319"/>
                      </a:cubicBezTo>
                      <a:cubicBezTo>
                        <a:pt x="347" y="319"/>
                        <a:pt x="347" y="319"/>
                        <a:pt x="347" y="319"/>
                      </a:cubicBezTo>
                      <a:cubicBezTo>
                        <a:pt x="348" y="319"/>
                        <a:pt x="348" y="319"/>
                        <a:pt x="348" y="319"/>
                      </a:cubicBezTo>
                      <a:cubicBezTo>
                        <a:pt x="348" y="319"/>
                        <a:pt x="348" y="319"/>
                        <a:pt x="348" y="319"/>
                      </a:cubicBezTo>
                      <a:cubicBezTo>
                        <a:pt x="348" y="320"/>
                        <a:pt x="348" y="320"/>
                        <a:pt x="348" y="320"/>
                      </a:cubicBezTo>
                      <a:cubicBezTo>
                        <a:pt x="349" y="320"/>
                        <a:pt x="349" y="320"/>
                        <a:pt x="349" y="320"/>
                      </a:cubicBezTo>
                      <a:cubicBezTo>
                        <a:pt x="349" y="321"/>
                        <a:pt x="349" y="321"/>
                        <a:pt x="349" y="321"/>
                      </a:cubicBezTo>
                      <a:cubicBezTo>
                        <a:pt x="348" y="321"/>
                        <a:pt x="348" y="321"/>
                        <a:pt x="348" y="321"/>
                      </a:cubicBezTo>
                      <a:cubicBezTo>
                        <a:pt x="348" y="322"/>
                        <a:pt x="348" y="322"/>
                        <a:pt x="348" y="322"/>
                      </a:cubicBezTo>
                      <a:cubicBezTo>
                        <a:pt x="349" y="322"/>
                        <a:pt x="349" y="322"/>
                        <a:pt x="349" y="322"/>
                      </a:cubicBezTo>
                      <a:cubicBezTo>
                        <a:pt x="348" y="323"/>
                        <a:pt x="348" y="323"/>
                        <a:pt x="348" y="323"/>
                      </a:cubicBezTo>
                      <a:cubicBezTo>
                        <a:pt x="348" y="323"/>
                        <a:pt x="348" y="323"/>
                        <a:pt x="348" y="323"/>
                      </a:cubicBezTo>
                      <a:cubicBezTo>
                        <a:pt x="347" y="324"/>
                        <a:pt x="347" y="324"/>
                        <a:pt x="347" y="324"/>
                      </a:cubicBezTo>
                      <a:cubicBezTo>
                        <a:pt x="347" y="325"/>
                        <a:pt x="347" y="325"/>
                        <a:pt x="347" y="325"/>
                      </a:cubicBezTo>
                      <a:cubicBezTo>
                        <a:pt x="347" y="325"/>
                        <a:pt x="347" y="325"/>
                        <a:pt x="347" y="325"/>
                      </a:cubicBezTo>
                      <a:cubicBezTo>
                        <a:pt x="347" y="326"/>
                        <a:pt x="347" y="326"/>
                        <a:pt x="347" y="326"/>
                      </a:cubicBezTo>
                      <a:cubicBezTo>
                        <a:pt x="347" y="326"/>
                        <a:pt x="347" y="326"/>
                        <a:pt x="347" y="326"/>
                      </a:cubicBezTo>
                      <a:cubicBezTo>
                        <a:pt x="348" y="325"/>
                        <a:pt x="348" y="325"/>
                        <a:pt x="348" y="325"/>
                      </a:cubicBezTo>
                      <a:cubicBezTo>
                        <a:pt x="349" y="324"/>
                        <a:pt x="349" y="324"/>
                        <a:pt x="349" y="324"/>
                      </a:cubicBezTo>
                      <a:cubicBezTo>
                        <a:pt x="349" y="324"/>
                        <a:pt x="349" y="324"/>
                        <a:pt x="349" y="324"/>
                      </a:cubicBezTo>
                      <a:cubicBezTo>
                        <a:pt x="350" y="324"/>
                        <a:pt x="350" y="324"/>
                        <a:pt x="350" y="324"/>
                      </a:cubicBezTo>
                      <a:cubicBezTo>
                        <a:pt x="350" y="323"/>
                        <a:pt x="350" y="323"/>
                        <a:pt x="350" y="323"/>
                      </a:cubicBezTo>
                      <a:cubicBezTo>
                        <a:pt x="350" y="323"/>
                        <a:pt x="350" y="323"/>
                        <a:pt x="350" y="323"/>
                      </a:cubicBezTo>
                      <a:cubicBezTo>
                        <a:pt x="351" y="323"/>
                        <a:pt x="351" y="323"/>
                        <a:pt x="351" y="323"/>
                      </a:cubicBezTo>
                      <a:cubicBezTo>
                        <a:pt x="351" y="324"/>
                        <a:pt x="351" y="324"/>
                        <a:pt x="351" y="324"/>
                      </a:cubicBezTo>
                      <a:cubicBezTo>
                        <a:pt x="350" y="324"/>
                        <a:pt x="350" y="324"/>
                        <a:pt x="350" y="324"/>
                      </a:cubicBezTo>
                      <a:cubicBezTo>
                        <a:pt x="350" y="325"/>
                        <a:pt x="350" y="325"/>
                        <a:pt x="350" y="325"/>
                      </a:cubicBezTo>
                      <a:cubicBezTo>
                        <a:pt x="350" y="325"/>
                        <a:pt x="350" y="325"/>
                        <a:pt x="350" y="325"/>
                      </a:cubicBezTo>
                      <a:cubicBezTo>
                        <a:pt x="349" y="326"/>
                        <a:pt x="349" y="326"/>
                        <a:pt x="349" y="326"/>
                      </a:cubicBezTo>
                      <a:cubicBezTo>
                        <a:pt x="350" y="326"/>
                        <a:pt x="350" y="326"/>
                        <a:pt x="350" y="326"/>
                      </a:cubicBezTo>
                      <a:cubicBezTo>
                        <a:pt x="350" y="327"/>
                        <a:pt x="350" y="327"/>
                        <a:pt x="350" y="327"/>
                      </a:cubicBezTo>
                      <a:cubicBezTo>
                        <a:pt x="350" y="327"/>
                        <a:pt x="350" y="327"/>
                        <a:pt x="350" y="327"/>
                      </a:cubicBezTo>
                      <a:cubicBezTo>
                        <a:pt x="350" y="327"/>
                        <a:pt x="350" y="327"/>
                        <a:pt x="350" y="327"/>
                      </a:cubicBezTo>
                      <a:cubicBezTo>
                        <a:pt x="351" y="326"/>
                        <a:pt x="351" y="326"/>
                        <a:pt x="351" y="326"/>
                      </a:cubicBezTo>
                      <a:cubicBezTo>
                        <a:pt x="351" y="326"/>
                        <a:pt x="351" y="326"/>
                        <a:pt x="351" y="326"/>
                      </a:cubicBezTo>
                      <a:cubicBezTo>
                        <a:pt x="351" y="326"/>
                        <a:pt x="351" y="327"/>
                        <a:pt x="351" y="327"/>
                      </a:cubicBezTo>
                      <a:cubicBezTo>
                        <a:pt x="352" y="327"/>
                        <a:pt x="352" y="327"/>
                        <a:pt x="352" y="327"/>
                      </a:cubicBezTo>
                      <a:cubicBezTo>
                        <a:pt x="353" y="326"/>
                        <a:pt x="353" y="326"/>
                        <a:pt x="353" y="326"/>
                      </a:cubicBezTo>
                      <a:cubicBezTo>
                        <a:pt x="353" y="326"/>
                        <a:pt x="353" y="326"/>
                        <a:pt x="353" y="326"/>
                      </a:cubicBezTo>
                      <a:cubicBezTo>
                        <a:pt x="353" y="326"/>
                        <a:pt x="353" y="326"/>
                        <a:pt x="353" y="326"/>
                      </a:cubicBezTo>
                      <a:cubicBezTo>
                        <a:pt x="353" y="326"/>
                        <a:pt x="353" y="326"/>
                        <a:pt x="353" y="326"/>
                      </a:cubicBezTo>
                      <a:cubicBezTo>
                        <a:pt x="353" y="325"/>
                        <a:pt x="353" y="325"/>
                        <a:pt x="353" y="325"/>
                      </a:cubicBezTo>
                      <a:cubicBezTo>
                        <a:pt x="353" y="325"/>
                        <a:pt x="353" y="325"/>
                        <a:pt x="353" y="325"/>
                      </a:cubicBezTo>
                      <a:cubicBezTo>
                        <a:pt x="353" y="325"/>
                        <a:pt x="353" y="325"/>
                        <a:pt x="353" y="325"/>
                      </a:cubicBezTo>
                      <a:cubicBezTo>
                        <a:pt x="353" y="324"/>
                        <a:pt x="353" y="324"/>
                        <a:pt x="353" y="324"/>
                      </a:cubicBezTo>
                      <a:cubicBezTo>
                        <a:pt x="353" y="323"/>
                        <a:pt x="353" y="323"/>
                        <a:pt x="353" y="323"/>
                      </a:cubicBezTo>
                      <a:cubicBezTo>
                        <a:pt x="354" y="322"/>
                        <a:pt x="354" y="322"/>
                        <a:pt x="354" y="322"/>
                      </a:cubicBezTo>
                      <a:cubicBezTo>
                        <a:pt x="355" y="322"/>
                        <a:pt x="355" y="322"/>
                        <a:pt x="355" y="322"/>
                      </a:cubicBezTo>
                      <a:cubicBezTo>
                        <a:pt x="355" y="320"/>
                        <a:pt x="355" y="320"/>
                        <a:pt x="355" y="320"/>
                      </a:cubicBezTo>
                      <a:cubicBezTo>
                        <a:pt x="354" y="320"/>
                        <a:pt x="354" y="320"/>
                        <a:pt x="354" y="320"/>
                      </a:cubicBezTo>
                      <a:cubicBezTo>
                        <a:pt x="354" y="320"/>
                        <a:pt x="354" y="320"/>
                        <a:pt x="354" y="320"/>
                      </a:cubicBezTo>
                      <a:cubicBezTo>
                        <a:pt x="354" y="320"/>
                        <a:pt x="354" y="320"/>
                        <a:pt x="354" y="320"/>
                      </a:cubicBezTo>
                      <a:cubicBezTo>
                        <a:pt x="354" y="321"/>
                        <a:pt x="354" y="321"/>
                        <a:pt x="354" y="321"/>
                      </a:cubicBezTo>
                      <a:cubicBezTo>
                        <a:pt x="353" y="321"/>
                        <a:pt x="353" y="321"/>
                        <a:pt x="353" y="321"/>
                      </a:cubicBezTo>
                      <a:cubicBezTo>
                        <a:pt x="353" y="322"/>
                        <a:pt x="353" y="322"/>
                        <a:pt x="353" y="322"/>
                      </a:cubicBezTo>
                      <a:cubicBezTo>
                        <a:pt x="352" y="322"/>
                        <a:pt x="352" y="322"/>
                        <a:pt x="352" y="322"/>
                      </a:cubicBezTo>
                      <a:cubicBezTo>
                        <a:pt x="352" y="322"/>
                        <a:pt x="352" y="322"/>
                        <a:pt x="352" y="322"/>
                      </a:cubicBezTo>
                      <a:cubicBezTo>
                        <a:pt x="352" y="321"/>
                        <a:pt x="352" y="321"/>
                        <a:pt x="352" y="321"/>
                      </a:cubicBezTo>
                      <a:cubicBezTo>
                        <a:pt x="352" y="320"/>
                        <a:pt x="352" y="320"/>
                        <a:pt x="352" y="320"/>
                      </a:cubicBezTo>
                      <a:cubicBezTo>
                        <a:pt x="353" y="320"/>
                        <a:pt x="353" y="320"/>
                        <a:pt x="353" y="320"/>
                      </a:cubicBezTo>
                      <a:cubicBezTo>
                        <a:pt x="353" y="319"/>
                        <a:pt x="353" y="319"/>
                        <a:pt x="353" y="319"/>
                      </a:cubicBezTo>
                      <a:cubicBezTo>
                        <a:pt x="354" y="319"/>
                        <a:pt x="354" y="319"/>
                        <a:pt x="354" y="319"/>
                      </a:cubicBezTo>
                      <a:cubicBezTo>
                        <a:pt x="354" y="319"/>
                        <a:pt x="354" y="319"/>
                        <a:pt x="354" y="319"/>
                      </a:cubicBezTo>
                      <a:cubicBezTo>
                        <a:pt x="354" y="319"/>
                        <a:pt x="354" y="319"/>
                        <a:pt x="354" y="319"/>
                      </a:cubicBezTo>
                      <a:cubicBezTo>
                        <a:pt x="354" y="318"/>
                        <a:pt x="354" y="318"/>
                        <a:pt x="354" y="318"/>
                      </a:cubicBezTo>
                      <a:cubicBezTo>
                        <a:pt x="354" y="319"/>
                        <a:pt x="354" y="319"/>
                        <a:pt x="354" y="319"/>
                      </a:cubicBezTo>
                      <a:cubicBezTo>
                        <a:pt x="353" y="319"/>
                        <a:pt x="353" y="319"/>
                        <a:pt x="353" y="319"/>
                      </a:cubicBezTo>
                      <a:cubicBezTo>
                        <a:pt x="353" y="319"/>
                        <a:pt x="353" y="319"/>
                        <a:pt x="353" y="319"/>
                      </a:cubicBezTo>
                      <a:cubicBezTo>
                        <a:pt x="352" y="319"/>
                        <a:pt x="352" y="319"/>
                        <a:pt x="352" y="319"/>
                      </a:cubicBezTo>
                      <a:cubicBezTo>
                        <a:pt x="352" y="319"/>
                        <a:pt x="352" y="319"/>
                        <a:pt x="352" y="319"/>
                      </a:cubicBezTo>
                      <a:cubicBezTo>
                        <a:pt x="352" y="320"/>
                        <a:pt x="352" y="320"/>
                        <a:pt x="352" y="320"/>
                      </a:cubicBezTo>
                      <a:cubicBezTo>
                        <a:pt x="351" y="321"/>
                        <a:pt x="351" y="321"/>
                        <a:pt x="351" y="321"/>
                      </a:cubicBezTo>
                      <a:cubicBezTo>
                        <a:pt x="351" y="321"/>
                        <a:pt x="351" y="321"/>
                        <a:pt x="351" y="321"/>
                      </a:cubicBezTo>
                      <a:cubicBezTo>
                        <a:pt x="350" y="321"/>
                        <a:pt x="350" y="321"/>
                        <a:pt x="350" y="321"/>
                      </a:cubicBezTo>
                      <a:cubicBezTo>
                        <a:pt x="349" y="321"/>
                        <a:pt x="349" y="321"/>
                        <a:pt x="349" y="321"/>
                      </a:cubicBezTo>
                      <a:cubicBezTo>
                        <a:pt x="349" y="320"/>
                        <a:pt x="349" y="320"/>
                        <a:pt x="349" y="320"/>
                      </a:cubicBezTo>
                      <a:cubicBezTo>
                        <a:pt x="349" y="320"/>
                        <a:pt x="349" y="320"/>
                        <a:pt x="349" y="320"/>
                      </a:cubicBezTo>
                      <a:cubicBezTo>
                        <a:pt x="349" y="319"/>
                        <a:pt x="349" y="319"/>
                        <a:pt x="349" y="319"/>
                      </a:cubicBezTo>
                      <a:cubicBezTo>
                        <a:pt x="349" y="320"/>
                        <a:pt x="349" y="320"/>
                        <a:pt x="349" y="320"/>
                      </a:cubicBezTo>
                      <a:cubicBezTo>
                        <a:pt x="350" y="320"/>
                        <a:pt x="350" y="320"/>
                        <a:pt x="350" y="320"/>
                      </a:cubicBezTo>
                      <a:cubicBezTo>
                        <a:pt x="350" y="319"/>
                        <a:pt x="350" y="319"/>
                        <a:pt x="350" y="319"/>
                      </a:cubicBezTo>
                      <a:cubicBezTo>
                        <a:pt x="350" y="319"/>
                        <a:pt x="350" y="319"/>
                        <a:pt x="350" y="319"/>
                      </a:cubicBezTo>
                      <a:cubicBezTo>
                        <a:pt x="349" y="319"/>
                        <a:pt x="349" y="319"/>
                        <a:pt x="349" y="319"/>
                      </a:cubicBezTo>
                      <a:cubicBezTo>
                        <a:pt x="350" y="319"/>
                        <a:pt x="350" y="319"/>
                        <a:pt x="350" y="319"/>
                      </a:cubicBezTo>
                      <a:cubicBezTo>
                        <a:pt x="350" y="319"/>
                        <a:pt x="350" y="319"/>
                        <a:pt x="350" y="319"/>
                      </a:cubicBezTo>
                      <a:cubicBezTo>
                        <a:pt x="350" y="319"/>
                        <a:pt x="350" y="319"/>
                        <a:pt x="350" y="319"/>
                      </a:cubicBezTo>
                      <a:cubicBezTo>
                        <a:pt x="349" y="318"/>
                        <a:pt x="349" y="318"/>
                        <a:pt x="349" y="318"/>
                      </a:cubicBezTo>
                      <a:cubicBezTo>
                        <a:pt x="349" y="318"/>
                        <a:pt x="349" y="318"/>
                        <a:pt x="349" y="318"/>
                      </a:cubicBezTo>
                      <a:cubicBezTo>
                        <a:pt x="350" y="318"/>
                        <a:pt x="350" y="318"/>
                        <a:pt x="350" y="318"/>
                      </a:cubicBezTo>
                      <a:cubicBezTo>
                        <a:pt x="350" y="318"/>
                        <a:pt x="350" y="318"/>
                        <a:pt x="350" y="318"/>
                      </a:cubicBezTo>
                      <a:cubicBezTo>
                        <a:pt x="351" y="318"/>
                        <a:pt x="351" y="318"/>
                        <a:pt x="351" y="318"/>
                      </a:cubicBezTo>
                      <a:cubicBezTo>
                        <a:pt x="351" y="317"/>
                        <a:pt x="351" y="317"/>
                        <a:pt x="351" y="317"/>
                      </a:cubicBezTo>
                      <a:cubicBezTo>
                        <a:pt x="352" y="316"/>
                        <a:pt x="352" y="316"/>
                        <a:pt x="352" y="316"/>
                      </a:cubicBezTo>
                      <a:cubicBezTo>
                        <a:pt x="352" y="316"/>
                        <a:pt x="352" y="316"/>
                        <a:pt x="352" y="316"/>
                      </a:cubicBezTo>
                      <a:cubicBezTo>
                        <a:pt x="353" y="316"/>
                        <a:pt x="353" y="316"/>
                        <a:pt x="353" y="316"/>
                      </a:cubicBezTo>
                      <a:cubicBezTo>
                        <a:pt x="353" y="316"/>
                        <a:pt x="353" y="316"/>
                        <a:pt x="353" y="316"/>
                      </a:cubicBezTo>
                      <a:cubicBezTo>
                        <a:pt x="354" y="315"/>
                        <a:pt x="354" y="315"/>
                        <a:pt x="354" y="315"/>
                      </a:cubicBezTo>
                      <a:cubicBezTo>
                        <a:pt x="354" y="315"/>
                        <a:pt x="354" y="315"/>
                        <a:pt x="354" y="315"/>
                      </a:cubicBezTo>
                      <a:cubicBezTo>
                        <a:pt x="353" y="314"/>
                        <a:pt x="353" y="314"/>
                        <a:pt x="353" y="314"/>
                      </a:cubicBezTo>
                      <a:cubicBezTo>
                        <a:pt x="353" y="315"/>
                        <a:pt x="353" y="315"/>
                        <a:pt x="353" y="315"/>
                      </a:cubicBezTo>
                      <a:cubicBezTo>
                        <a:pt x="352" y="315"/>
                        <a:pt x="352" y="315"/>
                        <a:pt x="352" y="315"/>
                      </a:cubicBezTo>
                      <a:cubicBezTo>
                        <a:pt x="352" y="315"/>
                        <a:pt x="352" y="315"/>
                        <a:pt x="352" y="315"/>
                      </a:cubicBezTo>
                      <a:cubicBezTo>
                        <a:pt x="352" y="315"/>
                        <a:pt x="352" y="315"/>
                        <a:pt x="352" y="315"/>
                      </a:cubicBezTo>
                      <a:cubicBezTo>
                        <a:pt x="352" y="315"/>
                        <a:pt x="352" y="315"/>
                        <a:pt x="352" y="315"/>
                      </a:cubicBezTo>
                      <a:cubicBezTo>
                        <a:pt x="352" y="316"/>
                        <a:pt x="352" y="316"/>
                        <a:pt x="352" y="316"/>
                      </a:cubicBezTo>
                      <a:cubicBezTo>
                        <a:pt x="351" y="316"/>
                        <a:pt x="351" y="316"/>
                        <a:pt x="351" y="316"/>
                      </a:cubicBezTo>
                      <a:cubicBezTo>
                        <a:pt x="351" y="316"/>
                        <a:pt x="351" y="316"/>
                        <a:pt x="351" y="316"/>
                      </a:cubicBezTo>
                      <a:cubicBezTo>
                        <a:pt x="350" y="316"/>
                        <a:pt x="350" y="316"/>
                        <a:pt x="350" y="316"/>
                      </a:cubicBezTo>
                      <a:cubicBezTo>
                        <a:pt x="350" y="317"/>
                        <a:pt x="350" y="317"/>
                        <a:pt x="350" y="317"/>
                      </a:cubicBezTo>
                      <a:cubicBezTo>
                        <a:pt x="350" y="317"/>
                        <a:pt x="350" y="317"/>
                        <a:pt x="350" y="317"/>
                      </a:cubicBezTo>
                      <a:cubicBezTo>
                        <a:pt x="349" y="317"/>
                        <a:pt x="349" y="317"/>
                        <a:pt x="349" y="317"/>
                      </a:cubicBezTo>
                      <a:cubicBezTo>
                        <a:pt x="350" y="317"/>
                        <a:pt x="350" y="317"/>
                        <a:pt x="350" y="317"/>
                      </a:cubicBezTo>
                      <a:cubicBezTo>
                        <a:pt x="350" y="316"/>
                        <a:pt x="350" y="316"/>
                        <a:pt x="350" y="316"/>
                      </a:cubicBezTo>
                      <a:cubicBezTo>
                        <a:pt x="349" y="317"/>
                        <a:pt x="349" y="317"/>
                        <a:pt x="349" y="317"/>
                      </a:cubicBezTo>
                      <a:cubicBezTo>
                        <a:pt x="349" y="317"/>
                        <a:pt x="349" y="317"/>
                        <a:pt x="349" y="317"/>
                      </a:cubicBezTo>
                      <a:cubicBezTo>
                        <a:pt x="349" y="316"/>
                        <a:pt x="349" y="316"/>
                        <a:pt x="349" y="316"/>
                      </a:cubicBezTo>
                      <a:cubicBezTo>
                        <a:pt x="350" y="316"/>
                        <a:pt x="350" y="316"/>
                        <a:pt x="350" y="316"/>
                      </a:cubicBezTo>
                      <a:cubicBezTo>
                        <a:pt x="350" y="316"/>
                        <a:pt x="350" y="316"/>
                        <a:pt x="350" y="316"/>
                      </a:cubicBezTo>
                      <a:cubicBezTo>
                        <a:pt x="350" y="315"/>
                        <a:pt x="350" y="315"/>
                        <a:pt x="350" y="315"/>
                      </a:cubicBezTo>
                      <a:cubicBezTo>
                        <a:pt x="350" y="315"/>
                        <a:pt x="350" y="315"/>
                        <a:pt x="350" y="315"/>
                      </a:cubicBezTo>
                      <a:cubicBezTo>
                        <a:pt x="350" y="315"/>
                        <a:pt x="350" y="315"/>
                        <a:pt x="350" y="315"/>
                      </a:cubicBezTo>
                      <a:cubicBezTo>
                        <a:pt x="350" y="314"/>
                        <a:pt x="350" y="314"/>
                        <a:pt x="350" y="314"/>
                      </a:cubicBezTo>
                      <a:cubicBezTo>
                        <a:pt x="350" y="315"/>
                        <a:pt x="350" y="315"/>
                        <a:pt x="350" y="315"/>
                      </a:cubicBezTo>
                      <a:cubicBezTo>
                        <a:pt x="350" y="314"/>
                        <a:pt x="350" y="314"/>
                        <a:pt x="350" y="314"/>
                      </a:cubicBezTo>
                      <a:cubicBezTo>
                        <a:pt x="350" y="314"/>
                        <a:pt x="350" y="314"/>
                        <a:pt x="350" y="314"/>
                      </a:cubicBezTo>
                      <a:cubicBezTo>
                        <a:pt x="350" y="314"/>
                        <a:pt x="350" y="314"/>
                        <a:pt x="350" y="314"/>
                      </a:cubicBezTo>
                      <a:cubicBezTo>
                        <a:pt x="349" y="314"/>
                        <a:pt x="349" y="314"/>
                        <a:pt x="349" y="314"/>
                      </a:cubicBezTo>
                      <a:cubicBezTo>
                        <a:pt x="348" y="314"/>
                        <a:pt x="348" y="314"/>
                        <a:pt x="348" y="314"/>
                      </a:cubicBezTo>
                      <a:cubicBezTo>
                        <a:pt x="349" y="314"/>
                        <a:pt x="349" y="314"/>
                        <a:pt x="349" y="314"/>
                      </a:cubicBezTo>
                      <a:cubicBezTo>
                        <a:pt x="349" y="314"/>
                        <a:pt x="349" y="314"/>
                        <a:pt x="349" y="314"/>
                      </a:cubicBezTo>
                      <a:cubicBezTo>
                        <a:pt x="350" y="313"/>
                        <a:pt x="350" y="313"/>
                        <a:pt x="350" y="313"/>
                      </a:cubicBezTo>
                      <a:cubicBezTo>
                        <a:pt x="351" y="313"/>
                        <a:pt x="351" y="313"/>
                        <a:pt x="351" y="313"/>
                      </a:cubicBezTo>
                      <a:cubicBezTo>
                        <a:pt x="351" y="313"/>
                        <a:pt x="351" y="313"/>
                        <a:pt x="351" y="313"/>
                      </a:cubicBezTo>
                      <a:cubicBezTo>
                        <a:pt x="351" y="313"/>
                        <a:pt x="351" y="313"/>
                        <a:pt x="351" y="313"/>
                      </a:cubicBezTo>
                      <a:cubicBezTo>
                        <a:pt x="352" y="313"/>
                        <a:pt x="352" y="313"/>
                        <a:pt x="352" y="313"/>
                      </a:cubicBezTo>
                      <a:cubicBezTo>
                        <a:pt x="352" y="312"/>
                        <a:pt x="352" y="312"/>
                        <a:pt x="352" y="312"/>
                      </a:cubicBezTo>
                      <a:cubicBezTo>
                        <a:pt x="352" y="312"/>
                        <a:pt x="352" y="312"/>
                        <a:pt x="352" y="312"/>
                      </a:cubicBezTo>
                      <a:cubicBezTo>
                        <a:pt x="352" y="311"/>
                        <a:pt x="352" y="311"/>
                        <a:pt x="352" y="311"/>
                      </a:cubicBezTo>
                      <a:cubicBezTo>
                        <a:pt x="352" y="311"/>
                        <a:pt x="352" y="311"/>
                        <a:pt x="352" y="311"/>
                      </a:cubicBezTo>
                      <a:cubicBezTo>
                        <a:pt x="351" y="310"/>
                        <a:pt x="351" y="310"/>
                        <a:pt x="351" y="310"/>
                      </a:cubicBezTo>
                      <a:cubicBezTo>
                        <a:pt x="350" y="310"/>
                        <a:pt x="350" y="310"/>
                        <a:pt x="350" y="310"/>
                      </a:cubicBezTo>
                      <a:cubicBezTo>
                        <a:pt x="349" y="310"/>
                        <a:pt x="349" y="310"/>
                        <a:pt x="349" y="310"/>
                      </a:cubicBezTo>
                      <a:cubicBezTo>
                        <a:pt x="349" y="310"/>
                        <a:pt x="349" y="310"/>
                        <a:pt x="349" y="310"/>
                      </a:cubicBezTo>
                      <a:cubicBezTo>
                        <a:pt x="349" y="311"/>
                        <a:pt x="349" y="311"/>
                        <a:pt x="349" y="311"/>
                      </a:cubicBezTo>
                      <a:cubicBezTo>
                        <a:pt x="349" y="311"/>
                        <a:pt x="349" y="311"/>
                        <a:pt x="349" y="311"/>
                      </a:cubicBezTo>
                      <a:cubicBezTo>
                        <a:pt x="349" y="312"/>
                        <a:pt x="349" y="312"/>
                        <a:pt x="349" y="312"/>
                      </a:cubicBezTo>
                      <a:cubicBezTo>
                        <a:pt x="348" y="312"/>
                        <a:pt x="348" y="312"/>
                        <a:pt x="348" y="312"/>
                      </a:cubicBezTo>
                      <a:cubicBezTo>
                        <a:pt x="348" y="312"/>
                        <a:pt x="348" y="312"/>
                        <a:pt x="348" y="312"/>
                      </a:cubicBezTo>
                      <a:cubicBezTo>
                        <a:pt x="348" y="311"/>
                        <a:pt x="348" y="311"/>
                        <a:pt x="348" y="311"/>
                      </a:cubicBezTo>
                      <a:cubicBezTo>
                        <a:pt x="348" y="311"/>
                        <a:pt x="348" y="311"/>
                        <a:pt x="348" y="311"/>
                      </a:cubicBezTo>
                      <a:cubicBezTo>
                        <a:pt x="348" y="311"/>
                        <a:pt x="348" y="311"/>
                        <a:pt x="348" y="311"/>
                      </a:cubicBezTo>
                      <a:cubicBezTo>
                        <a:pt x="349" y="310"/>
                        <a:pt x="349" y="310"/>
                        <a:pt x="349" y="310"/>
                      </a:cubicBezTo>
                      <a:cubicBezTo>
                        <a:pt x="348" y="310"/>
                        <a:pt x="348" y="310"/>
                        <a:pt x="348" y="310"/>
                      </a:cubicBezTo>
                      <a:cubicBezTo>
                        <a:pt x="348" y="310"/>
                        <a:pt x="348" y="310"/>
                        <a:pt x="348" y="310"/>
                      </a:cubicBezTo>
                      <a:cubicBezTo>
                        <a:pt x="348" y="311"/>
                        <a:pt x="348" y="311"/>
                        <a:pt x="348" y="311"/>
                      </a:cubicBezTo>
                      <a:cubicBezTo>
                        <a:pt x="347" y="311"/>
                        <a:pt x="347" y="311"/>
                        <a:pt x="347" y="311"/>
                      </a:cubicBezTo>
                      <a:cubicBezTo>
                        <a:pt x="347" y="311"/>
                        <a:pt x="347" y="311"/>
                        <a:pt x="347" y="311"/>
                      </a:cubicBezTo>
                      <a:cubicBezTo>
                        <a:pt x="346" y="311"/>
                        <a:pt x="346" y="311"/>
                        <a:pt x="346" y="311"/>
                      </a:cubicBezTo>
                      <a:cubicBezTo>
                        <a:pt x="346" y="311"/>
                        <a:pt x="346" y="311"/>
                        <a:pt x="346" y="311"/>
                      </a:cubicBezTo>
                      <a:cubicBezTo>
                        <a:pt x="346" y="311"/>
                        <a:pt x="346" y="311"/>
                        <a:pt x="346" y="311"/>
                      </a:cubicBezTo>
                      <a:cubicBezTo>
                        <a:pt x="345" y="311"/>
                        <a:pt x="345" y="311"/>
                        <a:pt x="345" y="311"/>
                      </a:cubicBezTo>
                      <a:cubicBezTo>
                        <a:pt x="345" y="312"/>
                        <a:pt x="345" y="312"/>
                        <a:pt x="345" y="312"/>
                      </a:cubicBezTo>
                      <a:cubicBezTo>
                        <a:pt x="344" y="313"/>
                        <a:pt x="344" y="313"/>
                        <a:pt x="344" y="313"/>
                      </a:cubicBezTo>
                      <a:cubicBezTo>
                        <a:pt x="345" y="312"/>
                        <a:pt x="345" y="312"/>
                        <a:pt x="345" y="312"/>
                      </a:cubicBezTo>
                      <a:cubicBezTo>
                        <a:pt x="345" y="311"/>
                        <a:pt x="345" y="311"/>
                        <a:pt x="345" y="311"/>
                      </a:cubicBezTo>
                      <a:cubicBezTo>
                        <a:pt x="345" y="310"/>
                        <a:pt x="345" y="310"/>
                        <a:pt x="345" y="310"/>
                      </a:cubicBezTo>
                      <a:cubicBezTo>
                        <a:pt x="345" y="310"/>
                        <a:pt x="345" y="310"/>
                        <a:pt x="345" y="310"/>
                      </a:cubicBezTo>
                      <a:cubicBezTo>
                        <a:pt x="345" y="311"/>
                        <a:pt x="345" y="311"/>
                        <a:pt x="345" y="311"/>
                      </a:cubicBezTo>
                      <a:cubicBezTo>
                        <a:pt x="344" y="311"/>
                        <a:pt x="344" y="311"/>
                        <a:pt x="344" y="311"/>
                      </a:cubicBezTo>
                      <a:cubicBezTo>
                        <a:pt x="344" y="311"/>
                        <a:pt x="344" y="311"/>
                        <a:pt x="344" y="311"/>
                      </a:cubicBezTo>
                      <a:cubicBezTo>
                        <a:pt x="344" y="311"/>
                        <a:pt x="344" y="311"/>
                        <a:pt x="344" y="311"/>
                      </a:cubicBezTo>
                      <a:cubicBezTo>
                        <a:pt x="344" y="311"/>
                        <a:pt x="344" y="311"/>
                        <a:pt x="344" y="311"/>
                      </a:cubicBezTo>
                      <a:cubicBezTo>
                        <a:pt x="344" y="310"/>
                        <a:pt x="344" y="310"/>
                        <a:pt x="344" y="310"/>
                      </a:cubicBezTo>
                      <a:cubicBezTo>
                        <a:pt x="344" y="310"/>
                        <a:pt x="344" y="310"/>
                        <a:pt x="344" y="310"/>
                      </a:cubicBezTo>
                      <a:cubicBezTo>
                        <a:pt x="344" y="310"/>
                        <a:pt x="344" y="310"/>
                        <a:pt x="344" y="310"/>
                      </a:cubicBezTo>
                      <a:cubicBezTo>
                        <a:pt x="343" y="311"/>
                        <a:pt x="343" y="311"/>
                        <a:pt x="343" y="311"/>
                      </a:cubicBezTo>
                      <a:cubicBezTo>
                        <a:pt x="342" y="311"/>
                        <a:pt x="342" y="311"/>
                        <a:pt x="342" y="311"/>
                      </a:cubicBezTo>
                      <a:cubicBezTo>
                        <a:pt x="342" y="310"/>
                        <a:pt x="342" y="310"/>
                        <a:pt x="342" y="310"/>
                      </a:cubicBezTo>
                      <a:cubicBezTo>
                        <a:pt x="342" y="310"/>
                        <a:pt x="342" y="310"/>
                        <a:pt x="342" y="310"/>
                      </a:cubicBezTo>
                      <a:cubicBezTo>
                        <a:pt x="341" y="311"/>
                        <a:pt x="341" y="311"/>
                        <a:pt x="341" y="311"/>
                      </a:cubicBezTo>
                      <a:cubicBezTo>
                        <a:pt x="341" y="311"/>
                        <a:pt x="341" y="311"/>
                        <a:pt x="341" y="311"/>
                      </a:cubicBezTo>
                      <a:cubicBezTo>
                        <a:pt x="341" y="310"/>
                        <a:pt x="341" y="310"/>
                        <a:pt x="341" y="310"/>
                      </a:cubicBezTo>
                      <a:cubicBezTo>
                        <a:pt x="342" y="310"/>
                        <a:pt x="342" y="310"/>
                        <a:pt x="342" y="310"/>
                      </a:cubicBezTo>
                      <a:cubicBezTo>
                        <a:pt x="342" y="309"/>
                        <a:pt x="342" y="309"/>
                        <a:pt x="342" y="309"/>
                      </a:cubicBezTo>
                      <a:cubicBezTo>
                        <a:pt x="342" y="309"/>
                        <a:pt x="342" y="309"/>
                        <a:pt x="342" y="309"/>
                      </a:cubicBezTo>
                      <a:cubicBezTo>
                        <a:pt x="342" y="309"/>
                        <a:pt x="342" y="309"/>
                        <a:pt x="342" y="309"/>
                      </a:cubicBezTo>
                      <a:cubicBezTo>
                        <a:pt x="342" y="309"/>
                        <a:pt x="342" y="309"/>
                        <a:pt x="342" y="309"/>
                      </a:cubicBezTo>
                      <a:cubicBezTo>
                        <a:pt x="341" y="309"/>
                        <a:pt x="341" y="309"/>
                        <a:pt x="341" y="309"/>
                      </a:cubicBezTo>
                      <a:cubicBezTo>
                        <a:pt x="341" y="309"/>
                        <a:pt x="341" y="309"/>
                        <a:pt x="341" y="309"/>
                      </a:cubicBezTo>
                      <a:cubicBezTo>
                        <a:pt x="342" y="308"/>
                        <a:pt x="342" y="308"/>
                        <a:pt x="342" y="308"/>
                      </a:cubicBezTo>
                      <a:cubicBezTo>
                        <a:pt x="343" y="308"/>
                        <a:pt x="343" y="308"/>
                        <a:pt x="343" y="308"/>
                      </a:cubicBezTo>
                      <a:cubicBezTo>
                        <a:pt x="343" y="308"/>
                        <a:pt x="343" y="308"/>
                        <a:pt x="343" y="308"/>
                      </a:cubicBezTo>
                      <a:cubicBezTo>
                        <a:pt x="344" y="308"/>
                        <a:pt x="344" y="308"/>
                        <a:pt x="344" y="308"/>
                      </a:cubicBezTo>
                      <a:cubicBezTo>
                        <a:pt x="344" y="307"/>
                        <a:pt x="344" y="307"/>
                        <a:pt x="344" y="307"/>
                      </a:cubicBezTo>
                      <a:cubicBezTo>
                        <a:pt x="344" y="307"/>
                        <a:pt x="344" y="307"/>
                        <a:pt x="344" y="307"/>
                      </a:cubicBezTo>
                      <a:cubicBezTo>
                        <a:pt x="344" y="307"/>
                        <a:pt x="344" y="307"/>
                        <a:pt x="344" y="307"/>
                      </a:cubicBezTo>
                      <a:cubicBezTo>
                        <a:pt x="343" y="307"/>
                        <a:pt x="343" y="307"/>
                        <a:pt x="343" y="307"/>
                      </a:cubicBezTo>
                      <a:cubicBezTo>
                        <a:pt x="343" y="307"/>
                        <a:pt x="343" y="307"/>
                        <a:pt x="343" y="307"/>
                      </a:cubicBezTo>
                      <a:cubicBezTo>
                        <a:pt x="342" y="307"/>
                        <a:pt x="342" y="307"/>
                        <a:pt x="342" y="307"/>
                      </a:cubicBezTo>
                      <a:cubicBezTo>
                        <a:pt x="342" y="307"/>
                        <a:pt x="342" y="307"/>
                        <a:pt x="342" y="307"/>
                      </a:cubicBezTo>
                      <a:cubicBezTo>
                        <a:pt x="341" y="307"/>
                        <a:pt x="341" y="307"/>
                        <a:pt x="341" y="307"/>
                      </a:cubicBezTo>
                      <a:cubicBezTo>
                        <a:pt x="342" y="306"/>
                        <a:pt x="342" y="306"/>
                        <a:pt x="342" y="306"/>
                      </a:cubicBezTo>
                      <a:cubicBezTo>
                        <a:pt x="342" y="306"/>
                        <a:pt x="342" y="306"/>
                        <a:pt x="342" y="306"/>
                      </a:cubicBezTo>
                      <a:cubicBezTo>
                        <a:pt x="342" y="306"/>
                        <a:pt x="342" y="306"/>
                        <a:pt x="342" y="306"/>
                      </a:cubicBezTo>
                      <a:cubicBezTo>
                        <a:pt x="341" y="306"/>
                        <a:pt x="341" y="306"/>
                        <a:pt x="341" y="306"/>
                      </a:cubicBezTo>
                      <a:cubicBezTo>
                        <a:pt x="341" y="306"/>
                        <a:pt x="341" y="306"/>
                        <a:pt x="341" y="306"/>
                      </a:cubicBezTo>
                      <a:cubicBezTo>
                        <a:pt x="340" y="307"/>
                        <a:pt x="340" y="307"/>
                        <a:pt x="340" y="307"/>
                      </a:cubicBezTo>
                      <a:cubicBezTo>
                        <a:pt x="340" y="307"/>
                        <a:pt x="340" y="307"/>
                        <a:pt x="340" y="307"/>
                      </a:cubicBezTo>
                      <a:cubicBezTo>
                        <a:pt x="339" y="308"/>
                        <a:pt x="339" y="308"/>
                        <a:pt x="339" y="308"/>
                      </a:cubicBezTo>
                      <a:cubicBezTo>
                        <a:pt x="339" y="308"/>
                        <a:pt x="339" y="308"/>
                        <a:pt x="339" y="308"/>
                      </a:cubicBezTo>
                      <a:cubicBezTo>
                        <a:pt x="339" y="309"/>
                        <a:pt x="339" y="309"/>
                        <a:pt x="339" y="309"/>
                      </a:cubicBezTo>
                      <a:cubicBezTo>
                        <a:pt x="338" y="309"/>
                        <a:pt x="338" y="309"/>
                        <a:pt x="338" y="309"/>
                      </a:cubicBezTo>
                      <a:cubicBezTo>
                        <a:pt x="338" y="308"/>
                        <a:pt x="338" y="308"/>
                        <a:pt x="338" y="308"/>
                      </a:cubicBezTo>
                      <a:cubicBezTo>
                        <a:pt x="338" y="308"/>
                        <a:pt x="338" y="308"/>
                        <a:pt x="338" y="308"/>
                      </a:cubicBezTo>
                      <a:cubicBezTo>
                        <a:pt x="339" y="307"/>
                        <a:pt x="339" y="307"/>
                        <a:pt x="339" y="307"/>
                      </a:cubicBezTo>
                      <a:cubicBezTo>
                        <a:pt x="339" y="307"/>
                        <a:pt x="339" y="307"/>
                        <a:pt x="339" y="307"/>
                      </a:cubicBezTo>
                      <a:cubicBezTo>
                        <a:pt x="339" y="306"/>
                        <a:pt x="339" y="306"/>
                        <a:pt x="339" y="306"/>
                      </a:cubicBezTo>
                      <a:cubicBezTo>
                        <a:pt x="340" y="306"/>
                        <a:pt x="340" y="306"/>
                        <a:pt x="340" y="306"/>
                      </a:cubicBezTo>
                      <a:cubicBezTo>
                        <a:pt x="340" y="305"/>
                        <a:pt x="340" y="305"/>
                        <a:pt x="340" y="305"/>
                      </a:cubicBezTo>
                      <a:cubicBezTo>
                        <a:pt x="340" y="305"/>
                        <a:pt x="340" y="305"/>
                        <a:pt x="340" y="305"/>
                      </a:cubicBezTo>
                      <a:cubicBezTo>
                        <a:pt x="340" y="305"/>
                        <a:pt x="340" y="305"/>
                        <a:pt x="340" y="305"/>
                      </a:cubicBezTo>
                      <a:cubicBezTo>
                        <a:pt x="341" y="304"/>
                        <a:pt x="341" y="304"/>
                        <a:pt x="341" y="304"/>
                      </a:cubicBezTo>
                      <a:cubicBezTo>
                        <a:pt x="341" y="304"/>
                        <a:pt x="341" y="304"/>
                        <a:pt x="341" y="304"/>
                      </a:cubicBezTo>
                      <a:cubicBezTo>
                        <a:pt x="342" y="303"/>
                        <a:pt x="342" y="303"/>
                        <a:pt x="342" y="303"/>
                      </a:cubicBezTo>
                      <a:cubicBezTo>
                        <a:pt x="342" y="303"/>
                        <a:pt x="342" y="303"/>
                        <a:pt x="342" y="303"/>
                      </a:cubicBezTo>
                      <a:cubicBezTo>
                        <a:pt x="342" y="303"/>
                        <a:pt x="342" y="303"/>
                        <a:pt x="342" y="303"/>
                      </a:cubicBezTo>
                      <a:cubicBezTo>
                        <a:pt x="342" y="302"/>
                        <a:pt x="342" y="302"/>
                        <a:pt x="342" y="302"/>
                      </a:cubicBezTo>
                      <a:cubicBezTo>
                        <a:pt x="343" y="302"/>
                        <a:pt x="343" y="302"/>
                        <a:pt x="343" y="302"/>
                      </a:cubicBezTo>
                      <a:cubicBezTo>
                        <a:pt x="343" y="301"/>
                        <a:pt x="343" y="301"/>
                        <a:pt x="343" y="301"/>
                      </a:cubicBezTo>
                      <a:cubicBezTo>
                        <a:pt x="343" y="302"/>
                        <a:pt x="343" y="302"/>
                        <a:pt x="343" y="302"/>
                      </a:cubicBezTo>
                      <a:cubicBezTo>
                        <a:pt x="343" y="302"/>
                        <a:pt x="343" y="302"/>
                        <a:pt x="343" y="302"/>
                      </a:cubicBezTo>
                      <a:cubicBezTo>
                        <a:pt x="343" y="302"/>
                        <a:pt x="343" y="302"/>
                        <a:pt x="343" y="302"/>
                      </a:cubicBezTo>
                      <a:cubicBezTo>
                        <a:pt x="343" y="302"/>
                        <a:pt x="343" y="302"/>
                        <a:pt x="343" y="302"/>
                      </a:cubicBezTo>
                      <a:cubicBezTo>
                        <a:pt x="344" y="301"/>
                        <a:pt x="344" y="301"/>
                        <a:pt x="344" y="301"/>
                      </a:cubicBezTo>
                      <a:cubicBezTo>
                        <a:pt x="345" y="300"/>
                        <a:pt x="345" y="300"/>
                        <a:pt x="345" y="300"/>
                      </a:cubicBezTo>
                      <a:cubicBezTo>
                        <a:pt x="344" y="300"/>
                        <a:pt x="344" y="300"/>
                        <a:pt x="344" y="300"/>
                      </a:cubicBezTo>
                      <a:cubicBezTo>
                        <a:pt x="344" y="300"/>
                        <a:pt x="344" y="300"/>
                        <a:pt x="344" y="300"/>
                      </a:cubicBezTo>
                      <a:cubicBezTo>
                        <a:pt x="344" y="300"/>
                        <a:pt x="344" y="300"/>
                        <a:pt x="344" y="300"/>
                      </a:cubicBezTo>
                      <a:cubicBezTo>
                        <a:pt x="343" y="300"/>
                        <a:pt x="343" y="300"/>
                        <a:pt x="343" y="300"/>
                      </a:cubicBezTo>
                      <a:cubicBezTo>
                        <a:pt x="343" y="299"/>
                        <a:pt x="343" y="299"/>
                        <a:pt x="343" y="299"/>
                      </a:cubicBezTo>
                      <a:cubicBezTo>
                        <a:pt x="343" y="299"/>
                        <a:pt x="343" y="299"/>
                        <a:pt x="343" y="299"/>
                      </a:cubicBezTo>
                      <a:cubicBezTo>
                        <a:pt x="344" y="299"/>
                        <a:pt x="344" y="299"/>
                        <a:pt x="344" y="299"/>
                      </a:cubicBezTo>
                      <a:cubicBezTo>
                        <a:pt x="344" y="299"/>
                        <a:pt x="344" y="299"/>
                        <a:pt x="344" y="299"/>
                      </a:cubicBezTo>
                      <a:cubicBezTo>
                        <a:pt x="345" y="299"/>
                        <a:pt x="345" y="299"/>
                        <a:pt x="345" y="299"/>
                      </a:cubicBezTo>
                      <a:cubicBezTo>
                        <a:pt x="346" y="299"/>
                        <a:pt x="346" y="299"/>
                        <a:pt x="346" y="299"/>
                      </a:cubicBezTo>
                      <a:cubicBezTo>
                        <a:pt x="346" y="299"/>
                        <a:pt x="346" y="299"/>
                        <a:pt x="346" y="299"/>
                      </a:cubicBezTo>
                      <a:cubicBezTo>
                        <a:pt x="346" y="298"/>
                        <a:pt x="346" y="298"/>
                        <a:pt x="346" y="298"/>
                      </a:cubicBezTo>
                      <a:cubicBezTo>
                        <a:pt x="345" y="298"/>
                        <a:pt x="345" y="298"/>
                        <a:pt x="345" y="298"/>
                      </a:cubicBezTo>
                      <a:cubicBezTo>
                        <a:pt x="345" y="298"/>
                        <a:pt x="345" y="298"/>
                        <a:pt x="345" y="298"/>
                      </a:cubicBezTo>
                      <a:cubicBezTo>
                        <a:pt x="345" y="298"/>
                        <a:pt x="345" y="298"/>
                        <a:pt x="345" y="298"/>
                      </a:cubicBezTo>
                      <a:cubicBezTo>
                        <a:pt x="344" y="298"/>
                        <a:pt x="344" y="298"/>
                        <a:pt x="344" y="298"/>
                      </a:cubicBezTo>
                      <a:cubicBezTo>
                        <a:pt x="344" y="298"/>
                        <a:pt x="344" y="298"/>
                        <a:pt x="344" y="298"/>
                      </a:cubicBezTo>
                      <a:cubicBezTo>
                        <a:pt x="344" y="298"/>
                        <a:pt x="344" y="298"/>
                        <a:pt x="344" y="298"/>
                      </a:cubicBezTo>
                      <a:cubicBezTo>
                        <a:pt x="344" y="298"/>
                        <a:pt x="344" y="298"/>
                        <a:pt x="344" y="298"/>
                      </a:cubicBezTo>
                      <a:cubicBezTo>
                        <a:pt x="343" y="298"/>
                        <a:pt x="343" y="298"/>
                        <a:pt x="343" y="298"/>
                      </a:cubicBezTo>
                      <a:cubicBezTo>
                        <a:pt x="343" y="298"/>
                        <a:pt x="343" y="298"/>
                        <a:pt x="343" y="298"/>
                      </a:cubicBezTo>
                      <a:cubicBezTo>
                        <a:pt x="343" y="299"/>
                        <a:pt x="343" y="299"/>
                        <a:pt x="343" y="299"/>
                      </a:cubicBezTo>
                      <a:cubicBezTo>
                        <a:pt x="342" y="299"/>
                        <a:pt x="342" y="299"/>
                        <a:pt x="342" y="299"/>
                      </a:cubicBezTo>
                      <a:cubicBezTo>
                        <a:pt x="341" y="299"/>
                        <a:pt x="341" y="299"/>
                        <a:pt x="341" y="299"/>
                      </a:cubicBezTo>
                      <a:cubicBezTo>
                        <a:pt x="341" y="299"/>
                        <a:pt x="341" y="299"/>
                        <a:pt x="341" y="299"/>
                      </a:cubicBezTo>
                      <a:cubicBezTo>
                        <a:pt x="340" y="300"/>
                        <a:pt x="340" y="300"/>
                        <a:pt x="340" y="300"/>
                      </a:cubicBezTo>
                      <a:cubicBezTo>
                        <a:pt x="340" y="301"/>
                        <a:pt x="340" y="301"/>
                        <a:pt x="340" y="301"/>
                      </a:cubicBezTo>
                      <a:cubicBezTo>
                        <a:pt x="339" y="301"/>
                        <a:pt x="339" y="301"/>
                        <a:pt x="339" y="301"/>
                      </a:cubicBezTo>
                      <a:cubicBezTo>
                        <a:pt x="339" y="301"/>
                        <a:pt x="339" y="301"/>
                        <a:pt x="339" y="301"/>
                      </a:cubicBezTo>
                      <a:cubicBezTo>
                        <a:pt x="339" y="301"/>
                        <a:pt x="339" y="301"/>
                        <a:pt x="339" y="301"/>
                      </a:cubicBezTo>
                      <a:cubicBezTo>
                        <a:pt x="339" y="301"/>
                        <a:pt x="339" y="301"/>
                        <a:pt x="339" y="301"/>
                      </a:cubicBezTo>
                      <a:cubicBezTo>
                        <a:pt x="339" y="301"/>
                        <a:pt x="339" y="301"/>
                        <a:pt x="339" y="301"/>
                      </a:cubicBezTo>
                      <a:close/>
                      <a:moveTo>
                        <a:pt x="308" y="309"/>
                      </a:moveTo>
                      <a:cubicBezTo>
                        <a:pt x="309" y="309"/>
                        <a:pt x="309" y="309"/>
                        <a:pt x="309" y="309"/>
                      </a:cubicBezTo>
                      <a:cubicBezTo>
                        <a:pt x="310" y="311"/>
                        <a:pt x="310" y="311"/>
                        <a:pt x="310" y="311"/>
                      </a:cubicBezTo>
                      <a:cubicBezTo>
                        <a:pt x="312" y="311"/>
                        <a:pt x="312" y="311"/>
                        <a:pt x="312" y="311"/>
                      </a:cubicBezTo>
                      <a:cubicBezTo>
                        <a:pt x="313" y="311"/>
                        <a:pt x="313" y="311"/>
                        <a:pt x="313" y="311"/>
                      </a:cubicBezTo>
                      <a:cubicBezTo>
                        <a:pt x="313" y="311"/>
                        <a:pt x="313" y="311"/>
                        <a:pt x="313" y="311"/>
                      </a:cubicBezTo>
                      <a:cubicBezTo>
                        <a:pt x="314" y="311"/>
                        <a:pt x="314" y="311"/>
                        <a:pt x="314" y="311"/>
                      </a:cubicBezTo>
                      <a:cubicBezTo>
                        <a:pt x="315" y="312"/>
                        <a:pt x="315" y="312"/>
                        <a:pt x="315" y="312"/>
                      </a:cubicBezTo>
                      <a:cubicBezTo>
                        <a:pt x="316" y="311"/>
                        <a:pt x="316" y="311"/>
                        <a:pt x="316" y="311"/>
                      </a:cubicBezTo>
                      <a:cubicBezTo>
                        <a:pt x="316" y="311"/>
                        <a:pt x="316" y="311"/>
                        <a:pt x="316" y="311"/>
                      </a:cubicBezTo>
                      <a:cubicBezTo>
                        <a:pt x="316" y="311"/>
                        <a:pt x="316" y="311"/>
                        <a:pt x="316" y="311"/>
                      </a:cubicBezTo>
                      <a:cubicBezTo>
                        <a:pt x="315" y="310"/>
                        <a:pt x="315" y="310"/>
                        <a:pt x="315" y="310"/>
                      </a:cubicBezTo>
                      <a:cubicBezTo>
                        <a:pt x="315" y="310"/>
                        <a:pt x="315" y="310"/>
                        <a:pt x="315" y="310"/>
                      </a:cubicBezTo>
                      <a:cubicBezTo>
                        <a:pt x="314" y="310"/>
                        <a:pt x="314" y="310"/>
                        <a:pt x="314" y="310"/>
                      </a:cubicBezTo>
                      <a:cubicBezTo>
                        <a:pt x="314" y="309"/>
                        <a:pt x="314" y="309"/>
                        <a:pt x="314" y="309"/>
                      </a:cubicBezTo>
                      <a:cubicBezTo>
                        <a:pt x="313" y="308"/>
                        <a:pt x="313" y="308"/>
                        <a:pt x="313" y="308"/>
                      </a:cubicBezTo>
                      <a:cubicBezTo>
                        <a:pt x="312" y="308"/>
                        <a:pt x="312" y="308"/>
                        <a:pt x="312" y="308"/>
                      </a:cubicBezTo>
                      <a:cubicBezTo>
                        <a:pt x="311" y="307"/>
                        <a:pt x="311" y="307"/>
                        <a:pt x="311" y="307"/>
                      </a:cubicBezTo>
                      <a:cubicBezTo>
                        <a:pt x="310" y="307"/>
                        <a:pt x="310" y="307"/>
                        <a:pt x="310" y="307"/>
                      </a:cubicBezTo>
                      <a:cubicBezTo>
                        <a:pt x="309" y="307"/>
                        <a:pt x="309" y="307"/>
                        <a:pt x="309" y="307"/>
                      </a:cubicBezTo>
                      <a:cubicBezTo>
                        <a:pt x="307" y="306"/>
                        <a:pt x="307" y="306"/>
                        <a:pt x="307" y="306"/>
                      </a:cubicBezTo>
                      <a:cubicBezTo>
                        <a:pt x="306" y="306"/>
                        <a:pt x="306" y="306"/>
                        <a:pt x="306" y="306"/>
                      </a:cubicBezTo>
                      <a:cubicBezTo>
                        <a:pt x="305" y="306"/>
                        <a:pt x="305" y="306"/>
                        <a:pt x="305" y="306"/>
                      </a:cubicBezTo>
                      <a:cubicBezTo>
                        <a:pt x="305" y="307"/>
                        <a:pt x="305" y="307"/>
                        <a:pt x="305" y="307"/>
                      </a:cubicBezTo>
                      <a:cubicBezTo>
                        <a:pt x="306" y="307"/>
                        <a:pt x="306" y="307"/>
                        <a:pt x="306" y="307"/>
                      </a:cubicBezTo>
                      <a:cubicBezTo>
                        <a:pt x="308" y="308"/>
                        <a:pt x="308" y="308"/>
                        <a:pt x="308" y="308"/>
                      </a:cubicBezTo>
                      <a:cubicBezTo>
                        <a:pt x="308" y="309"/>
                        <a:pt x="308" y="309"/>
                        <a:pt x="308" y="309"/>
                      </a:cubicBezTo>
                      <a:cubicBezTo>
                        <a:pt x="308" y="309"/>
                        <a:pt x="308" y="309"/>
                        <a:pt x="308" y="309"/>
                      </a:cubicBezTo>
                      <a:close/>
                      <a:moveTo>
                        <a:pt x="308" y="329"/>
                      </a:moveTo>
                      <a:cubicBezTo>
                        <a:pt x="307" y="329"/>
                        <a:pt x="307" y="329"/>
                        <a:pt x="307" y="329"/>
                      </a:cubicBezTo>
                      <a:cubicBezTo>
                        <a:pt x="307" y="328"/>
                        <a:pt x="307" y="328"/>
                        <a:pt x="307" y="328"/>
                      </a:cubicBezTo>
                      <a:cubicBezTo>
                        <a:pt x="305" y="328"/>
                        <a:pt x="305" y="328"/>
                        <a:pt x="305" y="328"/>
                      </a:cubicBezTo>
                      <a:cubicBezTo>
                        <a:pt x="304" y="327"/>
                        <a:pt x="304" y="327"/>
                        <a:pt x="304" y="327"/>
                      </a:cubicBezTo>
                      <a:cubicBezTo>
                        <a:pt x="304" y="327"/>
                        <a:pt x="304" y="327"/>
                        <a:pt x="304" y="327"/>
                      </a:cubicBezTo>
                      <a:cubicBezTo>
                        <a:pt x="304" y="326"/>
                        <a:pt x="304" y="326"/>
                        <a:pt x="304" y="326"/>
                      </a:cubicBezTo>
                      <a:cubicBezTo>
                        <a:pt x="303" y="326"/>
                        <a:pt x="303" y="326"/>
                        <a:pt x="303" y="326"/>
                      </a:cubicBezTo>
                      <a:cubicBezTo>
                        <a:pt x="303" y="326"/>
                        <a:pt x="303" y="326"/>
                        <a:pt x="303" y="326"/>
                      </a:cubicBezTo>
                      <a:cubicBezTo>
                        <a:pt x="303" y="326"/>
                        <a:pt x="303" y="326"/>
                        <a:pt x="303" y="326"/>
                      </a:cubicBezTo>
                      <a:cubicBezTo>
                        <a:pt x="303" y="325"/>
                        <a:pt x="303" y="325"/>
                        <a:pt x="303" y="325"/>
                      </a:cubicBezTo>
                      <a:cubicBezTo>
                        <a:pt x="302" y="325"/>
                        <a:pt x="302" y="325"/>
                        <a:pt x="302" y="325"/>
                      </a:cubicBezTo>
                      <a:cubicBezTo>
                        <a:pt x="302" y="325"/>
                        <a:pt x="302" y="325"/>
                        <a:pt x="302" y="325"/>
                      </a:cubicBezTo>
                      <a:cubicBezTo>
                        <a:pt x="301" y="324"/>
                        <a:pt x="301" y="324"/>
                        <a:pt x="301" y="324"/>
                      </a:cubicBezTo>
                      <a:cubicBezTo>
                        <a:pt x="302" y="324"/>
                        <a:pt x="302" y="324"/>
                        <a:pt x="302" y="324"/>
                      </a:cubicBezTo>
                      <a:cubicBezTo>
                        <a:pt x="303" y="323"/>
                        <a:pt x="303" y="323"/>
                        <a:pt x="303" y="323"/>
                      </a:cubicBezTo>
                      <a:cubicBezTo>
                        <a:pt x="304" y="323"/>
                        <a:pt x="304" y="323"/>
                        <a:pt x="304" y="323"/>
                      </a:cubicBezTo>
                      <a:cubicBezTo>
                        <a:pt x="303" y="324"/>
                        <a:pt x="303" y="324"/>
                        <a:pt x="303" y="324"/>
                      </a:cubicBezTo>
                      <a:cubicBezTo>
                        <a:pt x="303" y="324"/>
                        <a:pt x="303" y="324"/>
                        <a:pt x="303" y="324"/>
                      </a:cubicBezTo>
                      <a:cubicBezTo>
                        <a:pt x="303" y="325"/>
                        <a:pt x="303" y="325"/>
                        <a:pt x="303" y="325"/>
                      </a:cubicBezTo>
                      <a:cubicBezTo>
                        <a:pt x="303" y="325"/>
                        <a:pt x="303" y="325"/>
                        <a:pt x="303" y="325"/>
                      </a:cubicBezTo>
                      <a:cubicBezTo>
                        <a:pt x="304" y="326"/>
                        <a:pt x="304" y="326"/>
                        <a:pt x="304" y="326"/>
                      </a:cubicBezTo>
                      <a:cubicBezTo>
                        <a:pt x="304" y="325"/>
                        <a:pt x="304" y="325"/>
                        <a:pt x="304" y="325"/>
                      </a:cubicBezTo>
                      <a:cubicBezTo>
                        <a:pt x="305" y="325"/>
                        <a:pt x="305" y="325"/>
                        <a:pt x="305" y="325"/>
                      </a:cubicBezTo>
                      <a:cubicBezTo>
                        <a:pt x="306" y="326"/>
                        <a:pt x="306" y="326"/>
                        <a:pt x="306" y="326"/>
                      </a:cubicBezTo>
                      <a:cubicBezTo>
                        <a:pt x="307" y="326"/>
                        <a:pt x="307" y="326"/>
                        <a:pt x="307" y="326"/>
                      </a:cubicBezTo>
                      <a:cubicBezTo>
                        <a:pt x="307" y="326"/>
                        <a:pt x="307" y="326"/>
                        <a:pt x="307" y="326"/>
                      </a:cubicBezTo>
                      <a:cubicBezTo>
                        <a:pt x="309" y="326"/>
                        <a:pt x="309" y="326"/>
                        <a:pt x="309" y="326"/>
                      </a:cubicBezTo>
                      <a:cubicBezTo>
                        <a:pt x="309" y="326"/>
                        <a:pt x="309" y="326"/>
                        <a:pt x="309" y="326"/>
                      </a:cubicBezTo>
                      <a:cubicBezTo>
                        <a:pt x="310" y="326"/>
                        <a:pt x="310" y="326"/>
                        <a:pt x="310" y="326"/>
                      </a:cubicBezTo>
                      <a:cubicBezTo>
                        <a:pt x="311" y="326"/>
                        <a:pt x="311" y="326"/>
                        <a:pt x="311" y="326"/>
                      </a:cubicBezTo>
                      <a:cubicBezTo>
                        <a:pt x="311" y="327"/>
                        <a:pt x="311" y="327"/>
                        <a:pt x="311" y="327"/>
                      </a:cubicBezTo>
                      <a:cubicBezTo>
                        <a:pt x="310" y="327"/>
                        <a:pt x="310" y="327"/>
                        <a:pt x="310" y="327"/>
                      </a:cubicBezTo>
                      <a:cubicBezTo>
                        <a:pt x="309" y="328"/>
                        <a:pt x="309" y="328"/>
                        <a:pt x="309" y="328"/>
                      </a:cubicBezTo>
                      <a:cubicBezTo>
                        <a:pt x="310" y="328"/>
                        <a:pt x="310" y="328"/>
                        <a:pt x="310" y="328"/>
                      </a:cubicBezTo>
                      <a:cubicBezTo>
                        <a:pt x="309" y="329"/>
                        <a:pt x="309" y="329"/>
                        <a:pt x="309" y="329"/>
                      </a:cubicBezTo>
                      <a:cubicBezTo>
                        <a:pt x="308" y="329"/>
                        <a:pt x="308" y="329"/>
                        <a:pt x="308" y="329"/>
                      </a:cubicBezTo>
                      <a:close/>
                      <a:moveTo>
                        <a:pt x="315" y="332"/>
                      </a:moveTo>
                      <a:cubicBezTo>
                        <a:pt x="315" y="331"/>
                        <a:pt x="315" y="331"/>
                        <a:pt x="315" y="331"/>
                      </a:cubicBezTo>
                      <a:cubicBezTo>
                        <a:pt x="314" y="331"/>
                        <a:pt x="314" y="331"/>
                        <a:pt x="314" y="331"/>
                      </a:cubicBezTo>
                      <a:cubicBezTo>
                        <a:pt x="314" y="330"/>
                        <a:pt x="314" y="330"/>
                        <a:pt x="314" y="330"/>
                      </a:cubicBezTo>
                      <a:cubicBezTo>
                        <a:pt x="313" y="329"/>
                        <a:pt x="313" y="329"/>
                        <a:pt x="313" y="329"/>
                      </a:cubicBezTo>
                      <a:cubicBezTo>
                        <a:pt x="314" y="328"/>
                        <a:pt x="314" y="328"/>
                        <a:pt x="314" y="328"/>
                      </a:cubicBezTo>
                      <a:cubicBezTo>
                        <a:pt x="315" y="328"/>
                        <a:pt x="315" y="328"/>
                        <a:pt x="315" y="328"/>
                      </a:cubicBezTo>
                      <a:cubicBezTo>
                        <a:pt x="316" y="326"/>
                        <a:pt x="316" y="326"/>
                        <a:pt x="316" y="326"/>
                      </a:cubicBezTo>
                      <a:cubicBezTo>
                        <a:pt x="316" y="326"/>
                        <a:pt x="316" y="326"/>
                        <a:pt x="316" y="326"/>
                      </a:cubicBezTo>
                      <a:cubicBezTo>
                        <a:pt x="317" y="325"/>
                        <a:pt x="317" y="325"/>
                        <a:pt x="317" y="325"/>
                      </a:cubicBezTo>
                      <a:cubicBezTo>
                        <a:pt x="318" y="324"/>
                        <a:pt x="318" y="324"/>
                        <a:pt x="318" y="324"/>
                      </a:cubicBezTo>
                      <a:cubicBezTo>
                        <a:pt x="318" y="324"/>
                        <a:pt x="318" y="324"/>
                        <a:pt x="318" y="324"/>
                      </a:cubicBezTo>
                      <a:cubicBezTo>
                        <a:pt x="319" y="324"/>
                        <a:pt x="319" y="324"/>
                        <a:pt x="319" y="324"/>
                      </a:cubicBezTo>
                      <a:cubicBezTo>
                        <a:pt x="319" y="324"/>
                        <a:pt x="319" y="324"/>
                        <a:pt x="319" y="324"/>
                      </a:cubicBezTo>
                      <a:cubicBezTo>
                        <a:pt x="319" y="324"/>
                        <a:pt x="319" y="324"/>
                        <a:pt x="319" y="324"/>
                      </a:cubicBezTo>
                      <a:cubicBezTo>
                        <a:pt x="320" y="325"/>
                        <a:pt x="320" y="325"/>
                        <a:pt x="320" y="325"/>
                      </a:cubicBezTo>
                      <a:cubicBezTo>
                        <a:pt x="320" y="325"/>
                        <a:pt x="320" y="325"/>
                        <a:pt x="320" y="325"/>
                      </a:cubicBezTo>
                      <a:cubicBezTo>
                        <a:pt x="318" y="327"/>
                        <a:pt x="318" y="327"/>
                        <a:pt x="318" y="327"/>
                      </a:cubicBezTo>
                      <a:cubicBezTo>
                        <a:pt x="318" y="327"/>
                        <a:pt x="318" y="327"/>
                        <a:pt x="318" y="327"/>
                      </a:cubicBezTo>
                      <a:cubicBezTo>
                        <a:pt x="319" y="328"/>
                        <a:pt x="319" y="328"/>
                        <a:pt x="319" y="328"/>
                      </a:cubicBezTo>
                      <a:cubicBezTo>
                        <a:pt x="319" y="328"/>
                        <a:pt x="319" y="328"/>
                        <a:pt x="319" y="328"/>
                      </a:cubicBezTo>
                      <a:cubicBezTo>
                        <a:pt x="319" y="329"/>
                        <a:pt x="319" y="329"/>
                        <a:pt x="319" y="329"/>
                      </a:cubicBezTo>
                      <a:cubicBezTo>
                        <a:pt x="319" y="329"/>
                        <a:pt x="319" y="329"/>
                        <a:pt x="319" y="329"/>
                      </a:cubicBezTo>
                      <a:cubicBezTo>
                        <a:pt x="320" y="329"/>
                        <a:pt x="320" y="329"/>
                        <a:pt x="320" y="329"/>
                      </a:cubicBezTo>
                      <a:cubicBezTo>
                        <a:pt x="320" y="328"/>
                        <a:pt x="320" y="328"/>
                        <a:pt x="320" y="328"/>
                      </a:cubicBezTo>
                      <a:cubicBezTo>
                        <a:pt x="320" y="328"/>
                        <a:pt x="320" y="328"/>
                        <a:pt x="320" y="328"/>
                      </a:cubicBezTo>
                      <a:cubicBezTo>
                        <a:pt x="321" y="328"/>
                        <a:pt x="321" y="328"/>
                        <a:pt x="321" y="328"/>
                      </a:cubicBezTo>
                      <a:cubicBezTo>
                        <a:pt x="321" y="329"/>
                        <a:pt x="321" y="329"/>
                        <a:pt x="321" y="329"/>
                      </a:cubicBezTo>
                      <a:cubicBezTo>
                        <a:pt x="322" y="330"/>
                        <a:pt x="322" y="330"/>
                        <a:pt x="322" y="330"/>
                      </a:cubicBezTo>
                      <a:cubicBezTo>
                        <a:pt x="321" y="330"/>
                        <a:pt x="321" y="330"/>
                        <a:pt x="321" y="330"/>
                      </a:cubicBezTo>
                      <a:cubicBezTo>
                        <a:pt x="320" y="330"/>
                        <a:pt x="320" y="330"/>
                        <a:pt x="320" y="330"/>
                      </a:cubicBezTo>
                      <a:cubicBezTo>
                        <a:pt x="319" y="330"/>
                        <a:pt x="319" y="330"/>
                        <a:pt x="319" y="330"/>
                      </a:cubicBezTo>
                      <a:cubicBezTo>
                        <a:pt x="317" y="331"/>
                        <a:pt x="317" y="331"/>
                        <a:pt x="317" y="331"/>
                      </a:cubicBezTo>
                      <a:cubicBezTo>
                        <a:pt x="317" y="331"/>
                        <a:pt x="317" y="331"/>
                        <a:pt x="317" y="331"/>
                      </a:cubicBezTo>
                      <a:cubicBezTo>
                        <a:pt x="316" y="331"/>
                        <a:pt x="316" y="331"/>
                        <a:pt x="316" y="331"/>
                      </a:cubicBezTo>
                      <a:cubicBezTo>
                        <a:pt x="316" y="331"/>
                        <a:pt x="316" y="331"/>
                        <a:pt x="316" y="331"/>
                      </a:cubicBezTo>
                      <a:cubicBezTo>
                        <a:pt x="316" y="332"/>
                        <a:pt x="316" y="332"/>
                        <a:pt x="316" y="332"/>
                      </a:cubicBezTo>
                      <a:cubicBezTo>
                        <a:pt x="315" y="332"/>
                        <a:pt x="315" y="332"/>
                        <a:pt x="315" y="332"/>
                      </a:cubicBezTo>
                      <a:close/>
                      <a:moveTo>
                        <a:pt x="241" y="280"/>
                      </a:moveTo>
                      <a:cubicBezTo>
                        <a:pt x="241" y="281"/>
                        <a:pt x="241" y="281"/>
                        <a:pt x="241" y="281"/>
                      </a:cubicBezTo>
                      <a:cubicBezTo>
                        <a:pt x="242" y="281"/>
                        <a:pt x="242" y="281"/>
                        <a:pt x="242" y="281"/>
                      </a:cubicBezTo>
                      <a:cubicBezTo>
                        <a:pt x="242" y="281"/>
                        <a:pt x="242" y="281"/>
                        <a:pt x="242" y="281"/>
                      </a:cubicBezTo>
                      <a:cubicBezTo>
                        <a:pt x="242" y="280"/>
                        <a:pt x="242" y="280"/>
                        <a:pt x="242" y="280"/>
                      </a:cubicBezTo>
                      <a:cubicBezTo>
                        <a:pt x="242" y="280"/>
                        <a:pt x="242" y="280"/>
                        <a:pt x="242" y="280"/>
                      </a:cubicBezTo>
                      <a:cubicBezTo>
                        <a:pt x="241" y="280"/>
                        <a:pt x="241" y="280"/>
                        <a:pt x="241" y="280"/>
                      </a:cubicBezTo>
                      <a:close/>
                      <a:moveTo>
                        <a:pt x="241" y="290"/>
                      </a:moveTo>
                      <a:cubicBezTo>
                        <a:pt x="242" y="289"/>
                        <a:pt x="242" y="289"/>
                        <a:pt x="242" y="289"/>
                      </a:cubicBezTo>
                      <a:cubicBezTo>
                        <a:pt x="242" y="289"/>
                        <a:pt x="242" y="289"/>
                        <a:pt x="242" y="289"/>
                      </a:cubicBezTo>
                      <a:cubicBezTo>
                        <a:pt x="243" y="289"/>
                        <a:pt x="243" y="289"/>
                        <a:pt x="243" y="289"/>
                      </a:cubicBezTo>
                      <a:cubicBezTo>
                        <a:pt x="243" y="289"/>
                        <a:pt x="243" y="289"/>
                        <a:pt x="243" y="289"/>
                      </a:cubicBezTo>
                      <a:cubicBezTo>
                        <a:pt x="242" y="290"/>
                        <a:pt x="242" y="290"/>
                        <a:pt x="242" y="290"/>
                      </a:cubicBezTo>
                      <a:cubicBezTo>
                        <a:pt x="241" y="290"/>
                        <a:pt x="241" y="290"/>
                        <a:pt x="241" y="290"/>
                      </a:cubicBezTo>
                      <a:close/>
                      <a:moveTo>
                        <a:pt x="232" y="283"/>
                      </a:moveTo>
                      <a:cubicBezTo>
                        <a:pt x="233" y="282"/>
                        <a:pt x="233" y="282"/>
                        <a:pt x="233" y="282"/>
                      </a:cubicBezTo>
                      <a:cubicBezTo>
                        <a:pt x="234" y="282"/>
                        <a:pt x="234" y="282"/>
                        <a:pt x="234" y="282"/>
                      </a:cubicBezTo>
                      <a:cubicBezTo>
                        <a:pt x="234" y="281"/>
                        <a:pt x="234" y="281"/>
                        <a:pt x="234" y="281"/>
                      </a:cubicBezTo>
                      <a:cubicBezTo>
                        <a:pt x="235" y="281"/>
                        <a:pt x="235" y="281"/>
                        <a:pt x="235" y="281"/>
                      </a:cubicBezTo>
                      <a:cubicBezTo>
                        <a:pt x="236" y="281"/>
                        <a:pt x="236" y="281"/>
                        <a:pt x="236" y="281"/>
                      </a:cubicBezTo>
                      <a:cubicBezTo>
                        <a:pt x="236" y="281"/>
                        <a:pt x="236" y="281"/>
                        <a:pt x="236" y="281"/>
                      </a:cubicBezTo>
                      <a:cubicBezTo>
                        <a:pt x="237" y="281"/>
                        <a:pt x="237" y="281"/>
                        <a:pt x="237" y="281"/>
                      </a:cubicBezTo>
                      <a:cubicBezTo>
                        <a:pt x="238" y="282"/>
                        <a:pt x="238" y="282"/>
                        <a:pt x="238" y="282"/>
                      </a:cubicBezTo>
                      <a:cubicBezTo>
                        <a:pt x="238" y="283"/>
                        <a:pt x="238" y="283"/>
                        <a:pt x="238" y="283"/>
                      </a:cubicBezTo>
                      <a:cubicBezTo>
                        <a:pt x="238" y="283"/>
                        <a:pt x="238" y="283"/>
                        <a:pt x="238" y="283"/>
                      </a:cubicBezTo>
                      <a:cubicBezTo>
                        <a:pt x="238" y="284"/>
                        <a:pt x="238" y="284"/>
                        <a:pt x="238" y="284"/>
                      </a:cubicBezTo>
                      <a:cubicBezTo>
                        <a:pt x="236" y="284"/>
                        <a:pt x="236" y="284"/>
                        <a:pt x="236" y="284"/>
                      </a:cubicBezTo>
                      <a:cubicBezTo>
                        <a:pt x="235" y="283"/>
                        <a:pt x="235" y="283"/>
                        <a:pt x="235" y="283"/>
                      </a:cubicBezTo>
                      <a:cubicBezTo>
                        <a:pt x="234" y="283"/>
                        <a:pt x="234" y="283"/>
                        <a:pt x="234" y="283"/>
                      </a:cubicBezTo>
                      <a:cubicBezTo>
                        <a:pt x="234" y="284"/>
                        <a:pt x="234" y="284"/>
                        <a:pt x="234" y="284"/>
                      </a:cubicBezTo>
                      <a:cubicBezTo>
                        <a:pt x="234" y="284"/>
                        <a:pt x="234" y="284"/>
                        <a:pt x="234" y="284"/>
                      </a:cubicBezTo>
                      <a:cubicBezTo>
                        <a:pt x="234" y="283"/>
                        <a:pt x="234" y="283"/>
                        <a:pt x="234" y="283"/>
                      </a:cubicBezTo>
                      <a:cubicBezTo>
                        <a:pt x="234" y="283"/>
                        <a:pt x="234" y="283"/>
                        <a:pt x="234" y="283"/>
                      </a:cubicBezTo>
                      <a:cubicBezTo>
                        <a:pt x="233" y="283"/>
                        <a:pt x="233" y="283"/>
                        <a:pt x="233" y="283"/>
                      </a:cubicBezTo>
                      <a:cubicBezTo>
                        <a:pt x="232" y="283"/>
                        <a:pt x="232" y="283"/>
                        <a:pt x="232" y="283"/>
                      </a:cubicBezTo>
                      <a:close/>
                      <a:moveTo>
                        <a:pt x="37" y="286"/>
                      </a:moveTo>
                      <a:cubicBezTo>
                        <a:pt x="38" y="287"/>
                        <a:pt x="38" y="287"/>
                        <a:pt x="38" y="287"/>
                      </a:cubicBezTo>
                      <a:cubicBezTo>
                        <a:pt x="39" y="288"/>
                        <a:pt x="39" y="288"/>
                        <a:pt x="39" y="288"/>
                      </a:cubicBezTo>
                      <a:cubicBezTo>
                        <a:pt x="38" y="288"/>
                        <a:pt x="38" y="288"/>
                        <a:pt x="38" y="288"/>
                      </a:cubicBezTo>
                      <a:cubicBezTo>
                        <a:pt x="37" y="287"/>
                        <a:pt x="37" y="287"/>
                        <a:pt x="37" y="287"/>
                      </a:cubicBezTo>
                      <a:cubicBezTo>
                        <a:pt x="37" y="286"/>
                        <a:pt x="37" y="286"/>
                        <a:pt x="37" y="286"/>
                      </a:cubicBezTo>
                      <a:close/>
                      <a:moveTo>
                        <a:pt x="35" y="284"/>
                      </a:moveTo>
                      <a:cubicBezTo>
                        <a:pt x="35" y="283"/>
                        <a:pt x="35" y="283"/>
                        <a:pt x="35" y="283"/>
                      </a:cubicBezTo>
                      <a:cubicBezTo>
                        <a:pt x="36" y="283"/>
                        <a:pt x="36" y="283"/>
                        <a:pt x="36" y="283"/>
                      </a:cubicBezTo>
                      <a:cubicBezTo>
                        <a:pt x="35" y="284"/>
                        <a:pt x="35" y="284"/>
                        <a:pt x="35" y="284"/>
                      </a:cubicBezTo>
                      <a:close/>
                      <a:moveTo>
                        <a:pt x="30" y="280"/>
                      </a:moveTo>
                      <a:cubicBezTo>
                        <a:pt x="31" y="281"/>
                        <a:pt x="31" y="281"/>
                        <a:pt x="31" y="281"/>
                      </a:cubicBezTo>
                      <a:cubicBezTo>
                        <a:pt x="31" y="280"/>
                        <a:pt x="31" y="280"/>
                        <a:pt x="31" y="280"/>
                      </a:cubicBezTo>
                      <a:cubicBezTo>
                        <a:pt x="30" y="280"/>
                        <a:pt x="30" y="280"/>
                        <a:pt x="30" y="280"/>
                      </a:cubicBezTo>
                      <a:close/>
                      <a:moveTo>
                        <a:pt x="22" y="277"/>
                      </a:moveTo>
                      <a:cubicBezTo>
                        <a:pt x="22" y="278"/>
                        <a:pt x="22" y="278"/>
                        <a:pt x="22" y="278"/>
                      </a:cubicBezTo>
                      <a:cubicBezTo>
                        <a:pt x="23" y="278"/>
                        <a:pt x="23" y="278"/>
                        <a:pt x="23" y="278"/>
                      </a:cubicBezTo>
                      <a:cubicBezTo>
                        <a:pt x="23" y="279"/>
                        <a:pt x="23" y="279"/>
                        <a:pt x="23" y="279"/>
                      </a:cubicBezTo>
                      <a:cubicBezTo>
                        <a:pt x="26" y="280"/>
                        <a:pt x="26" y="280"/>
                        <a:pt x="26" y="280"/>
                      </a:cubicBezTo>
                      <a:cubicBezTo>
                        <a:pt x="25" y="280"/>
                        <a:pt x="25" y="280"/>
                        <a:pt x="25" y="280"/>
                      </a:cubicBezTo>
                      <a:cubicBezTo>
                        <a:pt x="23" y="280"/>
                        <a:pt x="23" y="280"/>
                        <a:pt x="23" y="280"/>
                      </a:cubicBezTo>
                      <a:cubicBezTo>
                        <a:pt x="23" y="281"/>
                        <a:pt x="23" y="281"/>
                        <a:pt x="23" y="281"/>
                      </a:cubicBezTo>
                      <a:cubicBezTo>
                        <a:pt x="23" y="281"/>
                        <a:pt x="23" y="281"/>
                        <a:pt x="23" y="281"/>
                      </a:cubicBezTo>
                      <a:cubicBezTo>
                        <a:pt x="23" y="282"/>
                        <a:pt x="23" y="282"/>
                        <a:pt x="23" y="282"/>
                      </a:cubicBezTo>
                      <a:cubicBezTo>
                        <a:pt x="23" y="283"/>
                        <a:pt x="23" y="283"/>
                        <a:pt x="23" y="283"/>
                      </a:cubicBezTo>
                      <a:cubicBezTo>
                        <a:pt x="24" y="282"/>
                        <a:pt x="24" y="282"/>
                        <a:pt x="24" y="282"/>
                      </a:cubicBezTo>
                      <a:cubicBezTo>
                        <a:pt x="24" y="283"/>
                        <a:pt x="24" y="283"/>
                        <a:pt x="24" y="283"/>
                      </a:cubicBezTo>
                      <a:cubicBezTo>
                        <a:pt x="25" y="283"/>
                        <a:pt x="25" y="283"/>
                        <a:pt x="25" y="283"/>
                      </a:cubicBezTo>
                      <a:cubicBezTo>
                        <a:pt x="25" y="284"/>
                        <a:pt x="25" y="284"/>
                        <a:pt x="25" y="284"/>
                      </a:cubicBezTo>
                      <a:cubicBezTo>
                        <a:pt x="26" y="284"/>
                        <a:pt x="26" y="284"/>
                        <a:pt x="26" y="284"/>
                      </a:cubicBezTo>
                      <a:cubicBezTo>
                        <a:pt x="27" y="284"/>
                        <a:pt x="27" y="284"/>
                        <a:pt x="27" y="284"/>
                      </a:cubicBezTo>
                      <a:cubicBezTo>
                        <a:pt x="26" y="285"/>
                        <a:pt x="26" y="285"/>
                        <a:pt x="26" y="285"/>
                      </a:cubicBezTo>
                      <a:cubicBezTo>
                        <a:pt x="27" y="286"/>
                        <a:pt x="27" y="286"/>
                        <a:pt x="27" y="286"/>
                      </a:cubicBezTo>
                      <a:cubicBezTo>
                        <a:pt x="27" y="286"/>
                        <a:pt x="27" y="286"/>
                        <a:pt x="27" y="286"/>
                      </a:cubicBezTo>
                      <a:cubicBezTo>
                        <a:pt x="27" y="285"/>
                        <a:pt x="27" y="285"/>
                        <a:pt x="27" y="285"/>
                      </a:cubicBezTo>
                      <a:cubicBezTo>
                        <a:pt x="29" y="285"/>
                        <a:pt x="29" y="285"/>
                        <a:pt x="29" y="285"/>
                      </a:cubicBezTo>
                      <a:cubicBezTo>
                        <a:pt x="28" y="286"/>
                        <a:pt x="28" y="286"/>
                        <a:pt x="28" y="286"/>
                      </a:cubicBezTo>
                      <a:cubicBezTo>
                        <a:pt x="27" y="287"/>
                        <a:pt x="27" y="287"/>
                        <a:pt x="27" y="287"/>
                      </a:cubicBezTo>
                      <a:cubicBezTo>
                        <a:pt x="28" y="287"/>
                        <a:pt x="28" y="287"/>
                        <a:pt x="28" y="287"/>
                      </a:cubicBezTo>
                      <a:cubicBezTo>
                        <a:pt x="28" y="287"/>
                        <a:pt x="28" y="287"/>
                        <a:pt x="28" y="287"/>
                      </a:cubicBezTo>
                      <a:cubicBezTo>
                        <a:pt x="28" y="288"/>
                        <a:pt x="28" y="288"/>
                        <a:pt x="28" y="288"/>
                      </a:cubicBezTo>
                      <a:cubicBezTo>
                        <a:pt x="30" y="288"/>
                        <a:pt x="30" y="288"/>
                        <a:pt x="30" y="288"/>
                      </a:cubicBezTo>
                      <a:cubicBezTo>
                        <a:pt x="30" y="289"/>
                        <a:pt x="30" y="289"/>
                        <a:pt x="30" y="289"/>
                      </a:cubicBezTo>
                      <a:cubicBezTo>
                        <a:pt x="30" y="289"/>
                        <a:pt x="30" y="289"/>
                        <a:pt x="30" y="289"/>
                      </a:cubicBezTo>
                      <a:cubicBezTo>
                        <a:pt x="31" y="290"/>
                        <a:pt x="31" y="290"/>
                        <a:pt x="31" y="290"/>
                      </a:cubicBezTo>
                      <a:cubicBezTo>
                        <a:pt x="30" y="291"/>
                        <a:pt x="30" y="291"/>
                        <a:pt x="30" y="291"/>
                      </a:cubicBezTo>
                      <a:cubicBezTo>
                        <a:pt x="32" y="291"/>
                        <a:pt x="32" y="291"/>
                        <a:pt x="32" y="291"/>
                      </a:cubicBezTo>
                      <a:cubicBezTo>
                        <a:pt x="32" y="291"/>
                        <a:pt x="32" y="291"/>
                        <a:pt x="32" y="291"/>
                      </a:cubicBezTo>
                      <a:cubicBezTo>
                        <a:pt x="33" y="291"/>
                        <a:pt x="33" y="291"/>
                        <a:pt x="33" y="291"/>
                      </a:cubicBezTo>
                      <a:cubicBezTo>
                        <a:pt x="34" y="291"/>
                        <a:pt x="34" y="291"/>
                        <a:pt x="34" y="291"/>
                      </a:cubicBezTo>
                      <a:cubicBezTo>
                        <a:pt x="32" y="293"/>
                        <a:pt x="32" y="293"/>
                        <a:pt x="32" y="293"/>
                      </a:cubicBezTo>
                      <a:cubicBezTo>
                        <a:pt x="34" y="294"/>
                        <a:pt x="34" y="294"/>
                        <a:pt x="34" y="294"/>
                      </a:cubicBezTo>
                      <a:cubicBezTo>
                        <a:pt x="35" y="294"/>
                        <a:pt x="35" y="294"/>
                        <a:pt x="35" y="294"/>
                      </a:cubicBezTo>
                      <a:cubicBezTo>
                        <a:pt x="35" y="295"/>
                        <a:pt x="35" y="295"/>
                        <a:pt x="35" y="295"/>
                      </a:cubicBezTo>
                      <a:cubicBezTo>
                        <a:pt x="38" y="296"/>
                        <a:pt x="38" y="296"/>
                        <a:pt x="38" y="296"/>
                      </a:cubicBezTo>
                      <a:cubicBezTo>
                        <a:pt x="38" y="296"/>
                        <a:pt x="38" y="296"/>
                        <a:pt x="38" y="296"/>
                      </a:cubicBezTo>
                      <a:cubicBezTo>
                        <a:pt x="39" y="296"/>
                        <a:pt x="39" y="296"/>
                        <a:pt x="39" y="296"/>
                      </a:cubicBezTo>
                      <a:cubicBezTo>
                        <a:pt x="39" y="294"/>
                        <a:pt x="39" y="294"/>
                        <a:pt x="39" y="294"/>
                      </a:cubicBezTo>
                      <a:cubicBezTo>
                        <a:pt x="39" y="293"/>
                        <a:pt x="39" y="293"/>
                        <a:pt x="39" y="293"/>
                      </a:cubicBezTo>
                      <a:cubicBezTo>
                        <a:pt x="38" y="292"/>
                        <a:pt x="38" y="292"/>
                        <a:pt x="38" y="292"/>
                      </a:cubicBezTo>
                      <a:cubicBezTo>
                        <a:pt x="39" y="291"/>
                        <a:pt x="39" y="291"/>
                        <a:pt x="39" y="291"/>
                      </a:cubicBezTo>
                      <a:cubicBezTo>
                        <a:pt x="38" y="290"/>
                        <a:pt x="38" y="290"/>
                        <a:pt x="38" y="290"/>
                      </a:cubicBezTo>
                      <a:cubicBezTo>
                        <a:pt x="36" y="288"/>
                        <a:pt x="36" y="288"/>
                        <a:pt x="36" y="288"/>
                      </a:cubicBezTo>
                      <a:cubicBezTo>
                        <a:pt x="36" y="286"/>
                        <a:pt x="36" y="286"/>
                        <a:pt x="36" y="286"/>
                      </a:cubicBezTo>
                      <a:cubicBezTo>
                        <a:pt x="34" y="284"/>
                        <a:pt x="34" y="284"/>
                        <a:pt x="34" y="284"/>
                      </a:cubicBezTo>
                      <a:cubicBezTo>
                        <a:pt x="34" y="283"/>
                        <a:pt x="34" y="283"/>
                        <a:pt x="34" y="283"/>
                      </a:cubicBezTo>
                      <a:cubicBezTo>
                        <a:pt x="34" y="282"/>
                        <a:pt x="34" y="282"/>
                        <a:pt x="34" y="282"/>
                      </a:cubicBezTo>
                      <a:cubicBezTo>
                        <a:pt x="33" y="282"/>
                        <a:pt x="33" y="282"/>
                        <a:pt x="33" y="282"/>
                      </a:cubicBezTo>
                      <a:cubicBezTo>
                        <a:pt x="31" y="281"/>
                        <a:pt x="31" y="281"/>
                        <a:pt x="31" y="281"/>
                      </a:cubicBezTo>
                      <a:cubicBezTo>
                        <a:pt x="30" y="281"/>
                        <a:pt x="30" y="281"/>
                        <a:pt x="30" y="281"/>
                      </a:cubicBezTo>
                      <a:cubicBezTo>
                        <a:pt x="29" y="281"/>
                        <a:pt x="29" y="281"/>
                        <a:pt x="29" y="281"/>
                      </a:cubicBezTo>
                      <a:cubicBezTo>
                        <a:pt x="29" y="280"/>
                        <a:pt x="29" y="280"/>
                        <a:pt x="29" y="280"/>
                      </a:cubicBezTo>
                      <a:cubicBezTo>
                        <a:pt x="27" y="279"/>
                        <a:pt x="27" y="279"/>
                        <a:pt x="27" y="279"/>
                      </a:cubicBezTo>
                      <a:cubicBezTo>
                        <a:pt x="26" y="279"/>
                        <a:pt x="26" y="279"/>
                        <a:pt x="26" y="279"/>
                      </a:cubicBezTo>
                      <a:cubicBezTo>
                        <a:pt x="26" y="278"/>
                        <a:pt x="26" y="278"/>
                        <a:pt x="26" y="278"/>
                      </a:cubicBezTo>
                      <a:cubicBezTo>
                        <a:pt x="25" y="278"/>
                        <a:pt x="25" y="278"/>
                        <a:pt x="25" y="278"/>
                      </a:cubicBezTo>
                      <a:cubicBezTo>
                        <a:pt x="25" y="277"/>
                        <a:pt x="25" y="277"/>
                        <a:pt x="25" y="277"/>
                      </a:cubicBezTo>
                      <a:cubicBezTo>
                        <a:pt x="24" y="277"/>
                        <a:pt x="24" y="277"/>
                        <a:pt x="24" y="277"/>
                      </a:cubicBezTo>
                      <a:cubicBezTo>
                        <a:pt x="23" y="277"/>
                        <a:pt x="23" y="277"/>
                        <a:pt x="23" y="277"/>
                      </a:cubicBezTo>
                      <a:cubicBezTo>
                        <a:pt x="22" y="277"/>
                        <a:pt x="22" y="277"/>
                        <a:pt x="22" y="277"/>
                      </a:cubicBezTo>
                      <a:close/>
                      <a:moveTo>
                        <a:pt x="31" y="279"/>
                      </a:moveTo>
                      <a:cubicBezTo>
                        <a:pt x="31" y="279"/>
                        <a:pt x="31" y="279"/>
                        <a:pt x="31" y="279"/>
                      </a:cubicBezTo>
                      <a:cubicBezTo>
                        <a:pt x="31" y="279"/>
                        <a:pt x="31" y="279"/>
                        <a:pt x="31" y="279"/>
                      </a:cubicBezTo>
                      <a:cubicBezTo>
                        <a:pt x="32" y="279"/>
                        <a:pt x="32" y="279"/>
                        <a:pt x="32" y="279"/>
                      </a:cubicBezTo>
                      <a:cubicBezTo>
                        <a:pt x="31" y="279"/>
                        <a:pt x="31" y="279"/>
                        <a:pt x="31" y="279"/>
                      </a:cubicBezTo>
                      <a:cubicBezTo>
                        <a:pt x="30" y="280"/>
                        <a:pt x="30" y="280"/>
                        <a:pt x="30" y="280"/>
                      </a:cubicBezTo>
                      <a:cubicBezTo>
                        <a:pt x="31" y="279"/>
                        <a:pt x="31" y="279"/>
                        <a:pt x="31" y="279"/>
                      </a:cubicBezTo>
                      <a:close/>
                      <a:moveTo>
                        <a:pt x="30" y="278"/>
                      </a:moveTo>
                      <a:cubicBezTo>
                        <a:pt x="30" y="278"/>
                        <a:pt x="30" y="278"/>
                        <a:pt x="30" y="278"/>
                      </a:cubicBezTo>
                      <a:cubicBezTo>
                        <a:pt x="31" y="278"/>
                        <a:pt x="31" y="278"/>
                        <a:pt x="31" y="278"/>
                      </a:cubicBezTo>
                      <a:cubicBezTo>
                        <a:pt x="30" y="278"/>
                        <a:pt x="30" y="278"/>
                        <a:pt x="30" y="278"/>
                      </a:cubicBezTo>
                      <a:close/>
                      <a:moveTo>
                        <a:pt x="24" y="259"/>
                      </a:moveTo>
                      <a:cubicBezTo>
                        <a:pt x="24" y="260"/>
                        <a:pt x="24" y="260"/>
                        <a:pt x="24" y="260"/>
                      </a:cubicBezTo>
                      <a:cubicBezTo>
                        <a:pt x="25" y="260"/>
                        <a:pt x="25" y="260"/>
                        <a:pt x="25" y="260"/>
                      </a:cubicBezTo>
                      <a:cubicBezTo>
                        <a:pt x="24" y="259"/>
                        <a:pt x="24" y="259"/>
                        <a:pt x="24" y="259"/>
                      </a:cubicBezTo>
                      <a:close/>
                      <a:moveTo>
                        <a:pt x="27" y="268"/>
                      </a:moveTo>
                      <a:cubicBezTo>
                        <a:pt x="27" y="267"/>
                        <a:pt x="27" y="267"/>
                        <a:pt x="27" y="267"/>
                      </a:cubicBezTo>
                      <a:cubicBezTo>
                        <a:pt x="27" y="267"/>
                        <a:pt x="27" y="267"/>
                        <a:pt x="27" y="267"/>
                      </a:cubicBezTo>
                      <a:cubicBezTo>
                        <a:pt x="27" y="267"/>
                        <a:pt x="27" y="267"/>
                        <a:pt x="27" y="267"/>
                      </a:cubicBezTo>
                      <a:cubicBezTo>
                        <a:pt x="27" y="268"/>
                        <a:pt x="27" y="268"/>
                        <a:pt x="27" y="268"/>
                      </a:cubicBezTo>
                      <a:cubicBezTo>
                        <a:pt x="27" y="268"/>
                        <a:pt x="27" y="268"/>
                        <a:pt x="27" y="268"/>
                      </a:cubicBezTo>
                      <a:close/>
                      <a:moveTo>
                        <a:pt x="26" y="271"/>
                      </a:moveTo>
                      <a:cubicBezTo>
                        <a:pt x="26" y="271"/>
                        <a:pt x="26" y="271"/>
                        <a:pt x="26" y="271"/>
                      </a:cubicBezTo>
                      <a:cubicBezTo>
                        <a:pt x="26" y="272"/>
                        <a:pt x="26" y="272"/>
                        <a:pt x="26" y="272"/>
                      </a:cubicBezTo>
                      <a:cubicBezTo>
                        <a:pt x="26" y="273"/>
                        <a:pt x="26" y="273"/>
                        <a:pt x="26" y="273"/>
                      </a:cubicBezTo>
                      <a:cubicBezTo>
                        <a:pt x="27" y="271"/>
                        <a:pt x="27" y="271"/>
                        <a:pt x="27" y="271"/>
                      </a:cubicBezTo>
                      <a:cubicBezTo>
                        <a:pt x="26" y="271"/>
                        <a:pt x="26" y="271"/>
                        <a:pt x="26" y="271"/>
                      </a:cubicBezTo>
                      <a:close/>
                      <a:moveTo>
                        <a:pt x="27" y="270"/>
                      </a:moveTo>
                      <a:cubicBezTo>
                        <a:pt x="28" y="269"/>
                        <a:pt x="28" y="269"/>
                        <a:pt x="28" y="269"/>
                      </a:cubicBezTo>
                      <a:cubicBezTo>
                        <a:pt x="28" y="268"/>
                        <a:pt x="28" y="268"/>
                        <a:pt x="28" y="268"/>
                      </a:cubicBezTo>
                      <a:cubicBezTo>
                        <a:pt x="26" y="269"/>
                        <a:pt x="26" y="269"/>
                        <a:pt x="26" y="269"/>
                      </a:cubicBezTo>
                      <a:cubicBezTo>
                        <a:pt x="26" y="270"/>
                        <a:pt x="26" y="270"/>
                        <a:pt x="26" y="270"/>
                      </a:cubicBezTo>
                      <a:cubicBezTo>
                        <a:pt x="27" y="270"/>
                        <a:pt x="27" y="270"/>
                        <a:pt x="27" y="270"/>
                      </a:cubicBezTo>
                      <a:cubicBezTo>
                        <a:pt x="27" y="270"/>
                        <a:pt x="27" y="270"/>
                        <a:pt x="27" y="270"/>
                      </a:cubicBezTo>
                      <a:close/>
                      <a:moveTo>
                        <a:pt x="28" y="269"/>
                      </a:moveTo>
                      <a:cubicBezTo>
                        <a:pt x="29" y="267"/>
                        <a:pt x="29" y="267"/>
                        <a:pt x="29" y="267"/>
                      </a:cubicBezTo>
                      <a:cubicBezTo>
                        <a:pt x="30" y="267"/>
                        <a:pt x="30" y="267"/>
                        <a:pt x="30" y="267"/>
                      </a:cubicBezTo>
                      <a:cubicBezTo>
                        <a:pt x="31" y="267"/>
                        <a:pt x="31" y="267"/>
                        <a:pt x="31" y="267"/>
                      </a:cubicBezTo>
                      <a:cubicBezTo>
                        <a:pt x="32" y="266"/>
                        <a:pt x="32" y="266"/>
                        <a:pt x="32" y="266"/>
                      </a:cubicBezTo>
                      <a:cubicBezTo>
                        <a:pt x="32" y="267"/>
                        <a:pt x="32" y="267"/>
                        <a:pt x="32" y="267"/>
                      </a:cubicBezTo>
                      <a:cubicBezTo>
                        <a:pt x="30" y="268"/>
                        <a:pt x="30" y="268"/>
                        <a:pt x="30" y="268"/>
                      </a:cubicBezTo>
                      <a:cubicBezTo>
                        <a:pt x="30" y="268"/>
                        <a:pt x="30" y="268"/>
                        <a:pt x="30" y="268"/>
                      </a:cubicBezTo>
                      <a:cubicBezTo>
                        <a:pt x="29" y="269"/>
                        <a:pt x="29" y="269"/>
                        <a:pt x="29" y="269"/>
                      </a:cubicBezTo>
                      <a:cubicBezTo>
                        <a:pt x="28" y="269"/>
                        <a:pt x="28" y="269"/>
                        <a:pt x="28" y="269"/>
                      </a:cubicBezTo>
                      <a:close/>
                      <a:moveTo>
                        <a:pt x="27" y="264"/>
                      </a:moveTo>
                      <a:cubicBezTo>
                        <a:pt x="27" y="263"/>
                        <a:pt x="27" y="263"/>
                        <a:pt x="27" y="263"/>
                      </a:cubicBezTo>
                      <a:cubicBezTo>
                        <a:pt x="28" y="263"/>
                        <a:pt x="28" y="263"/>
                        <a:pt x="28" y="263"/>
                      </a:cubicBezTo>
                      <a:cubicBezTo>
                        <a:pt x="28" y="263"/>
                        <a:pt x="28" y="263"/>
                        <a:pt x="28" y="263"/>
                      </a:cubicBezTo>
                      <a:cubicBezTo>
                        <a:pt x="28" y="264"/>
                        <a:pt x="28" y="264"/>
                        <a:pt x="28" y="264"/>
                      </a:cubicBezTo>
                      <a:cubicBezTo>
                        <a:pt x="28" y="264"/>
                        <a:pt x="28" y="264"/>
                        <a:pt x="28" y="264"/>
                      </a:cubicBezTo>
                      <a:cubicBezTo>
                        <a:pt x="27" y="264"/>
                        <a:pt x="27" y="264"/>
                        <a:pt x="27" y="264"/>
                      </a:cubicBezTo>
                      <a:close/>
                      <a:moveTo>
                        <a:pt x="25" y="264"/>
                      </a:moveTo>
                      <a:cubicBezTo>
                        <a:pt x="27" y="264"/>
                        <a:pt x="27" y="264"/>
                        <a:pt x="27" y="264"/>
                      </a:cubicBezTo>
                      <a:cubicBezTo>
                        <a:pt x="27" y="264"/>
                        <a:pt x="27" y="264"/>
                        <a:pt x="27" y="264"/>
                      </a:cubicBezTo>
                      <a:cubicBezTo>
                        <a:pt x="27" y="263"/>
                        <a:pt x="27" y="263"/>
                        <a:pt x="27" y="263"/>
                      </a:cubicBezTo>
                      <a:cubicBezTo>
                        <a:pt x="25" y="264"/>
                        <a:pt x="25" y="264"/>
                        <a:pt x="25" y="264"/>
                      </a:cubicBezTo>
                      <a:close/>
                      <a:moveTo>
                        <a:pt x="24" y="261"/>
                      </a:moveTo>
                      <a:cubicBezTo>
                        <a:pt x="24" y="263"/>
                        <a:pt x="24" y="263"/>
                        <a:pt x="24" y="263"/>
                      </a:cubicBezTo>
                      <a:cubicBezTo>
                        <a:pt x="25" y="263"/>
                        <a:pt x="25" y="263"/>
                        <a:pt x="25" y="263"/>
                      </a:cubicBezTo>
                      <a:cubicBezTo>
                        <a:pt x="25" y="264"/>
                        <a:pt x="25" y="264"/>
                        <a:pt x="25" y="264"/>
                      </a:cubicBezTo>
                      <a:cubicBezTo>
                        <a:pt x="25" y="263"/>
                        <a:pt x="25" y="263"/>
                        <a:pt x="25" y="263"/>
                      </a:cubicBezTo>
                      <a:cubicBezTo>
                        <a:pt x="25" y="262"/>
                        <a:pt x="25" y="262"/>
                        <a:pt x="25" y="262"/>
                      </a:cubicBezTo>
                      <a:cubicBezTo>
                        <a:pt x="24" y="261"/>
                        <a:pt x="24" y="261"/>
                        <a:pt x="24" y="261"/>
                      </a:cubicBezTo>
                      <a:close/>
                      <a:moveTo>
                        <a:pt x="25" y="261"/>
                      </a:moveTo>
                      <a:cubicBezTo>
                        <a:pt x="26" y="261"/>
                        <a:pt x="26" y="261"/>
                        <a:pt x="26" y="261"/>
                      </a:cubicBezTo>
                      <a:cubicBezTo>
                        <a:pt x="25" y="261"/>
                        <a:pt x="25" y="261"/>
                        <a:pt x="25" y="261"/>
                      </a:cubicBezTo>
                      <a:cubicBezTo>
                        <a:pt x="25" y="262"/>
                        <a:pt x="25" y="262"/>
                        <a:pt x="25" y="262"/>
                      </a:cubicBezTo>
                      <a:cubicBezTo>
                        <a:pt x="26" y="262"/>
                        <a:pt x="26" y="262"/>
                        <a:pt x="26" y="262"/>
                      </a:cubicBezTo>
                      <a:cubicBezTo>
                        <a:pt x="27" y="261"/>
                        <a:pt x="27" y="261"/>
                        <a:pt x="27" y="261"/>
                      </a:cubicBezTo>
                      <a:cubicBezTo>
                        <a:pt x="27" y="262"/>
                        <a:pt x="27" y="262"/>
                        <a:pt x="27" y="262"/>
                      </a:cubicBezTo>
                      <a:cubicBezTo>
                        <a:pt x="27" y="263"/>
                        <a:pt x="27" y="263"/>
                        <a:pt x="27" y="263"/>
                      </a:cubicBezTo>
                      <a:cubicBezTo>
                        <a:pt x="28" y="262"/>
                        <a:pt x="28" y="262"/>
                        <a:pt x="28" y="262"/>
                      </a:cubicBezTo>
                      <a:cubicBezTo>
                        <a:pt x="28" y="260"/>
                        <a:pt x="28" y="260"/>
                        <a:pt x="28" y="260"/>
                      </a:cubicBezTo>
                      <a:cubicBezTo>
                        <a:pt x="27" y="260"/>
                        <a:pt x="27" y="260"/>
                        <a:pt x="27" y="260"/>
                      </a:cubicBezTo>
                      <a:cubicBezTo>
                        <a:pt x="26" y="260"/>
                        <a:pt x="26" y="260"/>
                        <a:pt x="26" y="260"/>
                      </a:cubicBezTo>
                      <a:cubicBezTo>
                        <a:pt x="25" y="261"/>
                        <a:pt x="25" y="261"/>
                        <a:pt x="25" y="261"/>
                      </a:cubicBezTo>
                      <a:close/>
                      <a:moveTo>
                        <a:pt x="25" y="259"/>
                      </a:moveTo>
                      <a:cubicBezTo>
                        <a:pt x="26" y="259"/>
                        <a:pt x="26" y="259"/>
                        <a:pt x="26" y="259"/>
                      </a:cubicBezTo>
                      <a:cubicBezTo>
                        <a:pt x="26" y="259"/>
                        <a:pt x="26" y="259"/>
                        <a:pt x="26" y="259"/>
                      </a:cubicBezTo>
                      <a:cubicBezTo>
                        <a:pt x="25" y="258"/>
                        <a:pt x="25" y="258"/>
                        <a:pt x="25" y="258"/>
                      </a:cubicBezTo>
                      <a:cubicBezTo>
                        <a:pt x="25" y="259"/>
                        <a:pt x="25" y="259"/>
                        <a:pt x="25" y="259"/>
                      </a:cubicBezTo>
                      <a:close/>
                      <a:moveTo>
                        <a:pt x="27" y="257"/>
                      </a:moveTo>
                      <a:cubicBezTo>
                        <a:pt x="27" y="256"/>
                        <a:pt x="27" y="256"/>
                        <a:pt x="27" y="256"/>
                      </a:cubicBezTo>
                      <a:cubicBezTo>
                        <a:pt x="28" y="256"/>
                        <a:pt x="28" y="256"/>
                        <a:pt x="28" y="256"/>
                      </a:cubicBezTo>
                      <a:cubicBezTo>
                        <a:pt x="28" y="256"/>
                        <a:pt x="28" y="256"/>
                        <a:pt x="28" y="256"/>
                      </a:cubicBezTo>
                      <a:cubicBezTo>
                        <a:pt x="28" y="257"/>
                        <a:pt x="28" y="257"/>
                        <a:pt x="28" y="257"/>
                      </a:cubicBezTo>
                      <a:cubicBezTo>
                        <a:pt x="27" y="257"/>
                        <a:pt x="27" y="257"/>
                        <a:pt x="27" y="257"/>
                      </a:cubicBezTo>
                      <a:cubicBezTo>
                        <a:pt x="27" y="257"/>
                        <a:pt x="27" y="257"/>
                        <a:pt x="27" y="257"/>
                      </a:cubicBezTo>
                      <a:close/>
                      <a:moveTo>
                        <a:pt x="21" y="255"/>
                      </a:moveTo>
                      <a:cubicBezTo>
                        <a:pt x="23" y="257"/>
                        <a:pt x="23" y="257"/>
                        <a:pt x="23" y="257"/>
                      </a:cubicBezTo>
                      <a:cubicBezTo>
                        <a:pt x="23" y="258"/>
                        <a:pt x="23" y="258"/>
                        <a:pt x="23" y="258"/>
                      </a:cubicBezTo>
                      <a:cubicBezTo>
                        <a:pt x="23" y="259"/>
                        <a:pt x="23" y="259"/>
                        <a:pt x="23" y="259"/>
                      </a:cubicBezTo>
                      <a:cubicBezTo>
                        <a:pt x="22" y="259"/>
                        <a:pt x="22" y="259"/>
                        <a:pt x="22" y="259"/>
                      </a:cubicBezTo>
                      <a:cubicBezTo>
                        <a:pt x="22" y="258"/>
                        <a:pt x="22" y="258"/>
                        <a:pt x="22" y="258"/>
                      </a:cubicBezTo>
                      <a:cubicBezTo>
                        <a:pt x="21" y="256"/>
                        <a:pt x="21" y="256"/>
                        <a:pt x="21" y="256"/>
                      </a:cubicBezTo>
                      <a:cubicBezTo>
                        <a:pt x="21" y="255"/>
                        <a:pt x="21" y="255"/>
                        <a:pt x="21" y="255"/>
                      </a:cubicBezTo>
                      <a:cubicBezTo>
                        <a:pt x="21" y="255"/>
                        <a:pt x="21" y="255"/>
                        <a:pt x="21" y="255"/>
                      </a:cubicBezTo>
                      <a:close/>
                      <a:moveTo>
                        <a:pt x="23" y="254"/>
                      </a:moveTo>
                      <a:cubicBezTo>
                        <a:pt x="23" y="255"/>
                        <a:pt x="23" y="255"/>
                        <a:pt x="23" y="255"/>
                      </a:cubicBezTo>
                      <a:cubicBezTo>
                        <a:pt x="23" y="256"/>
                        <a:pt x="23" y="256"/>
                        <a:pt x="23" y="256"/>
                      </a:cubicBezTo>
                      <a:cubicBezTo>
                        <a:pt x="24" y="257"/>
                        <a:pt x="24" y="257"/>
                        <a:pt x="24" y="257"/>
                      </a:cubicBezTo>
                      <a:cubicBezTo>
                        <a:pt x="25" y="258"/>
                        <a:pt x="25" y="258"/>
                        <a:pt x="25" y="258"/>
                      </a:cubicBezTo>
                      <a:cubicBezTo>
                        <a:pt x="25" y="257"/>
                        <a:pt x="25" y="257"/>
                        <a:pt x="25" y="257"/>
                      </a:cubicBezTo>
                      <a:cubicBezTo>
                        <a:pt x="24" y="255"/>
                        <a:pt x="24" y="255"/>
                        <a:pt x="24" y="255"/>
                      </a:cubicBezTo>
                      <a:cubicBezTo>
                        <a:pt x="23" y="254"/>
                        <a:pt x="23" y="254"/>
                        <a:pt x="23" y="254"/>
                      </a:cubicBezTo>
                      <a:cubicBezTo>
                        <a:pt x="23" y="254"/>
                        <a:pt x="23" y="254"/>
                        <a:pt x="23" y="254"/>
                      </a:cubicBezTo>
                      <a:cubicBezTo>
                        <a:pt x="23" y="254"/>
                        <a:pt x="23" y="254"/>
                        <a:pt x="23" y="254"/>
                      </a:cubicBezTo>
                      <a:close/>
                      <a:moveTo>
                        <a:pt x="21" y="253"/>
                      </a:moveTo>
                      <a:cubicBezTo>
                        <a:pt x="22" y="253"/>
                        <a:pt x="22" y="253"/>
                        <a:pt x="22" y="253"/>
                      </a:cubicBezTo>
                      <a:cubicBezTo>
                        <a:pt x="22" y="253"/>
                        <a:pt x="22" y="253"/>
                        <a:pt x="22" y="253"/>
                      </a:cubicBezTo>
                      <a:cubicBezTo>
                        <a:pt x="23" y="253"/>
                        <a:pt x="23" y="253"/>
                        <a:pt x="23" y="253"/>
                      </a:cubicBezTo>
                      <a:cubicBezTo>
                        <a:pt x="24" y="252"/>
                        <a:pt x="24" y="252"/>
                        <a:pt x="24" y="252"/>
                      </a:cubicBezTo>
                      <a:cubicBezTo>
                        <a:pt x="23" y="252"/>
                        <a:pt x="23" y="252"/>
                        <a:pt x="23" y="252"/>
                      </a:cubicBezTo>
                      <a:cubicBezTo>
                        <a:pt x="22" y="252"/>
                        <a:pt x="22" y="252"/>
                        <a:pt x="22" y="252"/>
                      </a:cubicBezTo>
                      <a:cubicBezTo>
                        <a:pt x="21" y="253"/>
                        <a:pt x="21" y="253"/>
                        <a:pt x="21" y="253"/>
                      </a:cubicBezTo>
                      <a:close/>
                      <a:moveTo>
                        <a:pt x="11" y="253"/>
                      </a:moveTo>
                      <a:cubicBezTo>
                        <a:pt x="11" y="252"/>
                        <a:pt x="11" y="252"/>
                        <a:pt x="11" y="252"/>
                      </a:cubicBezTo>
                      <a:cubicBezTo>
                        <a:pt x="12" y="250"/>
                        <a:pt x="12" y="250"/>
                        <a:pt x="12" y="250"/>
                      </a:cubicBezTo>
                      <a:cubicBezTo>
                        <a:pt x="14" y="250"/>
                        <a:pt x="14" y="250"/>
                        <a:pt x="14" y="250"/>
                      </a:cubicBezTo>
                      <a:cubicBezTo>
                        <a:pt x="13" y="251"/>
                        <a:pt x="13" y="251"/>
                        <a:pt x="13" y="251"/>
                      </a:cubicBezTo>
                      <a:cubicBezTo>
                        <a:pt x="14" y="251"/>
                        <a:pt x="14" y="251"/>
                        <a:pt x="14" y="251"/>
                      </a:cubicBezTo>
                      <a:cubicBezTo>
                        <a:pt x="15" y="250"/>
                        <a:pt x="15" y="250"/>
                        <a:pt x="15" y="250"/>
                      </a:cubicBezTo>
                      <a:cubicBezTo>
                        <a:pt x="15" y="251"/>
                        <a:pt x="15" y="251"/>
                        <a:pt x="15" y="251"/>
                      </a:cubicBezTo>
                      <a:cubicBezTo>
                        <a:pt x="15" y="251"/>
                        <a:pt x="15" y="251"/>
                        <a:pt x="15" y="251"/>
                      </a:cubicBezTo>
                      <a:cubicBezTo>
                        <a:pt x="15" y="252"/>
                        <a:pt x="15" y="252"/>
                        <a:pt x="15" y="252"/>
                      </a:cubicBezTo>
                      <a:cubicBezTo>
                        <a:pt x="14" y="253"/>
                        <a:pt x="14" y="253"/>
                        <a:pt x="14" y="253"/>
                      </a:cubicBezTo>
                      <a:cubicBezTo>
                        <a:pt x="13" y="253"/>
                        <a:pt x="13" y="253"/>
                        <a:pt x="13" y="253"/>
                      </a:cubicBezTo>
                      <a:cubicBezTo>
                        <a:pt x="13" y="254"/>
                        <a:pt x="13" y="254"/>
                        <a:pt x="13" y="254"/>
                      </a:cubicBezTo>
                      <a:cubicBezTo>
                        <a:pt x="13" y="254"/>
                        <a:pt x="13" y="254"/>
                        <a:pt x="13" y="254"/>
                      </a:cubicBezTo>
                      <a:cubicBezTo>
                        <a:pt x="14" y="254"/>
                        <a:pt x="14" y="254"/>
                        <a:pt x="14" y="254"/>
                      </a:cubicBezTo>
                      <a:cubicBezTo>
                        <a:pt x="15" y="253"/>
                        <a:pt x="15" y="253"/>
                        <a:pt x="15" y="253"/>
                      </a:cubicBezTo>
                      <a:cubicBezTo>
                        <a:pt x="16" y="252"/>
                        <a:pt x="16" y="252"/>
                        <a:pt x="16" y="252"/>
                      </a:cubicBezTo>
                      <a:cubicBezTo>
                        <a:pt x="18" y="251"/>
                        <a:pt x="18" y="251"/>
                        <a:pt x="18" y="251"/>
                      </a:cubicBezTo>
                      <a:cubicBezTo>
                        <a:pt x="18" y="251"/>
                        <a:pt x="18" y="251"/>
                        <a:pt x="18" y="251"/>
                      </a:cubicBezTo>
                      <a:cubicBezTo>
                        <a:pt x="16" y="253"/>
                        <a:pt x="16" y="253"/>
                        <a:pt x="16" y="253"/>
                      </a:cubicBezTo>
                      <a:cubicBezTo>
                        <a:pt x="16" y="254"/>
                        <a:pt x="16" y="254"/>
                        <a:pt x="16" y="254"/>
                      </a:cubicBezTo>
                      <a:cubicBezTo>
                        <a:pt x="15" y="255"/>
                        <a:pt x="15" y="255"/>
                        <a:pt x="15" y="255"/>
                      </a:cubicBezTo>
                      <a:cubicBezTo>
                        <a:pt x="15" y="256"/>
                        <a:pt x="15" y="256"/>
                        <a:pt x="15" y="256"/>
                      </a:cubicBezTo>
                      <a:cubicBezTo>
                        <a:pt x="14" y="257"/>
                        <a:pt x="14" y="257"/>
                        <a:pt x="14" y="257"/>
                      </a:cubicBezTo>
                      <a:cubicBezTo>
                        <a:pt x="13" y="257"/>
                        <a:pt x="13" y="257"/>
                        <a:pt x="13" y="257"/>
                      </a:cubicBezTo>
                      <a:cubicBezTo>
                        <a:pt x="12" y="258"/>
                        <a:pt x="12" y="258"/>
                        <a:pt x="12" y="258"/>
                      </a:cubicBezTo>
                      <a:cubicBezTo>
                        <a:pt x="13" y="258"/>
                        <a:pt x="13" y="258"/>
                        <a:pt x="13" y="258"/>
                      </a:cubicBezTo>
                      <a:cubicBezTo>
                        <a:pt x="14" y="258"/>
                        <a:pt x="14" y="258"/>
                        <a:pt x="14" y="258"/>
                      </a:cubicBezTo>
                      <a:cubicBezTo>
                        <a:pt x="15" y="258"/>
                        <a:pt x="15" y="258"/>
                        <a:pt x="15" y="258"/>
                      </a:cubicBezTo>
                      <a:cubicBezTo>
                        <a:pt x="15" y="259"/>
                        <a:pt x="15" y="259"/>
                        <a:pt x="15" y="259"/>
                      </a:cubicBezTo>
                      <a:cubicBezTo>
                        <a:pt x="14" y="259"/>
                        <a:pt x="14" y="259"/>
                        <a:pt x="14" y="259"/>
                      </a:cubicBezTo>
                      <a:cubicBezTo>
                        <a:pt x="13" y="260"/>
                        <a:pt x="13" y="260"/>
                        <a:pt x="13" y="260"/>
                      </a:cubicBezTo>
                      <a:cubicBezTo>
                        <a:pt x="13" y="261"/>
                        <a:pt x="13" y="261"/>
                        <a:pt x="13" y="261"/>
                      </a:cubicBezTo>
                      <a:cubicBezTo>
                        <a:pt x="13" y="262"/>
                        <a:pt x="13" y="262"/>
                        <a:pt x="13" y="262"/>
                      </a:cubicBezTo>
                      <a:cubicBezTo>
                        <a:pt x="14" y="263"/>
                        <a:pt x="14" y="263"/>
                        <a:pt x="14" y="263"/>
                      </a:cubicBezTo>
                      <a:cubicBezTo>
                        <a:pt x="14" y="264"/>
                        <a:pt x="14" y="264"/>
                        <a:pt x="14" y="264"/>
                      </a:cubicBezTo>
                      <a:cubicBezTo>
                        <a:pt x="15" y="264"/>
                        <a:pt x="15" y="264"/>
                        <a:pt x="15" y="264"/>
                      </a:cubicBezTo>
                      <a:cubicBezTo>
                        <a:pt x="15" y="265"/>
                        <a:pt x="15" y="265"/>
                        <a:pt x="15" y="265"/>
                      </a:cubicBezTo>
                      <a:cubicBezTo>
                        <a:pt x="15" y="266"/>
                        <a:pt x="15" y="266"/>
                        <a:pt x="15" y="266"/>
                      </a:cubicBezTo>
                      <a:cubicBezTo>
                        <a:pt x="13" y="265"/>
                        <a:pt x="13" y="265"/>
                        <a:pt x="13" y="265"/>
                      </a:cubicBezTo>
                      <a:cubicBezTo>
                        <a:pt x="12" y="263"/>
                        <a:pt x="12" y="263"/>
                        <a:pt x="12" y="263"/>
                      </a:cubicBezTo>
                      <a:cubicBezTo>
                        <a:pt x="12" y="261"/>
                        <a:pt x="12" y="261"/>
                        <a:pt x="12" y="261"/>
                      </a:cubicBezTo>
                      <a:cubicBezTo>
                        <a:pt x="12" y="261"/>
                        <a:pt x="12" y="261"/>
                        <a:pt x="12" y="261"/>
                      </a:cubicBezTo>
                      <a:cubicBezTo>
                        <a:pt x="11" y="261"/>
                        <a:pt x="11" y="261"/>
                        <a:pt x="11" y="261"/>
                      </a:cubicBezTo>
                      <a:cubicBezTo>
                        <a:pt x="11" y="260"/>
                        <a:pt x="11" y="260"/>
                        <a:pt x="11" y="260"/>
                      </a:cubicBezTo>
                      <a:cubicBezTo>
                        <a:pt x="11" y="259"/>
                        <a:pt x="11" y="259"/>
                        <a:pt x="11" y="259"/>
                      </a:cubicBezTo>
                      <a:cubicBezTo>
                        <a:pt x="12" y="259"/>
                        <a:pt x="12" y="259"/>
                        <a:pt x="12" y="259"/>
                      </a:cubicBezTo>
                      <a:cubicBezTo>
                        <a:pt x="11" y="259"/>
                        <a:pt x="11" y="259"/>
                        <a:pt x="11" y="259"/>
                      </a:cubicBezTo>
                      <a:cubicBezTo>
                        <a:pt x="11" y="258"/>
                        <a:pt x="11" y="258"/>
                        <a:pt x="11" y="258"/>
                      </a:cubicBezTo>
                      <a:cubicBezTo>
                        <a:pt x="11" y="257"/>
                        <a:pt x="11" y="257"/>
                        <a:pt x="11" y="257"/>
                      </a:cubicBezTo>
                      <a:cubicBezTo>
                        <a:pt x="11" y="257"/>
                        <a:pt x="11" y="257"/>
                        <a:pt x="11" y="257"/>
                      </a:cubicBezTo>
                      <a:cubicBezTo>
                        <a:pt x="11" y="256"/>
                        <a:pt x="11" y="256"/>
                        <a:pt x="11" y="256"/>
                      </a:cubicBezTo>
                      <a:cubicBezTo>
                        <a:pt x="11" y="256"/>
                        <a:pt x="11" y="256"/>
                        <a:pt x="11" y="256"/>
                      </a:cubicBezTo>
                      <a:cubicBezTo>
                        <a:pt x="12" y="257"/>
                        <a:pt x="12" y="257"/>
                        <a:pt x="12" y="257"/>
                      </a:cubicBezTo>
                      <a:cubicBezTo>
                        <a:pt x="12" y="256"/>
                        <a:pt x="12" y="256"/>
                        <a:pt x="12" y="256"/>
                      </a:cubicBezTo>
                      <a:cubicBezTo>
                        <a:pt x="11" y="255"/>
                        <a:pt x="11" y="255"/>
                        <a:pt x="11" y="255"/>
                      </a:cubicBezTo>
                      <a:cubicBezTo>
                        <a:pt x="10" y="255"/>
                        <a:pt x="10" y="255"/>
                        <a:pt x="10" y="255"/>
                      </a:cubicBezTo>
                      <a:cubicBezTo>
                        <a:pt x="10" y="254"/>
                        <a:pt x="10" y="254"/>
                        <a:pt x="10" y="254"/>
                      </a:cubicBezTo>
                      <a:cubicBezTo>
                        <a:pt x="11" y="253"/>
                        <a:pt x="11" y="253"/>
                        <a:pt x="11" y="253"/>
                      </a:cubicBezTo>
                      <a:close/>
                      <a:moveTo>
                        <a:pt x="22" y="249"/>
                      </a:moveTo>
                      <a:cubicBezTo>
                        <a:pt x="22" y="248"/>
                        <a:pt x="22" y="248"/>
                        <a:pt x="22" y="248"/>
                      </a:cubicBezTo>
                      <a:cubicBezTo>
                        <a:pt x="23" y="248"/>
                        <a:pt x="23" y="248"/>
                        <a:pt x="23" y="248"/>
                      </a:cubicBezTo>
                      <a:cubicBezTo>
                        <a:pt x="23" y="248"/>
                        <a:pt x="23" y="248"/>
                        <a:pt x="23" y="248"/>
                      </a:cubicBezTo>
                      <a:cubicBezTo>
                        <a:pt x="22" y="249"/>
                        <a:pt x="22" y="249"/>
                        <a:pt x="22" y="249"/>
                      </a:cubicBezTo>
                      <a:close/>
                      <a:moveTo>
                        <a:pt x="120" y="117"/>
                      </a:moveTo>
                      <a:cubicBezTo>
                        <a:pt x="120" y="118"/>
                        <a:pt x="120" y="118"/>
                        <a:pt x="120" y="118"/>
                      </a:cubicBezTo>
                      <a:cubicBezTo>
                        <a:pt x="121" y="117"/>
                        <a:pt x="121" y="117"/>
                        <a:pt x="121" y="117"/>
                      </a:cubicBezTo>
                      <a:cubicBezTo>
                        <a:pt x="121" y="117"/>
                        <a:pt x="121" y="117"/>
                        <a:pt x="121" y="117"/>
                      </a:cubicBezTo>
                      <a:cubicBezTo>
                        <a:pt x="121" y="117"/>
                        <a:pt x="121" y="117"/>
                        <a:pt x="121" y="117"/>
                      </a:cubicBezTo>
                      <a:cubicBezTo>
                        <a:pt x="120" y="117"/>
                        <a:pt x="120" y="117"/>
                        <a:pt x="120" y="117"/>
                      </a:cubicBezTo>
                      <a:cubicBezTo>
                        <a:pt x="120" y="117"/>
                        <a:pt x="120" y="117"/>
                        <a:pt x="120" y="117"/>
                      </a:cubicBezTo>
                      <a:close/>
                      <a:moveTo>
                        <a:pt x="111" y="109"/>
                      </a:moveTo>
                      <a:cubicBezTo>
                        <a:pt x="111" y="109"/>
                        <a:pt x="111" y="109"/>
                        <a:pt x="111" y="109"/>
                      </a:cubicBezTo>
                      <a:cubicBezTo>
                        <a:pt x="112" y="109"/>
                        <a:pt x="112" y="109"/>
                        <a:pt x="112" y="109"/>
                      </a:cubicBezTo>
                      <a:cubicBezTo>
                        <a:pt x="112" y="108"/>
                        <a:pt x="112" y="108"/>
                        <a:pt x="112" y="108"/>
                      </a:cubicBezTo>
                      <a:cubicBezTo>
                        <a:pt x="111" y="108"/>
                        <a:pt x="111" y="108"/>
                        <a:pt x="111" y="108"/>
                      </a:cubicBezTo>
                      <a:cubicBezTo>
                        <a:pt x="111" y="109"/>
                        <a:pt x="111" y="109"/>
                        <a:pt x="111" y="109"/>
                      </a:cubicBezTo>
                      <a:close/>
                      <a:moveTo>
                        <a:pt x="77" y="111"/>
                      </a:moveTo>
                      <a:cubicBezTo>
                        <a:pt x="77" y="112"/>
                        <a:pt x="77" y="112"/>
                        <a:pt x="77" y="112"/>
                      </a:cubicBezTo>
                      <a:cubicBezTo>
                        <a:pt x="78" y="111"/>
                        <a:pt x="78" y="111"/>
                        <a:pt x="78" y="111"/>
                      </a:cubicBezTo>
                      <a:cubicBezTo>
                        <a:pt x="78" y="111"/>
                        <a:pt x="78" y="111"/>
                        <a:pt x="78" y="111"/>
                      </a:cubicBezTo>
                      <a:cubicBezTo>
                        <a:pt x="78" y="111"/>
                        <a:pt x="77" y="111"/>
                        <a:pt x="77" y="111"/>
                      </a:cubicBezTo>
                      <a:close/>
                      <a:moveTo>
                        <a:pt x="77" y="113"/>
                      </a:moveTo>
                      <a:cubicBezTo>
                        <a:pt x="77" y="112"/>
                        <a:pt x="77" y="112"/>
                        <a:pt x="77" y="112"/>
                      </a:cubicBezTo>
                      <a:cubicBezTo>
                        <a:pt x="77" y="112"/>
                        <a:pt x="77" y="112"/>
                        <a:pt x="77" y="112"/>
                      </a:cubicBezTo>
                      <a:cubicBezTo>
                        <a:pt x="77" y="113"/>
                        <a:pt x="77" y="113"/>
                        <a:pt x="77" y="113"/>
                      </a:cubicBezTo>
                      <a:cubicBezTo>
                        <a:pt x="77" y="113"/>
                        <a:pt x="77" y="113"/>
                        <a:pt x="77" y="113"/>
                      </a:cubicBezTo>
                      <a:close/>
                      <a:moveTo>
                        <a:pt x="75" y="116"/>
                      </a:moveTo>
                      <a:cubicBezTo>
                        <a:pt x="75" y="117"/>
                        <a:pt x="75" y="117"/>
                        <a:pt x="75" y="117"/>
                      </a:cubicBezTo>
                      <a:cubicBezTo>
                        <a:pt x="75" y="118"/>
                        <a:pt x="75" y="118"/>
                        <a:pt x="75" y="118"/>
                      </a:cubicBezTo>
                      <a:cubicBezTo>
                        <a:pt x="75" y="118"/>
                        <a:pt x="75" y="118"/>
                        <a:pt x="75" y="118"/>
                      </a:cubicBezTo>
                      <a:cubicBezTo>
                        <a:pt x="76" y="118"/>
                        <a:pt x="76" y="118"/>
                        <a:pt x="76" y="118"/>
                      </a:cubicBezTo>
                      <a:cubicBezTo>
                        <a:pt x="76" y="118"/>
                        <a:pt x="76" y="118"/>
                        <a:pt x="76" y="118"/>
                      </a:cubicBezTo>
                      <a:cubicBezTo>
                        <a:pt x="77" y="118"/>
                        <a:pt x="77" y="118"/>
                        <a:pt x="77" y="118"/>
                      </a:cubicBezTo>
                      <a:cubicBezTo>
                        <a:pt x="80" y="115"/>
                        <a:pt x="80" y="115"/>
                        <a:pt x="80" y="115"/>
                      </a:cubicBezTo>
                      <a:cubicBezTo>
                        <a:pt x="82" y="115"/>
                        <a:pt x="82" y="115"/>
                        <a:pt x="82" y="115"/>
                      </a:cubicBezTo>
                      <a:cubicBezTo>
                        <a:pt x="82" y="114"/>
                        <a:pt x="82" y="114"/>
                        <a:pt x="82" y="114"/>
                      </a:cubicBezTo>
                      <a:cubicBezTo>
                        <a:pt x="82" y="114"/>
                        <a:pt x="82" y="114"/>
                        <a:pt x="82" y="114"/>
                      </a:cubicBezTo>
                      <a:cubicBezTo>
                        <a:pt x="81" y="114"/>
                        <a:pt x="81" y="114"/>
                        <a:pt x="81" y="114"/>
                      </a:cubicBezTo>
                      <a:cubicBezTo>
                        <a:pt x="81" y="112"/>
                        <a:pt x="81" y="112"/>
                        <a:pt x="81" y="112"/>
                      </a:cubicBezTo>
                      <a:cubicBezTo>
                        <a:pt x="80" y="112"/>
                        <a:pt x="80" y="112"/>
                        <a:pt x="80" y="112"/>
                      </a:cubicBezTo>
                      <a:cubicBezTo>
                        <a:pt x="80" y="113"/>
                        <a:pt x="80" y="113"/>
                        <a:pt x="80" y="113"/>
                      </a:cubicBezTo>
                      <a:cubicBezTo>
                        <a:pt x="79" y="114"/>
                        <a:pt x="79" y="114"/>
                        <a:pt x="79" y="114"/>
                      </a:cubicBezTo>
                      <a:cubicBezTo>
                        <a:pt x="79" y="114"/>
                        <a:pt x="79" y="114"/>
                        <a:pt x="79" y="114"/>
                      </a:cubicBezTo>
                      <a:cubicBezTo>
                        <a:pt x="78" y="114"/>
                        <a:pt x="78" y="114"/>
                        <a:pt x="78" y="114"/>
                      </a:cubicBezTo>
                      <a:cubicBezTo>
                        <a:pt x="78" y="115"/>
                        <a:pt x="78" y="115"/>
                        <a:pt x="78" y="115"/>
                      </a:cubicBezTo>
                      <a:cubicBezTo>
                        <a:pt x="78" y="115"/>
                        <a:pt x="78" y="115"/>
                        <a:pt x="78" y="115"/>
                      </a:cubicBezTo>
                      <a:cubicBezTo>
                        <a:pt x="77" y="115"/>
                        <a:pt x="77" y="115"/>
                        <a:pt x="77" y="115"/>
                      </a:cubicBezTo>
                      <a:cubicBezTo>
                        <a:pt x="78" y="114"/>
                        <a:pt x="78" y="114"/>
                        <a:pt x="78" y="114"/>
                      </a:cubicBezTo>
                      <a:cubicBezTo>
                        <a:pt x="77" y="114"/>
                        <a:pt x="77" y="114"/>
                        <a:pt x="77" y="114"/>
                      </a:cubicBezTo>
                      <a:cubicBezTo>
                        <a:pt x="76" y="114"/>
                        <a:pt x="76" y="114"/>
                        <a:pt x="76" y="114"/>
                      </a:cubicBezTo>
                      <a:cubicBezTo>
                        <a:pt x="76" y="114"/>
                        <a:pt x="76" y="114"/>
                        <a:pt x="76" y="114"/>
                      </a:cubicBezTo>
                      <a:cubicBezTo>
                        <a:pt x="76" y="115"/>
                        <a:pt x="76" y="115"/>
                        <a:pt x="76" y="115"/>
                      </a:cubicBezTo>
                      <a:cubicBezTo>
                        <a:pt x="75" y="116"/>
                        <a:pt x="75" y="116"/>
                        <a:pt x="75" y="116"/>
                      </a:cubicBezTo>
                      <a:close/>
                      <a:moveTo>
                        <a:pt x="72" y="118"/>
                      </a:moveTo>
                      <a:cubicBezTo>
                        <a:pt x="72" y="117"/>
                        <a:pt x="72" y="117"/>
                        <a:pt x="72" y="117"/>
                      </a:cubicBezTo>
                      <a:cubicBezTo>
                        <a:pt x="72" y="116"/>
                        <a:pt x="72" y="116"/>
                        <a:pt x="72" y="116"/>
                      </a:cubicBezTo>
                      <a:cubicBezTo>
                        <a:pt x="71" y="116"/>
                        <a:pt x="71" y="116"/>
                        <a:pt x="71" y="116"/>
                      </a:cubicBezTo>
                      <a:cubicBezTo>
                        <a:pt x="71" y="117"/>
                        <a:pt x="71" y="117"/>
                        <a:pt x="71" y="117"/>
                      </a:cubicBezTo>
                      <a:cubicBezTo>
                        <a:pt x="70" y="118"/>
                        <a:pt x="70" y="118"/>
                        <a:pt x="70" y="118"/>
                      </a:cubicBezTo>
                      <a:cubicBezTo>
                        <a:pt x="71" y="118"/>
                        <a:pt x="71" y="118"/>
                        <a:pt x="71" y="118"/>
                      </a:cubicBezTo>
                      <a:cubicBezTo>
                        <a:pt x="71" y="118"/>
                        <a:pt x="72" y="118"/>
                        <a:pt x="72" y="118"/>
                      </a:cubicBezTo>
                      <a:close/>
                      <a:moveTo>
                        <a:pt x="72" y="119"/>
                      </a:moveTo>
                      <a:cubicBezTo>
                        <a:pt x="72" y="118"/>
                        <a:pt x="72" y="118"/>
                        <a:pt x="72" y="118"/>
                      </a:cubicBezTo>
                      <a:cubicBezTo>
                        <a:pt x="73" y="118"/>
                        <a:pt x="73" y="118"/>
                        <a:pt x="73" y="118"/>
                      </a:cubicBezTo>
                      <a:cubicBezTo>
                        <a:pt x="72" y="117"/>
                        <a:pt x="72" y="117"/>
                        <a:pt x="72" y="117"/>
                      </a:cubicBezTo>
                      <a:cubicBezTo>
                        <a:pt x="72" y="115"/>
                        <a:pt x="72" y="115"/>
                        <a:pt x="72" y="115"/>
                      </a:cubicBezTo>
                      <a:cubicBezTo>
                        <a:pt x="73" y="115"/>
                        <a:pt x="73" y="115"/>
                        <a:pt x="73" y="115"/>
                      </a:cubicBezTo>
                      <a:cubicBezTo>
                        <a:pt x="73" y="115"/>
                        <a:pt x="73" y="115"/>
                        <a:pt x="73" y="115"/>
                      </a:cubicBezTo>
                      <a:cubicBezTo>
                        <a:pt x="74" y="115"/>
                        <a:pt x="74" y="115"/>
                        <a:pt x="74" y="115"/>
                      </a:cubicBezTo>
                      <a:cubicBezTo>
                        <a:pt x="74" y="114"/>
                        <a:pt x="74" y="114"/>
                        <a:pt x="74" y="114"/>
                      </a:cubicBezTo>
                      <a:cubicBezTo>
                        <a:pt x="74" y="115"/>
                        <a:pt x="74" y="115"/>
                        <a:pt x="74" y="115"/>
                      </a:cubicBezTo>
                      <a:cubicBezTo>
                        <a:pt x="74" y="117"/>
                        <a:pt x="74" y="117"/>
                        <a:pt x="74" y="117"/>
                      </a:cubicBezTo>
                      <a:cubicBezTo>
                        <a:pt x="74" y="118"/>
                        <a:pt x="74" y="118"/>
                        <a:pt x="74" y="118"/>
                      </a:cubicBezTo>
                      <a:cubicBezTo>
                        <a:pt x="74" y="119"/>
                        <a:pt x="74" y="119"/>
                        <a:pt x="74" y="119"/>
                      </a:cubicBezTo>
                      <a:cubicBezTo>
                        <a:pt x="73" y="119"/>
                        <a:pt x="73" y="119"/>
                        <a:pt x="73" y="119"/>
                      </a:cubicBezTo>
                      <a:cubicBezTo>
                        <a:pt x="72" y="119"/>
                        <a:pt x="72" y="119"/>
                        <a:pt x="72" y="119"/>
                      </a:cubicBezTo>
                      <a:close/>
                      <a:moveTo>
                        <a:pt x="73" y="123"/>
                      </a:moveTo>
                      <a:cubicBezTo>
                        <a:pt x="74" y="122"/>
                        <a:pt x="74" y="122"/>
                        <a:pt x="74" y="122"/>
                      </a:cubicBezTo>
                      <a:cubicBezTo>
                        <a:pt x="73" y="121"/>
                        <a:pt x="73" y="121"/>
                        <a:pt x="73" y="121"/>
                      </a:cubicBezTo>
                      <a:cubicBezTo>
                        <a:pt x="73" y="120"/>
                        <a:pt x="73" y="120"/>
                        <a:pt x="73" y="120"/>
                      </a:cubicBezTo>
                      <a:cubicBezTo>
                        <a:pt x="72" y="120"/>
                        <a:pt x="72" y="120"/>
                        <a:pt x="72" y="120"/>
                      </a:cubicBezTo>
                      <a:cubicBezTo>
                        <a:pt x="71" y="119"/>
                        <a:pt x="71" y="119"/>
                        <a:pt x="71" y="119"/>
                      </a:cubicBezTo>
                      <a:cubicBezTo>
                        <a:pt x="70" y="119"/>
                        <a:pt x="70" y="119"/>
                        <a:pt x="70" y="119"/>
                      </a:cubicBezTo>
                      <a:cubicBezTo>
                        <a:pt x="70" y="119"/>
                        <a:pt x="70" y="119"/>
                        <a:pt x="70" y="119"/>
                      </a:cubicBezTo>
                      <a:cubicBezTo>
                        <a:pt x="72" y="121"/>
                        <a:pt x="72" y="121"/>
                        <a:pt x="72" y="121"/>
                      </a:cubicBezTo>
                      <a:cubicBezTo>
                        <a:pt x="71" y="120"/>
                        <a:pt x="71" y="120"/>
                        <a:pt x="71" y="120"/>
                      </a:cubicBezTo>
                      <a:cubicBezTo>
                        <a:pt x="71" y="121"/>
                        <a:pt x="71" y="121"/>
                        <a:pt x="71" y="121"/>
                      </a:cubicBezTo>
                      <a:cubicBezTo>
                        <a:pt x="72" y="122"/>
                        <a:pt x="72" y="122"/>
                        <a:pt x="72" y="122"/>
                      </a:cubicBezTo>
                      <a:cubicBezTo>
                        <a:pt x="73" y="123"/>
                        <a:pt x="73" y="123"/>
                        <a:pt x="73" y="123"/>
                      </a:cubicBezTo>
                      <a:close/>
                      <a:moveTo>
                        <a:pt x="63" y="108"/>
                      </a:moveTo>
                      <a:cubicBezTo>
                        <a:pt x="63" y="108"/>
                        <a:pt x="63" y="108"/>
                        <a:pt x="63" y="108"/>
                      </a:cubicBezTo>
                      <a:cubicBezTo>
                        <a:pt x="64" y="108"/>
                        <a:pt x="64" y="108"/>
                        <a:pt x="64" y="108"/>
                      </a:cubicBezTo>
                      <a:cubicBezTo>
                        <a:pt x="65" y="109"/>
                        <a:pt x="65" y="109"/>
                        <a:pt x="65" y="109"/>
                      </a:cubicBezTo>
                      <a:cubicBezTo>
                        <a:pt x="65" y="109"/>
                        <a:pt x="65" y="109"/>
                        <a:pt x="65" y="109"/>
                      </a:cubicBezTo>
                      <a:cubicBezTo>
                        <a:pt x="64" y="107"/>
                        <a:pt x="64" y="107"/>
                        <a:pt x="64" y="107"/>
                      </a:cubicBezTo>
                      <a:cubicBezTo>
                        <a:pt x="63" y="107"/>
                        <a:pt x="63" y="107"/>
                        <a:pt x="63" y="107"/>
                      </a:cubicBezTo>
                      <a:cubicBezTo>
                        <a:pt x="63" y="108"/>
                        <a:pt x="63" y="108"/>
                        <a:pt x="63" y="108"/>
                      </a:cubicBezTo>
                      <a:close/>
                      <a:moveTo>
                        <a:pt x="43" y="292"/>
                      </a:moveTo>
                      <a:cubicBezTo>
                        <a:pt x="43" y="292"/>
                        <a:pt x="43" y="292"/>
                        <a:pt x="43" y="292"/>
                      </a:cubicBezTo>
                      <a:cubicBezTo>
                        <a:pt x="42" y="292"/>
                        <a:pt x="42" y="292"/>
                        <a:pt x="42" y="292"/>
                      </a:cubicBezTo>
                      <a:cubicBezTo>
                        <a:pt x="42" y="290"/>
                        <a:pt x="42" y="290"/>
                        <a:pt x="42" y="290"/>
                      </a:cubicBezTo>
                      <a:cubicBezTo>
                        <a:pt x="43" y="289"/>
                        <a:pt x="43" y="289"/>
                        <a:pt x="43" y="289"/>
                      </a:cubicBezTo>
                      <a:cubicBezTo>
                        <a:pt x="43" y="288"/>
                        <a:pt x="43" y="288"/>
                        <a:pt x="43" y="288"/>
                      </a:cubicBezTo>
                      <a:cubicBezTo>
                        <a:pt x="42" y="288"/>
                        <a:pt x="42" y="288"/>
                        <a:pt x="42" y="288"/>
                      </a:cubicBezTo>
                      <a:cubicBezTo>
                        <a:pt x="41" y="288"/>
                        <a:pt x="41" y="288"/>
                        <a:pt x="41" y="288"/>
                      </a:cubicBezTo>
                      <a:cubicBezTo>
                        <a:pt x="40" y="289"/>
                        <a:pt x="40" y="289"/>
                        <a:pt x="40" y="289"/>
                      </a:cubicBezTo>
                      <a:cubicBezTo>
                        <a:pt x="39" y="288"/>
                        <a:pt x="39" y="288"/>
                        <a:pt x="39" y="288"/>
                      </a:cubicBezTo>
                      <a:cubicBezTo>
                        <a:pt x="39" y="287"/>
                        <a:pt x="39" y="287"/>
                        <a:pt x="39" y="287"/>
                      </a:cubicBezTo>
                      <a:cubicBezTo>
                        <a:pt x="40" y="287"/>
                        <a:pt x="40" y="287"/>
                        <a:pt x="40" y="287"/>
                      </a:cubicBezTo>
                      <a:cubicBezTo>
                        <a:pt x="40" y="288"/>
                        <a:pt x="40" y="288"/>
                        <a:pt x="40" y="288"/>
                      </a:cubicBezTo>
                      <a:cubicBezTo>
                        <a:pt x="40" y="288"/>
                        <a:pt x="40" y="288"/>
                        <a:pt x="40" y="288"/>
                      </a:cubicBezTo>
                      <a:cubicBezTo>
                        <a:pt x="41" y="287"/>
                        <a:pt x="41" y="287"/>
                        <a:pt x="41" y="287"/>
                      </a:cubicBezTo>
                      <a:cubicBezTo>
                        <a:pt x="40" y="287"/>
                        <a:pt x="40" y="287"/>
                        <a:pt x="40" y="287"/>
                      </a:cubicBezTo>
                      <a:cubicBezTo>
                        <a:pt x="40" y="286"/>
                        <a:pt x="40" y="286"/>
                        <a:pt x="40" y="286"/>
                      </a:cubicBezTo>
                      <a:cubicBezTo>
                        <a:pt x="39" y="286"/>
                        <a:pt x="39" y="286"/>
                        <a:pt x="39" y="286"/>
                      </a:cubicBezTo>
                      <a:cubicBezTo>
                        <a:pt x="39" y="286"/>
                        <a:pt x="39" y="286"/>
                        <a:pt x="39" y="286"/>
                      </a:cubicBezTo>
                      <a:cubicBezTo>
                        <a:pt x="38" y="286"/>
                        <a:pt x="38" y="286"/>
                        <a:pt x="38" y="286"/>
                      </a:cubicBezTo>
                      <a:cubicBezTo>
                        <a:pt x="37" y="285"/>
                        <a:pt x="37" y="285"/>
                        <a:pt x="37" y="285"/>
                      </a:cubicBezTo>
                      <a:cubicBezTo>
                        <a:pt x="37" y="284"/>
                        <a:pt x="37" y="284"/>
                        <a:pt x="37" y="284"/>
                      </a:cubicBezTo>
                      <a:cubicBezTo>
                        <a:pt x="38" y="284"/>
                        <a:pt x="38" y="284"/>
                        <a:pt x="38" y="284"/>
                      </a:cubicBezTo>
                      <a:cubicBezTo>
                        <a:pt x="39" y="283"/>
                        <a:pt x="39" y="283"/>
                        <a:pt x="39" y="283"/>
                      </a:cubicBezTo>
                      <a:cubicBezTo>
                        <a:pt x="39" y="282"/>
                        <a:pt x="39" y="282"/>
                        <a:pt x="39" y="282"/>
                      </a:cubicBezTo>
                      <a:cubicBezTo>
                        <a:pt x="39" y="282"/>
                        <a:pt x="39" y="282"/>
                        <a:pt x="39" y="282"/>
                      </a:cubicBezTo>
                      <a:cubicBezTo>
                        <a:pt x="38" y="282"/>
                        <a:pt x="38" y="282"/>
                        <a:pt x="38" y="282"/>
                      </a:cubicBezTo>
                      <a:cubicBezTo>
                        <a:pt x="37" y="282"/>
                        <a:pt x="37" y="282"/>
                        <a:pt x="37" y="282"/>
                      </a:cubicBezTo>
                      <a:cubicBezTo>
                        <a:pt x="37" y="282"/>
                        <a:pt x="37" y="282"/>
                        <a:pt x="37" y="282"/>
                      </a:cubicBezTo>
                      <a:cubicBezTo>
                        <a:pt x="37" y="281"/>
                        <a:pt x="37" y="281"/>
                        <a:pt x="37" y="281"/>
                      </a:cubicBezTo>
                      <a:cubicBezTo>
                        <a:pt x="38" y="280"/>
                        <a:pt x="38" y="280"/>
                        <a:pt x="38" y="280"/>
                      </a:cubicBezTo>
                      <a:cubicBezTo>
                        <a:pt x="38" y="279"/>
                        <a:pt x="38" y="279"/>
                        <a:pt x="38" y="279"/>
                      </a:cubicBezTo>
                      <a:cubicBezTo>
                        <a:pt x="39" y="278"/>
                        <a:pt x="39" y="278"/>
                        <a:pt x="39" y="278"/>
                      </a:cubicBezTo>
                      <a:cubicBezTo>
                        <a:pt x="39" y="278"/>
                        <a:pt x="39" y="278"/>
                        <a:pt x="39" y="278"/>
                      </a:cubicBezTo>
                      <a:cubicBezTo>
                        <a:pt x="38" y="278"/>
                        <a:pt x="38" y="278"/>
                        <a:pt x="38" y="278"/>
                      </a:cubicBezTo>
                      <a:cubicBezTo>
                        <a:pt x="38" y="279"/>
                        <a:pt x="38" y="279"/>
                        <a:pt x="38" y="279"/>
                      </a:cubicBezTo>
                      <a:cubicBezTo>
                        <a:pt x="38" y="280"/>
                        <a:pt x="38" y="280"/>
                        <a:pt x="38" y="280"/>
                      </a:cubicBezTo>
                      <a:cubicBezTo>
                        <a:pt x="37" y="281"/>
                        <a:pt x="37" y="281"/>
                        <a:pt x="37" y="281"/>
                      </a:cubicBezTo>
                      <a:cubicBezTo>
                        <a:pt x="36" y="282"/>
                        <a:pt x="36" y="282"/>
                        <a:pt x="36" y="282"/>
                      </a:cubicBezTo>
                      <a:cubicBezTo>
                        <a:pt x="35" y="281"/>
                        <a:pt x="35" y="281"/>
                        <a:pt x="35" y="281"/>
                      </a:cubicBezTo>
                      <a:cubicBezTo>
                        <a:pt x="35" y="281"/>
                        <a:pt x="35" y="281"/>
                        <a:pt x="35" y="281"/>
                      </a:cubicBezTo>
                      <a:cubicBezTo>
                        <a:pt x="35" y="281"/>
                        <a:pt x="35" y="281"/>
                        <a:pt x="35" y="281"/>
                      </a:cubicBezTo>
                      <a:cubicBezTo>
                        <a:pt x="35" y="280"/>
                        <a:pt x="35" y="280"/>
                        <a:pt x="35" y="280"/>
                      </a:cubicBezTo>
                      <a:cubicBezTo>
                        <a:pt x="35" y="280"/>
                        <a:pt x="35" y="280"/>
                        <a:pt x="35" y="280"/>
                      </a:cubicBezTo>
                      <a:cubicBezTo>
                        <a:pt x="34" y="280"/>
                        <a:pt x="34" y="280"/>
                        <a:pt x="34" y="280"/>
                      </a:cubicBezTo>
                      <a:cubicBezTo>
                        <a:pt x="34" y="281"/>
                        <a:pt x="34" y="281"/>
                        <a:pt x="34" y="281"/>
                      </a:cubicBezTo>
                      <a:cubicBezTo>
                        <a:pt x="34" y="281"/>
                        <a:pt x="34" y="281"/>
                        <a:pt x="34" y="281"/>
                      </a:cubicBezTo>
                      <a:cubicBezTo>
                        <a:pt x="33" y="280"/>
                        <a:pt x="33" y="280"/>
                        <a:pt x="33" y="280"/>
                      </a:cubicBezTo>
                      <a:cubicBezTo>
                        <a:pt x="33" y="280"/>
                        <a:pt x="33" y="280"/>
                        <a:pt x="33" y="280"/>
                      </a:cubicBezTo>
                      <a:cubicBezTo>
                        <a:pt x="32" y="281"/>
                        <a:pt x="32" y="281"/>
                        <a:pt x="32" y="281"/>
                      </a:cubicBezTo>
                      <a:cubicBezTo>
                        <a:pt x="32" y="280"/>
                        <a:pt x="32" y="280"/>
                        <a:pt x="32" y="280"/>
                      </a:cubicBezTo>
                      <a:cubicBezTo>
                        <a:pt x="32" y="280"/>
                        <a:pt x="32" y="280"/>
                        <a:pt x="32" y="280"/>
                      </a:cubicBezTo>
                      <a:cubicBezTo>
                        <a:pt x="32" y="280"/>
                        <a:pt x="32" y="280"/>
                        <a:pt x="32" y="280"/>
                      </a:cubicBezTo>
                      <a:cubicBezTo>
                        <a:pt x="33" y="279"/>
                        <a:pt x="33" y="279"/>
                        <a:pt x="33" y="279"/>
                      </a:cubicBezTo>
                      <a:cubicBezTo>
                        <a:pt x="34" y="279"/>
                        <a:pt x="34" y="279"/>
                        <a:pt x="34" y="279"/>
                      </a:cubicBezTo>
                      <a:cubicBezTo>
                        <a:pt x="36" y="278"/>
                        <a:pt x="36" y="278"/>
                        <a:pt x="36" y="278"/>
                      </a:cubicBezTo>
                      <a:cubicBezTo>
                        <a:pt x="36" y="278"/>
                        <a:pt x="36" y="278"/>
                        <a:pt x="36" y="278"/>
                      </a:cubicBezTo>
                      <a:cubicBezTo>
                        <a:pt x="36" y="277"/>
                        <a:pt x="36" y="277"/>
                        <a:pt x="36" y="277"/>
                      </a:cubicBezTo>
                      <a:cubicBezTo>
                        <a:pt x="36" y="277"/>
                        <a:pt x="36" y="277"/>
                        <a:pt x="36" y="277"/>
                      </a:cubicBezTo>
                      <a:cubicBezTo>
                        <a:pt x="35" y="278"/>
                        <a:pt x="35" y="278"/>
                        <a:pt x="35" y="278"/>
                      </a:cubicBezTo>
                      <a:cubicBezTo>
                        <a:pt x="34" y="279"/>
                        <a:pt x="34" y="279"/>
                        <a:pt x="34" y="279"/>
                      </a:cubicBezTo>
                      <a:cubicBezTo>
                        <a:pt x="34" y="279"/>
                        <a:pt x="34" y="279"/>
                        <a:pt x="34" y="279"/>
                      </a:cubicBezTo>
                      <a:cubicBezTo>
                        <a:pt x="33" y="279"/>
                        <a:pt x="33" y="279"/>
                        <a:pt x="33" y="279"/>
                      </a:cubicBezTo>
                      <a:cubicBezTo>
                        <a:pt x="32" y="278"/>
                        <a:pt x="32" y="278"/>
                        <a:pt x="32" y="278"/>
                      </a:cubicBezTo>
                      <a:cubicBezTo>
                        <a:pt x="32" y="278"/>
                        <a:pt x="32" y="278"/>
                        <a:pt x="32" y="278"/>
                      </a:cubicBezTo>
                      <a:cubicBezTo>
                        <a:pt x="32" y="278"/>
                        <a:pt x="32" y="278"/>
                        <a:pt x="32" y="278"/>
                      </a:cubicBezTo>
                      <a:cubicBezTo>
                        <a:pt x="32" y="278"/>
                        <a:pt x="32" y="278"/>
                        <a:pt x="32" y="278"/>
                      </a:cubicBezTo>
                      <a:cubicBezTo>
                        <a:pt x="32" y="277"/>
                        <a:pt x="32" y="277"/>
                        <a:pt x="32" y="277"/>
                      </a:cubicBezTo>
                      <a:cubicBezTo>
                        <a:pt x="31" y="277"/>
                        <a:pt x="31" y="277"/>
                        <a:pt x="31" y="277"/>
                      </a:cubicBezTo>
                      <a:cubicBezTo>
                        <a:pt x="30" y="277"/>
                        <a:pt x="30" y="277"/>
                        <a:pt x="30" y="277"/>
                      </a:cubicBezTo>
                      <a:cubicBezTo>
                        <a:pt x="29" y="277"/>
                        <a:pt x="29" y="277"/>
                        <a:pt x="29" y="277"/>
                      </a:cubicBezTo>
                      <a:cubicBezTo>
                        <a:pt x="29" y="278"/>
                        <a:pt x="29" y="278"/>
                        <a:pt x="29" y="278"/>
                      </a:cubicBezTo>
                      <a:cubicBezTo>
                        <a:pt x="28" y="277"/>
                        <a:pt x="28" y="277"/>
                        <a:pt x="28" y="277"/>
                      </a:cubicBezTo>
                      <a:cubicBezTo>
                        <a:pt x="28" y="276"/>
                        <a:pt x="28" y="276"/>
                        <a:pt x="28" y="276"/>
                      </a:cubicBezTo>
                      <a:cubicBezTo>
                        <a:pt x="28" y="276"/>
                        <a:pt x="28" y="276"/>
                        <a:pt x="28" y="276"/>
                      </a:cubicBezTo>
                      <a:cubicBezTo>
                        <a:pt x="28" y="276"/>
                        <a:pt x="28" y="276"/>
                        <a:pt x="28" y="276"/>
                      </a:cubicBezTo>
                      <a:cubicBezTo>
                        <a:pt x="30" y="277"/>
                        <a:pt x="30" y="277"/>
                        <a:pt x="30" y="277"/>
                      </a:cubicBezTo>
                      <a:cubicBezTo>
                        <a:pt x="31" y="276"/>
                        <a:pt x="31" y="276"/>
                        <a:pt x="31" y="276"/>
                      </a:cubicBezTo>
                      <a:cubicBezTo>
                        <a:pt x="31" y="276"/>
                        <a:pt x="31" y="276"/>
                        <a:pt x="31" y="276"/>
                      </a:cubicBezTo>
                      <a:cubicBezTo>
                        <a:pt x="30" y="276"/>
                        <a:pt x="30" y="276"/>
                        <a:pt x="30" y="276"/>
                      </a:cubicBezTo>
                      <a:cubicBezTo>
                        <a:pt x="29" y="276"/>
                        <a:pt x="29" y="276"/>
                        <a:pt x="29" y="276"/>
                      </a:cubicBezTo>
                      <a:cubicBezTo>
                        <a:pt x="29" y="276"/>
                        <a:pt x="29" y="276"/>
                        <a:pt x="29" y="276"/>
                      </a:cubicBezTo>
                      <a:cubicBezTo>
                        <a:pt x="29" y="276"/>
                        <a:pt x="29" y="276"/>
                        <a:pt x="29" y="276"/>
                      </a:cubicBezTo>
                      <a:cubicBezTo>
                        <a:pt x="30" y="276"/>
                        <a:pt x="30" y="276"/>
                        <a:pt x="30" y="276"/>
                      </a:cubicBezTo>
                      <a:cubicBezTo>
                        <a:pt x="31" y="276"/>
                        <a:pt x="31" y="276"/>
                        <a:pt x="31" y="276"/>
                      </a:cubicBezTo>
                      <a:cubicBezTo>
                        <a:pt x="31" y="275"/>
                        <a:pt x="31" y="275"/>
                        <a:pt x="31" y="275"/>
                      </a:cubicBezTo>
                      <a:cubicBezTo>
                        <a:pt x="29" y="275"/>
                        <a:pt x="29" y="275"/>
                        <a:pt x="29" y="275"/>
                      </a:cubicBezTo>
                      <a:cubicBezTo>
                        <a:pt x="29" y="275"/>
                        <a:pt x="29" y="275"/>
                        <a:pt x="29" y="275"/>
                      </a:cubicBezTo>
                      <a:cubicBezTo>
                        <a:pt x="28" y="275"/>
                        <a:pt x="28" y="275"/>
                        <a:pt x="28" y="275"/>
                      </a:cubicBezTo>
                      <a:cubicBezTo>
                        <a:pt x="27" y="275"/>
                        <a:pt x="27" y="275"/>
                        <a:pt x="27" y="275"/>
                      </a:cubicBezTo>
                      <a:cubicBezTo>
                        <a:pt x="27" y="275"/>
                        <a:pt x="27" y="275"/>
                        <a:pt x="27" y="275"/>
                      </a:cubicBezTo>
                      <a:cubicBezTo>
                        <a:pt x="27" y="274"/>
                        <a:pt x="27" y="274"/>
                        <a:pt x="27" y="274"/>
                      </a:cubicBezTo>
                      <a:cubicBezTo>
                        <a:pt x="28" y="274"/>
                        <a:pt x="28" y="274"/>
                        <a:pt x="28" y="274"/>
                      </a:cubicBezTo>
                      <a:cubicBezTo>
                        <a:pt x="28" y="274"/>
                        <a:pt x="28" y="274"/>
                        <a:pt x="28" y="274"/>
                      </a:cubicBezTo>
                      <a:cubicBezTo>
                        <a:pt x="29" y="274"/>
                        <a:pt x="29" y="274"/>
                        <a:pt x="29" y="274"/>
                      </a:cubicBezTo>
                      <a:cubicBezTo>
                        <a:pt x="30" y="274"/>
                        <a:pt x="30" y="274"/>
                        <a:pt x="30" y="274"/>
                      </a:cubicBezTo>
                      <a:cubicBezTo>
                        <a:pt x="29" y="274"/>
                        <a:pt x="29" y="274"/>
                        <a:pt x="29" y="274"/>
                      </a:cubicBezTo>
                      <a:cubicBezTo>
                        <a:pt x="28" y="273"/>
                        <a:pt x="28" y="273"/>
                        <a:pt x="28" y="273"/>
                      </a:cubicBezTo>
                      <a:cubicBezTo>
                        <a:pt x="27" y="273"/>
                        <a:pt x="27" y="273"/>
                        <a:pt x="27" y="273"/>
                      </a:cubicBezTo>
                      <a:cubicBezTo>
                        <a:pt x="27" y="273"/>
                        <a:pt x="27" y="273"/>
                        <a:pt x="27" y="273"/>
                      </a:cubicBezTo>
                      <a:cubicBezTo>
                        <a:pt x="29" y="273"/>
                        <a:pt x="29" y="273"/>
                        <a:pt x="29" y="273"/>
                      </a:cubicBezTo>
                      <a:cubicBezTo>
                        <a:pt x="29" y="273"/>
                        <a:pt x="29" y="273"/>
                        <a:pt x="29" y="273"/>
                      </a:cubicBezTo>
                      <a:cubicBezTo>
                        <a:pt x="30" y="273"/>
                        <a:pt x="30" y="273"/>
                        <a:pt x="30" y="273"/>
                      </a:cubicBezTo>
                      <a:cubicBezTo>
                        <a:pt x="29" y="272"/>
                        <a:pt x="29" y="272"/>
                        <a:pt x="29" y="272"/>
                      </a:cubicBezTo>
                      <a:cubicBezTo>
                        <a:pt x="29" y="272"/>
                        <a:pt x="29" y="272"/>
                        <a:pt x="29" y="272"/>
                      </a:cubicBezTo>
                      <a:cubicBezTo>
                        <a:pt x="30" y="272"/>
                        <a:pt x="30" y="272"/>
                        <a:pt x="30" y="272"/>
                      </a:cubicBezTo>
                      <a:cubicBezTo>
                        <a:pt x="31" y="272"/>
                        <a:pt x="31" y="272"/>
                        <a:pt x="31" y="272"/>
                      </a:cubicBezTo>
                      <a:cubicBezTo>
                        <a:pt x="32" y="272"/>
                        <a:pt x="32" y="272"/>
                        <a:pt x="32" y="272"/>
                      </a:cubicBezTo>
                      <a:cubicBezTo>
                        <a:pt x="32" y="271"/>
                        <a:pt x="32" y="271"/>
                        <a:pt x="32" y="271"/>
                      </a:cubicBezTo>
                      <a:cubicBezTo>
                        <a:pt x="31" y="271"/>
                        <a:pt x="31" y="271"/>
                        <a:pt x="31" y="271"/>
                      </a:cubicBezTo>
                      <a:cubicBezTo>
                        <a:pt x="30" y="271"/>
                        <a:pt x="30" y="271"/>
                        <a:pt x="30" y="271"/>
                      </a:cubicBezTo>
                      <a:cubicBezTo>
                        <a:pt x="30" y="271"/>
                        <a:pt x="30" y="271"/>
                        <a:pt x="30" y="271"/>
                      </a:cubicBezTo>
                      <a:cubicBezTo>
                        <a:pt x="29" y="271"/>
                        <a:pt x="29" y="271"/>
                        <a:pt x="29" y="271"/>
                      </a:cubicBezTo>
                      <a:cubicBezTo>
                        <a:pt x="29" y="272"/>
                        <a:pt x="29" y="272"/>
                        <a:pt x="29" y="272"/>
                      </a:cubicBezTo>
                      <a:cubicBezTo>
                        <a:pt x="28" y="272"/>
                        <a:pt x="28" y="272"/>
                        <a:pt x="28" y="272"/>
                      </a:cubicBezTo>
                      <a:cubicBezTo>
                        <a:pt x="28" y="272"/>
                        <a:pt x="28" y="272"/>
                        <a:pt x="28" y="272"/>
                      </a:cubicBezTo>
                      <a:cubicBezTo>
                        <a:pt x="28" y="271"/>
                        <a:pt x="28" y="271"/>
                        <a:pt x="28" y="271"/>
                      </a:cubicBezTo>
                      <a:cubicBezTo>
                        <a:pt x="28" y="271"/>
                        <a:pt x="28" y="271"/>
                        <a:pt x="28" y="271"/>
                      </a:cubicBezTo>
                      <a:cubicBezTo>
                        <a:pt x="28" y="270"/>
                        <a:pt x="28" y="270"/>
                        <a:pt x="28" y="270"/>
                      </a:cubicBezTo>
                      <a:cubicBezTo>
                        <a:pt x="29" y="269"/>
                        <a:pt x="29" y="269"/>
                        <a:pt x="29" y="269"/>
                      </a:cubicBezTo>
                      <a:cubicBezTo>
                        <a:pt x="30" y="269"/>
                        <a:pt x="30" y="269"/>
                        <a:pt x="30" y="269"/>
                      </a:cubicBezTo>
                      <a:cubicBezTo>
                        <a:pt x="32" y="267"/>
                        <a:pt x="32" y="267"/>
                        <a:pt x="32" y="267"/>
                      </a:cubicBezTo>
                      <a:cubicBezTo>
                        <a:pt x="33" y="267"/>
                        <a:pt x="33" y="267"/>
                        <a:pt x="33" y="267"/>
                      </a:cubicBezTo>
                      <a:cubicBezTo>
                        <a:pt x="33" y="268"/>
                        <a:pt x="33" y="268"/>
                        <a:pt x="33" y="268"/>
                      </a:cubicBezTo>
                      <a:cubicBezTo>
                        <a:pt x="33" y="269"/>
                        <a:pt x="33" y="269"/>
                        <a:pt x="33" y="269"/>
                      </a:cubicBezTo>
                      <a:cubicBezTo>
                        <a:pt x="34" y="269"/>
                        <a:pt x="34" y="269"/>
                        <a:pt x="34" y="269"/>
                      </a:cubicBezTo>
                      <a:cubicBezTo>
                        <a:pt x="34" y="269"/>
                        <a:pt x="34" y="269"/>
                        <a:pt x="34" y="269"/>
                      </a:cubicBezTo>
                      <a:cubicBezTo>
                        <a:pt x="34" y="268"/>
                        <a:pt x="34" y="268"/>
                        <a:pt x="34" y="268"/>
                      </a:cubicBezTo>
                      <a:cubicBezTo>
                        <a:pt x="34" y="267"/>
                        <a:pt x="34" y="267"/>
                        <a:pt x="34" y="267"/>
                      </a:cubicBezTo>
                      <a:cubicBezTo>
                        <a:pt x="34" y="267"/>
                        <a:pt x="34" y="267"/>
                        <a:pt x="34" y="267"/>
                      </a:cubicBezTo>
                      <a:cubicBezTo>
                        <a:pt x="35" y="267"/>
                        <a:pt x="35" y="267"/>
                        <a:pt x="35" y="267"/>
                      </a:cubicBezTo>
                      <a:cubicBezTo>
                        <a:pt x="35" y="266"/>
                        <a:pt x="35" y="266"/>
                        <a:pt x="35" y="266"/>
                      </a:cubicBezTo>
                      <a:cubicBezTo>
                        <a:pt x="34" y="266"/>
                        <a:pt x="34" y="266"/>
                        <a:pt x="34" y="266"/>
                      </a:cubicBezTo>
                      <a:cubicBezTo>
                        <a:pt x="33" y="267"/>
                        <a:pt x="33" y="267"/>
                        <a:pt x="33" y="267"/>
                      </a:cubicBezTo>
                      <a:cubicBezTo>
                        <a:pt x="32" y="266"/>
                        <a:pt x="32" y="266"/>
                        <a:pt x="32" y="266"/>
                      </a:cubicBezTo>
                      <a:cubicBezTo>
                        <a:pt x="33" y="265"/>
                        <a:pt x="33" y="265"/>
                        <a:pt x="33" y="265"/>
                      </a:cubicBezTo>
                      <a:cubicBezTo>
                        <a:pt x="34" y="265"/>
                        <a:pt x="34" y="265"/>
                        <a:pt x="34" y="265"/>
                      </a:cubicBezTo>
                      <a:cubicBezTo>
                        <a:pt x="35" y="265"/>
                        <a:pt x="35" y="265"/>
                        <a:pt x="35" y="265"/>
                      </a:cubicBezTo>
                      <a:cubicBezTo>
                        <a:pt x="35" y="263"/>
                        <a:pt x="35" y="263"/>
                        <a:pt x="35" y="263"/>
                      </a:cubicBezTo>
                      <a:cubicBezTo>
                        <a:pt x="35" y="263"/>
                        <a:pt x="35" y="263"/>
                        <a:pt x="35" y="263"/>
                      </a:cubicBezTo>
                      <a:cubicBezTo>
                        <a:pt x="35" y="263"/>
                        <a:pt x="35" y="263"/>
                        <a:pt x="35" y="263"/>
                      </a:cubicBezTo>
                      <a:cubicBezTo>
                        <a:pt x="35" y="264"/>
                        <a:pt x="35" y="264"/>
                        <a:pt x="35" y="264"/>
                      </a:cubicBezTo>
                      <a:cubicBezTo>
                        <a:pt x="34" y="264"/>
                        <a:pt x="34" y="264"/>
                        <a:pt x="34" y="264"/>
                      </a:cubicBezTo>
                      <a:cubicBezTo>
                        <a:pt x="33" y="264"/>
                        <a:pt x="33" y="264"/>
                        <a:pt x="33" y="264"/>
                      </a:cubicBezTo>
                      <a:cubicBezTo>
                        <a:pt x="32" y="266"/>
                        <a:pt x="32" y="266"/>
                        <a:pt x="32" y="266"/>
                      </a:cubicBezTo>
                      <a:cubicBezTo>
                        <a:pt x="31" y="266"/>
                        <a:pt x="31" y="266"/>
                        <a:pt x="31" y="266"/>
                      </a:cubicBezTo>
                      <a:cubicBezTo>
                        <a:pt x="29" y="267"/>
                        <a:pt x="29" y="267"/>
                        <a:pt x="29" y="267"/>
                      </a:cubicBezTo>
                      <a:cubicBezTo>
                        <a:pt x="29" y="266"/>
                        <a:pt x="29" y="266"/>
                        <a:pt x="29" y="266"/>
                      </a:cubicBezTo>
                      <a:cubicBezTo>
                        <a:pt x="29" y="266"/>
                        <a:pt x="29" y="266"/>
                        <a:pt x="29" y="266"/>
                      </a:cubicBezTo>
                      <a:cubicBezTo>
                        <a:pt x="29" y="266"/>
                        <a:pt x="29" y="266"/>
                        <a:pt x="29" y="266"/>
                      </a:cubicBezTo>
                      <a:cubicBezTo>
                        <a:pt x="29" y="265"/>
                        <a:pt x="29" y="265"/>
                        <a:pt x="29" y="265"/>
                      </a:cubicBezTo>
                      <a:cubicBezTo>
                        <a:pt x="27" y="266"/>
                        <a:pt x="27" y="266"/>
                        <a:pt x="27" y="266"/>
                      </a:cubicBezTo>
                      <a:cubicBezTo>
                        <a:pt x="27" y="265"/>
                        <a:pt x="27" y="265"/>
                        <a:pt x="27" y="265"/>
                      </a:cubicBezTo>
                      <a:cubicBezTo>
                        <a:pt x="27" y="265"/>
                        <a:pt x="27" y="265"/>
                        <a:pt x="27" y="265"/>
                      </a:cubicBezTo>
                      <a:cubicBezTo>
                        <a:pt x="28" y="264"/>
                        <a:pt x="28" y="264"/>
                        <a:pt x="28" y="264"/>
                      </a:cubicBezTo>
                      <a:cubicBezTo>
                        <a:pt x="29" y="264"/>
                        <a:pt x="29" y="264"/>
                        <a:pt x="29" y="264"/>
                      </a:cubicBezTo>
                      <a:cubicBezTo>
                        <a:pt x="30" y="264"/>
                        <a:pt x="30" y="264"/>
                        <a:pt x="30" y="264"/>
                      </a:cubicBezTo>
                      <a:cubicBezTo>
                        <a:pt x="30" y="264"/>
                        <a:pt x="30" y="264"/>
                        <a:pt x="30" y="264"/>
                      </a:cubicBezTo>
                      <a:cubicBezTo>
                        <a:pt x="30" y="263"/>
                        <a:pt x="30" y="263"/>
                        <a:pt x="30" y="263"/>
                      </a:cubicBezTo>
                      <a:cubicBezTo>
                        <a:pt x="30" y="263"/>
                        <a:pt x="30" y="263"/>
                        <a:pt x="30" y="263"/>
                      </a:cubicBezTo>
                      <a:cubicBezTo>
                        <a:pt x="30" y="263"/>
                        <a:pt x="30" y="263"/>
                        <a:pt x="30" y="263"/>
                      </a:cubicBezTo>
                      <a:cubicBezTo>
                        <a:pt x="30" y="262"/>
                        <a:pt x="30" y="262"/>
                        <a:pt x="30" y="262"/>
                      </a:cubicBezTo>
                      <a:cubicBezTo>
                        <a:pt x="30" y="262"/>
                        <a:pt x="30" y="262"/>
                        <a:pt x="30" y="262"/>
                      </a:cubicBezTo>
                      <a:cubicBezTo>
                        <a:pt x="29" y="262"/>
                        <a:pt x="29" y="262"/>
                        <a:pt x="29" y="262"/>
                      </a:cubicBezTo>
                      <a:cubicBezTo>
                        <a:pt x="29" y="262"/>
                        <a:pt x="29" y="262"/>
                        <a:pt x="29" y="262"/>
                      </a:cubicBezTo>
                      <a:cubicBezTo>
                        <a:pt x="28" y="262"/>
                        <a:pt x="28" y="262"/>
                        <a:pt x="28" y="262"/>
                      </a:cubicBezTo>
                      <a:cubicBezTo>
                        <a:pt x="28" y="260"/>
                        <a:pt x="28" y="260"/>
                        <a:pt x="28" y="260"/>
                      </a:cubicBezTo>
                      <a:cubicBezTo>
                        <a:pt x="28" y="259"/>
                        <a:pt x="28" y="259"/>
                        <a:pt x="28" y="259"/>
                      </a:cubicBezTo>
                      <a:cubicBezTo>
                        <a:pt x="28" y="258"/>
                        <a:pt x="28" y="258"/>
                        <a:pt x="28" y="258"/>
                      </a:cubicBezTo>
                      <a:cubicBezTo>
                        <a:pt x="28" y="258"/>
                        <a:pt x="28" y="258"/>
                        <a:pt x="28" y="258"/>
                      </a:cubicBezTo>
                      <a:cubicBezTo>
                        <a:pt x="29" y="258"/>
                        <a:pt x="29" y="258"/>
                        <a:pt x="29" y="258"/>
                      </a:cubicBezTo>
                      <a:cubicBezTo>
                        <a:pt x="30" y="258"/>
                        <a:pt x="30" y="258"/>
                        <a:pt x="30" y="258"/>
                      </a:cubicBezTo>
                      <a:cubicBezTo>
                        <a:pt x="31" y="258"/>
                        <a:pt x="31" y="258"/>
                        <a:pt x="31" y="258"/>
                      </a:cubicBezTo>
                      <a:cubicBezTo>
                        <a:pt x="32" y="259"/>
                        <a:pt x="32" y="259"/>
                        <a:pt x="32" y="259"/>
                      </a:cubicBezTo>
                      <a:cubicBezTo>
                        <a:pt x="32" y="258"/>
                        <a:pt x="32" y="258"/>
                        <a:pt x="32" y="258"/>
                      </a:cubicBezTo>
                      <a:cubicBezTo>
                        <a:pt x="31" y="258"/>
                        <a:pt x="31" y="258"/>
                        <a:pt x="31" y="258"/>
                      </a:cubicBezTo>
                      <a:cubicBezTo>
                        <a:pt x="30" y="258"/>
                        <a:pt x="30" y="258"/>
                        <a:pt x="30" y="258"/>
                      </a:cubicBezTo>
                      <a:cubicBezTo>
                        <a:pt x="30" y="257"/>
                        <a:pt x="30" y="257"/>
                        <a:pt x="30" y="257"/>
                      </a:cubicBezTo>
                      <a:cubicBezTo>
                        <a:pt x="29" y="257"/>
                        <a:pt x="29" y="257"/>
                        <a:pt x="29" y="257"/>
                      </a:cubicBezTo>
                      <a:cubicBezTo>
                        <a:pt x="29" y="256"/>
                        <a:pt x="29" y="256"/>
                        <a:pt x="29" y="256"/>
                      </a:cubicBezTo>
                      <a:cubicBezTo>
                        <a:pt x="29" y="256"/>
                        <a:pt x="29" y="256"/>
                        <a:pt x="29" y="256"/>
                      </a:cubicBezTo>
                      <a:cubicBezTo>
                        <a:pt x="30" y="255"/>
                        <a:pt x="30" y="255"/>
                        <a:pt x="30" y="255"/>
                      </a:cubicBezTo>
                      <a:cubicBezTo>
                        <a:pt x="30" y="255"/>
                        <a:pt x="30" y="255"/>
                        <a:pt x="30" y="255"/>
                      </a:cubicBezTo>
                      <a:cubicBezTo>
                        <a:pt x="30" y="254"/>
                        <a:pt x="30" y="254"/>
                        <a:pt x="30" y="254"/>
                      </a:cubicBezTo>
                      <a:cubicBezTo>
                        <a:pt x="30" y="254"/>
                        <a:pt x="30" y="254"/>
                        <a:pt x="30" y="254"/>
                      </a:cubicBezTo>
                      <a:cubicBezTo>
                        <a:pt x="29" y="255"/>
                        <a:pt x="29" y="255"/>
                        <a:pt x="29" y="255"/>
                      </a:cubicBezTo>
                      <a:cubicBezTo>
                        <a:pt x="28" y="255"/>
                        <a:pt x="28" y="255"/>
                        <a:pt x="28" y="255"/>
                      </a:cubicBezTo>
                      <a:cubicBezTo>
                        <a:pt x="27" y="256"/>
                        <a:pt x="27" y="256"/>
                        <a:pt x="27" y="256"/>
                      </a:cubicBezTo>
                      <a:cubicBezTo>
                        <a:pt x="26" y="256"/>
                        <a:pt x="26" y="256"/>
                        <a:pt x="26" y="256"/>
                      </a:cubicBezTo>
                      <a:cubicBezTo>
                        <a:pt x="26" y="257"/>
                        <a:pt x="26" y="257"/>
                        <a:pt x="26" y="257"/>
                      </a:cubicBezTo>
                      <a:cubicBezTo>
                        <a:pt x="25" y="257"/>
                        <a:pt x="25" y="257"/>
                        <a:pt x="25" y="257"/>
                      </a:cubicBezTo>
                      <a:cubicBezTo>
                        <a:pt x="25" y="256"/>
                        <a:pt x="25" y="256"/>
                        <a:pt x="25" y="256"/>
                      </a:cubicBezTo>
                      <a:cubicBezTo>
                        <a:pt x="24" y="254"/>
                        <a:pt x="24" y="254"/>
                        <a:pt x="24" y="254"/>
                      </a:cubicBezTo>
                      <a:cubicBezTo>
                        <a:pt x="25" y="252"/>
                        <a:pt x="25" y="252"/>
                        <a:pt x="25" y="252"/>
                      </a:cubicBezTo>
                      <a:cubicBezTo>
                        <a:pt x="25" y="251"/>
                        <a:pt x="25" y="251"/>
                        <a:pt x="25" y="251"/>
                      </a:cubicBezTo>
                      <a:cubicBezTo>
                        <a:pt x="25" y="250"/>
                        <a:pt x="25" y="250"/>
                        <a:pt x="25" y="250"/>
                      </a:cubicBezTo>
                      <a:cubicBezTo>
                        <a:pt x="24" y="250"/>
                        <a:pt x="24" y="250"/>
                        <a:pt x="24" y="250"/>
                      </a:cubicBezTo>
                      <a:cubicBezTo>
                        <a:pt x="24" y="249"/>
                        <a:pt x="24" y="249"/>
                        <a:pt x="24" y="249"/>
                      </a:cubicBezTo>
                      <a:cubicBezTo>
                        <a:pt x="25" y="248"/>
                        <a:pt x="25" y="248"/>
                        <a:pt x="25" y="248"/>
                      </a:cubicBezTo>
                      <a:cubicBezTo>
                        <a:pt x="25" y="249"/>
                        <a:pt x="25" y="249"/>
                        <a:pt x="25" y="249"/>
                      </a:cubicBezTo>
                      <a:cubicBezTo>
                        <a:pt x="26" y="249"/>
                        <a:pt x="26" y="249"/>
                        <a:pt x="26" y="249"/>
                      </a:cubicBezTo>
                      <a:cubicBezTo>
                        <a:pt x="25" y="248"/>
                        <a:pt x="25" y="248"/>
                        <a:pt x="25" y="248"/>
                      </a:cubicBezTo>
                      <a:cubicBezTo>
                        <a:pt x="26" y="247"/>
                        <a:pt x="26" y="247"/>
                        <a:pt x="26" y="247"/>
                      </a:cubicBezTo>
                      <a:cubicBezTo>
                        <a:pt x="27" y="246"/>
                        <a:pt x="27" y="246"/>
                        <a:pt x="27" y="246"/>
                      </a:cubicBezTo>
                      <a:cubicBezTo>
                        <a:pt x="27" y="246"/>
                        <a:pt x="27" y="246"/>
                        <a:pt x="27" y="246"/>
                      </a:cubicBezTo>
                      <a:cubicBezTo>
                        <a:pt x="29" y="246"/>
                        <a:pt x="29" y="246"/>
                        <a:pt x="29" y="246"/>
                      </a:cubicBezTo>
                      <a:cubicBezTo>
                        <a:pt x="29" y="246"/>
                        <a:pt x="29" y="246"/>
                        <a:pt x="29" y="246"/>
                      </a:cubicBezTo>
                      <a:cubicBezTo>
                        <a:pt x="28" y="246"/>
                        <a:pt x="28" y="246"/>
                        <a:pt x="28" y="246"/>
                      </a:cubicBezTo>
                      <a:cubicBezTo>
                        <a:pt x="28" y="246"/>
                        <a:pt x="28" y="246"/>
                        <a:pt x="28" y="246"/>
                      </a:cubicBezTo>
                      <a:cubicBezTo>
                        <a:pt x="30" y="244"/>
                        <a:pt x="30" y="244"/>
                        <a:pt x="30" y="244"/>
                      </a:cubicBezTo>
                      <a:cubicBezTo>
                        <a:pt x="30" y="243"/>
                        <a:pt x="30" y="243"/>
                        <a:pt x="30" y="243"/>
                      </a:cubicBezTo>
                      <a:cubicBezTo>
                        <a:pt x="31" y="243"/>
                        <a:pt x="31" y="243"/>
                        <a:pt x="31" y="243"/>
                      </a:cubicBezTo>
                      <a:cubicBezTo>
                        <a:pt x="32" y="242"/>
                        <a:pt x="32" y="242"/>
                        <a:pt x="32" y="242"/>
                      </a:cubicBezTo>
                      <a:cubicBezTo>
                        <a:pt x="31" y="242"/>
                        <a:pt x="31" y="242"/>
                        <a:pt x="31" y="242"/>
                      </a:cubicBezTo>
                      <a:cubicBezTo>
                        <a:pt x="31" y="242"/>
                        <a:pt x="31" y="242"/>
                        <a:pt x="31" y="242"/>
                      </a:cubicBezTo>
                      <a:cubicBezTo>
                        <a:pt x="30" y="243"/>
                        <a:pt x="30" y="243"/>
                        <a:pt x="30" y="243"/>
                      </a:cubicBezTo>
                      <a:cubicBezTo>
                        <a:pt x="29" y="244"/>
                        <a:pt x="29" y="244"/>
                        <a:pt x="29" y="244"/>
                      </a:cubicBezTo>
                      <a:cubicBezTo>
                        <a:pt x="28" y="245"/>
                        <a:pt x="28" y="245"/>
                        <a:pt x="28" y="245"/>
                      </a:cubicBezTo>
                      <a:cubicBezTo>
                        <a:pt x="28" y="245"/>
                        <a:pt x="28" y="245"/>
                        <a:pt x="28" y="245"/>
                      </a:cubicBezTo>
                      <a:cubicBezTo>
                        <a:pt x="28" y="245"/>
                        <a:pt x="28" y="245"/>
                        <a:pt x="28" y="245"/>
                      </a:cubicBezTo>
                      <a:cubicBezTo>
                        <a:pt x="29" y="243"/>
                        <a:pt x="29" y="243"/>
                        <a:pt x="29" y="243"/>
                      </a:cubicBezTo>
                      <a:cubicBezTo>
                        <a:pt x="29" y="242"/>
                        <a:pt x="29" y="242"/>
                        <a:pt x="29" y="242"/>
                      </a:cubicBezTo>
                      <a:cubicBezTo>
                        <a:pt x="30" y="240"/>
                        <a:pt x="30" y="240"/>
                        <a:pt x="30" y="240"/>
                      </a:cubicBezTo>
                      <a:cubicBezTo>
                        <a:pt x="30" y="239"/>
                        <a:pt x="30" y="239"/>
                        <a:pt x="30" y="239"/>
                      </a:cubicBezTo>
                      <a:cubicBezTo>
                        <a:pt x="30" y="239"/>
                        <a:pt x="30" y="239"/>
                        <a:pt x="30" y="239"/>
                      </a:cubicBezTo>
                      <a:cubicBezTo>
                        <a:pt x="30" y="239"/>
                        <a:pt x="30" y="239"/>
                        <a:pt x="30" y="239"/>
                      </a:cubicBezTo>
                      <a:cubicBezTo>
                        <a:pt x="30" y="238"/>
                        <a:pt x="30" y="238"/>
                        <a:pt x="30" y="238"/>
                      </a:cubicBezTo>
                      <a:cubicBezTo>
                        <a:pt x="31" y="238"/>
                        <a:pt x="31" y="238"/>
                        <a:pt x="31" y="238"/>
                      </a:cubicBezTo>
                      <a:cubicBezTo>
                        <a:pt x="31" y="237"/>
                        <a:pt x="31" y="237"/>
                        <a:pt x="31" y="237"/>
                      </a:cubicBezTo>
                      <a:cubicBezTo>
                        <a:pt x="31" y="237"/>
                        <a:pt x="31" y="237"/>
                        <a:pt x="31" y="237"/>
                      </a:cubicBezTo>
                      <a:cubicBezTo>
                        <a:pt x="31" y="237"/>
                        <a:pt x="31" y="237"/>
                        <a:pt x="31" y="237"/>
                      </a:cubicBezTo>
                      <a:cubicBezTo>
                        <a:pt x="30" y="236"/>
                        <a:pt x="30" y="236"/>
                        <a:pt x="30" y="236"/>
                      </a:cubicBezTo>
                      <a:cubicBezTo>
                        <a:pt x="30" y="236"/>
                        <a:pt x="30" y="236"/>
                        <a:pt x="30" y="236"/>
                      </a:cubicBezTo>
                      <a:cubicBezTo>
                        <a:pt x="30" y="235"/>
                        <a:pt x="30" y="235"/>
                        <a:pt x="30" y="235"/>
                      </a:cubicBezTo>
                      <a:cubicBezTo>
                        <a:pt x="29" y="234"/>
                        <a:pt x="29" y="234"/>
                        <a:pt x="29" y="234"/>
                      </a:cubicBezTo>
                      <a:cubicBezTo>
                        <a:pt x="28" y="234"/>
                        <a:pt x="28" y="234"/>
                        <a:pt x="28" y="234"/>
                      </a:cubicBezTo>
                      <a:cubicBezTo>
                        <a:pt x="28" y="233"/>
                        <a:pt x="28" y="233"/>
                        <a:pt x="28" y="233"/>
                      </a:cubicBezTo>
                      <a:cubicBezTo>
                        <a:pt x="27" y="232"/>
                        <a:pt x="27" y="232"/>
                        <a:pt x="27" y="232"/>
                      </a:cubicBezTo>
                      <a:cubicBezTo>
                        <a:pt x="26" y="232"/>
                        <a:pt x="26" y="232"/>
                        <a:pt x="26" y="232"/>
                      </a:cubicBezTo>
                      <a:cubicBezTo>
                        <a:pt x="25" y="232"/>
                        <a:pt x="25" y="232"/>
                        <a:pt x="25" y="232"/>
                      </a:cubicBezTo>
                      <a:cubicBezTo>
                        <a:pt x="25" y="231"/>
                        <a:pt x="25" y="231"/>
                        <a:pt x="25" y="231"/>
                      </a:cubicBezTo>
                      <a:cubicBezTo>
                        <a:pt x="26" y="231"/>
                        <a:pt x="26" y="231"/>
                        <a:pt x="26" y="231"/>
                      </a:cubicBezTo>
                      <a:cubicBezTo>
                        <a:pt x="26" y="230"/>
                        <a:pt x="26" y="230"/>
                        <a:pt x="26" y="230"/>
                      </a:cubicBezTo>
                      <a:cubicBezTo>
                        <a:pt x="25" y="230"/>
                        <a:pt x="25" y="230"/>
                        <a:pt x="25" y="230"/>
                      </a:cubicBezTo>
                      <a:cubicBezTo>
                        <a:pt x="25" y="229"/>
                        <a:pt x="25" y="229"/>
                        <a:pt x="25" y="229"/>
                      </a:cubicBezTo>
                      <a:cubicBezTo>
                        <a:pt x="25" y="229"/>
                        <a:pt x="25" y="229"/>
                        <a:pt x="25" y="229"/>
                      </a:cubicBezTo>
                      <a:cubicBezTo>
                        <a:pt x="26" y="229"/>
                        <a:pt x="26" y="229"/>
                        <a:pt x="26" y="229"/>
                      </a:cubicBezTo>
                      <a:cubicBezTo>
                        <a:pt x="26" y="229"/>
                        <a:pt x="26" y="229"/>
                        <a:pt x="26" y="229"/>
                      </a:cubicBezTo>
                      <a:cubicBezTo>
                        <a:pt x="25" y="228"/>
                        <a:pt x="25" y="228"/>
                        <a:pt x="25" y="228"/>
                      </a:cubicBezTo>
                      <a:cubicBezTo>
                        <a:pt x="25" y="228"/>
                        <a:pt x="25" y="228"/>
                        <a:pt x="25" y="228"/>
                      </a:cubicBezTo>
                      <a:cubicBezTo>
                        <a:pt x="25" y="228"/>
                        <a:pt x="25" y="228"/>
                        <a:pt x="25" y="228"/>
                      </a:cubicBezTo>
                      <a:cubicBezTo>
                        <a:pt x="25" y="227"/>
                        <a:pt x="25" y="227"/>
                        <a:pt x="25" y="227"/>
                      </a:cubicBezTo>
                      <a:cubicBezTo>
                        <a:pt x="25" y="224"/>
                        <a:pt x="25" y="224"/>
                        <a:pt x="25" y="224"/>
                      </a:cubicBezTo>
                      <a:cubicBezTo>
                        <a:pt x="25" y="221"/>
                        <a:pt x="25" y="221"/>
                        <a:pt x="25" y="221"/>
                      </a:cubicBezTo>
                      <a:cubicBezTo>
                        <a:pt x="26" y="219"/>
                        <a:pt x="26" y="219"/>
                        <a:pt x="26" y="219"/>
                      </a:cubicBezTo>
                      <a:cubicBezTo>
                        <a:pt x="25" y="218"/>
                        <a:pt x="25" y="218"/>
                        <a:pt x="25" y="218"/>
                      </a:cubicBezTo>
                      <a:cubicBezTo>
                        <a:pt x="25" y="217"/>
                        <a:pt x="25" y="217"/>
                        <a:pt x="25" y="217"/>
                      </a:cubicBezTo>
                      <a:cubicBezTo>
                        <a:pt x="26" y="216"/>
                        <a:pt x="26" y="216"/>
                        <a:pt x="26" y="216"/>
                      </a:cubicBezTo>
                      <a:cubicBezTo>
                        <a:pt x="25" y="215"/>
                        <a:pt x="25" y="215"/>
                        <a:pt x="25" y="215"/>
                      </a:cubicBezTo>
                      <a:cubicBezTo>
                        <a:pt x="25" y="215"/>
                        <a:pt x="25" y="215"/>
                        <a:pt x="25" y="215"/>
                      </a:cubicBezTo>
                      <a:cubicBezTo>
                        <a:pt x="25" y="213"/>
                        <a:pt x="25" y="213"/>
                        <a:pt x="25" y="213"/>
                      </a:cubicBezTo>
                      <a:cubicBezTo>
                        <a:pt x="24" y="212"/>
                        <a:pt x="24" y="212"/>
                        <a:pt x="24" y="212"/>
                      </a:cubicBezTo>
                      <a:cubicBezTo>
                        <a:pt x="23" y="211"/>
                        <a:pt x="23" y="211"/>
                        <a:pt x="23" y="211"/>
                      </a:cubicBezTo>
                      <a:cubicBezTo>
                        <a:pt x="24" y="210"/>
                        <a:pt x="24" y="210"/>
                        <a:pt x="24" y="210"/>
                      </a:cubicBezTo>
                      <a:cubicBezTo>
                        <a:pt x="23" y="207"/>
                        <a:pt x="23" y="207"/>
                        <a:pt x="23" y="207"/>
                      </a:cubicBezTo>
                      <a:cubicBezTo>
                        <a:pt x="23" y="207"/>
                        <a:pt x="23" y="207"/>
                        <a:pt x="23" y="207"/>
                      </a:cubicBezTo>
                      <a:cubicBezTo>
                        <a:pt x="24" y="206"/>
                        <a:pt x="24" y="206"/>
                        <a:pt x="24" y="206"/>
                      </a:cubicBezTo>
                      <a:cubicBezTo>
                        <a:pt x="23" y="205"/>
                        <a:pt x="23" y="205"/>
                        <a:pt x="23" y="205"/>
                      </a:cubicBezTo>
                      <a:cubicBezTo>
                        <a:pt x="23" y="204"/>
                        <a:pt x="23" y="204"/>
                        <a:pt x="23" y="204"/>
                      </a:cubicBezTo>
                      <a:cubicBezTo>
                        <a:pt x="22" y="203"/>
                        <a:pt x="22" y="203"/>
                        <a:pt x="22" y="203"/>
                      </a:cubicBezTo>
                      <a:cubicBezTo>
                        <a:pt x="21" y="203"/>
                        <a:pt x="21" y="203"/>
                        <a:pt x="21" y="203"/>
                      </a:cubicBezTo>
                      <a:cubicBezTo>
                        <a:pt x="19" y="204"/>
                        <a:pt x="19" y="204"/>
                        <a:pt x="19" y="204"/>
                      </a:cubicBezTo>
                      <a:cubicBezTo>
                        <a:pt x="19" y="204"/>
                        <a:pt x="19" y="204"/>
                        <a:pt x="19" y="204"/>
                      </a:cubicBezTo>
                      <a:cubicBezTo>
                        <a:pt x="17" y="205"/>
                        <a:pt x="17" y="205"/>
                        <a:pt x="17" y="205"/>
                      </a:cubicBezTo>
                      <a:cubicBezTo>
                        <a:pt x="16" y="206"/>
                        <a:pt x="16" y="206"/>
                        <a:pt x="16" y="206"/>
                      </a:cubicBezTo>
                      <a:cubicBezTo>
                        <a:pt x="15" y="207"/>
                        <a:pt x="15" y="207"/>
                        <a:pt x="15" y="207"/>
                      </a:cubicBezTo>
                      <a:cubicBezTo>
                        <a:pt x="14" y="208"/>
                        <a:pt x="14" y="208"/>
                        <a:pt x="14" y="208"/>
                      </a:cubicBezTo>
                      <a:cubicBezTo>
                        <a:pt x="12" y="208"/>
                        <a:pt x="12" y="208"/>
                        <a:pt x="12" y="208"/>
                      </a:cubicBezTo>
                      <a:cubicBezTo>
                        <a:pt x="10" y="208"/>
                        <a:pt x="10" y="208"/>
                        <a:pt x="10" y="208"/>
                      </a:cubicBezTo>
                      <a:cubicBezTo>
                        <a:pt x="10" y="208"/>
                        <a:pt x="10" y="208"/>
                        <a:pt x="10" y="208"/>
                      </a:cubicBezTo>
                      <a:cubicBezTo>
                        <a:pt x="10" y="208"/>
                        <a:pt x="10" y="208"/>
                        <a:pt x="10" y="208"/>
                      </a:cubicBezTo>
                      <a:cubicBezTo>
                        <a:pt x="11" y="207"/>
                        <a:pt x="11" y="207"/>
                        <a:pt x="11" y="207"/>
                      </a:cubicBezTo>
                      <a:cubicBezTo>
                        <a:pt x="10" y="205"/>
                        <a:pt x="10" y="205"/>
                        <a:pt x="10" y="205"/>
                      </a:cubicBezTo>
                      <a:cubicBezTo>
                        <a:pt x="9" y="201"/>
                        <a:pt x="9" y="201"/>
                        <a:pt x="9" y="201"/>
                      </a:cubicBezTo>
                      <a:cubicBezTo>
                        <a:pt x="8" y="198"/>
                        <a:pt x="8" y="198"/>
                        <a:pt x="8" y="198"/>
                      </a:cubicBezTo>
                      <a:cubicBezTo>
                        <a:pt x="8" y="197"/>
                        <a:pt x="8" y="197"/>
                        <a:pt x="8" y="197"/>
                      </a:cubicBezTo>
                      <a:cubicBezTo>
                        <a:pt x="9" y="195"/>
                        <a:pt x="9" y="195"/>
                        <a:pt x="9" y="195"/>
                      </a:cubicBezTo>
                      <a:cubicBezTo>
                        <a:pt x="6" y="195"/>
                        <a:pt x="6" y="195"/>
                        <a:pt x="6" y="195"/>
                      </a:cubicBezTo>
                      <a:cubicBezTo>
                        <a:pt x="4" y="196"/>
                        <a:pt x="4" y="196"/>
                        <a:pt x="4" y="196"/>
                      </a:cubicBezTo>
                      <a:cubicBezTo>
                        <a:pt x="3" y="196"/>
                        <a:pt x="3" y="196"/>
                        <a:pt x="3" y="196"/>
                      </a:cubicBezTo>
                      <a:cubicBezTo>
                        <a:pt x="0" y="195"/>
                        <a:pt x="0" y="195"/>
                        <a:pt x="0" y="195"/>
                      </a:cubicBezTo>
                      <a:cubicBezTo>
                        <a:pt x="56" y="104"/>
                        <a:pt x="56" y="104"/>
                        <a:pt x="56" y="104"/>
                      </a:cubicBezTo>
                      <a:cubicBezTo>
                        <a:pt x="56" y="105"/>
                        <a:pt x="56" y="105"/>
                        <a:pt x="56" y="105"/>
                      </a:cubicBezTo>
                      <a:cubicBezTo>
                        <a:pt x="56" y="105"/>
                        <a:pt x="56" y="105"/>
                        <a:pt x="56" y="105"/>
                      </a:cubicBezTo>
                      <a:cubicBezTo>
                        <a:pt x="59" y="106"/>
                        <a:pt x="59" y="106"/>
                        <a:pt x="59" y="106"/>
                      </a:cubicBezTo>
                      <a:cubicBezTo>
                        <a:pt x="60" y="107"/>
                        <a:pt x="60" y="107"/>
                        <a:pt x="60" y="107"/>
                      </a:cubicBezTo>
                      <a:cubicBezTo>
                        <a:pt x="61" y="107"/>
                        <a:pt x="61" y="107"/>
                        <a:pt x="61" y="107"/>
                      </a:cubicBezTo>
                      <a:cubicBezTo>
                        <a:pt x="61" y="108"/>
                        <a:pt x="61" y="108"/>
                        <a:pt x="61" y="108"/>
                      </a:cubicBezTo>
                      <a:cubicBezTo>
                        <a:pt x="62" y="108"/>
                        <a:pt x="62" y="108"/>
                        <a:pt x="62" y="108"/>
                      </a:cubicBezTo>
                      <a:cubicBezTo>
                        <a:pt x="62" y="108"/>
                        <a:pt x="62" y="108"/>
                        <a:pt x="62" y="108"/>
                      </a:cubicBezTo>
                      <a:cubicBezTo>
                        <a:pt x="62" y="109"/>
                        <a:pt x="62" y="109"/>
                        <a:pt x="62" y="109"/>
                      </a:cubicBezTo>
                      <a:cubicBezTo>
                        <a:pt x="64" y="110"/>
                        <a:pt x="64" y="110"/>
                        <a:pt x="64" y="110"/>
                      </a:cubicBezTo>
                      <a:cubicBezTo>
                        <a:pt x="63" y="111"/>
                        <a:pt x="63" y="111"/>
                        <a:pt x="63" y="111"/>
                      </a:cubicBezTo>
                      <a:cubicBezTo>
                        <a:pt x="63" y="111"/>
                        <a:pt x="63" y="111"/>
                        <a:pt x="63" y="111"/>
                      </a:cubicBezTo>
                      <a:cubicBezTo>
                        <a:pt x="63" y="112"/>
                        <a:pt x="63" y="112"/>
                        <a:pt x="63" y="112"/>
                      </a:cubicBezTo>
                      <a:cubicBezTo>
                        <a:pt x="63" y="113"/>
                        <a:pt x="63" y="113"/>
                        <a:pt x="63" y="113"/>
                      </a:cubicBezTo>
                      <a:cubicBezTo>
                        <a:pt x="64" y="113"/>
                        <a:pt x="64" y="113"/>
                        <a:pt x="64" y="113"/>
                      </a:cubicBezTo>
                      <a:cubicBezTo>
                        <a:pt x="64" y="113"/>
                        <a:pt x="64" y="113"/>
                        <a:pt x="64" y="113"/>
                      </a:cubicBezTo>
                      <a:cubicBezTo>
                        <a:pt x="64" y="113"/>
                        <a:pt x="64" y="113"/>
                        <a:pt x="64" y="113"/>
                      </a:cubicBezTo>
                      <a:cubicBezTo>
                        <a:pt x="64" y="114"/>
                        <a:pt x="64" y="114"/>
                        <a:pt x="64" y="114"/>
                      </a:cubicBezTo>
                      <a:cubicBezTo>
                        <a:pt x="65" y="115"/>
                        <a:pt x="65" y="115"/>
                        <a:pt x="65" y="115"/>
                      </a:cubicBezTo>
                      <a:cubicBezTo>
                        <a:pt x="66" y="117"/>
                        <a:pt x="66" y="117"/>
                        <a:pt x="66" y="117"/>
                      </a:cubicBezTo>
                      <a:cubicBezTo>
                        <a:pt x="67" y="118"/>
                        <a:pt x="67" y="118"/>
                        <a:pt x="67" y="118"/>
                      </a:cubicBezTo>
                      <a:cubicBezTo>
                        <a:pt x="68" y="117"/>
                        <a:pt x="68" y="117"/>
                        <a:pt x="68" y="117"/>
                      </a:cubicBezTo>
                      <a:cubicBezTo>
                        <a:pt x="68" y="118"/>
                        <a:pt x="68" y="118"/>
                        <a:pt x="68" y="118"/>
                      </a:cubicBezTo>
                      <a:cubicBezTo>
                        <a:pt x="68" y="118"/>
                        <a:pt x="68" y="118"/>
                        <a:pt x="68" y="118"/>
                      </a:cubicBezTo>
                      <a:cubicBezTo>
                        <a:pt x="69" y="119"/>
                        <a:pt x="69" y="119"/>
                        <a:pt x="69" y="119"/>
                      </a:cubicBezTo>
                      <a:cubicBezTo>
                        <a:pt x="69" y="119"/>
                        <a:pt x="69" y="119"/>
                        <a:pt x="69" y="119"/>
                      </a:cubicBezTo>
                      <a:cubicBezTo>
                        <a:pt x="70" y="120"/>
                        <a:pt x="70" y="120"/>
                        <a:pt x="70" y="120"/>
                      </a:cubicBezTo>
                      <a:cubicBezTo>
                        <a:pt x="70" y="121"/>
                        <a:pt x="70" y="121"/>
                        <a:pt x="70" y="121"/>
                      </a:cubicBezTo>
                      <a:cubicBezTo>
                        <a:pt x="71" y="121"/>
                        <a:pt x="71" y="121"/>
                        <a:pt x="71" y="121"/>
                      </a:cubicBezTo>
                      <a:cubicBezTo>
                        <a:pt x="71" y="122"/>
                        <a:pt x="71" y="122"/>
                        <a:pt x="71" y="122"/>
                      </a:cubicBezTo>
                      <a:cubicBezTo>
                        <a:pt x="72" y="122"/>
                        <a:pt x="72" y="122"/>
                        <a:pt x="72" y="122"/>
                      </a:cubicBezTo>
                      <a:cubicBezTo>
                        <a:pt x="73" y="123"/>
                        <a:pt x="73" y="123"/>
                        <a:pt x="73" y="123"/>
                      </a:cubicBezTo>
                      <a:cubicBezTo>
                        <a:pt x="73" y="124"/>
                        <a:pt x="73" y="124"/>
                        <a:pt x="73" y="124"/>
                      </a:cubicBezTo>
                      <a:cubicBezTo>
                        <a:pt x="74" y="124"/>
                        <a:pt x="74" y="124"/>
                        <a:pt x="74" y="124"/>
                      </a:cubicBezTo>
                      <a:cubicBezTo>
                        <a:pt x="73" y="125"/>
                        <a:pt x="73" y="125"/>
                        <a:pt x="73" y="125"/>
                      </a:cubicBezTo>
                      <a:cubicBezTo>
                        <a:pt x="72" y="126"/>
                        <a:pt x="72" y="126"/>
                        <a:pt x="72" y="126"/>
                      </a:cubicBezTo>
                      <a:cubicBezTo>
                        <a:pt x="72" y="126"/>
                        <a:pt x="72" y="126"/>
                        <a:pt x="72" y="126"/>
                      </a:cubicBezTo>
                      <a:cubicBezTo>
                        <a:pt x="74" y="125"/>
                        <a:pt x="74" y="125"/>
                        <a:pt x="74" y="125"/>
                      </a:cubicBezTo>
                      <a:cubicBezTo>
                        <a:pt x="75" y="125"/>
                        <a:pt x="75" y="125"/>
                        <a:pt x="75" y="125"/>
                      </a:cubicBezTo>
                      <a:cubicBezTo>
                        <a:pt x="75" y="125"/>
                        <a:pt x="75" y="125"/>
                        <a:pt x="75" y="125"/>
                      </a:cubicBezTo>
                      <a:cubicBezTo>
                        <a:pt x="75" y="124"/>
                        <a:pt x="75" y="124"/>
                        <a:pt x="75" y="124"/>
                      </a:cubicBezTo>
                      <a:cubicBezTo>
                        <a:pt x="75" y="121"/>
                        <a:pt x="75" y="121"/>
                        <a:pt x="75" y="121"/>
                      </a:cubicBezTo>
                      <a:cubicBezTo>
                        <a:pt x="75" y="120"/>
                        <a:pt x="75" y="120"/>
                        <a:pt x="75" y="120"/>
                      </a:cubicBezTo>
                      <a:cubicBezTo>
                        <a:pt x="76" y="119"/>
                        <a:pt x="76" y="119"/>
                        <a:pt x="76" y="119"/>
                      </a:cubicBezTo>
                      <a:cubicBezTo>
                        <a:pt x="77" y="118"/>
                        <a:pt x="77" y="118"/>
                        <a:pt x="77" y="118"/>
                      </a:cubicBezTo>
                      <a:cubicBezTo>
                        <a:pt x="79" y="118"/>
                        <a:pt x="79" y="118"/>
                        <a:pt x="79" y="118"/>
                      </a:cubicBezTo>
                      <a:cubicBezTo>
                        <a:pt x="79" y="117"/>
                        <a:pt x="79" y="117"/>
                        <a:pt x="79" y="117"/>
                      </a:cubicBezTo>
                      <a:cubicBezTo>
                        <a:pt x="80" y="117"/>
                        <a:pt x="80" y="117"/>
                        <a:pt x="80" y="117"/>
                      </a:cubicBezTo>
                      <a:cubicBezTo>
                        <a:pt x="81" y="116"/>
                        <a:pt x="81" y="116"/>
                        <a:pt x="81" y="116"/>
                      </a:cubicBezTo>
                      <a:cubicBezTo>
                        <a:pt x="81" y="116"/>
                        <a:pt x="81" y="116"/>
                        <a:pt x="81" y="116"/>
                      </a:cubicBezTo>
                      <a:cubicBezTo>
                        <a:pt x="82" y="116"/>
                        <a:pt x="82" y="116"/>
                        <a:pt x="82" y="116"/>
                      </a:cubicBezTo>
                      <a:cubicBezTo>
                        <a:pt x="83" y="116"/>
                        <a:pt x="83" y="116"/>
                        <a:pt x="83" y="116"/>
                      </a:cubicBezTo>
                      <a:cubicBezTo>
                        <a:pt x="83" y="116"/>
                        <a:pt x="83" y="116"/>
                        <a:pt x="83" y="116"/>
                      </a:cubicBezTo>
                      <a:cubicBezTo>
                        <a:pt x="84" y="116"/>
                        <a:pt x="84" y="116"/>
                        <a:pt x="84" y="116"/>
                      </a:cubicBezTo>
                      <a:cubicBezTo>
                        <a:pt x="85" y="116"/>
                        <a:pt x="85" y="116"/>
                        <a:pt x="85" y="116"/>
                      </a:cubicBezTo>
                      <a:cubicBezTo>
                        <a:pt x="86" y="115"/>
                        <a:pt x="86" y="115"/>
                        <a:pt x="86" y="115"/>
                      </a:cubicBezTo>
                      <a:cubicBezTo>
                        <a:pt x="86" y="114"/>
                        <a:pt x="86" y="114"/>
                        <a:pt x="86" y="114"/>
                      </a:cubicBezTo>
                      <a:cubicBezTo>
                        <a:pt x="87" y="114"/>
                        <a:pt x="87" y="114"/>
                        <a:pt x="87" y="114"/>
                      </a:cubicBezTo>
                      <a:cubicBezTo>
                        <a:pt x="88" y="114"/>
                        <a:pt x="88" y="114"/>
                        <a:pt x="88" y="114"/>
                      </a:cubicBezTo>
                      <a:cubicBezTo>
                        <a:pt x="88" y="114"/>
                        <a:pt x="88" y="114"/>
                        <a:pt x="88" y="114"/>
                      </a:cubicBezTo>
                      <a:cubicBezTo>
                        <a:pt x="88" y="114"/>
                        <a:pt x="88" y="114"/>
                        <a:pt x="88" y="114"/>
                      </a:cubicBezTo>
                      <a:cubicBezTo>
                        <a:pt x="89" y="114"/>
                        <a:pt x="89" y="114"/>
                        <a:pt x="89" y="114"/>
                      </a:cubicBezTo>
                      <a:cubicBezTo>
                        <a:pt x="89" y="114"/>
                        <a:pt x="89" y="114"/>
                        <a:pt x="89" y="114"/>
                      </a:cubicBezTo>
                      <a:cubicBezTo>
                        <a:pt x="92" y="114"/>
                        <a:pt x="92" y="114"/>
                        <a:pt x="92" y="114"/>
                      </a:cubicBezTo>
                      <a:cubicBezTo>
                        <a:pt x="94" y="113"/>
                        <a:pt x="94" y="113"/>
                        <a:pt x="94" y="113"/>
                      </a:cubicBezTo>
                      <a:cubicBezTo>
                        <a:pt x="95" y="113"/>
                        <a:pt x="95" y="113"/>
                        <a:pt x="95" y="113"/>
                      </a:cubicBezTo>
                      <a:cubicBezTo>
                        <a:pt x="96" y="113"/>
                        <a:pt x="96" y="113"/>
                        <a:pt x="96" y="113"/>
                      </a:cubicBezTo>
                      <a:cubicBezTo>
                        <a:pt x="96" y="113"/>
                        <a:pt x="96" y="113"/>
                        <a:pt x="96" y="113"/>
                      </a:cubicBezTo>
                      <a:cubicBezTo>
                        <a:pt x="97" y="113"/>
                        <a:pt x="97" y="113"/>
                        <a:pt x="97" y="113"/>
                      </a:cubicBezTo>
                      <a:cubicBezTo>
                        <a:pt x="97" y="112"/>
                        <a:pt x="97" y="112"/>
                        <a:pt x="97" y="112"/>
                      </a:cubicBezTo>
                      <a:cubicBezTo>
                        <a:pt x="99" y="112"/>
                        <a:pt x="99" y="112"/>
                        <a:pt x="99" y="112"/>
                      </a:cubicBezTo>
                      <a:cubicBezTo>
                        <a:pt x="100" y="112"/>
                        <a:pt x="100" y="112"/>
                        <a:pt x="100" y="112"/>
                      </a:cubicBezTo>
                      <a:cubicBezTo>
                        <a:pt x="100" y="112"/>
                        <a:pt x="100" y="112"/>
                        <a:pt x="100" y="112"/>
                      </a:cubicBezTo>
                      <a:cubicBezTo>
                        <a:pt x="100" y="112"/>
                        <a:pt x="100" y="112"/>
                        <a:pt x="100" y="112"/>
                      </a:cubicBezTo>
                      <a:cubicBezTo>
                        <a:pt x="101" y="112"/>
                        <a:pt x="101" y="112"/>
                        <a:pt x="101" y="112"/>
                      </a:cubicBezTo>
                      <a:cubicBezTo>
                        <a:pt x="101" y="112"/>
                        <a:pt x="101" y="112"/>
                        <a:pt x="101" y="112"/>
                      </a:cubicBezTo>
                      <a:cubicBezTo>
                        <a:pt x="101" y="112"/>
                        <a:pt x="101" y="112"/>
                        <a:pt x="101" y="112"/>
                      </a:cubicBezTo>
                      <a:cubicBezTo>
                        <a:pt x="102" y="111"/>
                        <a:pt x="102" y="111"/>
                        <a:pt x="102" y="111"/>
                      </a:cubicBezTo>
                      <a:cubicBezTo>
                        <a:pt x="102" y="112"/>
                        <a:pt x="102" y="112"/>
                        <a:pt x="102" y="112"/>
                      </a:cubicBezTo>
                      <a:cubicBezTo>
                        <a:pt x="102" y="112"/>
                        <a:pt x="102" y="112"/>
                        <a:pt x="102" y="112"/>
                      </a:cubicBezTo>
                      <a:cubicBezTo>
                        <a:pt x="103" y="113"/>
                        <a:pt x="103" y="113"/>
                        <a:pt x="103" y="113"/>
                      </a:cubicBezTo>
                      <a:cubicBezTo>
                        <a:pt x="102" y="113"/>
                        <a:pt x="102" y="113"/>
                        <a:pt x="102" y="113"/>
                      </a:cubicBezTo>
                      <a:cubicBezTo>
                        <a:pt x="102" y="113"/>
                        <a:pt x="102" y="113"/>
                        <a:pt x="102" y="113"/>
                      </a:cubicBezTo>
                      <a:cubicBezTo>
                        <a:pt x="102" y="114"/>
                        <a:pt x="102" y="114"/>
                        <a:pt x="102" y="114"/>
                      </a:cubicBezTo>
                      <a:cubicBezTo>
                        <a:pt x="100" y="115"/>
                        <a:pt x="100" y="115"/>
                        <a:pt x="100" y="115"/>
                      </a:cubicBezTo>
                      <a:cubicBezTo>
                        <a:pt x="98" y="115"/>
                        <a:pt x="98" y="115"/>
                        <a:pt x="98" y="115"/>
                      </a:cubicBezTo>
                      <a:cubicBezTo>
                        <a:pt x="97" y="116"/>
                        <a:pt x="97" y="116"/>
                        <a:pt x="97" y="116"/>
                      </a:cubicBezTo>
                      <a:cubicBezTo>
                        <a:pt x="96" y="116"/>
                        <a:pt x="96" y="116"/>
                        <a:pt x="96" y="116"/>
                      </a:cubicBezTo>
                      <a:cubicBezTo>
                        <a:pt x="95" y="116"/>
                        <a:pt x="95" y="116"/>
                        <a:pt x="95" y="116"/>
                      </a:cubicBezTo>
                      <a:cubicBezTo>
                        <a:pt x="95" y="117"/>
                        <a:pt x="95" y="117"/>
                        <a:pt x="95" y="117"/>
                      </a:cubicBezTo>
                      <a:cubicBezTo>
                        <a:pt x="94" y="117"/>
                        <a:pt x="94" y="117"/>
                        <a:pt x="94" y="117"/>
                      </a:cubicBezTo>
                      <a:cubicBezTo>
                        <a:pt x="94" y="116"/>
                        <a:pt x="94" y="116"/>
                        <a:pt x="94" y="116"/>
                      </a:cubicBezTo>
                      <a:cubicBezTo>
                        <a:pt x="92" y="117"/>
                        <a:pt x="92" y="117"/>
                        <a:pt x="92" y="117"/>
                      </a:cubicBezTo>
                      <a:cubicBezTo>
                        <a:pt x="91" y="116"/>
                        <a:pt x="91" y="116"/>
                        <a:pt x="91" y="116"/>
                      </a:cubicBezTo>
                      <a:cubicBezTo>
                        <a:pt x="91" y="117"/>
                        <a:pt x="91" y="117"/>
                        <a:pt x="91" y="117"/>
                      </a:cubicBezTo>
                      <a:cubicBezTo>
                        <a:pt x="89" y="117"/>
                        <a:pt x="89" y="117"/>
                        <a:pt x="89" y="117"/>
                      </a:cubicBezTo>
                      <a:cubicBezTo>
                        <a:pt x="88" y="117"/>
                        <a:pt x="88" y="117"/>
                        <a:pt x="88" y="117"/>
                      </a:cubicBezTo>
                      <a:cubicBezTo>
                        <a:pt x="87" y="118"/>
                        <a:pt x="87" y="118"/>
                        <a:pt x="87" y="118"/>
                      </a:cubicBezTo>
                      <a:cubicBezTo>
                        <a:pt x="85" y="119"/>
                        <a:pt x="85" y="119"/>
                        <a:pt x="85" y="119"/>
                      </a:cubicBezTo>
                      <a:cubicBezTo>
                        <a:pt x="85" y="119"/>
                        <a:pt x="85" y="119"/>
                        <a:pt x="85" y="119"/>
                      </a:cubicBezTo>
                      <a:cubicBezTo>
                        <a:pt x="84" y="119"/>
                        <a:pt x="84" y="119"/>
                        <a:pt x="84" y="119"/>
                      </a:cubicBezTo>
                      <a:cubicBezTo>
                        <a:pt x="83" y="120"/>
                        <a:pt x="83" y="120"/>
                        <a:pt x="83" y="120"/>
                      </a:cubicBezTo>
                      <a:cubicBezTo>
                        <a:pt x="83" y="120"/>
                        <a:pt x="83" y="120"/>
                        <a:pt x="83" y="120"/>
                      </a:cubicBezTo>
                      <a:cubicBezTo>
                        <a:pt x="82" y="120"/>
                        <a:pt x="82" y="120"/>
                        <a:pt x="82" y="120"/>
                      </a:cubicBezTo>
                      <a:cubicBezTo>
                        <a:pt x="81" y="120"/>
                        <a:pt x="81" y="120"/>
                        <a:pt x="81" y="120"/>
                      </a:cubicBezTo>
                      <a:cubicBezTo>
                        <a:pt x="81" y="121"/>
                        <a:pt x="81" y="121"/>
                        <a:pt x="81" y="121"/>
                      </a:cubicBezTo>
                      <a:cubicBezTo>
                        <a:pt x="80" y="121"/>
                        <a:pt x="80" y="121"/>
                        <a:pt x="80" y="121"/>
                      </a:cubicBezTo>
                      <a:cubicBezTo>
                        <a:pt x="80" y="122"/>
                        <a:pt x="80" y="122"/>
                        <a:pt x="80" y="122"/>
                      </a:cubicBezTo>
                      <a:cubicBezTo>
                        <a:pt x="80" y="123"/>
                        <a:pt x="80" y="123"/>
                        <a:pt x="80" y="123"/>
                      </a:cubicBezTo>
                      <a:cubicBezTo>
                        <a:pt x="81" y="123"/>
                        <a:pt x="81" y="123"/>
                        <a:pt x="81" y="123"/>
                      </a:cubicBezTo>
                      <a:cubicBezTo>
                        <a:pt x="80" y="122"/>
                        <a:pt x="80" y="122"/>
                        <a:pt x="80" y="122"/>
                      </a:cubicBezTo>
                      <a:cubicBezTo>
                        <a:pt x="81" y="122"/>
                        <a:pt x="81" y="122"/>
                        <a:pt x="81" y="122"/>
                      </a:cubicBezTo>
                      <a:cubicBezTo>
                        <a:pt x="81" y="122"/>
                        <a:pt x="81" y="122"/>
                        <a:pt x="81" y="122"/>
                      </a:cubicBezTo>
                      <a:cubicBezTo>
                        <a:pt x="82" y="122"/>
                        <a:pt x="82" y="122"/>
                        <a:pt x="82" y="122"/>
                      </a:cubicBezTo>
                      <a:cubicBezTo>
                        <a:pt x="83" y="122"/>
                        <a:pt x="83" y="122"/>
                        <a:pt x="83" y="122"/>
                      </a:cubicBezTo>
                      <a:cubicBezTo>
                        <a:pt x="82" y="122"/>
                        <a:pt x="82" y="122"/>
                        <a:pt x="82" y="122"/>
                      </a:cubicBezTo>
                      <a:cubicBezTo>
                        <a:pt x="84" y="120"/>
                        <a:pt x="84" y="120"/>
                        <a:pt x="84" y="120"/>
                      </a:cubicBezTo>
                      <a:cubicBezTo>
                        <a:pt x="85" y="120"/>
                        <a:pt x="85" y="120"/>
                        <a:pt x="85" y="120"/>
                      </a:cubicBezTo>
                      <a:cubicBezTo>
                        <a:pt x="86" y="120"/>
                        <a:pt x="86" y="120"/>
                        <a:pt x="86" y="120"/>
                      </a:cubicBezTo>
                      <a:cubicBezTo>
                        <a:pt x="89" y="119"/>
                        <a:pt x="89" y="119"/>
                        <a:pt x="89" y="119"/>
                      </a:cubicBezTo>
                      <a:cubicBezTo>
                        <a:pt x="89" y="118"/>
                        <a:pt x="89" y="118"/>
                        <a:pt x="89" y="118"/>
                      </a:cubicBezTo>
                      <a:cubicBezTo>
                        <a:pt x="90" y="118"/>
                        <a:pt x="90" y="118"/>
                        <a:pt x="90" y="118"/>
                      </a:cubicBezTo>
                      <a:cubicBezTo>
                        <a:pt x="90" y="118"/>
                        <a:pt x="90" y="118"/>
                        <a:pt x="90" y="118"/>
                      </a:cubicBezTo>
                      <a:cubicBezTo>
                        <a:pt x="91" y="118"/>
                        <a:pt x="91" y="118"/>
                        <a:pt x="91" y="118"/>
                      </a:cubicBezTo>
                      <a:cubicBezTo>
                        <a:pt x="91" y="118"/>
                        <a:pt x="91" y="118"/>
                        <a:pt x="91" y="118"/>
                      </a:cubicBezTo>
                      <a:cubicBezTo>
                        <a:pt x="92" y="118"/>
                        <a:pt x="92" y="118"/>
                        <a:pt x="92" y="118"/>
                      </a:cubicBezTo>
                      <a:cubicBezTo>
                        <a:pt x="93" y="117"/>
                        <a:pt x="93" y="117"/>
                        <a:pt x="93" y="117"/>
                      </a:cubicBezTo>
                      <a:cubicBezTo>
                        <a:pt x="93" y="118"/>
                        <a:pt x="93" y="118"/>
                        <a:pt x="93" y="118"/>
                      </a:cubicBezTo>
                      <a:cubicBezTo>
                        <a:pt x="92" y="119"/>
                        <a:pt x="92" y="119"/>
                        <a:pt x="92" y="119"/>
                      </a:cubicBezTo>
                      <a:cubicBezTo>
                        <a:pt x="92" y="120"/>
                        <a:pt x="92" y="120"/>
                        <a:pt x="92" y="120"/>
                      </a:cubicBezTo>
                      <a:cubicBezTo>
                        <a:pt x="93" y="118"/>
                        <a:pt x="93" y="118"/>
                        <a:pt x="93" y="118"/>
                      </a:cubicBezTo>
                      <a:cubicBezTo>
                        <a:pt x="95" y="118"/>
                        <a:pt x="95" y="118"/>
                        <a:pt x="95" y="118"/>
                      </a:cubicBezTo>
                      <a:cubicBezTo>
                        <a:pt x="98" y="116"/>
                        <a:pt x="98" y="116"/>
                        <a:pt x="98" y="116"/>
                      </a:cubicBezTo>
                      <a:cubicBezTo>
                        <a:pt x="99" y="116"/>
                        <a:pt x="99" y="116"/>
                        <a:pt x="99" y="116"/>
                      </a:cubicBezTo>
                      <a:cubicBezTo>
                        <a:pt x="100" y="116"/>
                        <a:pt x="100" y="116"/>
                        <a:pt x="100" y="116"/>
                      </a:cubicBezTo>
                      <a:cubicBezTo>
                        <a:pt x="102" y="116"/>
                        <a:pt x="102" y="116"/>
                        <a:pt x="102" y="116"/>
                      </a:cubicBezTo>
                      <a:cubicBezTo>
                        <a:pt x="103" y="115"/>
                        <a:pt x="103" y="115"/>
                        <a:pt x="103" y="115"/>
                      </a:cubicBezTo>
                      <a:cubicBezTo>
                        <a:pt x="104" y="115"/>
                        <a:pt x="104" y="115"/>
                        <a:pt x="104" y="115"/>
                      </a:cubicBezTo>
                      <a:cubicBezTo>
                        <a:pt x="103" y="116"/>
                        <a:pt x="103" y="116"/>
                        <a:pt x="103" y="116"/>
                      </a:cubicBezTo>
                      <a:cubicBezTo>
                        <a:pt x="102" y="116"/>
                        <a:pt x="102" y="116"/>
                        <a:pt x="102" y="116"/>
                      </a:cubicBezTo>
                      <a:cubicBezTo>
                        <a:pt x="102" y="117"/>
                        <a:pt x="102" y="117"/>
                        <a:pt x="102" y="117"/>
                      </a:cubicBezTo>
                      <a:cubicBezTo>
                        <a:pt x="103" y="118"/>
                        <a:pt x="103" y="118"/>
                        <a:pt x="103" y="118"/>
                      </a:cubicBezTo>
                      <a:cubicBezTo>
                        <a:pt x="104" y="116"/>
                        <a:pt x="104" y="116"/>
                        <a:pt x="104" y="116"/>
                      </a:cubicBezTo>
                      <a:cubicBezTo>
                        <a:pt x="106" y="115"/>
                        <a:pt x="106" y="115"/>
                        <a:pt x="106" y="115"/>
                      </a:cubicBezTo>
                      <a:cubicBezTo>
                        <a:pt x="107" y="115"/>
                        <a:pt x="107" y="115"/>
                        <a:pt x="107" y="115"/>
                      </a:cubicBezTo>
                      <a:cubicBezTo>
                        <a:pt x="107" y="115"/>
                        <a:pt x="107" y="115"/>
                        <a:pt x="107" y="115"/>
                      </a:cubicBezTo>
                      <a:cubicBezTo>
                        <a:pt x="108" y="114"/>
                        <a:pt x="108" y="114"/>
                        <a:pt x="108" y="114"/>
                      </a:cubicBezTo>
                      <a:cubicBezTo>
                        <a:pt x="108" y="115"/>
                        <a:pt x="108" y="115"/>
                        <a:pt x="108" y="115"/>
                      </a:cubicBezTo>
                      <a:cubicBezTo>
                        <a:pt x="108" y="114"/>
                        <a:pt x="108" y="114"/>
                        <a:pt x="108" y="114"/>
                      </a:cubicBezTo>
                      <a:cubicBezTo>
                        <a:pt x="109" y="113"/>
                        <a:pt x="109" y="113"/>
                        <a:pt x="109" y="113"/>
                      </a:cubicBezTo>
                      <a:cubicBezTo>
                        <a:pt x="109" y="114"/>
                        <a:pt x="109" y="114"/>
                        <a:pt x="109" y="114"/>
                      </a:cubicBezTo>
                      <a:cubicBezTo>
                        <a:pt x="110" y="114"/>
                        <a:pt x="110" y="114"/>
                        <a:pt x="110" y="114"/>
                      </a:cubicBezTo>
                      <a:cubicBezTo>
                        <a:pt x="110" y="113"/>
                        <a:pt x="110" y="113"/>
                        <a:pt x="110" y="113"/>
                      </a:cubicBezTo>
                      <a:cubicBezTo>
                        <a:pt x="110" y="112"/>
                        <a:pt x="110" y="112"/>
                        <a:pt x="110" y="112"/>
                      </a:cubicBezTo>
                      <a:cubicBezTo>
                        <a:pt x="110" y="111"/>
                        <a:pt x="110" y="111"/>
                        <a:pt x="110" y="111"/>
                      </a:cubicBezTo>
                      <a:cubicBezTo>
                        <a:pt x="110" y="111"/>
                        <a:pt x="110" y="111"/>
                        <a:pt x="110" y="111"/>
                      </a:cubicBezTo>
                      <a:cubicBezTo>
                        <a:pt x="111" y="110"/>
                        <a:pt x="111" y="110"/>
                        <a:pt x="111" y="110"/>
                      </a:cubicBezTo>
                      <a:cubicBezTo>
                        <a:pt x="112" y="109"/>
                        <a:pt x="112" y="109"/>
                        <a:pt x="112" y="109"/>
                      </a:cubicBezTo>
                      <a:cubicBezTo>
                        <a:pt x="112" y="110"/>
                        <a:pt x="112" y="110"/>
                        <a:pt x="112" y="110"/>
                      </a:cubicBezTo>
                      <a:cubicBezTo>
                        <a:pt x="112" y="114"/>
                        <a:pt x="112" y="114"/>
                        <a:pt x="112" y="114"/>
                      </a:cubicBezTo>
                      <a:cubicBezTo>
                        <a:pt x="112" y="115"/>
                        <a:pt x="112" y="115"/>
                        <a:pt x="112" y="115"/>
                      </a:cubicBezTo>
                      <a:cubicBezTo>
                        <a:pt x="112" y="117"/>
                        <a:pt x="112" y="117"/>
                        <a:pt x="112" y="117"/>
                      </a:cubicBezTo>
                      <a:cubicBezTo>
                        <a:pt x="111" y="119"/>
                        <a:pt x="111" y="119"/>
                        <a:pt x="111" y="119"/>
                      </a:cubicBezTo>
                      <a:cubicBezTo>
                        <a:pt x="111" y="123"/>
                        <a:pt x="111" y="123"/>
                        <a:pt x="111" y="123"/>
                      </a:cubicBezTo>
                      <a:cubicBezTo>
                        <a:pt x="111" y="124"/>
                        <a:pt x="111" y="124"/>
                        <a:pt x="111" y="124"/>
                      </a:cubicBezTo>
                      <a:cubicBezTo>
                        <a:pt x="112" y="124"/>
                        <a:pt x="112" y="124"/>
                        <a:pt x="112" y="124"/>
                      </a:cubicBezTo>
                      <a:cubicBezTo>
                        <a:pt x="113" y="125"/>
                        <a:pt x="113" y="125"/>
                        <a:pt x="113" y="125"/>
                      </a:cubicBezTo>
                      <a:cubicBezTo>
                        <a:pt x="115" y="125"/>
                        <a:pt x="115" y="125"/>
                        <a:pt x="115" y="125"/>
                      </a:cubicBezTo>
                      <a:cubicBezTo>
                        <a:pt x="114" y="124"/>
                        <a:pt x="114" y="124"/>
                        <a:pt x="114" y="124"/>
                      </a:cubicBezTo>
                      <a:cubicBezTo>
                        <a:pt x="113" y="124"/>
                        <a:pt x="113" y="124"/>
                        <a:pt x="113" y="124"/>
                      </a:cubicBezTo>
                      <a:cubicBezTo>
                        <a:pt x="113" y="123"/>
                        <a:pt x="113" y="123"/>
                        <a:pt x="113" y="123"/>
                      </a:cubicBezTo>
                      <a:cubicBezTo>
                        <a:pt x="114" y="123"/>
                        <a:pt x="114" y="123"/>
                        <a:pt x="114" y="123"/>
                      </a:cubicBezTo>
                      <a:cubicBezTo>
                        <a:pt x="115" y="123"/>
                        <a:pt x="115" y="123"/>
                        <a:pt x="115" y="123"/>
                      </a:cubicBezTo>
                      <a:cubicBezTo>
                        <a:pt x="115" y="122"/>
                        <a:pt x="115" y="122"/>
                        <a:pt x="115" y="122"/>
                      </a:cubicBezTo>
                      <a:cubicBezTo>
                        <a:pt x="114" y="122"/>
                        <a:pt x="114" y="122"/>
                        <a:pt x="114" y="122"/>
                      </a:cubicBezTo>
                      <a:cubicBezTo>
                        <a:pt x="115" y="121"/>
                        <a:pt x="115" y="121"/>
                        <a:pt x="115" y="121"/>
                      </a:cubicBezTo>
                      <a:cubicBezTo>
                        <a:pt x="117" y="121"/>
                        <a:pt x="117" y="121"/>
                        <a:pt x="117" y="121"/>
                      </a:cubicBezTo>
                      <a:cubicBezTo>
                        <a:pt x="117" y="122"/>
                        <a:pt x="117" y="122"/>
                        <a:pt x="117" y="122"/>
                      </a:cubicBezTo>
                      <a:cubicBezTo>
                        <a:pt x="117" y="121"/>
                        <a:pt x="117" y="121"/>
                        <a:pt x="117" y="121"/>
                      </a:cubicBezTo>
                      <a:cubicBezTo>
                        <a:pt x="116" y="120"/>
                        <a:pt x="116" y="120"/>
                        <a:pt x="116" y="120"/>
                      </a:cubicBezTo>
                      <a:cubicBezTo>
                        <a:pt x="117" y="120"/>
                        <a:pt x="117" y="120"/>
                        <a:pt x="117" y="120"/>
                      </a:cubicBezTo>
                      <a:cubicBezTo>
                        <a:pt x="119" y="119"/>
                        <a:pt x="119" y="119"/>
                        <a:pt x="119" y="119"/>
                      </a:cubicBezTo>
                      <a:cubicBezTo>
                        <a:pt x="119" y="118"/>
                        <a:pt x="119" y="118"/>
                        <a:pt x="119" y="118"/>
                      </a:cubicBezTo>
                      <a:cubicBezTo>
                        <a:pt x="120" y="118"/>
                        <a:pt x="120" y="118"/>
                        <a:pt x="120" y="118"/>
                      </a:cubicBezTo>
                      <a:cubicBezTo>
                        <a:pt x="121" y="119"/>
                        <a:pt x="121" y="119"/>
                        <a:pt x="121" y="119"/>
                      </a:cubicBezTo>
                      <a:cubicBezTo>
                        <a:pt x="120" y="120"/>
                        <a:pt x="120" y="120"/>
                        <a:pt x="120" y="120"/>
                      </a:cubicBezTo>
                      <a:cubicBezTo>
                        <a:pt x="120" y="120"/>
                        <a:pt x="120" y="120"/>
                        <a:pt x="120" y="120"/>
                      </a:cubicBezTo>
                      <a:cubicBezTo>
                        <a:pt x="120" y="121"/>
                        <a:pt x="120" y="121"/>
                        <a:pt x="120" y="121"/>
                      </a:cubicBezTo>
                      <a:cubicBezTo>
                        <a:pt x="119" y="122"/>
                        <a:pt x="119" y="122"/>
                        <a:pt x="119" y="122"/>
                      </a:cubicBezTo>
                      <a:cubicBezTo>
                        <a:pt x="119" y="122"/>
                        <a:pt x="119" y="122"/>
                        <a:pt x="119" y="122"/>
                      </a:cubicBezTo>
                      <a:cubicBezTo>
                        <a:pt x="119" y="122"/>
                        <a:pt x="119" y="122"/>
                        <a:pt x="119" y="122"/>
                      </a:cubicBezTo>
                      <a:cubicBezTo>
                        <a:pt x="120" y="122"/>
                        <a:pt x="120" y="122"/>
                        <a:pt x="120" y="122"/>
                      </a:cubicBezTo>
                      <a:cubicBezTo>
                        <a:pt x="120" y="123"/>
                        <a:pt x="120" y="123"/>
                        <a:pt x="120" y="123"/>
                      </a:cubicBezTo>
                      <a:cubicBezTo>
                        <a:pt x="120" y="123"/>
                        <a:pt x="120" y="123"/>
                        <a:pt x="120" y="123"/>
                      </a:cubicBezTo>
                      <a:cubicBezTo>
                        <a:pt x="119" y="123"/>
                        <a:pt x="119" y="123"/>
                        <a:pt x="119" y="123"/>
                      </a:cubicBezTo>
                      <a:cubicBezTo>
                        <a:pt x="118" y="124"/>
                        <a:pt x="118" y="124"/>
                        <a:pt x="118" y="124"/>
                      </a:cubicBezTo>
                      <a:cubicBezTo>
                        <a:pt x="118" y="124"/>
                        <a:pt x="118" y="124"/>
                        <a:pt x="118" y="124"/>
                      </a:cubicBezTo>
                      <a:cubicBezTo>
                        <a:pt x="117" y="125"/>
                        <a:pt x="117" y="125"/>
                        <a:pt x="117" y="125"/>
                      </a:cubicBezTo>
                      <a:cubicBezTo>
                        <a:pt x="117" y="125"/>
                        <a:pt x="117" y="125"/>
                        <a:pt x="117" y="125"/>
                      </a:cubicBezTo>
                      <a:cubicBezTo>
                        <a:pt x="117" y="126"/>
                        <a:pt x="117" y="126"/>
                        <a:pt x="117" y="126"/>
                      </a:cubicBezTo>
                      <a:cubicBezTo>
                        <a:pt x="119" y="126"/>
                        <a:pt x="119" y="126"/>
                        <a:pt x="119" y="126"/>
                      </a:cubicBezTo>
                      <a:cubicBezTo>
                        <a:pt x="119" y="127"/>
                        <a:pt x="119" y="127"/>
                        <a:pt x="119" y="127"/>
                      </a:cubicBezTo>
                      <a:cubicBezTo>
                        <a:pt x="120" y="126"/>
                        <a:pt x="120" y="126"/>
                        <a:pt x="120" y="126"/>
                      </a:cubicBezTo>
                      <a:cubicBezTo>
                        <a:pt x="121" y="126"/>
                        <a:pt x="121" y="126"/>
                        <a:pt x="121" y="126"/>
                      </a:cubicBezTo>
                      <a:cubicBezTo>
                        <a:pt x="122" y="126"/>
                        <a:pt x="122" y="126"/>
                        <a:pt x="122" y="126"/>
                      </a:cubicBezTo>
                      <a:cubicBezTo>
                        <a:pt x="123" y="124"/>
                        <a:pt x="123" y="124"/>
                        <a:pt x="123" y="124"/>
                      </a:cubicBezTo>
                      <a:cubicBezTo>
                        <a:pt x="124" y="123"/>
                        <a:pt x="124" y="123"/>
                        <a:pt x="124" y="123"/>
                      </a:cubicBezTo>
                      <a:cubicBezTo>
                        <a:pt x="125" y="123"/>
                        <a:pt x="125" y="123"/>
                        <a:pt x="125" y="123"/>
                      </a:cubicBezTo>
                      <a:cubicBezTo>
                        <a:pt x="126" y="123"/>
                        <a:pt x="126" y="123"/>
                        <a:pt x="126" y="123"/>
                      </a:cubicBezTo>
                      <a:cubicBezTo>
                        <a:pt x="127" y="123"/>
                        <a:pt x="127" y="123"/>
                        <a:pt x="127" y="123"/>
                      </a:cubicBezTo>
                      <a:cubicBezTo>
                        <a:pt x="127" y="124"/>
                        <a:pt x="127" y="124"/>
                        <a:pt x="127" y="124"/>
                      </a:cubicBezTo>
                      <a:cubicBezTo>
                        <a:pt x="128" y="124"/>
                        <a:pt x="128" y="124"/>
                        <a:pt x="128" y="124"/>
                      </a:cubicBezTo>
                      <a:cubicBezTo>
                        <a:pt x="129" y="125"/>
                        <a:pt x="129" y="125"/>
                        <a:pt x="129" y="125"/>
                      </a:cubicBezTo>
                      <a:cubicBezTo>
                        <a:pt x="130" y="125"/>
                        <a:pt x="130" y="125"/>
                        <a:pt x="130" y="125"/>
                      </a:cubicBezTo>
                      <a:cubicBezTo>
                        <a:pt x="130" y="126"/>
                        <a:pt x="130" y="126"/>
                        <a:pt x="130" y="126"/>
                      </a:cubicBezTo>
                      <a:cubicBezTo>
                        <a:pt x="131" y="128"/>
                        <a:pt x="131" y="128"/>
                        <a:pt x="131" y="128"/>
                      </a:cubicBezTo>
                      <a:cubicBezTo>
                        <a:pt x="131" y="129"/>
                        <a:pt x="131" y="129"/>
                        <a:pt x="131" y="129"/>
                      </a:cubicBezTo>
                      <a:cubicBezTo>
                        <a:pt x="132" y="130"/>
                        <a:pt x="132" y="130"/>
                        <a:pt x="132" y="130"/>
                      </a:cubicBezTo>
                      <a:cubicBezTo>
                        <a:pt x="136" y="132"/>
                        <a:pt x="136" y="132"/>
                        <a:pt x="136" y="132"/>
                      </a:cubicBezTo>
                      <a:cubicBezTo>
                        <a:pt x="136" y="133"/>
                        <a:pt x="136" y="133"/>
                        <a:pt x="136" y="133"/>
                      </a:cubicBezTo>
                      <a:cubicBezTo>
                        <a:pt x="138" y="134"/>
                        <a:pt x="138" y="134"/>
                        <a:pt x="138" y="134"/>
                      </a:cubicBezTo>
                      <a:cubicBezTo>
                        <a:pt x="139" y="135"/>
                        <a:pt x="139" y="135"/>
                        <a:pt x="139" y="135"/>
                      </a:cubicBezTo>
                      <a:cubicBezTo>
                        <a:pt x="140" y="135"/>
                        <a:pt x="140" y="135"/>
                        <a:pt x="140" y="135"/>
                      </a:cubicBezTo>
                      <a:cubicBezTo>
                        <a:pt x="140" y="136"/>
                        <a:pt x="140" y="136"/>
                        <a:pt x="140" y="136"/>
                      </a:cubicBezTo>
                      <a:cubicBezTo>
                        <a:pt x="141" y="137"/>
                        <a:pt x="141" y="137"/>
                        <a:pt x="141" y="137"/>
                      </a:cubicBezTo>
                      <a:cubicBezTo>
                        <a:pt x="141" y="137"/>
                        <a:pt x="141" y="137"/>
                        <a:pt x="141" y="137"/>
                      </a:cubicBezTo>
                      <a:cubicBezTo>
                        <a:pt x="142" y="136"/>
                        <a:pt x="142" y="136"/>
                        <a:pt x="142" y="136"/>
                      </a:cubicBezTo>
                      <a:cubicBezTo>
                        <a:pt x="142" y="137"/>
                        <a:pt x="142" y="137"/>
                        <a:pt x="142" y="137"/>
                      </a:cubicBezTo>
                      <a:cubicBezTo>
                        <a:pt x="144" y="138"/>
                        <a:pt x="144" y="138"/>
                        <a:pt x="144" y="138"/>
                      </a:cubicBezTo>
                      <a:cubicBezTo>
                        <a:pt x="144" y="138"/>
                        <a:pt x="144" y="138"/>
                        <a:pt x="144" y="138"/>
                      </a:cubicBezTo>
                      <a:cubicBezTo>
                        <a:pt x="144" y="139"/>
                        <a:pt x="144" y="139"/>
                        <a:pt x="144" y="139"/>
                      </a:cubicBezTo>
                      <a:cubicBezTo>
                        <a:pt x="145" y="139"/>
                        <a:pt x="145" y="139"/>
                        <a:pt x="145" y="139"/>
                      </a:cubicBezTo>
                      <a:cubicBezTo>
                        <a:pt x="145" y="139"/>
                        <a:pt x="145" y="139"/>
                        <a:pt x="145" y="139"/>
                      </a:cubicBezTo>
                      <a:cubicBezTo>
                        <a:pt x="145" y="138"/>
                        <a:pt x="145" y="138"/>
                        <a:pt x="145" y="138"/>
                      </a:cubicBezTo>
                      <a:cubicBezTo>
                        <a:pt x="145" y="138"/>
                        <a:pt x="145" y="138"/>
                        <a:pt x="145" y="138"/>
                      </a:cubicBezTo>
                      <a:cubicBezTo>
                        <a:pt x="144" y="137"/>
                        <a:pt x="144" y="137"/>
                        <a:pt x="144" y="137"/>
                      </a:cubicBezTo>
                      <a:cubicBezTo>
                        <a:pt x="144" y="137"/>
                        <a:pt x="144" y="137"/>
                        <a:pt x="144" y="137"/>
                      </a:cubicBezTo>
                      <a:cubicBezTo>
                        <a:pt x="146" y="137"/>
                        <a:pt x="146" y="137"/>
                        <a:pt x="146" y="137"/>
                      </a:cubicBezTo>
                      <a:cubicBezTo>
                        <a:pt x="146" y="138"/>
                        <a:pt x="146" y="138"/>
                        <a:pt x="146" y="138"/>
                      </a:cubicBezTo>
                      <a:cubicBezTo>
                        <a:pt x="146" y="138"/>
                        <a:pt x="146" y="138"/>
                        <a:pt x="146" y="138"/>
                      </a:cubicBezTo>
                      <a:cubicBezTo>
                        <a:pt x="147" y="137"/>
                        <a:pt x="147" y="137"/>
                        <a:pt x="147" y="137"/>
                      </a:cubicBezTo>
                      <a:cubicBezTo>
                        <a:pt x="147" y="137"/>
                        <a:pt x="147" y="137"/>
                        <a:pt x="147" y="137"/>
                      </a:cubicBezTo>
                      <a:cubicBezTo>
                        <a:pt x="148" y="138"/>
                        <a:pt x="148" y="138"/>
                        <a:pt x="148" y="138"/>
                      </a:cubicBezTo>
                      <a:cubicBezTo>
                        <a:pt x="149" y="139"/>
                        <a:pt x="149" y="139"/>
                        <a:pt x="149" y="139"/>
                      </a:cubicBezTo>
                      <a:cubicBezTo>
                        <a:pt x="149" y="139"/>
                        <a:pt x="149" y="139"/>
                        <a:pt x="149" y="139"/>
                      </a:cubicBezTo>
                      <a:cubicBezTo>
                        <a:pt x="150" y="140"/>
                        <a:pt x="150" y="140"/>
                        <a:pt x="150" y="140"/>
                      </a:cubicBezTo>
                      <a:cubicBezTo>
                        <a:pt x="150" y="141"/>
                        <a:pt x="150" y="141"/>
                        <a:pt x="150" y="141"/>
                      </a:cubicBezTo>
                      <a:cubicBezTo>
                        <a:pt x="150" y="142"/>
                        <a:pt x="150" y="142"/>
                        <a:pt x="150" y="142"/>
                      </a:cubicBezTo>
                      <a:cubicBezTo>
                        <a:pt x="151" y="143"/>
                        <a:pt x="151" y="143"/>
                        <a:pt x="151" y="143"/>
                      </a:cubicBezTo>
                      <a:cubicBezTo>
                        <a:pt x="150" y="144"/>
                        <a:pt x="150" y="144"/>
                        <a:pt x="150" y="144"/>
                      </a:cubicBezTo>
                      <a:cubicBezTo>
                        <a:pt x="150" y="145"/>
                        <a:pt x="150" y="145"/>
                        <a:pt x="150" y="145"/>
                      </a:cubicBezTo>
                      <a:cubicBezTo>
                        <a:pt x="149" y="146"/>
                        <a:pt x="149" y="146"/>
                        <a:pt x="149" y="146"/>
                      </a:cubicBezTo>
                      <a:cubicBezTo>
                        <a:pt x="147" y="145"/>
                        <a:pt x="147" y="145"/>
                        <a:pt x="147" y="145"/>
                      </a:cubicBezTo>
                      <a:cubicBezTo>
                        <a:pt x="146" y="145"/>
                        <a:pt x="146" y="145"/>
                        <a:pt x="146" y="145"/>
                      </a:cubicBezTo>
                      <a:cubicBezTo>
                        <a:pt x="146" y="145"/>
                        <a:pt x="146" y="145"/>
                        <a:pt x="146" y="145"/>
                      </a:cubicBezTo>
                      <a:cubicBezTo>
                        <a:pt x="146" y="145"/>
                        <a:pt x="146" y="145"/>
                        <a:pt x="146" y="145"/>
                      </a:cubicBezTo>
                      <a:cubicBezTo>
                        <a:pt x="144" y="145"/>
                        <a:pt x="144" y="145"/>
                        <a:pt x="144" y="145"/>
                      </a:cubicBezTo>
                      <a:cubicBezTo>
                        <a:pt x="144" y="145"/>
                        <a:pt x="144" y="145"/>
                        <a:pt x="144" y="145"/>
                      </a:cubicBezTo>
                      <a:cubicBezTo>
                        <a:pt x="144" y="146"/>
                        <a:pt x="144" y="146"/>
                        <a:pt x="144" y="146"/>
                      </a:cubicBezTo>
                      <a:cubicBezTo>
                        <a:pt x="143" y="146"/>
                        <a:pt x="143" y="146"/>
                        <a:pt x="143" y="146"/>
                      </a:cubicBezTo>
                      <a:cubicBezTo>
                        <a:pt x="143" y="147"/>
                        <a:pt x="143" y="147"/>
                        <a:pt x="143" y="147"/>
                      </a:cubicBezTo>
                      <a:cubicBezTo>
                        <a:pt x="142" y="147"/>
                        <a:pt x="142" y="147"/>
                        <a:pt x="142" y="147"/>
                      </a:cubicBezTo>
                      <a:cubicBezTo>
                        <a:pt x="141" y="147"/>
                        <a:pt x="141" y="147"/>
                        <a:pt x="141" y="147"/>
                      </a:cubicBezTo>
                      <a:cubicBezTo>
                        <a:pt x="141" y="148"/>
                        <a:pt x="141" y="148"/>
                        <a:pt x="141" y="148"/>
                      </a:cubicBezTo>
                      <a:cubicBezTo>
                        <a:pt x="142" y="148"/>
                        <a:pt x="142" y="148"/>
                        <a:pt x="142" y="148"/>
                      </a:cubicBezTo>
                      <a:cubicBezTo>
                        <a:pt x="143" y="149"/>
                        <a:pt x="143" y="149"/>
                        <a:pt x="143" y="149"/>
                      </a:cubicBezTo>
                      <a:cubicBezTo>
                        <a:pt x="143" y="150"/>
                        <a:pt x="143" y="150"/>
                        <a:pt x="143" y="150"/>
                      </a:cubicBezTo>
                      <a:cubicBezTo>
                        <a:pt x="144" y="149"/>
                        <a:pt x="144" y="149"/>
                        <a:pt x="144" y="149"/>
                      </a:cubicBezTo>
                      <a:cubicBezTo>
                        <a:pt x="145" y="150"/>
                        <a:pt x="145" y="150"/>
                        <a:pt x="145" y="150"/>
                      </a:cubicBezTo>
                      <a:cubicBezTo>
                        <a:pt x="145" y="151"/>
                        <a:pt x="145" y="151"/>
                        <a:pt x="145" y="151"/>
                      </a:cubicBezTo>
                      <a:cubicBezTo>
                        <a:pt x="147" y="151"/>
                        <a:pt x="147" y="151"/>
                        <a:pt x="147" y="151"/>
                      </a:cubicBezTo>
                      <a:cubicBezTo>
                        <a:pt x="148" y="152"/>
                        <a:pt x="148" y="152"/>
                        <a:pt x="148" y="152"/>
                      </a:cubicBezTo>
                      <a:cubicBezTo>
                        <a:pt x="150" y="152"/>
                        <a:pt x="150" y="152"/>
                        <a:pt x="150" y="152"/>
                      </a:cubicBezTo>
                      <a:cubicBezTo>
                        <a:pt x="152" y="153"/>
                        <a:pt x="152" y="153"/>
                        <a:pt x="152" y="153"/>
                      </a:cubicBezTo>
                      <a:cubicBezTo>
                        <a:pt x="153" y="153"/>
                        <a:pt x="153" y="153"/>
                        <a:pt x="153" y="153"/>
                      </a:cubicBezTo>
                      <a:cubicBezTo>
                        <a:pt x="153" y="152"/>
                        <a:pt x="153" y="152"/>
                        <a:pt x="153" y="152"/>
                      </a:cubicBezTo>
                      <a:cubicBezTo>
                        <a:pt x="153" y="152"/>
                        <a:pt x="153" y="152"/>
                        <a:pt x="153" y="152"/>
                      </a:cubicBezTo>
                      <a:cubicBezTo>
                        <a:pt x="154" y="152"/>
                        <a:pt x="154" y="152"/>
                        <a:pt x="154" y="152"/>
                      </a:cubicBezTo>
                      <a:cubicBezTo>
                        <a:pt x="154" y="153"/>
                        <a:pt x="154" y="153"/>
                        <a:pt x="154" y="153"/>
                      </a:cubicBezTo>
                      <a:cubicBezTo>
                        <a:pt x="155" y="152"/>
                        <a:pt x="155" y="152"/>
                        <a:pt x="155" y="152"/>
                      </a:cubicBezTo>
                      <a:cubicBezTo>
                        <a:pt x="156" y="153"/>
                        <a:pt x="156" y="153"/>
                        <a:pt x="156" y="153"/>
                      </a:cubicBezTo>
                      <a:cubicBezTo>
                        <a:pt x="157" y="153"/>
                        <a:pt x="157" y="153"/>
                        <a:pt x="157" y="153"/>
                      </a:cubicBezTo>
                      <a:cubicBezTo>
                        <a:pt x="157" y="152"/>
                        <a:pt x="157" y="152"/>
                        <a:pt x="157" y="152"/>
                      </a:cubicBezTo>
                      <a:cubicBezTo>
                        <a:pt x="158" y="152"/>
                        <a:pt x="158" y="152"/>
                        <a:pt x="158" y="152"/>
                      </a:cubicBezTo>
                      <a:cubicBezTo>
                        <a:pt x="158" y="152"/>
                        <a:pt x="158" y="152"/>
                        <a:pt x="158" y="152"/>
                      </a:cubicBezTo>
                      <a:cubicBezTo>
                        <a:pt x="158" y="153"/>
                        <a:pt x="158" y="153"/>
                        <a:pt x="158" y="153"/>
                      </a:cubicBezTo>
                      <a:cubicBezTo>
                        <a:pt x="160" y="152"/>
                        <a:pt x="160" y="152"/>
                        <a:pt x="160" y="152"/>
                      </a:cubicBezTo>
                      <a:cubicBezTo>
                        <a:pt x="162" y="151"/>
                        <a:pt x="162" y="151"/>
                        <a:pt x="162" y="151"/>
                      </a:cubicBezTo>
                      <a:cubicBezTo>
                        <a:pt x="163" y="151"/>
                        <a:pt x="163" y="151"/>
                        <a:pt x="163" y="151"/>
                      </a:cubicBezTo>
                      <a:cubicBezTo>
                        <a:pt x="163" y="152"/>
                        <a:pt x="163" y="152"/>
                        <a:pt x="163" y="152"/>
                      </a:cubicBezTo>
                      <a:cubicBezTo>
                        <a:pt x="163" y="152"/>
                        <a:pt x="163" y="152"/>
                        <a:pt x="163" y="152"/>
                      </a:cubicBezTo>
                      <a:cubicBezTo>
                        <a:pt x="163" y="152"/>
                        <a:pt x="163" y="152"/>
                        <a:pt x="163" y="152"/>
                      </a:cubicBezTo>
                      <a:cubicBezTo>
                        <a:pt x="163" y="152"/>
                        <a:pt x="163" y="152"/>
                        <a:pt x="163" y="152"/>
                      </a:cubicBezTo>
                      <a:cubicBezTo>
                        <a:pt x="163" y="153"/>
                        <a:pt x="163" y="153"/>
                        <a:pt x="163" y="153"/>
                      </a:cubicBezTo>
                      <a:cubicBezTo>
                        <a:pt x="163" y="154"/>
                        <a:pt x="163" y="154"/>
                        <a:pt x="163" y="154"/>
                      </a:cubicBezTo>
                      <a:cubicBezTo>
                        <a:pt x="163" y="154"/>
                        <a:pt x="163" y="154"/>
                        <a:pt x="163" y="154"/>
                      </a:cubicBezTo>
                      <a:cubicBezTo>
                        <a:pt x="164" y="155"/>
                        <a:pt x="164" y="155"/>
                        <a:pt x="164" y="155"/>
                      </a:cubicBezTo>
                      <a:cubicBezTo>
                        <a:pt x="164" y="154"/>
                        <a:pt x="164" y="154"/>
                        <a:pt x="164" y="154"/>
                      </a:cubicBezTo>
                      <a:cubicBezTo>
                        <a:pt x="165" y="155"/>
                        <a:pt x="165" y="155"/>
                        <a:pt x="165" y="155"/>
                      </a:cubicBezTo>
                      <a:cubicBezTo>
                        <a:pt x="165" y="155"/>
                        <a:pt x="165" y="155"/>
                        <a:pt x="165" y="155"/>
                      </a:cubicBezTo>
                      <a:cubicBezTo>
                        <a:pt x="164" y="157"/>
                        <a:pt x="164" y="157"/>
                        <a:pt x="164" y="157"/>
                      </a:cubicBezTo>
                      <a:cubicBezTo>
                        <a:pt x="164" y="158"/>
                        <a:pt x="164" y="158"/>
                        <a:pt x="164" y="158"/>
                      </a:cubicBezTo>
                      <a:cubicBezTo>
                        <a:pt x="165" y="158"/>
                        <a:pt x="165" y="158"/>
                        <a:pt x="165" y="158"/>
                      </a:cubicBezTo>
                      <a:cubicBezTo>
                        <a:pt x="165" y="157"/>
                        <a:pt x="165" y="157"/>
                        <a:pt x="165" y="157"/>
                      </a:cubicBezTo>
                      <a:cubicBezTo>
                        <a:pt x="165" y="156"/>
                        <a:pt x="165" y="156"/>
                        <a:pt x="165" y="156"/>
                      </a:cubicBezTo>
                      <a:cubicBezTo>
                        <a:pt x="166" y="156"/>
                        <a:pt x="166" y="156"/>
                        <a:pt x="166" y="156"/>
                      </a:cubicBezTo>
                      <a:cubicBezTo>
                        <a:pt x="166" y="156"/>
                        <a:pt x="166" y="156"/>
                        <a:pt x="166" y="156"/>
                      </a:cubicBezTo>
                      <a:cubicBezTo>
                        <a:pt x="166" y="157"/>
                        <a:pt x="166" y="157"/>
                        <a:pt x="166" y="157"/>
                      </a:cubicBezTo>
                      <a:cubicBezTo>
                        <a:pt x="165" y="158"/>
                        <a:pt x="165" y="158"/>
                        <a:pt x="165" y="158"/>
                      </a:cubicBezTo>
                      <a:cubicBezTo>
                        <a:pt x="165" y="159"/>
                        <a:pt x="165" y="159"/>
                        <a:pt x="165" y="159"/>
                      </a:cubicBezTo>
                      <a:cubicBezTo>
                        <a:pt x="164" y="161"/>
                        <a:pt x="164" y="161"/>
                        <a:pt x="164" y="161"/>
                      </a:cubicBezTo>
                      <a:cubicBezTo>
                        <a:pt x="165" y="161"/>
                        <a:pt x="165" y="161"/>
                        <a:pt x="165" y="161"/>
                      </a:cubicBezTo>
                      <a:cubicBezTo>
                        <a:pt x="165" y="163"/>
                        <a:pt x="165" y="163"/>
                        <a:pt x="165" y="163"/>
                      </a:cubicBezTo>
                      <a:cubicBezTo>
                        <a:pt x="165" y="164"/>
                        <a:pt x="165" y="164"/>
                        <a:pt x="165" y="164"/>
                      </a:cubicBezTo>
                      <a:cubicBezTo>
                        <a:pt x="166" y="165"/>
                        <a:pt x="166" y="165"/>
                        <a:pt x="166" y="165"/>
                      </a:cubicBezTo>
                      <a:cubicBezTo>
                        <a:pt x="166" y="165"/>
                        <a:pt x="166" y="165"/>
                        <a:pt x="166" y="165"/>
                      </a:cubicBezTo>
                      <a:cubicBezTo>
                        <a:pt x="165" y="166"/>
                        <a:pt x="165" y="166"/>
                        <a:pt x="165" y="166"/>
                      </a:cubicBezTo>
                      <a:cubicBezTo>
                        <a:pt x="166" y="166"/>
                        <a:pt x="166" y="166"/>
                        <a:pt x="166" y="166"/>
                      </a:cubicBezTo>
                      <a:cubicBezTo>
                        <a:pt x="166" y="168"/>
                        <a:pt x="166" y="168"/>
                        <a:pt x="166" y="168"/>
                      </a:cubicBezTo>
                      <a:cubicBezTo>
                        <a:pt x="166" y="170"/>
                        <a:pt x="166" y="170"/>
                        <a:pt x="166" y="170"/>
                      </a:cubicBezTo>
                      <a:cubicBezTo>
                        <a:pt x="167" y="168"/>
                        <a:pt x="167" y="168"/>
                        <a:pt x="167" y="168"/>
                      </a:cubicBezTo>
                      <a:cubicBezTo>
                        <a:pt x="166" y="166"/>
                        <a:pt x="166" y="166"/>
                        <a:pt x="166" y="166"/>
                      </a:cubicBezTo>
                      <a:cubicBezTo>
                        <a:pt x="166" y="164"/>
                        <a:pt x="166" y="164"/>
                        <a:pt x="166" y="164"/>
                      </a:cubicBezTo>
                      <a:cubicBezTo>
                        <a:pt x="167" y="162"/>
                        <a:pt x="167" y="162"/>
                        <a:pt x="167" y="162"/>
                      </a:cubicBezTo>
                      <a:cubicBezTo>
                        <a:pt x="168" y="162"/>
                        <a:pt x="168" y="162"/>
                        <a:pt x="168" y="162"/>
                      </a:cubicBezTo>
                      <a:cubicBezTo>
                        <a:pt x="168" y="163"/>
                        <a:pt x="168" y="163"/>
                        <a:pt x="168" y="163"/>
                      </a:cubicBezTo>
                      <a:cubicBezTo>
                        <a:pt x="168" y="163"/>
                        <a:pt x="168" y="163"/>
                        <a:pt x="168" y="163"/>
                      </a:cubicBezTo>
                      <a:cubicBezTo>
                        <a:pt x="168" y="163"/>
                        <a:pt x="168" y="163"/>
                        <a:pt x="168" y="163"/>
                      </a:cubicBezTo>
                      <a:cubicBezTo>
                        <a:pt x="168" y="164"/>
                        <a:pt x="168" y="164"/>
                        <a:pt x="168" y="164"/>
                      </a:cubicBezTo>
                      <a:cubicBezTo>
                        <a:pt x="169" y="163"/>
                        <a:pt x="169" y="163"/>
                        <a:pt x="169" y="163"/>
                      </a:cubicBezTo>
                      <a:cubicBezTo>
                        <a:pt x="169" y="164"/>
                        <a:pt x="169" y="164"/>
                        <a:pt x="169" y="164"/>
                      </a:cubicBezTo>
                      <a:cubicBezTo>
                        <a:pt x="169" y="163"/>
                        <a:pt x="169" y="163"/>
                        <a:pt x="169" y="163"/>
                      </a:cubicBezTo>
                      <a:cubicBezTo>
                        <a:pt x="169" y="162"/>
                        <a:pt x="169" y="162"/>
                        <a:pt x="169" y="162"/>
                      </a:cubicBezTo>
                      <a:cubicBezTo>
                        <a:pt x="169" y="162"/>
                        <a:pt x="169" y="162"/>
                        <a:pt x="169" y="162"/>
                      </a:cubicBezTo>
                      <a:cubicBezTo>
                        <a:pt x="169" y="161"/>
                        <a:pt x="169" y="161"/>
                        <a:pt x="169" y="161"/>
                      </a:cubicBezTo>
                      <a:cubicBezTo>
                        <a:pt x="170" y="161"/>
                        <a:pt x="170" y="161"/>
                        <a:pt x="170" y="161"/>
                      </a:cubicBezTo>
                      <a:cubicBezTo>
                        <a:pt x="170" y="160"/>
                        <a:pt x="170" y="160"/>
                        <a:pt x="170" y="160"/>
                      </a:cubicBezTo>
                      <a:cubicBezTo>
                        <a:pt x="169" y="160"/>
                        <a:pt x="169" y="160"/>
                        <a:pt x="169" y="160"/>
                      </a:cubicBezTo>
                      <a:cubicBezTo>
                        <a:pt x="169" y="159"/>
                        <a:pt x="169" y="159"/>
                        <a:pt x="169" y="159"/>
                      </a:cubicBezTo>
                      <a:cubicBezTo>
                        <a:pt x="169" y="158"/>
                        <a:pt x="169" y="158"/>
                        <a:pt x="169" y="158"/>
                      </a:cubicBezTo>
                      <a:cubicBezTo>
                        <a:pt x="170" y="155"/>
                        <a:pt x="170" y="155"/>
                        <a:pt x="170" y="155"/>
                      </a:cubicBezTo>
                      <a:cubicBezTo>
                        <a:pt x="170" y="155"/>
                        <a:pt x="170" y="155"/>
                        <a:pt x="170" y="155"/>
                      </a:cubicBezTo>
                      <a:cubicBezTo>
                        <a:pt x="170" y="154"/>
                        <a:pt x="170" y="154"/>
                        <a:pt x="170" y="154"/>
                      </a:cubicBezTo>
                      <a:cubicBezTo>
                        <a:pt x="171" y="154"/>
                        <a:pt x="171" y="154"/>
                        <a:pt x="171" y="154"/>
                      </a:cubicBezTo>
                      <a:cubicBezTo>
                        <a:pt x="172" y="153"/>
                        <a:pt x="172" y="153"/>
                        <a:pt x="172" y="153"/>
                      </a:cubicBezTo>
                      <a:cubicBezTo>
                        <a:pt x="172" y="153"/>
                        <a:pt x="172" y="153"/>
                        <a:pt x="172" y="153"/>
                      </a:cubicBezTo>
                      <a:cubicBezTo>
                        <a:pt x="172" y="153"/>
                        <a:pt x="172" y="153"/>
                        <a:pt x="172" y="153"/>
                      </a:cubicBezTo>
                      <a:cubicBezTo>
                        <a:pt x="173" y="153"/>
                        <a:pt x="173" y="153"/>
                        <a:pt x="173" y="153"/>
                      </a:cubicBezTo>
                      <a:cubicBezTo>
                        <a:pt x="174" y="153"/>
                        <a:pt x="174" y="153"/>
                        <a:pt x="174" y="153"/>
                      </a:cubicBezTo>
                      <a:cubicBezTo>
                        <a:pt x="174" y="153"/>
                        <a:pt x="174" y="153"/>
                        <a:pt x="174" y="153"/>
                      </a:cubicBezTo>
                      <a:cubicBezTo>
                        <a:pt x="175" y="152"/>
                        <a:pt x="175" y="152"/>
                        <a:pt x="175" y="152"/>
                      </a:cubicBezTo>
                      <a:cubicBezTo>
                        <a:pt x="175" y="152"/>
                        <a:pt x="175" y="152"/>
                        <a:pt x="175" y="152"/>
                      </a:cubicBezTo>
                      <a:cubicBezTo>
                        <a:pt x="175" y="153"/>
                        <a:pt x="175" y="153"/>
                        <a:pt x="175" y="153"/>
                      </a:cubicBezTo>
                      <a:cubicBezTo>
                        <a:pt x="176" y="152"/>
                        <a:pt x="176" y="152"/>
                        <a:pt x="176" y="152"/>
                      </a:cubicBezTo>
                      <a:cubicBezTo>
                        <a:pt x="177" y="152"/>
                        <a:pt x="177" y="152"/>
                        <a:pt x="177" y="152"/>
                      </a:cubicBezTo>
                      <a:cubicBezTo>
                        <a:pt x="177" y="151"/>
                        <a:pt x="177" y="151"/>
                        <a:pt x="177" y="151"/>
                      </a:cubicBezTo>
                      <a:cubicBezTo>
                        <a:pt x="178" y="151"/>
                        <a:pt x="178" y="151"/>
                        <a:pt x="178" y="151"/>
                      </a:cubicBezTo>
                      <a:cubicBezTo>
                        <a:pt x="178" y="152"/>
                        <a:pt x="178" y="152"/>
                        <a:pt x="178" y="152"/>
                      </a:cubicBezTo>
                      <a:cubicBezTo>
                        <a:pt x="179" y="152"/>
                        <a:pt x="179" y="152"/>
                        <a:pt x="179" y="152"/>
                      </a:cubicBezTo>
                      <a:cubicBezTo>
                        <a:pt x="179" y="153"/>
                        <a:pt x="179" y="153"/>
                        <a:pt x="179" y="153"/>
                      </a:cubicBezTo>
                      <a:cubicBezTo>
                        <a:pt x="179" y="152"/>
                        <a:pt x="179" y="152"/>
                        <a:pt x="179" y="152"/>
                      </a:cubicBezTo>
                      <a:cubicBezTo>
                        <a:pt x="178" y="151"/>
                        <a:pt x="178" y="151"/>
                        <a:pt x="178" y="151"/>
                      </a:cubicBezTo>
                      <a:cubicBezTo>
                        <a:pt x="179" y="150"/>
                        <a:pt x="179" y="150"/>
                        <a:pt x="179" y="150"/>
                      </a:cubicBezTo>
                      <a:cubicBezTo>
                        <a:pt x="180" y="150"/>
                        <a:pt x="180" y="150"/>
                        <a:pt x="180" y="150"/>
                      </a:cubicBezTo>
                      <a:cubicBezTo>
                        <a:pt x="180" y="150"/>
                        <a:pt x="180" y="150"/>
                        <a:pt x="180" y="150"/>
                      </a:cubicBezTo>
                      <a:cubicBezTo>
                        <a:pt x="181" y="150"/>
                        <a:pt x="181" y="150"/>
                        <a:pt x="181" y="150"/>
                      </a:cubicBezTo>
                      <a:cubicBezTo>
                        <a:pt x="182" y="150"/>
                        <a:pt x="182" y="150"/>
                        <a:pt x="182" y="150"/>
                      </a:cubicBezTo>
                      <a:cubicBezTo>
                        <a:pt x="182" y="150"/>
                        <a:pt x="182" y="150"/>
                        <a:pt x="182" y="150"/>
                      </a:cubicBezTo>
                      <a:cubicBezTo>
                        <a:pt x="183" y="149"/>
                        <a:pt x="183" y="149"/>
                        <a:pt x="183" y="149"/>
                      </a:cubicBezTo>
                      <a:cubicBezTo>
                        <a:pt x="183" y="149"/>
                        <a:pt x="183" y="149"/>
                        <a:pt x="183" y="149"/>
                      </a:cubicBezTo>
                      <a:cubicBezTo>
                        <a:pt x="184" y="148"/>
                        <a:pt x="184" y="148"/>
                        <a:pt x="184" y="148"/>
                      </a:cubicBezTo>
                      <a:cubicBezTo>
                        <a:pt x="183" y="148"/>
                        <a:pt x="183" y="148"/>
                        <a:pt x="183" y="148"/>
                      </a:cubicBezTo>
                      <a:cubicBezTo>
                        <a:pt x="183" y="148"/>
                        <a:pt x="183" y="148"/>
                        <a:pt x="183" y="148"/>
                      </a:cubicBezTo>
                      <a:cubicBezTo>
                        <a:pt x="182" y="148"/>
                        <a:pt x="182" y="148"/>
                        <a:pt x="182" y="148"/>
                      </a:cubicBezTo>
                      <a:cubicBezTo>
                        <a:pt x="180" y="148"/>
                        <a:pt x="180" y="148"/>
                        <a:pt x="180" y="148"/>
                      </a:cubicBezTo>
                      <a:cubicBezTo>
                        <a:pt x="179" y="148"/>
                        <a:pt x="179" y="148"/>
                        <a:pt x="179" y="148"/>
                      </a:cubicBezTo>
                      <a:cubicBezTo>
                        <a:pt x="179" y="149"/>
                        <a:pt x="179" y="149"/>
                        <a:pt x="179" y="149"/>
                      </a:cubicBezTo>
                      <a:cubicBezTo>
                        <a:pt x="178" y="149"/>
                        <a:pt x="178" y="149"/>
                        <a:pt x="178" y="149"/>
                      </a:cubicBezTo>
                      <a:cubicBezTo>
                        <a:pt x="178" y="150"/>
                        <a:pt x="178" y="150"/>
                        <a:pt x="178" y="150"/>
                      </a:cubicBezTo>
                      <a:cubicBezTo>
                        <a:pt x="178" y="150"/>
                        <a:pt x="178" y="150"/>
                        <a:pt x="178" y="150"/>
                      </a:cubicBezTo>
                      <a:cubicBezTo>
                        <a:pt x="177" y="149"/>
                        <a:pt x="177" y="149"/>
                        <a:pt x="177" y="149"/>
                      </a:cubicBezTo>
                      <a:cubicBezTo>
                        <a:pt x="177" y="148"/>
                        <a:pt x="177" y="148"/>
                        <a:pt x="177" y="148"/>
                      </a:cubicBezTo>
                      <a:cubicBezTo>
                        <a:pt x="177" y="149"/>
                        <a:pt x="177" y="149"/>
                        <a:pt x="177" y="149"/>
                      </a:cubicBezTo>
                      <a:cubicBezTo>
                        <a:pt x="177" y="150"/>
                        <a:pt x="177" y="150"/>
                        <a:pt x="177" y="150"/>
                      </a:cubicBezTo>
                      <a:cubicBezTo>
                        <a:pt x="176" y="150"/>
                        <a:pt x="176" y="150"/>
                        <a:pt x="176" y="150"/>
                      </a:cubicBezTo>
                      <a:cubicBezTo>
                        <a:pt x="175" y="149"/>
                        <a:pt x="175" y="149"/>
                        <a:pt x="175" y="149"/>
                      </a:cubicBezTo>
                      <a:cubicBezTo>
                        <a:pt x="174" y="149"/>
                        <a:pt x="174" y="149"/>
                        <a:pt x="174" y="149"/>
                      </a:cubicBezTo>
                      <a:cubicBezTo>
                        <a:pt x="174" y="149"/>
                        <a:pt x="174" y="149"/>
                        <a:pt x="174" y="149"/>
                      </a:cubicBezTo>
                      <a:cubicBezTo>
                        <a:pt x="174" y="149"/>
                        <a:pt x="174" y="149"/>
                        <a:pt x="174" y="149"/>
                      </a:cubicBezTo>
                      <a:cubicBezTo>
                        <a:pt x="174" y="150"/>
                        <a:pt x="174" y="150"/>
                        <a:pt x="174" y="150"/>
                      </a:cubicBezTo>
                      <a:cubicBezTo>
                        <a:pt x="174" y="150"/>
                        <a:pt x="174" y="150"/>
                        <a:pt x="174" y="150"/>
                      </a:cubicBezTo>
                      <a:cubicBezTo>
                        <a:pt x="174" y="151"/>
                        <a:pt x="174" y="151"/>
                        <a:pt x="174" y="151"/>
                      </a:cubicBezTo>
                      <a:cubicBezTo>
                        <a:pt x="173" y="151"/>
                        <a:pt x="173" y="151"/>
                        <a:pt x="173" y="151"/>
                      </a:cubicBezTo>
                      <a:cubicBezTo>
                        <a:pt x="173" y="150"/>
                        <a:pt x="173" y="150"/>
                        <a:pt x="173" y="150"/>
                      </a:cubicBezTo>
                      <a:cubicBezTo>
                        <a:pt x="172" y="150"/>
                        <a:pt x="172" y="150"/>
                        <a:pt x="172" y="150"/>
                      </a:cubicBezTo>
                      <a:cubicBezTo>
                        <a:pt x="171" y="150"/>
                        <a:pt x="171" y="150"/>
                        <a:pt x="171" y="150"/>
                      </a:cubicBezTo>
                      <a:cubicBezTo>
                        <a:pt x="172" y="149"/>
                        <a:pt x="172" y="149"/>
                        <a:pt x="172" y="149"/>
                      </a:cubicBezTo>
                      <a:cubicBezTo>
                        <a:pt x="172" y="149"/>
                        <a:pt x="172" y="149"/>
                        <a:pt x="172" y="149"/>
                      </a:cubicBezTo>
                      <a:cubicBezTo>
                        <a:pt x="172" y="149"/>
                        <a:pt x="172" y="149"/>
                        <a:pt x="172" y="149"/>
                      </a:cubicBezTo>
                      <a:cubicBezTo>
                        <a:pt x="171" y="149"/>
                        <a:pt x="171" y="149"/>
                        <a:pt x="171" y="149"/>
                      </a:cubicBezTo>
                      <a:cubicBezTo>
                        <a:pt x="171" y="149"/>
                        <a:pt x="171" y="149"/>
                        <a:pt x="171" y="149"/>
                      </a:cubicBezTo>
                      <a:cubicBezTo>
                        <a:pt x="171" y="148"/>
                        <a:pt x="171" y="148"/>
                        <a:pt x="171" y="148"/>
                      </a:cubicBezTo>
                      <a:cubicBezTo>
                        <a:pt x="172" y="147"/>
                        <a:pt x="172" y="147"/>
                        <a:pt x="172" y="147"/>
                      </a:cubicBezTo>
                      <a:cubicBezTo>
                        <a:pt x="173" y="146"/>
                        <a:pt x="173" y="146"/>
                        <a:pt x="173" y="146"/>
                      </a:cubicBezTo>
                      <a:cubicBezTo>
                        <a:pt x="174" y="146"/>
                        <a:pt x="174" y="146"/>
                        <a:pt x="174" y="146"/>
                      </a:cubicBezTo>
                      <a:cubicBezTo>
                        <a:pt x="175" y="146"/>
                        <a:pt x="175" y="146"/>
                        <a:pt x="175" y="146"/>
                      </a:cubicBezTo>
                      <a:cubicBezTo>
                        <a:pt x="178" y="146"/>
                        <a:pt x="178" y="146"/>
                        <a:pt x="178" y="146"/>
                      </a:cubicBezTo>
                      <a:cubicBezTo>
                        <a:pt x="181" y="145"/>
                        <a:pt x="181" y="145"/>
                        <a:pt x="181" y="145"/>
                      </a:cubicBezTo>
                      <a:cubicBezTo>
                        <a:pt x="182" y="145"/>
                        <a:pt x="182" y="145"/>
                        <a:pt x="182" y="145"/>
                      </a:cubicBezTo>
                      <a:cubicBezTo>
                        <a:pt x="183" y="145"/>
                        <a:pt x="183" y="145"/>
                        <a:pt x="183" y="145"/>
                      </a:cubicBezTo>
                      <a:cubicBezTo>
                        <a:pt x="183" y="146"/>
                        <a:pt x="183" y="146"/>
                        <a:pt x="183" y="146"/>
                      </a:cubicBezTo>
                      <a:cubicBezTo>
                        <a:pt x="184" y="146"/>
                        <a:pt x="184" y="146"/>
                        <a:pt x="184" y="146"/>
                      </a:cubicBezTo>
                      <a:cubicBezTo>
                        <a:pt x="184" y="146"/>
                        <a:pt x="184" y="146"/>
                        <a:pt x="184" y="146"/>
                      </a:cubicBezTo>
                      <a:cubicBezTo>
                        <a:pt x="185" y="147"/>
                        <a:pt x="185" y="147"/>
                        <a:pt x="185" y="147"/>
                      </a:cubicBezTo>
                      <a:cubicBezTo>
                        <a:pt x="184" y="149"/>
                        <a:pt x="184" y="149"/>
                        <a:pt x="184" y="149"/>
                      </a:cubicBezTo>
                      <a:cubicBezTo>
                        <a:pt x="184" y="149"/>
                        <a:pt x="184" y="149"/>
                        <a:pt x="184" y="149"/>
                      </a:cubicBezTo>
                      <a:cubicBezTo>
                        <a:pt x="185" y="149"/>
                        <a:pt x="185" y="149"/>
                        <a:pt x="185" y="149"/>
                      </a:cubicBezTo>
                      <a:cubicBezTo>
                        <a:pt x="184" y="150"/>
                        <a:pt x="184" y="150"/>
                        <a:pt x="184" y="150"/>
                      </a:cubicBezTo>
                      <a:cubicBezTo>
                        <a:pt x="184" y="150"/>
                        <a:pt x="184" y="150"/>
                        <a:pt x="184" y="150"/>
                      </a:cubicBezTo>
                      <a:cubicBezTo>
                        <a:pt x="184" y="150"/>
                        <a:pt x="184" y="150"/>
                        <a:pt x="184" y="150"/>
                      </a:cubicBezTo>
                      <a:cubicBezTo>
                        <a:pt x="184" y="151"/>
                        <a:pt x="184" y="151"/>
                        <a:pt x="184" y="151"/>
                      </a:cubicBezTo>
                      <a:cubicBezTo>
                        <a:pt x="184" y="152"/>
                        <a:pt x="184" y="152"/>
                        <a:pt x="184" y="152"/>
                      </a:cubicBezTo>
                      <a:cubicBezTo>
                        <a:pt x="185" y="152"/>
                        <a:pt x="185" y="152"/>
                        <a:pt x="185" y="152"/>
                      </a:cubicBezTo>
                      <a:cubicBezTo>
                        <a:pt x="186" y="153"/>
                        <a:pt x="186" y="153"/>
                        <a:pt x="186" y="153"/>
                      </a:cubicBezTo>
                      <a:cubicBezTo>
                        <a:pt x="186" y="153"/>
                        <a:pt x="186" y="153"/>
                        <a:pt x="186" y="153"/>
                      </a:cubicBezTo>
                      <a:cubicBezTo>
                        <a:pt x="185" y="154"/>
                        <a:pt x="185" y="154"/>
                        <a:pt x="185" y="154"/>
                      </a:cubicBezTo>
                      <a:cubicBezTo>
                        <a:pt x="185" y="154"/>
                        <a:pt x="185" y="154"/>
                        <a:pt x="185" y="154"/>
                      </a:cubicBezTo>
                      <a:cubicBezTo>
                        <a:pt x="184" y="155"/>
                        <a:pt x="184" y="155"/>
                        <a:pt x="184" y="155"/>
                      </a:cubicBezTo>
                      <a:cubicBezTo>
                        <a:pt x="185" y="155"/>
                        <a:pt x="185" y="155"/>
                        <a:pt x="185" y="155"/>
                      </a:cubicBezTo>
                      <a:cubicBezTo>
                        <a:pt x="186" y="155"/>
                        <a:pt x="186" y="155"/>
                        <a:pt x="186" y="155"/>
                      </a:cubicBezTo>
                      <a:cubicBezTo>
                        <a:pt x="186" y="155"/>
                        <a:pt x="186" y="155"/>
                        <a:pt x="186" y="155"/>
                      </a:cubicBezTo>
                      <a:cubicBezTo>
                        <a:pt x="187" y="155"/>
                        <a:pt x="187" y="155"/>
                        <a:pt x="187" y="155"/>
                      </a:cubicBezTo>
                      <a:cubicBezTo>
                        <a:pt x="187" y="156"/>
                        <a:pt x="187" y="156"/>
                        <a:pt x="187" y="156"/>
                      </a:cubicBezTo>
                      <a:cubicBezTo>
                        <a:pt x="188" y="156"/>
                        <a:pt x="188" y="156"/>
                        <a:pt x="188" y="156"/>
                      </a:cubicBezTo>
                      <a:cubicBezTo>
                        <a:pt x="189" y="156"/>
                        <a:pt x="189" y="156"/>
                        <a:pt x="189" y="156"/>
                      </a:cubicBezTo>
                      <a:cubicBezTo>
                        <a:pt x="190" y="156"/>
                        <a:pt x="190" y="156"/>
                        <a:pt x="190" y="156"/>
                      </a:cubicBezTo>
                      <a:cubicBezTo>
                        <a:pt x="190" y="156"/>
                        <a:pt x="190" y="156"/>
                        <a:pt x="190" y="156"/>
                      </a:cubicBezTo>
                      <a:cubicBezTo>
                        <a:pt x="190" y="157"/>
                        <a:pt x="190" y="157"/>
                        <a:pt x="190" y="157"/>
                      </a:cubicBezTo>
                      <a:cubicBezTo>
                        <a:pt x="190" y="157"/>
                        <a:pt x="190" y="157"/>
                        <a:pt x="190" y="157"/>
                      </a:cubicBezTo>
                      <a:cubicBezTo>
                        <a:pt x="191" y="157"/>
                        <a:pt x="191" y="157"/>
                        <a:pt x="191" y="157"/>
                      </a:cubicBezTo>
                      <a:cubicBezTo>
                        <a:pt x="190" y="157"/>
                        <a:pt x="190" y="157"/>
                        <a:pt x="190" y="157"/>
                      </a:cubicBezTo>
                      <a:cubicBezTo>
                        <a:pt x="190" y="158"/>
                        <a:pt x="190" y="158"/>
                        <a:pt x="190" y="158"/>
                      </a:cubicBezTo>
                      <a:cubicBezTo>
                        <a:pt x="191" y="158"/>
                        <a:pt x="191" y="158"/>
                        <a:pt x="191" y="158"/>
                      </a:cubicBezTo>
                      <a:cubicBezTo>
                        <a:pt x="191" y="159"/>
                        <a:pt x="191" y="159"/>
                        <a:pt x="191" y="159"/>
                      </a:cubicBezTo>
                      <a:cubicBezTo>
                        <a:pt x="192" y="160"/>
                        <a:pt x="192" y="160"/>
                        <a:pt x="192" y="160"/>
                      </a:cubicBezTo>
                      <a:cubicBezTo>
                        <a:pt x="192" y="160"/>
                        <a:pt x="192" y="160"/>
                        <a:pt x="192" y="160"/>
                      </a:cubicBezTo>
                      <a:cubicBezTo>
                        <a:pt x="193" y="160"/>
                        <a:pt x="193" y="160"/>
                        <a:pt x="193" y="160"/>
                      </a:cubicBezTo>
                      <a:cubicBezTo>
                        <a:pt x="194" y="160"/>
                        <a:pt x="194" y="160"/>
                        <a:pt x="194" y="160"/>
                      </a:cubicBezTo>
                      <a:cubicBezTo>
                        <a:pt x="194" y="161"/>
                        <a:pt x="194" y="161"/>
                        <a:pt x="194" y="161"/>
                      </a:cubicBezTo>
                      <a:cubicBezTo>
                        <a:pt x="194" y="161"/>
                        <a:pt x="194" y="161"/>
                        <a:pt x="194" y="161"/>
                      </a:cubicBezTo>
                      <a:cubicBezTo>
                        <a:pt x="195" y="162"/>
                        <a:pt x="195" y="162"/>
                        <a:pt x="195" y="162"/>
                      </a:cubicBezTo>
                      <a:cubicBezTo>
                        <a:pt x="196" y="161"/>
                        <a:pt x="196" y="161"/>
                        <a:pt x="196" y="161"/>
                      </a:cubicBezTo>
                      <a:cubicBezTo>
                        <a:pt x="198" y="161"/>
                        <a:pt x="198" y="161"/>
                        <a:pt x="198" y="161"/>
                      </a:cubicBezTo>
                      <a:cubicBezTo>
                        <a:pt x="198" y="160"/>
                        <a:pt x="198" y="160"/>
                        <a:pt x="198" y="160"/>
                      </a:cubicBezTo>
                      <a:cubicBezTo>
                        <a:pt x="200" y="160"/>
                        <a:pt x="200" y="160"/>
                        <a:pt x="200" y="160"/>
                      </a:cubicBezTo>
                      <a:cubicBezTo>
                        <a:pt x="200" y="160"/>
                        <a:pt x="200" y="160"/>
                        <a:pt x="200" y="160"/>
                      </a:cubicBezTo>
                      <a:cubicBezTo>
                        <a:pt x="200" y="160"/>
                        <a:pt x="200" y="160"/>
                        <a:pt x="200" y="160"/>
                      </a:cubicBezTo>
                      <a:cubicBezTo>
                        <a:pt x="202" y="160"/>
                        <a:pt x="202" y="160"/>
                        <a:pt x="202" y="160"/>
                      </a:cubicBezTo>
                      <a:cubicBezTo>
                        <a:pt x="204" y="161"/>
                        <a:pt x="204" y="161"/>
                        <a:pt x="204" y="161"/>
                      </a:cubicBezTo>
                      <a:cubicBezTo>
                        <a:pt x="204" y="162"/>
                        <a:pt x="204" y="162"/>
                        <a:pt x="204" y="162"/>
                      </a:cubicBezTo>
                      <a:cubicBezTo>
                        <a:pt x="205" y="162"/>
                        <a:pt x="205" y="162"/>
                        <a:pt x="205" y="162"/>
                      </a:cubicBezTo>
                      <a:cubicBezTo>
                        <a:pt x="205" y="162"/>
                        <a:pt x="205" y="162"/>
                        <a:pt x="205" y="162"/>
                      </a:cubicBezTo>
                      <a:cubicBezTo>
                        <a:pt x="207" y="162"/>
                        <a:pt x="207" y="162"/>
                        <a:pt x="207" y="162"/>
                      </a:cubicBezTo>
                      <a:cubicBezTo>
                        <a:pt x="208" y="162"/>
                        <a:pt x="208" y="162"/>
                        <a:pt x="208" y="162"/>
                      </a:cubicBezTo>
                      <a:cubicBezTo>
                        <a:pt x="208" y="162"/>
                        <a:pt x="208" y="162"/>
                        <a:pt x="208" y="162"/>
                      </a:cubicBezTo>
                      <a:cubicBezTo>
                        <a:pt x="208" y="161"/>
                        <a:pt x="208" y="161"/>
                        <a:pt x="208" y="161"/>
                      </a:cubicBezTo>
                      <a:cubicBezTo>
                        <a:pt x="207" y="160"/>
                        <a:pt x="207" y="160"/>
                        <a:pt x="207" y="160"/>
                      </a:cubicBezTo>
                      <a:cubicBezTo>
                        <a:pt x="207" y="159"/>
                        <a:pt x="207" y="159"/>
                        <a:pt x="207" y="159"/>
                      </a:cubicBezTo>
                      <a:cubicBezTo>
                        <a:pt x="207" y="159"/>
                        <a:pt x="207" y="159"/>
                        <a:pt x="207" y="159"/>
                      </a:cubicBezTo>
                      <a:cubicBezTo>
                        <a:pt x="208" y="159"/>
                        <a:pt x="208" y="159"/>
                        <a:pt x="208" y="159"/>
                      </a:cubicBezTo>
                      <a:cubicBezTo>
                        <a:pt x="208" y="160"/>
                        <a:pt x="208" y="160"/>
                        <a:pt x="208" y="160"/>
                      </a:cubicBezTo>
                      <a:cubicBezTo>
                        <a:pt x="209" y="161"/>
                        <a:pt x="209" y="161"/>
                        <a:pt x="209" y="161"/>
                      </a:cubicBezTo>
                      <a:cubicBezTo>
                        <a:pt x="210" y="163"/>
                        <a:pt x="210" y="163"/>
                        <a:pt x="210" y="163"/>
                      </a:cubicBezTo>
                      <a:cubicBezTo>
                        <a:pt x="211" y="163"/>
                        <a:pt x="211" y="163"/>
                        <a:pt x="211" y="163"/>
                      </a:cubicBezTo>
                      <a:cubicBezTo>
                        <a:pt x="211" y="164"/>
                        <a:pt x="211" y="164"/>
                        <a:pt x="211" y="164"/>
                      </a:cubicBezTo>
                      <a:cubicBezTo>
                        <a:pt x="211" y="162"/>
                        <a:pt x="211" y="162"/>
                        <a:pt x="211" y="162"/>
                      </a:cubicBezTo>
                      <a:cubicBezTo>
                        <a:pt x="211" y="162"/>
                        <a:pt x="211" y="162"/>
                        <a:pt x="211" y="162"/>
                      </a:cubicBezTo>
                      <a:cubicBezTo>
                        <a:pt x="209" y="161"/>
                        <a:pt x="209" y="161"/>
                        <a:pt x="209" y="161"/>
                      </a:cubicBezTo>
                      <a:cubicBezTo>
                        <a:pt x="209" y="160"/>
                        <a:pt x="209" y="160"/>
                        <a:pt x="209" y="160"/>
                      </a:cubicBezTo>
                      <a:cubicBezTo>
                        <a:pt x="208" y="158"/>
                        <a:pt x="208" y="158"/>
                        <a:pt x="208" y="158"/>
                      </a:cubicBezTo>
                      <a:cubicBezTo>
                        <a:pt x="209" y="158"/>
                        <a:pt x="209" y="158"/>
                        <a:pt x="209" y="158"/>
                      </a:cubicBezTo>
                      <a:cubicBezTo>
                        <a:pt x="209" y="158"/>
                        <a:pt x="209" y="158"/>
                        <a:pt x="209" y="158"/>
                      </a:cubicBezTo>
                      <a:cubicBezTo>
                        <a:pt x="209" y="158"/>
                        <a:pt x="209" y="158"/>
                        <a:pt x="209" y="158"/>
                      </a:cubicBezTo>
                      <a:cubicBezTo>
                        <a:pt x="210" y="159"/>
                        <a:pt x="210" y="159"/>
                        <a:pt x="210" y="159"/>
                      </a:cubicBezTo>
                      <a:cubicBezTo>
                        <a:pt x="210" y="158"/>
                        <a:pt x="210" y="158"/>
                        <a:pt x="210" y="158"/>
                      </a:cubicBezTo>
                      <a:cubicBezTo>
                        <a:pt x="210" y="158"/>
                        <a:pt x="210" y="158"/>
                        <a:pt x="210" y="158"/>
                      </a:cubicBezTo>
                      <a:cubicBezTo>
                        <a:pt x="210" y="157"/>
                        <a:pt x="210" y="157"/>
                        <a:pt x="210" y="157"/>
                      </a:cubicBezTo>
                      <a:cubicBezTo>
                        <a:pt x="210" y="157"/>
                        <a:pt x="210" y="157"/>
                        <a:pt x="210" y="157"/>
                      </a:cubicBezTo>
                      <a:cubicBezTo>
                        <a:pt x="210" y="156"/>
                        <a:pt x="210" y="156"/>
                        <a:pt x="210" y="156"/>
                      </a:cubicBezTo>
                      <a:cubicBezTo>
                        <a:pt x="210" y="156"/>
                        <a:pt x="210" y="156"/>
                        <a:pt x="210" y="156"/>
                      </a:cubicBezTo>
                      <a:cubicBezTo>
                        <a:pt x="211" y="156"/>
                        <a:pt x="211" y="156"/>
                        <a:pt x="211" y="156"/>
                      </a:cubicBezTo>
                      <a:cubicBezTo>
                        <a:pt x="211" y="156"/>
                        <a:pt x="211" y="156"/>
                        <a:pt x="211" y="156"/>
                      </a:cubicBezTo>
                      <a:cubicBezTo>
                        <a:pt x="211" y="157"/>
                        <a:pt x="211" y="157"/>
                        <a:pt x="211" y="157"/>
                      </a:cubicBezTo>
                      <a:cubicBezTo>
                        <a:pt x="211" y="157"/>
                        <a:pt x="211" y="157"/>
                        <a:pt x="211" y="157"/>
                      </a:cubicBezTo>
                      <a:cubicBezTo>
                        <a:pt x="212" y="157"/>
                        <a:pt x="212" y="157"/>
                        <a:pt x="212" y="157"/>
                      </a:cubicBezTo>
                      <a:cubicBezTo>
                        <a:pt x="213" y="156"/>
                        <a:pt x="213" y="156"/>
                        <a:pt x="213" y="156"/>
                      </a:cubicBezTo>
                      <a:cubicBezTo>
                        <a:pt x="213" y="155"/>
                        <a:pt x="213" y="155"/>
                        <a:pt x="213" y="155"/>
                      </a:cubicBezTo>
                      <a:cubicBezTo>
                        <a:pt x="214" y="155"/>
                        <a:pt x="214" y="155"/>
                        <a:pt x="214" y="155"/>
                      </a:cubicBezTo>
                      <a:cubicBezTo>
                        <a:pt x="214" y="156"/>
                        <a:pt x="214" y="156"/>
                        <a:pt x="214" y="156"/>
                      </a:cubicBezTo>
                      <a:cubicBezTo>
                        <a:pt x="214" y="157"/>
                        <a:pt x="214" y="157"/>
                        <a:pt x="214" y="157"/>
                      </a:cubicBezTo>
                      <a:cubicBezTo>
                        <a:pt x="214" y="157"/>
                        <a:pt x="214" y="157"/>
                        <a:pt x="214" y="157"/>
                      </a:cubicBezTo>
                      <a:cubicBezTo>
                        <a:pt x="214" y="157"/>
                        <a:pt x="214" y="157"/>
                        <a:pt x="214" y="157"/>
                      </a:cubicBezTo>
                      <a:cubicBezTo>
                        <a:pt x="215" y="156"/>
                        <a:pt x="215" y="156"/>
                        <a:pt x="215" y="156"/>
                      </a:cubicBezTo>
                      <a:cubicBezTo>
                        <a:pt x="215" y="157"/>
                        <a:pt x="215" y="157"/>
                        <a:pt x="215" y="157"/>
                      </a:cubicBezTo>
                      <a:cubicBezTo>
                        <a:pt x="215" y="158"/>
                        <a:pt x="215" y="158"/>
                        <a:pt x="215" y="158"/>
                      </a:cubicBezTo>
                      <a:cubicBezTo>
                        <a:pt x="215" y="159"/>
                        <a:pt x="215" y="159"/>
                        <a:pt x="215" y="159"/>
                      </a:cubicBezTo>
                      <a:cubicBezTo>
                        <a:pt x="215" y="159"/>
                        <a:pt x="215" y="159"/>
                        <a:pt x="215" y="159"/>
                      </a:cubicBezTo>
                      <a:cubicBezTo>
                        <a:pt x="216" y="159"/>
                        <a:pt x="216" y="159"/>
                        <a:pt x="216" y="159"/>
                      </a:cubicBezTo>
                      <a:cubicBezTo>
                        <a:pt x="217" y="159"/>
                        <a:pt x="217" y="159"/>
                        <a:pt x="217" y="159"/>
                      </a:cubicBezTo>
                      <a:cubicBezTo>
                        <a:pt x="217" y="160"/>
                        <a:pt x="217" y="160"/>
                        <a:pt x="217" y="160"/>
                      </a:cubicBezTo>
                      <a:cubicBezTo>
                        <a:pt x="215" y="160"/>
                        <a:pt x="215" y="160"/>
                        <a:pt x="215" y="160"/>
                      </a:cubicBezTo>
                      <a:cubicBezTo>
                        <a:pt x="215" y="161"/>
                        <a:pt x="215" y="161"/>
                        <a:pt x="215" y="161"/>
                      </a:cubicBezTo>
                      <a:cubicBezTo>
                        <a:pt x="216" y="161"/>
                        <a:pt x="216" y="161"/>
                        <a:pt x="216" y="161"/>
                      </a:cubicBezTo>
                      <a:cubicBezTo>
                        <a:pt x="217" y="160"/>
                        <a:pt x="217" y="160"/>
                        <a:pt x="217" y="160"/>
                      </a:cubicBezTo>
                      <a:cubicBezTo>
                        <a:pt x="218" y="159"/>
                        <a:pt x="218" y="159"/>
                        <a:pt x="218" y="159"/>
                      </a:cubicBezTo>
                      <a:cubicBezTo>
                        <a:pt x="219" y="159"/>
                        <a:pt x="219" y="159"/>
                        <a:pt x="219" y="159"/>
                      </a:cubicBezTo>
                      <a:cubicBezTo>
                        <a:pt x="220" y="159"/>
                        <a:pt x="220" y="159"/>
                        <a:pt x="220" y="159"/>
                      </a:cubicBezTo>
                      <a:cubicBezTo>
                        <a:pt x="220" y="160"/>
                        <a:pt x="220" y="160"/>
                        <a:pt x="220" y="160"/>
                      </a:cubicBezTo>
                      <a:cubicBezTo>
                        <a:pt x="219" y="160"/>
                        <a:pt x="219" y="160"/>
                        <a:pt x="219" y="160"/>
                      </a:cubicBezTo>
                      <a:cubicBezTo>
                        <a:pt x="218" y="160"/>
                        <a:pt x="218" y="160"/>
                        <a:pt x="218" y="160"/>
                      </a:cubicBezTo>
                      <a:cubicBezTo>
                        <a:pt x="218" y="161"/>
                        <a:pt x="218" y="161"/>
                        <a:pt x="218" y="161"/>
                      </a:cubicBezTo>
                      <a:cubicBezTo>
                        <a:pt x="217" y="162"/>
                        <a:pt x="217" y="162"/>
                        <a:pt x="217" y="162"/>
                      </a:cubicBezTo>
                      <a:cubicBezTo>
                        <a:pt x="217" y="163"/>
                        <a:pt x="217" y="163"/>
                        <a:pt x="217" y="163"/>
                      </a:cubicBezTo>
                      <a:cubicBezTo>
                        <a:pt x="215" y="164"/>
                        <a:pt x="215" y="164"/>
                        <a:pt x="215" y="164"/>
                      </a:cubicBezTo>
                      <a:cubicBezTo>
                        <a:pt x="215" y="164"/>
                        <a:pt x="215" y="164"/>
                        <a:pt x="215" y="164"/>
                      </a:cubicBezTo>
                      <a:cubicBezTo>
                        <a:pt x="215" y="165"/>
                        <a:pt x="215" y="165"/>
                        <a:pt x="215" y="165"/>
                      </a:cubicBezTo>
                      <a:cubicBezTo>
                        <a:pt x="215" y="164"/>
                        <a:pt x="215" y="164"/>
                        <a:pt x="215" y="164"/>
                      </a:cubicBezTo>
                      <a:cubicBezTo>
                        <a:pt x="214" y="165"/>
                        <a:pt x="214" y="165"/>
                        <a:pt x="214" y="165"/>
                      </a:cubicBezTo>
                      <a:cubicBezTo>
                        <a:pt x="214" y="166"/>
                        <a:pt x="214" y="166"/>
                        <a:pt x="214" y="166"/>
                      </a:cubicBezTo>
                      <a:cubicBezTo>
                        <a:pt x="214" y="167"/>
                        <a:pt x="214" y="167"/>
                        <a:pt x="214" y="167"/>
                      </a:cubicBezTo>
                      <a:cubicBezTo>
                        <a:pt x="215" y="166"/>
                        <a:pt x="215" y="166"/>
                        <a:pt x="215" y="166"/>
                      </a:cubicBezTo>
                      <a:cubicBezTo>
                        <a:pt x="215" y="166"/>
                        <a:pt x="215" y="166"/>
                        <a:pt x="215" y="166"/>
                      </a:cubicBezTo>
                      <a:cubicBezTo>
                        <a:pt x="215" y="167"/>
                        <a:pt x="215" y="167"/>
                        <a:pt x="215" y="167"/>
                      </a:cubicBezTo>
                      <a:cubicBezTo>
                        <a:pt x="214" y="168"/>
                        <a:pt x="214" y="168"/>
                        <a:pt x="214" y="168"/>
                      </a:cubicBezTo>
                      <a:cubicBezTo>
                        <a:pt x="214" y="168"/>
                        <a:pt x="214" y="168"/>
                        <a:pt x="214" y="168"/>
                      </a:cubicBezTo>
                      <a:cubicBezTo>
                        <a:pt x="216" y="168"/>
                        <a:pt x="216" y="168"/>
                        <a:pt x="216" y="168"/>
                      </a:cubicBezTo>
                      <a:cubicBezTo>
                        <a:pt x="216" y="167"/>
                        <a:pt x="216" y="167"/>
                        <a:pt x="216" y="167"/>
                      </a:cubicBezTo>
                      <a:cubicBezTo>
                        <a:pt x="217" y="167"/>
                        <a:pt x="217" y="167"/>
                        <a:pt x="217" y="167"/>
                      </a:cubicBezTo>
                      <a:cubicBezTo>
                        <a:pt x="216" y="168"/>
                        <a:pt x="216" y="168"/>
                        <a:pt x="216" y="168"/>
                      </a:cubicBezTo>
                      <a:cubicBezTo>
                        <a:pt x="216" y="169"/>
                        <a:pt x="216" y="169"/>
                        <a:pt x="216" y="169"/>
                      </a:cubicBezTo>
                      <a:cubicBezTo>
                        <a:pt x="216" y="169"/>
                        <a:pt x="216" y="169"/>
                        <a:pt x="216" y="169"/>
                      </a:cubicBezTo>
                      <a:cubicBezTo>
                        <a:pt x="217" y="169"/>
                        <a:pt x="217" y="169"/>
                        <a:pt x="217" y="169"/>
                      </a:cubicBezTo>
                      <a:cubicBezTo>
                        <a:pt x="217" y="170"/>
                        <a:pt x="217" y="170"/>
                        <a:pt x="217" y="170"/>
                      </a:cubicBezTo>
                      <a:cubicBezTo>
                        <a:pt x="216" y="170"/>
                        <a:pt x="216" y="170"/>
                        <a:pt x="216" y="170"/>
                      </a:cubicBezTo>
                      <a:cubicBezTo>
                        <a:pt x="216" y="171"/>
                        <a:pt x="216" y="171"/>
                        <a:pt x="216" y="171"/>
                      </a:cubicBezTo>
                      <a:cubicBezTo>
                        <a:pt x="215" y="171"/>
                        <a:pt x="215" y="171"/>
                        <a:pt x="215" y="171"/>
                      </a:cubicBezTo>
                      <a:cubicBezTo>
                        <a:pt x="214" y="170"/>
                        <a:pt x="214" y="170"/>
                        <a:pt x="214" y="170"/>
                      </a:cubicBezTo>
                      <a:cubicBezTo>
                        <a:pt x="213" y="170"/>
                        <a:pt x="213" y="170"/>
                        <a:pt x="213" y="170"/>
                      </a:cubicBezTo>
                      <a:cubicBezTo>
                        <a:pt x="213" y="169"/>
                        <a:pt x="213" y="169"/>
                        <a:pt x="213" y="169"/>
                      </a:cubicBezTo>
                      <a:cubicBezTo>
                        <a:pt x="212" y="169"/>
                        <a:pt x="212" y="169"/>
                        <a:pt x="212" y="169"/>
                      </a:cubicBezTo>
                      <a:cubicBezTo>
                        <a:pt x="212" y="170"/>
                        <a:pt x="212" y="170"/>
                        <a:pt x="212" y="170"/>
                      </a:cubicBezTo>
                      <a:cubicBezTo>
                        <a:pt x="213" y="171"/>
                        <a:pt x="213" y="171"/>
                        <a:pt x="213" y="171"/>
                      </a:cubicBezTo>
                      <a:cubicBezTo>
                        <a:pt x="213" y="172"/>
                        <a:pt x="213" y="172"/>
                        <a:pt x="213" y="172"/>
                      </a:cubicBezTo>
                      <a:cubicBezTo>
                        <a:pt x="213" y="174"/>
                        <a:pt x="213" y="174"/>
                        <a:pt x="213" y="174"/>
                      </a:cubicBezTo>
                      <a:cubicBezTo>
                        <a:pt x="214" y="172"/>
                        <a:pt x="214" y="172"/>
                        <a:pt x="214" y="172"/>
                      </a:cubicBezTo>
                      <a:cubicBezTo>
                        <a:pt x="213" y="171"/>
                        <a:pt x="213" y="171"/>
                        <a:pt x="213" y="171"/>
                      </a:cubicBezTo>
                      <a:cubicBezTo>
                        <a:pt x="214" y="171"/>
                        <a:pt x="214" y="171"/>
                        <a:pt x="214" y="171"/>
                      </a:cubicBezTo>
                      <a:cubicBezTo>
                        <a:pt x="214" y="171"/>
                        <a:pt x="214" y="171"/>
                        <a:pt x="214" y="171"/>
                      </a:cubicBezTo>
                      <a:cubicBezTo>
                        <a:pt x="215" y="171"/>
                        <a:pt x="215" y="171"/>
                        <a:pt x="215" y="171"/>
                      </a:cubicBezTo>
                      <a:cubicBezTo>
                        <a:pt x="216" y="172"/>
                        <a:pt x="216" y="172"/>
                        <a:pt x="216" y="172"/>
                      </a:cubicBezTo>
                      <a:cubicBezTo>
                        <a:pt x="217" y="171"/>
                        <a:pt x="217" y="171"/>
                        <a:pt x="217" y="171"/>
                      </a:cubicBezTo>
                      <a:cubicBezTo>
                        <a:pt x="217" y="170"/>
                        <a:pt x="217" y="170"/>
                        <a:pt x="217" y="170"/>
                      </a:cubicBezTo>
                      <a:cubicBezTo>
                        <a:pt x="218" y="170"/>
                        <a:pt x="218" y="170"/>
                        <a:pt x="218" y="170"/>
                      </a:cubicBezTo>
                      <a:cubicBezTo>
                        <a:pt x="219" y="169"/>
                        <a:pt x="219" y="169"/>
                        <a:pt x="219" y="169"/>
                      </a:cubicBezTo>
                      <a:cubicBezTo>
                        <a:pt x="220" y="169"/>
                        <a:pt x="220" y="169"/>
                        <a:pt x="220" y="169"/>
                      </a:cubicBezTo>
                      <a:cubicBezTo>
                        <a:pt x="221" y="168"/>
                        <a:pt x="221" y="168"/>
                        <a:pt x="221" y="168"/>
                      </a:cubicBezTo>
                      <a:cubicBezTo>
                        <a:pt x="220" y="169"/>
                        <a:pt x="220" y="169"/>
                        <a:pt x="220" y="169"/>
                      </a:cubicBezTo>
                      <a:cubicBezTo>
                        <a:pt x="219" y="169"/>
                        <a:pt x="219" y="169"/>
                        <a:pt x="219" y="169"/>
                      </a:cubicBezTo>
                      <a:cubicBezTo>
                        <a:pt x="218" y="169"/>
                        <a:pt x="218" y="169"/>
                        <a:pt x="218" y="169"/>
                      </a:cubicBezTo>
                      <a:cubicBezTo>
                        <a:pt x="218" y="169"/>
                        <a:pt x="218" y="169"/>
                        <a:pt x="218" y="169"/>
                      </a:cubicBezTo>
                      <a:cubicBezTo>
                        <a:pt x="218" y="169"/>
                        <a:pt x="218" y="169"/>
                        <a:pt x="218" y="169"/>
                      </a:cubicBezTo>
                      <a:cubicBezTo>
                        <a:pt x="218" y="169"/>
                        <a:pt x="218" y="169"/>
                        <a:pt x="218" y="169"/>
                      </a:cubicBezTo>
                      <a:cubicBezTo>
                        <a:pt x="219" y="168"/>
                        <a:pt x="219" y="168"/>
                        <a:pt x="219" y="168"/>
                      </a:cubicBezTo>
                      <a:cubicBezTo>
                        <a:pt x="218" y="168"/>
                        <a:pt x="218" y="168"/>
                        <a:pt x="218" y="168"/>
                      </a:cubicBezTo>
                      <a:cubicBezTo>
                        <a:pt x="218" y="167"/>
                        <a:pt x="218" y="167"/>
                        <a:pt x="218" y="167"/>
                      </a:cubicBezTo>
                      <a:cubicBezTo>
                        <a:pt x="219" y="166"/>
                        <a:pt x="219" y="166"/>
                        <a:pt x="219" y="166"/>
                      </a:cubicBezTo>
                      <a:cubicBezTo>
                        <a:pt x="219" y="165"/>
                        <a:pt x="219" y="165"/>
                        <a:pt x="219" y="165"/>
                      </a:cubicBezTo>
                      <a:cubicBezTo>
                        <a:pt x="218" y="165"/>
                        <a:pt x="218" y="165"/>
                        <a:pt x="218" y="165"/>
                      </a:cubicBezTo>
                      <a:cubicBezTo>
                        <a:pt x="219" y="164"/>
                        <a:pt x="219" y="164"/>
                        <a:pt x="219" y="164"/>
                      </a:cubicBezTo>
                      <a:cubicBezTo>
                        <a:pt x="219" y="163"/>
                        <a:pt x="219" y="163"/>
                        <a:pt x="219" y="163"/>
                      </a:cubicBezTo>
                      <a:cubicBezTo>
                        <a:pt x="220" y="162"/>
                        <a:pt x="220" y="162"/>
                        <a:pt x="220" y="162"/>
                      </a:cubicBezTo>
                      <a:cubicBezTo>
                        <a:pt x="221" y="161"/>
                        <a:pt x="221" y="161"/>
                        <a:pt x="221" y="161"/>
                      </a:cubicBezTo>
                      <a:cubicBezTo>
                        <a:pt x="221" y="162"/>
                        <a:pt x="221" y="162"/>
                        <a:pt x="221" y="162"/>
                      </a:cubicBezTo>
                      <a:cubicBezTo>
                        <a:pt x="221" y="162"/>
                        <a:pt x="221" y="162"/>
                        <a:pt x="221" y="162"/>
                      </a:cubicBezTo>
                      <a:cubicBezTo>
                        <a:pt x="221" y="162"/>
                        <a:pt x="221" y="162"/>
                        <a:pt x="221" y="162"/>
                      </a:cubicBezTo>
                      <a:cubicBezTo>
                        <a:pt x="222" y="161"/>
                        <a:pt x="222" y="161"/>
                        <a:pt x="222" y="161"/>
                      </a:cubicBezTo>
                      <a:cubicBezTo>
                        <a:pt x="222" y="162"/>
                        <a:pt x="222" y="162"/>
                        <a:pt x="222" y="162"/>
                      </a:cubicBezTo>
                      <a:cubicBezTo>
                        <a:pt x="222" y="162"/>
                        <a:pt x="222" y="162"/>
                        <a:pt x="222" y="162"/>
                      </a:cubicBezTo>
                      <a:cubicBezTo>
                        <a:pt x="223" y="162"/>
                        <a:pt x="223" y="162"/>
                        <a:pt x="223" y="162"/>
                      </a:cubicBezTo>
                      <a:cubicBezTo>
                        <a:pt x="224" y="162"/>
                        <a:pt x="224" y="162"/>
                        <a:pt x="224" y="162"/>
                      </a:cubicBezTo>
                      <a:cubicBezTo>
                        <a:pt x="224" y="161"/>
                        <a:pt x="224" y="161"/>
                        <a:pt x="224" y="161"/>
                      </a:cubicBezTo>
                      <a:cubicBezTo>
                        <a:pt x="226" y="160"/>
                        <a:pt x="226" y="160"/>
                        <a:pt x="226" y="160"/>
                      </a:cubicBezTo>
                      <a:cubicBezTo>
                        <a:pt x="227" y="160"/>
                        <a:pt x="227" y="160"/>
                        <a:pt x="227" y="160"/>
                      </a:cubicBezTo>
                      <a:cubicBezTo>
                        <a:pt x="227" y="159"/>
                        <a:pt x="227" y="159"/>
                        <a:pt x="227" y="159"/>
                      </a:cubicBezTo>
                      <a:cubicBezTo>
                        <a:pt x="227" y="159"/>
                        <a:pt x="227" y="159"/>
                        <a:pt x="227" y="159"/>
                      </a:cubicBezTo>
                      <a:cubicBezTo>
                        <a:pt x="228" y="158"/>
                        <a:pt x="228" y="158"/>
                        <a:pt x="228" y="158"/>
                      </a:cubicBezTo>
                      <a:cubicBezTo>
                        <a:pt x="229" y="158"/>
                        <a:pt x="229" y="158"/>
                        <a:pt x="229" y="158"/>
                      </a:cubicBezTo>
                      <a:cubicBezTo>
                        <a:pt x="230" y="157"/>
                        <a:pt x="230" y="157"/>
                        <a:pt x="230" y="157"/>
                      </a:cubicBezTo>
                      <a:cubicBezTo>
                        <a:pt x="230" y="157"/>
                        <a:pt x="230" y="157"/>
                        <a:pt x="230" y="157"/>
                      </a:cubicBezTo>
                      <a:cubicBezTo>
                        <a:pt x="230" y="156"/>
                        <a:pt x="230" y="156"/>
                        <a:pt x="230" y="156"/>
                      </a:cubicBezTo>
                      <a:cubicBezTo>
                        <a:pt x="231" y="155"/>
                        <a:pt x="231" y="155"/>
                        <a:pt x="231" y="155"/>
                      </a:cubicBezTo>
                      <a:cubicBezTo>
                        <a:pt x="231" y="154"/>
                        <a:pt x="231" y="154"/>
                        <a:pt x="231" y="154"/>
                      </a:cubicBezTo>
                      <a:cubicBezTo>
                        <a:pt x="231" y="154"/>
                        <a:pt x="231" y="154"/>
                        <a:pt x="231" y="154"/>
                      </a:cubicBezTo>
                      <a:cubicBezTo>
                        <a:pt x="230" y="154"/>
                        <a:pt x="230" y="154"/>
                        <a:pt x="230" y="154"/>
                      </a:cubicBezTo>
                      <a:cubicBezTo>
                        <a:pt x="229" y="154"/>
                        <a:pt x="229" y="154"/>
                        <a:pt x="229" y="154"/>
                      </a:cubicBezTo>
                      <a:cubicBezTo>
                        <a:pt x="230" y="154"/>
                        <a:pt x="230" y="154"/>
                        <a:pt x="230" y="154"/>
                      </a:cubicBezTo>
                      <a:cubicBezTo>
                        <a:pt x="229" y="155"/>
                        <a:pt x="229" y="155"/>
                        <a:pt x="229" y="155"/>
                      </a:cubicBezTo>
                      <a:cubicBezTo>
                        <a:pt x="228" y="155"/>
                        <a:pt x="228" y="155"/>
                        <a:pt x="228" y="155"/>
                      </a:cubicBezTo>
                      <a:cubicBezTo>
                        <a:pt x="228" y="155"/>
                        <a:pt x="228" y="155"/>
                        <a:pt x="228" y="155"/>
                      </a:cubicBezTo>
                      <a:cubicBezTo>
                        <a:pt x="227" y="155"/>
                        <a:pt x="227" y="155"/>
                        <a:pt x="227" y="155"/>
                      </a:cubicBezTo>
                      <a:cubicBezTo>
                        <a:pt x="227" y="155"/>
                        <a:pt x="227" y="155"/>
                        <a:pt x="227" y="155"/>
                      </a:cubicBezTo>
                      <a:cubicBezTo>
                        <a:pt x="228" y="153"/>
                        <a:pt x="228" y="153"/>
                        <a:pt x="228" y="153"/>
                      </a:cubicBezTo>
                      <a:cubicBezTo>
                        <a:pt x="228" y="153"/>
                        <a:pt x="228" y="153"/>
                        <a:pt x="228" y="153"/>
                      </a:cubicBezTo>
                      <a:cubicBezTo>
                        <a:pt x="229" y="153"/>
                        <a:pt x="229" y="153"/>
                        <a:pt x="229" y="153"/>
                      </a:cubicBezTo>
                      <a:cubicBezTo>
                        <a:pt x="230" y="152"/>
                        <a:pt x="230" y="152"/>
                        <a:pt x="230" y="152"/>
                      </a:cubicBezTo>
                      <a:cubicBezTo>
                        <a:pt x="230" y="152"/>
                        <a:pt x="230" y="152"/>
                        <a:pt x="230" y="152"/>
                      </a:cubicBezTo>
                      <a:cubicBezTo>
                        <a:pt x="230" y="151"/>
                        <a:pt x="230" y="151"/>
                        <a:pt x="230" y="151"/>
                      </a:cubicBezTo>
                      <a:cubicBezTo>
                        <a:pt x="230" y="150"/>
                        <a:pt x="230" y="150"/>
                        <a:pt x="230" y="150"/>
                      </a:cubicBezTo>
                      <a:cubicBezTo>
                        <a:pt x="231" y="150"/>
                        <a:pt x="231" y="150"/>
                        <a:pt x="231" y="150"/>
                      </a:cubicBezTo>
                      <a:cubicBezTo>
                        <a:pt x="233" y="151"/>
                        <a:pt x="233" y="151"/>
                        <a:pt x="233" y="151"/>
                      </a:cubicBezTo>
                      <a:cubicBezTo>
                        <a:pt x="232" y="151"/>
                        <a:pt x="232" y="151"/>
                        <a:pt x="232" y="151"/>
                      </a:cubicBezTo>
                      <a:cubicBezTo>
                        <a:pt x="232" y="152"/>
                        <a:pt x="232" y="152"/>
                        <a:pt x="232" y="152"/>
                      </a:cubicBezTo>
                      <a:cubicBezTo>
                        <a:pt x="232" y="152"/>
                        <a:pt x="232" y="152"/>
                        <a:pt x="232" y="152"/>
                      </a:cubicBezTo>
                      <a:cubicBezTo>
                        <a:pt x="233" y="152"/>
                        <a:pt x="233" y="152"/>
                        <a:pt x="233" y="152"/>
                      </a:cubicBezTo>
                      <a:cubicBezTo>
                        <a:pt x="234" y="150"/>
                        <a:pt x="234" y="150"/>
                        <a:pt x="234" y="150"/>
                      </a:cubicBezTo>
                      <a:cubicBezTo>
                        <a:pt x="234" y="149"/>
                        <a:pt x="234" y="149"/>
                        <a:pt x="234" y="149"/>
                      </a:cubicBezTo>
                      <a:cubicBezTo>
                        <a:pt x="233" y="149"/>
                        <a:pt x="233" y="149"/>
                        <a:pt x="233" y="149"/>
                      </a:cubicBezTo>
                      <a:cubicBezTo>
                        <a:pt x="232" y="149"/>
                        <a:pt x="232" y="149"/>
                        <a:pt x="232" y="149"/>
                      </a:cubicBezTo>
                      <a:cubicBezTo>
                        <a:pt x="231" y="149"/>
                        <a:pt x="231" y="149"/>
                        <a:pt x="231" y="149"/>
                      </a:cubicBezTo>
                      <a:cubicBezTo>
                        <a:pt x="230" y="148"/>
                        <a:pt x="230" y="148"/>
                        <a:pt x="230" y="148"/>
                      </a:cubicBezTo>
                      <a:cubicBezTo>
                        <a:pt x="230" y="147"/>
                        <a:pt x="230" y="147"/>
                        <a:pt x="230" y="147"/>
                      </a:cubicBezTo>
                      <a:cubicBezTo>
                        <a:pt x="230" y="146"/>
                        <a:pt x="230" y="146"/>
                        <a:pt x="230" y="146"/>
                      </a:cubicBezTo>
                      <a:cubicBezTo>
                        <a:pt x="229" y="147"/>
                        <a:pt x="229" y="147"/>
                        <a:pt x="229" y="147"/>
                      </a:cubicBezTo>
                      <a:cubicBezTo>
                        <a:pt x="229" y="147"/>
                        <a:pt x="229" y="147"/>
                        <a:pt x="229" y="147"/>
                      </a:cubicBezTo>
                      <a:cubicBezTo>
                        <a:pt x="228" y="146"/>
                        <a:pt x="228" y="146"/>
                        <a:pt x="228" y="146"/>
                      </a:cubicBezTo>
                      <a:cubicBezTo>
                        <a:pt x="227" y="146"/>
                        <a:pt x="227" y="146"/>
                        <a:pt x="227" y="146"/>
                      </a:cubicBezTo>
                      <a:cubicBezTo>
                        <a:pt x="227" y="145"/>
                        <a:pt x="227" y="145"/>
                        <a:pt x="227" y="145"/>
                      </a:cubicBezTo>
                      <a:cubicBezTo>
                        <a:pt x="227" y="145"/>
                        <a:pt x="227" y="145"/>
                        <a:pt x="227" y="145"/>
                      </a:cubicBezTo>
                      <a:cubicBezTo>
                        <a:pt x="226" y="145"/>
                        <a:pt x="226" y="145"/>
                        <a:pt x="226" y="145"/>
                      </a:cubicBezTo>
                      <a:cubicBezTo>
                        <a:pt x="226" y="144"/>
                        <a:pt x="226" y="144"/>
                        <a:pt x="226" y="144"/>
                      </a:cubicBezTo>
                      <a:cubicBezTo>
                        <a:pt x="225" y="144"/>
                        <a:pt x="225" y="144"/>
                        <a:pt x="225" y="144"/>
                      </a:cubicBezTo>
                      <a:cubicBezTo>
                        <a:pt x="226" y="143"/>
                        <a:pt x="226" y="143"/>
                        <a:pt x="226" y="143"/>
                      </a:cubicBezTo>
                      <a:cubicBezTo>
                        <a:pt x="226" y="142"/>
                        <a:pt x="226" y="142"/>
                        <a:pt x="226" y="142"/>
                      </a:cubicBezTo>
                      <a:cubicBezTo>
                        <a:pt x="225" y="142"/>
                        <a:pt x="225" y="142"/>
                        <a:pt x="225" y="142"/>
                      </a:cubicBezTo>
                      <a:cubicBezTo>
                        <a:pt x="225" y="140"/>
                        <a:pt x="225" y="140"/>
                        <a:pt x="225" y="140"/>
                      </a:cubicBezTo>
                      <a:cubicBezTo>
                        <a:pt x="226" y="139"/>
                        <a:pt x="226" y="139"/>
                        <a:pt x="226" y="139"/>
                      </a:cubicBezTo>
                      <a:cubicBezTo>
                        <a:pt x="228" y="138"/>
                        <a:pt x="228" y="138"/>
                        <a:pt x="228" y="138"/>
                      </a:cubicBezTo>
                      <a:cubicBezTo>
                        <a:pt x="229" y="137"/>
                        <a:pt x="229" y="137"/>
                        <a:pt x="229" y="137"/>
                      </a:cubicBezTo>
                      <a:cubicBezTo>
                        <a:pt x="229" y="137"/>
                        <a:pt x="229" y="137"/>
                        <a:pt x="229" y="137"/>
                      </a:cubicBezTo>
                      <a:cubicBezTo>
                        <a:pt x="230" y="137"/>
                        <a:pt x="230" y="137"/>
                        <a:pt x="230" y="137"/>
                      </a:cubicBezTo>
                      <a:cubicBezTo>
                        <a:pt x="230" y="136"/>
                        <a:pt x="230" y="136"/>
                        <a:pt x="230" y="136"/>
                      </a:cubicBezTo>
                      <a:cubicBezTo>
                        <a:pt x="230" y="136"/>
                        <a:pt x="230" y="136"/>
                        <a:pt x="230" y="136"/>
                      </a:cubicBezTo>
                      <a:cubicBezTo>
                        <a:pt x="230" y="136"/>
                        <a:pt x="230" y="136"/>
                        <a:pt x="230" y="136"/>
                      </a:cubicBezTo>
                      <a:cubicBezTo>
                        <a:pt x="229" y="136"/>
                        <a:pt x="229" y="136"/>
                        <a:pt x="229" y="136"/>
                      </a:cubicBezTo>
                      <a:cubicBezTo>
                        <a:pt x="229" y="136"/>
                        <a:pt x="229" y="136"/>
                        <a:pt x="229" y="136"/>
                      </a:cubicBezTo>
                      <a:cubicBezTo>
                        <a:pt x="229" y="136"/>
                        <a:pt x="229" y="136"/>
                        <a:pt x="229" y="136"/>
                      </a:cubicBezTo>
                      <a:cubicBezTo>
                        <a:pt x="228" y="135"/>
                        <a:pt x="228" y="135"/>
                        <a:pt x="228" y="135"/>
                      </a:cubicBezTo>
                      <a:cubicBezTo>
                        <a:pt x="228" y="134"/>
                        <a:pt x="228" y="134"/>
                        <a:pt x="228" y="134"/>
                      </a:cubicBezTo>
                      <a:cubicBezTo>
                        <a:pt x="230" y="133"/>
                        <a:pt x="230" y="133"/>
                        <a:pt x="230" y="133"/>
                      </a:cubicBezTo>
                      <a:cubicBezTo>
                        <a:pt x="230" y="131"/>
                        <a:pt x="230" y="131"/>
                        <a:pt x="230" y="131"/>
                      </a:cubicBezTo>
                      <a:cubicBezTo>
                        <a:pt x="231" y="131"/>
                        <a:pt x="231" y="131"/>
                        <a:pt x="231" y="131"/>
                      </a:cubicBezTo>
                      <a:cubicBezTo>
                        <a:pt x="232" y="130"/>
                        <a:pt x="232" y="130"/>
                        <a:pt x="232" y="130"/>
                      </a:cubicBezTo>
                      <a:cubicBezTo>
                        <a:pt x="232" y="130"/>
                        <a:pt x="232" y="130"/>
                        <a:pt x="232" y="130"/>
                      </a:cubicBezTo>
                      <a:cubicBezTo>
                        <a:pt x="233" y="129"/>
                        <a:pt x="233" y="129"/>
                        <a:pt x="233" y="129"/>
                      </a:cubicBezTo>
                      <a:cubicBezTo>
                        <a:pt x="234" y="128"/>
                        <a:pt x="234" y="128"/>
                        <a:pt x="234" y="128"/>
                      </a:cubicBezTo>
                      <a:cubicBezTo>
                        <a:pt x="235" y="129"/>
                        <a:pt x="235" y="129"/>
                        <a:pt x="235" y="129"/>
                      </a:cubicBezTo>
                      <a:cubicBezTo>
                        <a:pt x="234" y="130"/>
                        <a:pt x="234" y="130"/>
                        <a:pt x="234" y="130"/>
                      </a:cubicBezTo>
                      <a:cubicBezTo>
                        <a:pt x="235" y="130"/>
                        <a:pt x="235" y="130"/>
                        <a:pt x="235" y="130"/>
                      </a:cubicBezTo>
                      <a:cubicBezTo>
                        <a:pt x="235" y="131"/>
                        <a:pt x="235" y="131"/>
                        <a:pt x="235" y="131"/>
                      </a:cubicBezTo>
                      <a:cubicBezTo>
                        <a:pt x="236" y="130"/>
                        <a:pt x="236" y="130"/>
                        <a:pt x="236" y="130"/>
                      </a:cubicBezTo>
                      <a:cubicBezTo>
                        <a:pt x="236" y="130"/>
                        <a:pt x="236" y="130"/>
                        <a:pt x="236" y="130"/>
                      </a:cubicBezTo>
                      <a:cubicBezTo>
                        <a:pt x="237" y="128"/>
                        <a:pt x="237" y="128"/>
                        <a:pt x="237" y="128"/>
                      </a:cubicBezTo>
                      <a:cubicBezTo>
                        <a:pt x="237" y="128"/>
                        <a:pt x="237" y="128"/>
                        <a:pt x="237" y="128"/>
                      </a:cubicBezTo>
                      <a:cubicBezTo>
                        <a:pt x="236" y="128"/>
                        <a:pt x="236" y="128"/>
                        <a:pt x="236" y="128"/>
                      </a:cubicBezTo>
                      <a:cubicBezTo>
                        <a:pt x="235" y="127"/>
                        <a:pt x="235" y="127"/>
                        <a:pt x="235" y="127"/>
                      </a:cubicBezTo>
                      <a:cubicBezTo>
                        <a:pt x="235" y="127"/>
                        <a:pt x="235" y="127"/>
                        <a:pt x="235" y="127"/>
                      </a:cubicBezTo>
                      <a:cubicBezTo>
                        <a:pt x="236" y="126"/>
                        <a:pt x="236" y="126"/>
                        <a:pt x="236" y="126"/>
                      </a:cubicBezTo>
                      <a:cubicBezTo>
                        <a:pt x="237" y="126"/>
                        <a:pt x="237" y="126"/>
                        <a:pt x="237" y="126"/>
                      </a:cubicBezTo>
                      <a:cubicBezTo>
                        <a:pt x="237" y="126"/>
                        <a:pt x="237" y="126"/>
                        <a:pt x="237" y="126"/>
                      </a:cubicBezTo>
                      <a:cubicBezTo>
                        <a:pt x="238" y="125"/>
                        <a:pt x="238" y="125"/>
                        <a:pt x="238" y="125"/>
                      </a:cubicBezTo>
                      <a:cubicBezTo>
                        <a:pt x="238" y="124"/>
                        <a:pt x="238" y="124"/>
                        <a:pt x="238" y="124"/>
                      </a:cubicBezTo>
                      <a:cubicBezTo>
                        <a:pt x="239" y="124"/>
                        <a:pt x="239" y="124"/>
                        <a:pt x="239" y="124"/>
                      </a:cubicBezTo>
                      <a:cubicBezTo>
                        <a:pt x="240" y="124"/>
                        <a:pt x="240" y="124"/>
                        <a:pt x="240" y="124"/>
                      </a:cubicBezTo>
                      <a:cubicBezTo>
                        <a:pt x="242" y="124"/>
                        <a:pt x="242" y="124"/>
                        <a:pt x="242" y="124"/>
                      </a:cubicBezTo>
                      <a:cubicBezTo>
                        <a:pt x="242" y="125"/>
                        <a:pt x="242" y="125"/>
                        <a:pt x="242" y="125"/>
                      </a:cubicBezTo>
                      <a:cubicBezTo>
                        <a:pt x="242" y="126"/>
                        <a:pt x="242" y="126"/>
                        <a:pt x="242" y="126"/>
                      </a:cubicBezTo>
                      <a:cubicBezTo>
                        <a:pt x="242" y="126"/>
                        <a:pt x="242" y="126"/>
                        <a:pt x="242" y="126"/>
                      </a:cubicBezTo>
                      <a:cubicBezTo>
                        <a:pt x="243" y="126"/>
                        <a:pt x="243" y="126"/>
                        <a:pt x="243" y="126"/>
                      </a:cubicBezTo>
                      <a:cubicBezTo>
                        <a:pt x="244" y="127"/>
                        <a:pt x="244" y="127"/>
                        <a:pt x="244" y="127"/>
                      </a:cubicBezTo>
                      <a:cubicBezTo>
                        <a:pt x="243" y="128"/>
                        <a:pt x="243" y="128"/>
                        <a:pt x="243" y="128"/>
                      </a:cubicBezTo>
                      <a:cubicBezTo>
                        <a:pt x="243" y="128"/>
                        <a:pt x="243" y="128"/>
                        <a:pt x="243" y="128"/>
                      </a:cubicBezTo>
                      <a:cubicBezTo>
                        <a:pt x="243" y="129"/>
                        <a:pt x="243" y="129"/>
                        <a:pt x="243" y="129"/>
                      </a:cubicBezTo>
                      <a:cubicBezTo>
                        <a:pt x="243" y="129"/>
                        <a:pt x="243" y="129"/>
                        <a:pt x="243" y="129"/>
                      </a:cubicBezTo>
                      <a:cubicBezTo>
                        <a:pt x="244" y="130"/>
                        <a:pt x="244" y="130"/>
                        <a:pt x="244" y="130"/>
                      </a:cubicBezTo>
                      <a:cubicBezTo>
                        <a:pt x="244" y="131"/>
                        <a:pt x="244" y="131"/>
                        <a:pt x="244" y="131"/>
                      </a:cubicBezTo>
                      <a:cubicBezTo>
                        <a:pt x="244" y="132"/>
                        <a:pt x="244" y="132"/>
                        <a:pt x="244" y="132"/>
                      </a:cubicBezTo>
                      <a:cubicBezTo>
                        <a:pt x="244" y="133"/>
                        <a:pt x="244" y="133"/>
                        <a:pt x="244" y="133"/>
                      </a:cubicBezTo>
                      <a:cubicBezTo>
                        <a:pt x="244" y="133"/>
                        <a:pt x="244" y="133"/>
                        <a:pt x="244" y="133"/>
                      </a:cubicBezTo>
                      <a:cubicBezTo>
                        <a:pt x="244" y="134"/>
                        <a:pt x="244" y="134"/>
                        <a:pt x="244" y="134"/>
                      </a:cubicBezTo>
                      <a:cubicBezTo>
                        <a:pt x="244" y="134"/>
                        <a:pt x="244" y="134"/>
                        <a:pt x="244" y="134"/>
                      </a:cubicBezTo>
                      <a:cubicBezTo>
                        <a:pt x="243" y="135"/>
                        <a:pt x="243" y="135"/>
                        <a:pt x="243" y="135"/>
                      </a:cubicBezTo>
                      <a:cubicBezTo>
                        <a:pt x="243" y="137"/>
                        <a:pt x="243" y="137"/>
                        <a:pt x="243" y="137"/>
                      </a:cubicBezTo>
                      <a:cubicBezTo>
                        <a:pt x="242" y="137"/>
                        <a:pt x="242" y="137"/>
                        <a:pt x="242" y="137"/>
                      </a:cubicBezTo>
                      <a:cubicBezTo>
                        <a:pt x="243" y="138"/>
                        <a:pt x="243" y="138"/>
                        <a:pt x="243" y="138"/>
                      </a:cubicBezTo>
                      <a:cubicBezTo>
                        <a:pt x="243" y="138"/>
                        <a:pt x="243" y="138"/>
                        <a:pt x="243" y="138"/>
                      </a:cubicBezTo>
                      <a:cubicBezTo>
                        <a:pt x="244" y="139"/>
                        <a:pt x="244" y="139"/>
                        <a:pt x="244" y="139"/>
                      </a:cubicBezTo>
                      <a:cubicBezTo>
                        <a:pt x="244" y="140"/>
                        <a:pt x="244" y="140"/>
                        <a:pt x="244" y="140"/>
                      </a:cubicBezTo>
                      <a:cubicBezTo>
                        <a:pt x="243" y="140"/>
                        <a:pt x="243" y="140"/>
                        <a:pt x="243" y="140"/>
                      </a:cubicBezTo>
                      <a:cubicBezTo>
                        <a:pt x="244" y="141"/>
                        <a:pt x="244" y="141"/>
                        <a:pt x="244" y="141"/>
                      </a:cubicBezTo>
                      <a:cubicBezTo>
                        <a:pt x="243" y="142"/>
                        <a:pt x="243" y="142"/>
                        <a:pt x="243" y="142"/>
                      </a:cubicBezTo>
                      <a:cubicBezTo>
                        <a:pt x="243" y="143"/>
                        <a:pt x="243" y="143"/>
                        <a:pt x="243" y="143"/>
                      </a:cubicBezTo>
                      <a:cubicBezTo>
                        <a:pt x="244" y="143"/>
                        <a:pt x="244" y="143"/>
                        <a:pt x="244" y="143"/>
                      </a:cubicBezTo>
                      <a:cubicBezTo>
                        <a:pt x="244" y="143"/>
                        <a:pt x="244" y="143"/>
                        <a:pt x="244" y="143"/>
                      </a:cubicBezTo>
                      <a:cubicBezTo>
                        <a:pt x="244" y="144"/>
                        <a:pt x="244" y="144"/>
                        <a:pt x="244" y="144"/>
                      </a:cubicBezTo>
                      <a:cubicBezTo>
                        <a:pt x="244" y="145"/>
                        <a:pt x="244" y="145"/>
                        <a:pt x="244" y="145"/>
                      </a:cubicBezTo>
                      <a:cubicBezTo>
                        <a:pt x="243" y="144"/>
                        <a:pt x="243" y="144"/>
                        <a:pt x="243" y="144"/>
                      </a:cubicBezTo>
                      <a:cubicBezTo>
                        <a:pt x="242" y="145"/>
                        <a:pt x="242" y="145"/>
                        <a:pt x="242" y="145"/>
                      </a:cubicBezTo>
                      <a:cubicBezTo>
                        <a:pt x="242" y="144"/>
                        <a:pt x="242" y="144"/>
                        <a:pt x="242" y="144"/>
                      </a:cubicBezTo>
                      <a:cubicBezTo>
                        <a:pt x="242" y="143"/>
                        <a:pt x="242" y="143"/>
                        <a:pt x="242" y="143"/>
                      </a:cubicBezTo>
                      <a:cubicBezTo>
                        <a:pt x="241" y="143"/>
                        <a:pt x="241" y="143"/>
                        <a:pt x="241" y="143"/>
                      </a:cubicBezTo>
                      <a:cubicBezTo>
                        <a:pt x="241" y="144"/>
                        <a:pt x="241" y="144"/>
                        <a:pt x="241" y="144"/>
                      </a:cubicBezTo>
                      <a:cubicBezTo>
                        <a:pt x="240" y="145"/>
                        <a:pt x="240" y="145"/>
                        <a:pt x="240" y="145"/>
                      </a:cubicBezTo>
                      <a:cubicBezTo>
                        <a:pt x="240" y="145"/>
                        <a:pt x="240" y="145"/>
                        <a:pt x="240" y="145"/>
                      </a:cubicBezTo>
                      <a:cubicBezTo>
                        <a:pt x="241" y="145"/>
                        <a:pt x="241" y="145"/>
                        <a:pt x="241" y="145"/>
                      </a:cubicBezTo>
                      <a:cubicBezTo>
                        <a:pt x="242" y="145"/>
                        <a:pt x="242" y="145"/>
                        <a:pt x="242" y="145"/>
                      </a:cubicBezTo>
                      <a:cubicBezTo>
                        <a:pt x="241" y="146"/>
                        <a:pt x="241" y="146"/>
                        <a:pt x="241" y="146"/>
                      </a:cubicBezTo>
                      <a:cubicBezTo>
                        <a:pt x="239" y="147"/>
                        <a:pt x="239" y="147"/>
                        <a:pt x="239" y="147"/>
                      </a:cubicBezTo>
                      <a:cubicBezTo>
                        <a:pt x="238" y="147"/>
                        <a:pt x="238" y="147"/>
                        <a:pt x="238" y="147"/>
                      </a:cubicBezTo>
                      <a:cubicBezTo>
                        <a:pt x="238" y="148"/>
                        <a:pt x="238" y="148"/>
                        <a:pt x="238" y="148"/>
                      </a:cubicBezTo>
                      <a:cubicBezTo>
                        <a:pt x="238" y="148"/>
                        <a:pt x="238" y="148"/>
                        <a:pt x="238" y="148"/>
                      </a:cubicBezTo>
                      <a:cubicBezTo>
                        <a:pt x="237" y="149"/>
                        <a:pt x="237" y="149"/>
                        <a:pt x="237" y="149"/>
                      </a:cubicBezTo>
                      <a:cubicBezTo>
                        <a:pt x="238" y="149"/>
                        <a:pt x="238" y="149"/>
                        <a:pt x="238" y="149"/>
                      </a:cubicBezTo>
                      <a:cubicBezTo>
                        <a:pt x="239" y="149"/>
                        <a:pt x="239" y="149"/>
                        <a:pt x="239" y="149"/>
                      </a:cubicBezTo>
                      <a:cubicBezTo>
                        <a:pt x="239" y="149"/>
                        <a:pt x="239" y="149"/>
                        <a:pt x="239" y="149"/>
                      </a:cubicBezTo>
                      <a:cubicBezTo>
                        <a:pt x="239" y="150"/>
                        <a:pt x="239" y="150"/>
                        <a:pt x="239" y="150"/>
                      </a:cubicBezTo>
                      <a:cubicBezTo>
                        <a:pt x="240" y="151"/>
                        <a:pt x="240" y="151"/>
                        <a:pt x="240" y="151"/>
                      </a:cubicBezTo>
                      <a:cubicBezTo>
                        <a:pt x="241" y="151"/>
                        <a:pt x="241" y="151"/>
                        <a:pt x="241" y="151"/>
                      </a:cubicBezTo>
                      <a:cubicBezTo>
                        <a:pt x="242" y="150"/>
                        <a:pt x="242" y="150"/>
                        <a:pt x="242" y="150"/>
                      </a:cubicBezTo>
                      <a:cubicBezTo>
                        <a:pt x="242" y="150"/>
                        <a:pt x="242" y="150"/>
                        <a:pt x="242" y="150"/>
                      </a:cubicBezTo>
                      <a:cubicBezTo>
                        <a:pt x="243" y="150"/>
                        <a:pt x="243" y="150"/>
                        <a:pt x="243" y="150"/>
                      </a:cubicBezTo>
                      <a:cubicBezTo>
                        <a:pt x="242" y="150"/>
                        <a:pt x="242" y="150"/>
                        <a:pt x="242" y="150"/>
                      </a:cubicBezTo>
                      <a:cubicBezTo>
                        <a:pt x="242" y="151"/>
                        <a:pt x="242" y="151"/>
                        <a:pt x="242" y="151"/>
                      </a:cubicBezTo>
                      <a:cubicBezTo>
                        <a:pt x="243" y="151"/>
                        <a:pt x="243" y="151"/>
                        <a:pt x="243" y="151"/>
                      </a:cubicBezTo>
                      <a:cubicBezTo>
                        <a:pt x="244" y="152"/>
                        <a:pt x="244" y="152"/>
                        <a:pt x="244" y="152"/>
                      </a:cubicBezTo>
                      <a:cubicBezTo>
                        <a:pt x="244" y="151"/>
                        <a:pt x="244" y="151"/>
                        <a:pt x="244" y="151"/>
                      </a:cubicBezTo>
                      <a:cubicBezTo>
                        <a:pt x="245" y="151"/>
                        <a:pt x="245" y="151"/>
                        <a:pt x="245" y="151"/>
                      </a:cubicBezTo>
                      <a:cubicBezTo>
                        <a:pt x="244" y="152"/>
                        <a:pt x="244" y="152"/>
                        <a:pt x="244" y="152"/>
                      </a:cubicBezTo>
                      <a:cubicBezTo>
                        <a:pt x="244" y="152"/>
                        <a:pt x="244" y="152"/>
                        <a:pt x="244" y="152"/>
                      </a:cubicBezTo>
                      <a:cubicBezTo>
                        <a:pt x="243" y="153"/>
                        <a:pt x="243" y="153"/>
                        <a:pt x="243" y="153"/>
                      </a:cubicBezTo>
                      <a:cubicBezTo>
                        <a:pt x="242" y="153"/>
                        <a:pt x="242" y="153"/>
                        <a:pt x="242" y="153"/>
                      </a:cubicBezTo>
                      <a:cubicBezTo>
                        <a:pt x="242" y="152"/>
                        <a:pt x="242" y="152"/>
                        <a:pt x="242" y="152"/>
                      </a:cubicBezTo>
                      <a:cubicBezTo>
                        <a:pt x="242" y="152"/>
                        <a:pt x="242" y="152"/>
                        <a:pt x="242" y="152"/>
                      </a:cubicBezTo>
                      <a:cubicBezTo>
                        <a:pt x="241" y="152"/>
                        <a:pt x="241" y="152"/>
                        <a:pt x="241" y="152"/>
                      </a:cubicBezTo>
                      <a:cubicBezTo>
                        <a:pt x="241" y="152"/>
                        <a:pt x="241" y="152"/>
                        <a:pt x="241" y="152"/>
                      </a:cubicBezTo>
                      <a:cubicBezTo>
                        <a:pt x="242" y="153"/>
                        <a:pt x="242" y="153"/>
                        <a:pt x="242" y="153"/>
                      </a:cubicBezTo>
                      <a:cubicBezTo>
                        <a:pt x="242" y="154"/>
                        <a:pt x="242" y="154"/>
                        <a:pt x="242" y="154"/>
                      </a:cubicBezTo>
                      <a:cubicBezTo>
                        <a:pt x="243" y="155"/>
                        <a:pt x="243" y="155"/>
                        <a:pt x="243" y="155"/>
                      </a:cubicBezTo>
                      <a:cubicBezTo>
                        <a:pt x="243" y="156"/>
                        <a:pt x="243" y="156"/>
                        <a:pt x="243" y="156"/>
                      </a:cubicBezTo>
                      <a:cubicBezTo>
                        <a:pt x="243" y="156"/>
                        <a:pt x="243" y="156"/>
                        <a:pt x="243" y="156"/>
                      </a:cubicBezTo>
                      <a:cubicBezTo>
                        <a:pt x="243" y="157"/>
                        <a:pt x="243" y="157"/>
                        <a:pt x="243" y="157"/>
                      </a:cubicBezTo>
                      <a:cubicBezTo>
                        <a:pt x="242" y="158"/>
                        <a:pt x="242" y="158"/>
                        <a:pt x="242" y="158"/>
                      </a:cubicBezTo>
                      <a:cubicBezTo>
                        <a:pt x="242" y="158"/>
                        <a:pt x="242" y="158"/>
                        <a:pt x="242" y="158"/>
                      </a:cubicBezTo>
                      <a:cubicBezTo>
                        <a:pt x="242" y="159"/>
                        <a:pt x="242" y="159"/>
                        <a:pt x="242" y="159"/>
                      </a:cubicBezTo>
                      <a:cubicBezTo>
                        <a:pt x="241" y="160"/>
                        <a:pt x="241" y="160"/>
                        <a:pt x="241" y="160"/>
                      </a:cubicBezTo>
                      <a:cubicBezTo>
                        <a:pt x="241" y="161"/>
                        <a:pt x="241" y="161"/>
                        <a:pt x="241" y="161"/>
                      </a:cubicBezTo>
                      <a:cubicBezTo>
                        <a:pt x="241" y="162"/>
                        <a:pt x="241" y="162"/>
                        <a:pt x="241" y="162"/>
                      </a:cubicBezTo>
                      <a:cubicBezTo>
                        <a:pt x="241" y="162"/>
                        <a:pt x="241" y="162"/>
                        <a:pt x="241" y="162"/>
                      </a:cubicBezTo>
                      <a:cubicBezTo>
                        <a:pt x="241" y="163"/>
                        <a:pt x="241" y="163"/>
                        <a:pt x="241" y="163"/>
                      </a:cubicBezTo>
                      <a:cubicBezTo>
                        <a:pt x="241" y="163"/>
                        <a:pt x="241" y="163"/>
                        <a:pt x="241" y="163"/>
                      </a:cubicBezTo>
                      <a:cubicBezTo>
                        <a:pt x="242" y="162"/>
                        <a:pt x="242" y="162"/>
                        <a:pt x="242" y="162"/>
                      </a:cubicBezTo>
                      <a:cubicBezTo>
                        <a:pt x="242" y="161"/>
                        <a:pt x="242" y="161"/>
                        <a:pt x="242" y="161"/>
                      </a:cubicBezTo>
                      <a:cubicBezTo>
                        <a:pt x="243" y="161"/>
                        <a:pt x="243" y="161"/>
                        <a:pt x="243" y="161"/>
                      </a:cubicBezTo>
                      <a:cubicBezTo>
                        <a:pt x="244" y="160"/>
                        <a:pt x="244" y="160"/>
                        <a:pt x="244" y="160"/>
                      </a:cubicBezTo>
                      <a:cubicBezTo>
                        <a:pt x="244" y="160"/>
                        <a:pt x="244" y="160"/>
                        <a:pt x="244" y="160"/>
                      </a:cubicBezTo>
                      <a:cubicBezTo>
                        <a:pt x="244" y="159"/>
                        <a:pt x="244" y="159"/>
                        <a:pt x="244" y="159"/>
                      </a:cubicBezTo>
                      <a:cubicBezTo>
                        <a:pt x="245" y="160"/>
                        <a:pt x="245" y="160"/>
                        <a:pt x="245" y="160"/>
                      </a:cubicBezTo>
                      <a:cubicBezTo>
                        <a:pt x="245" y="159"/>
                        <a:pt x="245" y="159"/>
                        <a:pt x="245" y="159"/>
                      </a:cubicBezTo>
                      <a:cubicBezTo>
                        <a:pt x="245" y="158"/>
                        <a:pt x="245" y="158"/>
                        <a:pt x="245" y="158"/>
                      </a:cubicBezTo>
                      <a:cubicBezTo>
                        <a:pt x="245" y="157"/>
                        <a:pt x="245" y="157"/>
                        <a:pt x="245" y="157"/>
                      </a:cubicBezTo>
                      <a:cubicBezTo>
                        <a:pt x="246" y="156"/>
                        <a:pt x="246" y="156"/>
                        <a:pt x="246" y="156"/>
                      </a:cubicBezTo>
                      <a:cubicBezTo>
                        <a:pt x="248" y="155"/>
                        <a:pt x="248" y="155"/>
                        <a:pt x="248" y="155"/>
                      </a:cubicBezTo>
                      <a:cubicBezTo>
                        <a:pt x="248" y="154"/>
                        <a:pt x="248" y="154"/>
                        <a:pt x="248" y="154"/>
                      </a:cubicBezTo>
                      <a:cubicBezTo>
                        <a:pt x="248" y="154"/>
                        <a:pt x="248" y="154"/>
                        <a:pt x="248" y="154"/>
                      </a:cubicBezTo>
                      <a:cubicBezTo>
                        <a:pt x="249" y="154"/>
                        <a:pt x="249" y="154"/>
                        <a:pt x="249" y="154"/>
                      </a:cubicBezTo>
                      <a:cubicBezTo>
                        <a:pt x="249" y="155"/>
                        <a:pt x="249" y="155"/>
                        <a:pt x="249" y="155"/>
                      </a:cubicBezTo>
                      <a:cubicBezTo>
                        <a:pt x="250" y="156"/>
                        <a:pt x="250" y="156"/>
                        <a:pt x="250" y="156"/>
                      </a:cubicBezTo>
                      <a:cubicBezTo>
                        <a:pt x="250" y="157"/>
                        <a:pt x="250" y="157"/>
                        <a:pt x="250" y="157"/>
                      </a:cubicBezTo>
                      <a:cubicBezTo>
                        <a:pt x="251" y="158"/>
                        <a:pt x="251" y="158"/>
                        <a:pt x="251" y="158"/>
                      </a:cubicBezTo>
                      <a:cubicBezTo>
                        <a:pt x="251" y="159"/>
                        <a:pt x="251" y="159"/>
                        <a:pt x="251" y="159"/>
                      </a:cubicBezTo>
                      <a:cubicBezTo>
                        <a:pt x="250" y="160"/>
                        <a:pt x="250" y="160"/>
                        <a:pt x="250" y="160"/>
                      </a:cubicBezTo>
                      <a:cubicBezTo>
                        <a:pt x="251" y="162"/>
                        <a:pt x="251" y="162"/>
                        <a:pt x="251" y="162"/>
                      </a:cubicBezTo>
                      <a:cubicBezTo>
                        <a:pt x="250" y="163"/>
                        <a:pt x="250" y="163"/>
                        <a:pt x="250" y="163"/>
                      </a:cubicBezTo>
                      <a:cubicBezTo>
                        <a:pt x="249" y="163"/>
                        <a:pt x="249" y="163"/>
                        <a:pt x="249" y="163"/>
                      </a:cubicBezTo>
                      <a:cubicBezTo>
                        <a:pt x="249" y="163"/>
                        <a:pt x="249" y="163"/>
                        <a:pt x="249" y="163"/>
                      </a:cubicBezTo>
                      <a:cubicBezTo>
                        <a:pt x="248" y="163"/>
                        <a:pt x="248" y="163"/>
                        <a:pt x="248" y="163"/>
                      </a:cubicBezTo>
                      <a:cubicBezTo>
                        <a:pt x="248" y="164"/>
                        <a:pt x="248" y="164"/>
                        <a:pt x="248" y="164"/>
                      </a:cubicBezTo>
                      <a:cubicBezTo>
                        <a:pt x="248" y="165"/>
                        <a:pt x="248" y="165"/>
                        <a:pt x="248" y="165"/>
                      </a:cubicBezTo>
                      <a:cubicBezTo>
                        <a:pt x="247" y="165"/>
                        <a:pt x="247" y="165"/>
                        <a:pt x="247" y="165"/>
                      </a:cubicBezTo>
                      <a:cubicBezTo>
                        <a:pt x="247" y="167"/>
                        <a:pt x="247" y="167"/>
                        <a:pt x="247" y="167"/>
                      </a:cubicBezTo>
                      <a:cubicBezTo>
                        <a:pt x="247" y="167"/>
                        <a:pt x="247" y="167"/>
                        <a:pt x="247" y="167"/>
                      </a:cubicBezTo>
                      <a:cubicBezTo>
                        <a:pt x="247" y="169"/>
                        <a:pt x="247" y="169"/>
                        <a:pt x="247" y="169"/>
                      </a:cubicBezTo>
                      <a:cubicBezTo>
                        <a:pt x="248" y="172"/>
                        <a:pt x="248" y="172"/>
                        <a:pt x="248" y="172"/>
                      </a:cubicBezTo>
                      <a:cubicBezTo>
                        <a:pt x="249" y="173"/>
                        <a:pt x="249" y="173"/>
                        <a:pt x="249" y="173"/>
                      </a:cubicBezTo>
                      <a:cubicBezTo>
                        <a:pt x="249" y="174"/>
                        <a:pt x="249" y="174"/>
                        <a:pt x="249" y="174"/>
                      </a:cubicBezTo>
                      <a:cubicBezTo>
                        <a:pt x="249" y="174"/>
                        <a:pt x="249" y="174"/>
                        <a:pt x="249" y="174"/>
                      </a:cubicBezTo>
                      <a:cubicBezTo>
                        <a:pt x="250" y="174"/>
                        <a:pt x="250" y="174"/>
                        <a:pt x="250" y="174"/>
                      </a:cubicBezTo>
                      <a:cubicBezTo>
                        <a:pt x="250" y="173"/>
                        <a:pt x="250" y="173"/>
                        <a:pt x="250" y="173"/>
                      </a:cubicBezTo>
                      <a:cubicBezTo>
                        <a:pt x="249" y="173"/>
                        <a:pt x="249" y="173"/>
                        <a:pt x="249" y="173"/>
                      </a:cubicBezTo>
                      <a:cubicBezTo>
                        <a:pt x="250" y="172"/>
                        <a:pt x="250" y="172"/>
                        <a:pt x="250" y="172"/>
                      </a:cubicBezTo>
                      <a:cubicBezTo>
                        <a:pt x="251" y="172"/>
                        <a:pt x="251" y="172"/>
                        <a:pt x="251" y="172"/>
                      </a:cubicBezTo>
                      <a:cubicBezTo>
                        <a:pt x="251" y="173"/>
                        <a:pt x="251" y="173"/>
                        <a:pt x="251" y="173"/>
                      </a:cubicBezTo>
                      <a:cubicBezTo>
                        <a:pt x="252" y="173"/>
                        <a:pt x="252" y="173"/>
                        <a:pt x="252" y="173"/>
                      </a:cubicBezTo>
                      <a:cubicBezTo>
                        <a:pt x="252" y="172"/>
                        <a:pt x="252" y="172"/>
                        <a:pt x="252" y="172"/>
                      </a:cubicBezTo>
                      <a:cubicBezTo>
                        <a:pt x="253" y="171"/>
                        <a:pt x="253" y="171"/>
                        <a:pt x="253" y="171"/>
                      </a:cubicBezTo>
                      <a:cubicBezTo>
                        <a:pt x="253" y="170"/>
                        <a:pt x="253" y="170"/>
                        <a:pt x="253" y="170"/>
                      </a:cubicBezTo>
                      <a:cubicBezTo>
                        <a:pt x="254" y="170"/>
                        <a:pt x="254" y="170"/>
                        <a:pt x="254" y="170"/>
                      </a:cubicBezTo>
                      <a:cubicBezTo>
                        <a:pt x="254" y="169"/>
                        <a:pt x="254" y="169"/>
                        <a:pt x="254" y="169"/>
                      </a:cubicBezTo>
                      <a:cubicBezTo>
                        <a:pt x="255" y="169"/>
                        <a:pt x="255" y="169"/>
                        <a:pt x="255" y="169"/>
                      </a:cubicBezTo>
                      <a:cubicBezTo>
                        <a:pt x="255" y="168"/>
                        <a:pt x="255" y="168"/>
                        <a:pt x="255" y="168"/>
                      </a:cubicBezTo>
                      <a:cubicBezTo>
                        <a:pt x="257" y="167"/>
                        <a:pt x="257" y="167"/>
                        <a:pt x="257" y="167"/>
                      </a:cubicBezTo>
                      <a:cubicBezTo>
                        <a:pt x="258" y="165"/>
                        <a:pt x="258" y="165"/>
                        <a:pt x="258" y="165"/>
                      </a:cubicBezTo>
                      <a:cubicBezTo>
                        <a:pt x="259" y="163"/>
                        <a:pt x="259" y="163"/>
                        <a:pt x="259" y="163"/>
                      </a:cubicBezTo>
                      <a:cubicBezTo>
                        <a:pt x="260" y="162"/>
                        <a:pt x="260" y="162"/>
                        <a:pt x="260" y="162"/>
                      </a:cubicBezTo>
                      <a:cubicBezTo>
                        <a:pt x="261" y="161"/>
                        <a:pt x="261" y="161"/>
                        <a:pt x="261" y="161"/>
                      </a:cubicBezTo>
                      <a:cubicBezTo>
                        <a:pt x="261" y="162"/>
                        <a:pt x="261" y="162"/>
                        <a:pt x="261" y="162"/>
                      </a:cubicBezTo>
                      <a:cubicBezTo>
                        <a:pt x="262" y="161"/>
                        <a:pt x="262" y="161"/>
                        <a:pt x="262" y="161"/>
                      </a:cubicBezTo>
                      <a:cubicBezTo>
                        <a:pt x="262" y="162"/>
                        <a:pt x="262" y="162"/>
                        <a:pt x="262" y="162"/>
                      </a:cubicBezTo>
                      <a:cubicBezTo>
                        <a:pt x="263" y="162"/>
                        <a:pt x="263" y="162"/>
                        <a:pt x="263" y="162"/>
                      </a:cubicBezTo>
                      <a:cubicBezTo>
                        <a:pt x="263" y="161"/>
                        <a:pt x="263" y="161"/>
                        <a:pt x="263" y="161"/>
                      </a:cubicBezTo>
                      <a:cubicBezTo>
                        <a:pt x="263" y="161"/>
                        <a:pt x="263" y="161"/>
                        <a:pt x="263" y="161"/>
                      </a:cubicBezTo>
                      <a:cubicBezTo>
                        <a:pt x="262" y="160"/>
                        <a:pt x="262" y="160"/>
                        <a:pt x="262" y="160"/>
                      </a:cubicBezTo>
                      <a:cubicBezTo>
                        <a:pt x="262" y="160"/>
                        <a:pt x="262" y="160"/>
                        <a:pt x="262" y="160"/>
                      </a:cubicBezTo>
                      <a:cubicBezTo>
                        <a:pt x="263" y="160"/>
                        <a:pt x="263" y="160"/>
                        <a:pt x="263" y="160"/>
                      </a:cubicBezTo>
                      <a:cubicBezTo>
                        <a:pt x="264" y="160"/>
                        <a:pt x="264" y="160"/>
                        <a:pt x="264" y="160"/>
                      </a:cubicBezTo>
                      <a:cubicBezTo>
                        <a:pt x="264" y="160"/>
                        <a:pt x="264" y="160"/>
                        <a:pt x="264" y="160"/>
                      </a:cubicBezTo>
                      <a:cubicBezTo>
                        <a:pt x="265" y="160"/>
                        <a:pt x="265" y="160"/>
                        <a:pt x="265" y="160"/>
                      </a:cubicBezTo>
                      <a:cubicBezTo>
                        <a:pt x="265" y="160"/>
                        <a:pt x="265" y="160"/>
                        <a:pt x="265" y="160"/>
                      </a:cubicBezTo>
                      <a:cubicBezTo>
                        <a:pt x="265" y="159"/>
                        <a:pt x="265" y="159"/>
                        <a:pt x="265" y="159"/>
                      </a:cubicBezTo>
                      <a:cubicBezTo>
                        <a:pt x="265" y="159"/>
                        <a:pt x="265" y="159"/>
                        <a:pt x="265" y="159"/>
                      </a:cubicBezTo>
                      <a:cubicBezTo>
                        <a:pt x="264" y="158"/>
                        <a:pt x="264" y="158"/>
                        <a:pt x="264" y="158"/>
                      </a:cubicBezTo>
                      <a:cubicBezTo>
                        <a:pt x="264" y="158"/>
                        <a:pt x="264" y="158"/>
                        <a:pt x="264" y="158"/>
                      </a:cubicBezTo>
                      <a:cubicBezTo>
                        <a:pt x="264" y="157"/>
                        <a:pt x="264" y="157"/>
                        <a:pt x="264" y="157"/>
                      </a:cubicBezTo>
                      <a:cubicBezTo>
                        <a:pt x="264" y="156"/>
                        <a:pt x="264" y="156"/>
                        <a:pt x="264" y="156"/>
                      </a:cubicBezTo>
                      <a:cubicBezTo>
                        <a:pt x="264" y="155"/>
                        <a:pt x="264" y="155"/>
                        <a:pt x="264" y="155"/>
                      </a:cubicBezTo>
                      <a:cubicBezTo>
                        <a:pt x="265" y="155"/>
                        <a:pt x="265" y="155"/>
                        <a:pt x="265" y="155"/>
                      </a:cubicBezTo>
                      <a:cubicBezTo>
                        <a:pt x="264" y="155"/>
                        <a:pt x="264" y="155"/>
                        <a:pt x="264" y="155"/>
                      </a:cubicBezTo>
                      <a:cubicBezTo>
                        <a:pt x="265" y="154"/>
                        <a:pt x="265" y="154"/>
                        <a:pt x="265" y="154"/>
                      </a:cubicBezTo>
                      <a:cubicBezTo>
                        <a:pt x="265" y="154"/>
                        <a:pt x="265" y="154"/>
                        <a:pt x="265" y="154"/>
                      </a:cubicBezTo>
                      <a:cubicBezTo>
                        <a:pt x="265" y="153"/>
                        <a:pt x="265" y="153"/>
                        <a:pt x="265" y="153"/>
                      </a:cubicBezTo>
                      <a:cubicBezTo>
                        <a:pt x="265" y="153"/>
                        <a:pt x="265" y="153"/>
                        <a:pt x="265" y="153"/>
                      </a:cubicBezTo>
                      <a:cubicBezTo>
                        <a:pt x="266" y="153"/>
                        <a:pt x="266" y="153"/>
                        <a:pt x="266" y="153"/>
                      </a:cubicBezTo>
                      <a:cubicBezTo>
                        <a:pt x="266" y="152"/>
                        <a:pt x="266" y="152"/>
                        <a:pt x="266" y="152"/>
                      </a:cubicBezTo>
                      <a:cubicBezTo>
                        <a:pt x="265" y="152"/>
                        <a:pt x="265" y="152"/>
                        <a:pt x="265" y="152"/>
                      </a:cubicBezTo>
                      <a:cubicBezTo>
                        <a:pt x="265" y="151"/>
                        <a:pt x="265" y="151"/>
                        <a:pt x="265" y="151"/>
                      </a:cubicBezTo>
                      <a:cubicBezTo>
                        <a:pt x="266" y="152"/>
                        <a:pt x="266" y="152"/>
                        <a:pt x="266" y="152"/>
                      </a:cubicBezTo>
                      <a:cubicBezTo>
                        <a:pt x="267" y="152"/>
                        <a:pt x="267" y="152"/>
                        <a:pt x="267" y="152"/>
                      </a:cubicBezTo>
                      <a:cubicBezTo>
                        <a:pt x="267" y="152"/>
                        <a:pt x="267" y="152"/>
                        <a:pt x="267" y="152"/>
                      </a:cubicBezTo>
                      <a:cubicBezTo>
                        <a:pt x="268" y="152"/>
                        <a:pt x="268" y="152"/>
                        <a:pt x="268" y="152"/>
                      </a:cubicBezTo>
                      <a:cubicBezTo>
                        <a:pt x="269" y="152"/>
                        <a:pt x="269" y="152"/>
                        <a:pt x="269" y="152"/>
                      </a:cubicBezTo>
                      <a:cubicBezTo>
                        <a:pt x="271" y="153"/>
                        <a:pt x="271" y="153"/>
                        <a:pt x="271" y="153"/>
                      </a:cubicBezTo>
                      <a:cubicBezTo>
                        <a:pt x="271" y="153"/>
                        <a:pt x="271" y="153"/>
                        <a:pt x="271" y="153"/>
                      </a:cubicBezTo>
                      <a:cubicBezTo>
                        <a:pt x="271" y="154"/>
                        <a:pt x="271" y="154"/>
                        <a:pt x="271" y="154"/>
                      </a:cubicBezTo>
                      <a:cubicBezTo>
                        <a:pt x="273" y="155"/>
                        <a:pt x="273" y="155"/>
                        <a:pt x="273" y="155"/>
                      </a:cubicBezTo>
                      <a:cubicBezTo>
                        <a:pt x="274" y="154"/>
                        <a:pt x="274" y="154"/>
                        <a:pt x="274" y="154"/>
                      </a:cubicBezTo>
                      <a:cubicBezTo>
                        <a:pt x="275" y="155"/>
                        <a:pt x="275" y="155"/>
                        <a:pt x="275" y="155"/>
                      </a:cubicBezTo>
                      <a:cubicBezTo>
                        <a:pt x="276" y="155"/>
                        <a:pt x="276" y="155"/>
                        <a:pt x="276" y="155"/>
                      </a:cubicBezTo>
                      <a:cubicBezTo>
                        <a:pt x="276" y="156"/>
                        <a:pt x="276" y="156"/>
                        <a:pt x="276" y="156"/>
                      </a:cubicBezTo>
                      <a:cubicBezTo>
                        <a:pt x="275" y="156"/>
                        <a:pt x="275" y="156"/>
                        <a:pt x="275" y="156"/>
                      </a:cubicBezTo>
                      <a:cubicBezTo>
                        <a:pt x="276" y="156"/>
                        <a:pt x="276" y="156"/>
                        <a:pt x="276" y="156"/>
                      </a:cubicBezTo>
                      <a:cubicBezTo>
                        <a:pt x="275" y="157"/>
                        <a:pt x="275" y="157"/>
                        <a:pt x="275" y="157"/>
                      </a:cubicBezTo>
                      <a:cubicBezTo>
                        <a:pt x="275" y="156"/>
                        <a:pt x="275" y="156"/>
                        <a:pt x="275" y="156"/>
                      </a:cubicBezTo>
                      <a:cubicBezTo>
                        <a:pt x="274" y="156"/>
                        <a:pt x="274" y="156"/>
                        <a:pt x="274" y="156"/>
                      </a:cubicBezTo>
                      <a:cubicBezTo>
                        <a:pt x="274" y="157"/>
                        <a:pt x="274" y="157"/>
                        <a:pt x="274" y="157"/>
                      </a:cubicBezTo>
                      <a:cubicBezTo>
                        <a:pt x="276" y="158"/>
                        <a:pt x="276" y="158"/>
                        <a:pt x="276" y="158"/>
                      </a:cubicBezTo>
                      <a:cubicBezTo>
                        <a:pt x="276" y="159"/>
                        <a:pt x="276" y="159"/>
                        <a:pt x="276" y="159"/>
                      </a:cubicBezTo>
                      <a:cubicBezTo>
                        <a:pt x="275" y="159"/>
                        <a:pt x="275" y="159"/>
                        <a:pt x="275" y="159"/>
                      </a:cubicBezTo>
                      <a:cubicBezTo>
                        <a:pt x="276" y="159"/>
                        <a:pt x="276" y="159"/>
                        <a:pt x="276" y="159"/>
                      </a:cubicBezTo>
                      <a:cubicBezTo>
                        <a:pt x="277" y="159"/>
                        <a:pt x="277" y="159"/>
                        <a:pt x="277" y="159"/>
                      </a:cubicBezTo>
                      <a:cubicBezTo>
                        <a:pt x="278" y="159"/>
                        <a:pt x="278" y="159"/>
                        <a:pt x="278" y="159"/>
                      </a:cubicBezTo>
                      <a:cubicBezTo>
                        <a:pt x="278" y="160"/>
                        <a:pt x="278" y="160"/>
                        <a:pt x="278" y="160"/>
                      </a:cubicBezTo>
                      <a:cubicBezTo>
                        <a:pt x="279" y="160"/>
                        <a:pt x="279" y="160"/>
                        <a:pt x="279" y="160"/>
                      </a:cubicBezTo>
                      <a:cubicBezTo>
                        <a:pt x="279" y="160"/>
                        <a:pt x="279" y="160"/>
                        <a:pt x="279" y="160"/>
                      </a:cubicBezTo>
                      <a:cubicBezTo>
                        <a:pt x="279" y="161"/>
                        <a:pt x="279" y="161"/>
                        <a:pt x="279" y="161"/>
                      </a:cubicBezTo>
                      <a:cubicBezTo>
                        <a:pt x="277" y="162"/>
                        <a:pt x="277" y="162"/>
                        <a:pt x="277" y="162"/>
                      </a:cubicBezTo>
                      <a:cubicBezTo>
                        <a:pt x="276" y="162"/>
                        <a:pt x="276" y="162"/>
                        <a:pt x="276" y="162"/>
                      </a:cubicBezTo>
                      <a:cubicBezTo>
                        <a:pt x="276" y="163"/>
                        <a:pt x="276" y="163"/>
                        <a:pt x="276" y="163"/>
                      </a:cubicBezTo>
                      <a:cubicBezTo>
                        <a:pt x="277" y="163"/>
                        <a:pt x="277" y="163"/>
                        <a:pt x="277" y="163"/>
                      </a:cubicBezTo>
                      <a:cubicBezTo>
                        <a:pt x="277" y="163"/>
                        <a:pt x="277" y="163"/>
                        <a:pt x="277" y="163"/>
                      </a:cubicBezTo>
                      <a:cubicBezTo>
                        <a:pt x="277" y="164"/>
                        <a:pt x="277" y="164"/>
                        <a:pt x="277" y="164"/>
                      </a:cubicBezTo>
                      <a:cubicBezTo>
                        <a:pt x="278" y="163"/>
                        <a:pt x="278" y="163"/>
                        <a:pt x="278" y="163"/>
                      </a:cubicBezTo>
                      <a:cubicBezTo>
                        <a:pt x="278" y="164"/>
                        <a:pt x="278" y="164"/>
                        <a:pt x="278" y="164"/>
                      </a:cubicBezTo>
                      <a:cubicBezTo>
                        <a:pt x="277" y="165"/>
                        <a:pt x="277" y="165"/>
                        <a:pt x="277" y="165"/>
                      </a:cubicBezTo>
                      <a:cubicBezTo>
                        <a:pt x="278" y="165"/>
                        <a:pt x="278" y="165"/>
                        <a:pt x="278" y="165"/>
                      </a:cubicBezTo>
                      <a:cubicBezTo>
                        <a:pt x="277" y="166"/>
                        <a:pt x="277" y="166"/>
                        <a:pt x="277" y="166"/>
                      </a:cubicBezTo>
                      <a:cubicBezTo>
                        <a:pt x="275" y="166"/>
                        <a:pt x="275" y="166"/>
                        <a:pt x="275" y="166"/>
                      </a:cubicBezTo>
                      <a:cubicBezTo>
                        <a:pt x="275" y="166"/>
                        <a:pt x="275" y="166"/>
                        <a:pt x="275" y="166"/>
                      </a:cubicBezTo>
                      <a:cubicBezTo>
                        <a:pt x="274" y="166"/>
                        <a:pt x="274" y="166"/>
                        <a:pt x="274" y="166"/>
                      </a:cubicBezTo>
                      <a:cubicBezTo>
                        <a:pt x="274" y="166"/>
                        <a:pt x="274" y="166"/>
                        <a:pt x="274" y="166"/>
                      </a:cubicBezTo>
                      <a:cubicBezTo>
                        <a:pt x="273" y="165"/>
                        <a:pt x="273" y="165"/>
                        <a:pt x="273" y="165"/>
                      </a:cubicBezTo>
                      <a:cubicBezTo>
                        <a:pt x="272" y="165"/>
                        <a:pt x="272" y="165"/>
                        <a:pt x="272" y="165"/>
                      </a:cubicBezTo>
                      <a:cubicBezTo>
                        <a:pt x="272" y="165"/>
                        <a:pt x="272" y="165"/>
                        <a:pt x="272" y="165"/>
                      </a:cubicBezTo>
                      <a:cubicBezTo>
                        <a:pt x="271" y="165"/>
                        <a:pt x="271" y="165"/>
                        <a:pt x="271" y="165"/>
                      </a:cubicBezTo>
                      <a:cubicBezTo>
                        <a:pt x="271" y="166"/>
                        <a:pt x="271" y="166"/>
                        <a:pt x="271" y="166"/>
                      </a:cubicBezTo>
                      <a:cubicBezTo>
                        <a:pt x="271" y="166"/>
                        <a:pt x="271" y="166"/>
                        <a:pt x="271" y="166"/>
                      </a:cubicBezTo>
                      <a:cubicBezTo>
                        <a:pt x="271" y="166"/>
                        <a:pt x="271" y="166"/>
                        <a:pt x="271" y="166"/>
                      </a:cubicBezTo>
                      <a:cubicBezTo>
                        <a:pt x="272" y="166"/>
                        <a:pt x="272" y="166"/>
                        <a:pt x="272" y="166"/>
                      </a:cubicBezTo>
                      <a:cubicBezTo>
                        <a:pt x="272" y="167"/>
                        <a:pt x="272" y="167"/>
                        <a:pt x="272" y="167"/>
                      </a:cubicBezTo>
                      <a:cubicBezTo>
                        <a:pt x="271" y="168"/>
                        <a:pt x="271" y="168"/>
                        <a:pt x="271" y="168"/>
                      </a:cubicBezTo>
                      <a:cubicBezTo>
                        <a:pt x="272" y="168"/>
                        <a:pt x="272" y="168"/>
                        <a:pt x="272" y="168"/>
                      </a:cubicBezTo>
                      <a:cubicBezTo>
                        <a:pt x="271" y="168"/>
                        <a:pt x="271" y="168"/>
                        <a:pt x="271" y="168"/>
                      </a:cubicBezTo>
                      <a:cubicBezTo>
                        <a:pt x="271" y="169"/>
                        <a:pt x="271" y="169"/>
                        <a:pt x="271" y="169"/>
                      </a:cubicBezTo>
                      <a:cubicBezTo>
                        <a:pt x="272" y="169"/>
                        <a:pt x="272" y="169"/>
                        <a:pt x="272" y="169"/>
                      </a:cubicBezTo>
                      <a:cubicBezTo>
                        <a:pt x="272" y="168"/>
                        <a:pt x="272" y="168"/>
                        <a:pt x="272" y="168"/>
                      </a:cubicBezTo>
                      <a:cubicBezTo>
                        <a:pt x="273" y="168"/>
                        <a:pt x="273" y="168"/>
                        <a:pt x="273" y="168"/>
                      </a:cubicBezTo>
                      <a:cubicBezTo>
                        <a:pt x="272" y="169"/>
                        <a:pt x="272" y="169"/>
                        <a:pt x="272" y="169"/>
                      </a:cubicBezTo>
                      <a:cubicBezTo>
                        <a:pt x="271" y="170"/>
                        <a:pt x="271" y="170"/>
                        <a:pt x="271" y="170"/>
                      </a:cubicBezTo>
                      <a:cubicBezTo>
                        <a:pt x="271" y="170"/>
                        <a:pt x="271" y="170"/>
                        <a:pt x="271" y="170"/>
                      </a:cubicBezTo>
                      <a:cubicBezTo>
                        <a:pt x="271" y="171"/>
                        <a:pt x="271" y="171"/>
                        <a:pt x="271" y="171"/>
                      </a:cubicBezTo>
                      <a:cubicBezTo>
                        <a:pt x="272" y="172"/>
                        <a:pt x="272" y="172"/>
                        <a:pt x="272" y="172"/>
                      </a:cubicBezTo>
                      <a:cubicBezTo>
                        <a:pt x="272" y="173"/>
                        <a:pt x="272" y="173"/>
                        <a:pt x="272" y="173"/>
                      </a:cubicBezTo>
                      <a:cubicBezTo>
                        <a:pt x="273" y="174"/>
                        <a:pt x="273" y="174"/>
                        <a:pt x="273" y="174"/>
                      </a:cubicBezTo>
                      <a:cubicBezTo>
                        <a:pt x="273" y="175"/>
                        <a:pt x="273" y="175"/>
                        <a:pt x="273" y="175"/>
                      </a:cubicBezTo>
                      <a:cubicBezTo>
                        <a:pt x="273" y="176"/>
                        <a:pt x="273" y="176"/>
                        <a:pt x="273" y="176"/>
                      </a:cubicBezTo>
                      <a:cubicBezTo>
                        <a:pt x="272" y="176"/>
                        <a:pt x="272" y="176"/>
                        <a:pt x="272" y="176"/>
                      </a:cubicBezTo>
                      <a:cubicBezTo>
                        <a:pt x="271" y="177"/>
                        <a:pt x="271" y="177"/>
                        <a:pt x="271" y="177"/>
                      </a:cubicBezTo>
                      <a:cubicBezTo>
                        <a:pt x="271" y="178"/>
                        <a:pt x="271" y="178"/>
                        <a:pt x="271" y="178"/>
                      </a:cubicBezTo>
                      <a:cubicBezTo>
                        <a:pt x="271" y="179"/>
                        <a:pt x="271" y="179"/>
                        <a:pt x="271" y="179"/>
                      </a:cubicBezTo>
                      <a:cubicBezTo>
                        <a:pt x="270" y="178"/>
                        <a:pt x="270" y="178"/>
                        <a:pt x="270" y="178"/>
                      </a:cubicBezTo>
                      <a:cubicBezTo>
                        <a:pt x="269" y="178"/>
                        <a:pt x="269" y="178"/>
                        <a:pt x="269" y="178"/>
                      </a:cubicBezTo>
                      <a:cubicBezTo>
                        <a:pt x="268" y="179"/>
                        <a:pt x="268" y="179"/>
                        <a:pt x="268" y="179"/>
                      </a:cubicBezTo>
                      <a:cubicBezTo>
                        <a:pt x="268" y="180"/>
                        <a:pt x="268" y="180"/>
                        <a:pt x="268" y="180"/>
                      </a:cubicBezTo>
                      <a:cubicBezTo>
                        <a:pt x="267" y="180"/>
                        <a:pt x="267" y="180"/>
                        <a:pt x="267" y="180"/>
                      </a:cubicBezTo>
                      <a:cubicBezTo>
                        <a:pt x="266" y="181"/>
                        <a:pt x="266" y="181"/>
                        <a:pt x="266" y="181"/>
                      </a:cubicBezTo>
                      <a:cubicBezTo>
                        <a:pt x="266" y="181"/>
                        <a:pt x="266" y="181"/>
                        <a:pt x="266" y="181"/>
                      </a:cubicBezTo>
                      <a:cubicBezTo>
                        <a:pt x="264" y="182"/>
                        <a:pt x="264" y="182"/>
                        <a:pt x="264" y="182"/>
                      </a:cubicBezTo>
                      <a:cubicBezTo>
                        <a:pt x="264" y="182"/>
                        <a:pt x="264" y="182"/>
                        <a:pt x="264" y="182"/>
                      </a:cubicBezTo>
                      <a:cubicBezTo>
                        <a:pt x="263" y="182"/>
                        <a:pt x="263" y="182"/>
                        <a:pt x="263" y="182"/>
                      </a:cubicBezTo>
                      <a:cubicBezTo>
                        <a:pt x="262" y="183"/>
                        <a:pt x="262" y="183"/>
                        <a:pt x="262" y="183"/>
                      </a:cubicBezTo>
                      <a:cubicBezTo>
                        <a:pt x="260" y="183"/>
                        <a:pt x="260" y="183"/>
                        <a:pt x="260" y="183"/>
                      </a:cubicBezTo>
                      <a:cubicBezTo>
                        <a:pt x="260" y="183"/>
                        <a:pt x="260" y="183"/>
                        <a:pt x="260" y="183"/>
                      </a:cubicBezTo>
                      <a:cubicBezTo>
                        <a:pt x="260" y="183"/>
                        <a:pt x="260" y="183"/>
                        <a:pt x="260" y="183"/>
                      </a:cubicBezTo>
                      <a:cubicBezTo>
                        <a:pt x="260" y="182"/>
                        <a:pt x="260" y="182"/>
                        <a:pt x="260" y="182"/>
                      </a:cubicBezTo>
                      <a:cubicBezTo>
                        <a:pt x="259" y="181"/>
                        <a:pt x="259" y="181"/>
                        <a:pt x="259" y="181"/>
                      </a:cubicBezTo>
                      <a:cubicBezTo>
                        <a:pt x="259" y="180"/>
                        <a:pt x="259" y="180"/>
                        <a:pt x="259" y="180"/>
                      </a:cubicBezTo>
                      <a:cubicBezTo>
                        <a:pt x="260" y="180"/>
                        <a:pt x="260" y="180"/>
                        <a:pt x="260" y="180"/>
                      </a:cubicBezTo>
                      <a:cubicBezTo>
                        <a:pt x="260" y="180"/>
                        <a:pt x="260" y="180"/>
                        <a:pt x="260" y="180"/>
                      </a:cubicBezTo>
                      <a:cubicBezTo>
                        <a:pt x="260" y="178"/>
                        <a:pt x="260" y="178"/>
                        <a:pt x="260" y="178"/>
                      </a:cubicBezTo>
                      <a:cubicBezTo>
                        <a:pt x="259" y="179"/>
                        <a:pt x="259" y="179"/>
                        <a:pt x="259" y="179"/>
                      </a:cubicBezTo>
                      <a:cubicBezTo>
                        <a:pt x="259" y="179"/>
                        <a:pt x="259" y="179"/>
                        <a:pt x="259" y="179"/>
                      </a:cubicBezTo>
                      <a:cubicBezTo>
                        <a:pt x="259" y="178"/>
                        <a:pt x="259" y="178"/>
                        <a:pt x="259" y="178"/>
                      </a:cubicBezTo>
                      <a:cubicBezTo>
                        <a:pt x="259" y="177"/>
                        <a:pt x="259" y="177"/>
                        <a:pt x="259" y="177"/>
                      </a:cubicBezTo>
                      <a:cubicBezTo>
                        <a:pt x="258" y="177"/>
                        <a:pt x="258" y="177"/>
                        <a:pt x="258" y="177"/>
                      </a:cubicBezTo>
                      <a:cubicBezTo>
                        <a:pt x="257" y="177"/>
                        <a:pt x="257" y="177"/>
                        <a:pt x="257" y="177"/>
                      </a:cubicBezTo>
                      <a:cubicBezTo>
                        <a:pt x="257" y="177"/>
                        <a:pt x="257" y="177"/>
                        <a:pt x="257" y="177"/>
                      </a:cubicBezTo>
                      <a:cubicBezTo>
                        <a:pt x="256" y="177"/>
                        <a:pt x="256" y="177"/>
                        <a:pt x="256" y="177"/>
                      </a:cubicBezTo>
                      <a:cubicBezTo>
                        <a:pt x="255" y="178"/>
                        <a:pt x="255" y="178"/>
                        <a:pt x="255" y="178"/>
                      </a:cubicBezTo>
                      <a:cubicBezTo>
                        <a:pt x="256" y="178"/>
                        <a:pt x="256" y="178"/>
                        <a:pt x="256" y="178"/>
                      </a:cubicBezTo>
                      <a:cubicBezTo>
                        <a:pt x="257" y="177"/>
                        <a:pt x="257" y="177"/>
                        <a:pt x="257" y="177"/>
                      </a:cubicBezTo>
                      <a:cubicBezTo>
                        <a:pt x="257" y="178"/>
                        <a:pt x="257" y="178"/>
                        <a:pt x="257" y="178"/>
                      </a:cubicBezTo>
                      <a:cubicBezTo>
                        <a:pt x="257" y="178"/>
                        <a:pt x="257" y="178"/>
                        <a:pt x="257" y="178"/>
                      </a:cubicBezTo>
                      <a:cubicBezTo>
                        <a:pt x="258" y="179"/>
                        <a:pt x="258" y="179"/>
                        <a:pt x="258" y="179"/>
                      </a:cubicBezTo>
                      <a:cubicBezTo>
                        <a:pt x="259" y="180"/>
                        <a:pt x="259" y="180"/>
                        <a:pt x="259" y="180"/>
                      </a:cubicBezTo>
                      <a:cubicBezTo>
                        <a:pt x="258" y="181"/>
                        <a:pt x="258" y="181"/>
                        <a:pt x="258" y="181"/>
                      </a:cubicBezTo>
                      <a:cubicBezTo>
                        <a:pt x="259" y="181"/>
                        <a:pt x="259" y="181"/>
                        <a:pt x="259" y="181"/>
                      </a:cubicBezTo>
                      <a:cubicBezTo>
                        <a:pt x="259" y="183"/>
                        <a:pt x="259" y="183"/>
                        <a:pt x="259" y="183"/>
                      </a:cubicBezTo>
                      <a:cubicBezTo>
                        <a:pt x="259" y="183"/>
                        <a:pt x="259" y="183"/>
                        <a:pt x="259" y="183"/>
                      </a:cubicBezTo>
                      <a:cubicBezTo>
                        <a:pt x="259" y="183"/>
                        <a:pt x="259" y="183"/>
                        <a:pt x="259" y="183"/>
                      </a:cubicBezTo>
                      <a:cubicBezTo>
                        <a:pt x="259" y="184"/>
                        <a:pt x="259" y="184"/>
                        <a:pt x="259" y="184"/>
                      </a:cubicBezTo>
                      <a:cubicBezTo>
                        <a:pt x="258" y="184"/>
                        <a:pt x="258" y="184"/>
                        <a:pt x="258" y="184"/>
                      </a:cubicBezTo>
                      <a:cubicBezTo>
                        <a:pt x="257" y="183"/>
                        <a:pt x="257" y="183"/>
                        <a:pt x="257" y="183"/>
                      </a:cubicBezTo>
                      <a:cubicBezTo>
                        <a:pt x="257" y="182"/>
                        <a:pt x="257" y="182"/>
                        <a:pt x="257" y="182"/>
                      </a:cubicBezTo>
                      <a:cubicBezTo>
                        <a:pt x="256" y="182"/>
                        <a:pt x="256" y="182"/>
                        <a:pt x="256" y="182"/>
                      </a:cubicBezTo>
                      <a:cubicBezTo>
                        <a:pt x="256" y="181"/>
                        <a:pt x="256" y="181"/>
                        <a:pt x="256" y="181"/>
                      </a:cubicBezTo>
                      <a:cubicBezTo>
                        <a:pt x="255" y="182"/>
                        <a:pt x="255" y="182"/>
                        <a:pt x="255" y="182"/>
                      </a:cubicBezTo>
                      <a:cubicBezTo>
                        <a:pt x="256" y="183"/>
                        <a:pt x="256" y="183"/>
                        <a:pt x="256" y="183"/>
                      </a:cubicBezTo>
                      <a:cubicBezTo>
                        <a:pt x="256" y="184"/>
                        <a:pt x="256" y="184"/>
                        <a:pt x="256" y="184"/>
                      </a:cubicBezTo>
                      <a:cubicBezTo>
                        <a:pt x="255" y="183"/>
                        <a:pt x="255" y="183"/>
                        <a:pt x="255" y="183"/>
                      </a:cubicBezTo>
                      <a:cubicBezTo>
                        <a:pt x="254" y="183"/>
                        <a:pt x="254" y="183"/>
                        <a:pt x="254" y="183"/>
                      </a:cubicBezTo>
                      <a:cubicBezTo>
                        <a:pt x="254" y="182"/>
                        <a:pt x="254" y="182"/>
                        <a:pt x="254" y="182"/>
                      </a:cubicBezTo>
                      <a:cubicBezTo>
                        <a:pt x="253" y="183"/>
                        <a:pt x="253" y="183"/>
                        <a:pt x="253" y="183"/>
                      </a:cubicBezTo>
                      <a:cubicBezTo>
                        <a:pt x="253" y="182"/>
                        <a:pt x="253" y="182"/>
                        <a:pt x="253" y="182"/>
                      </a:cubicBezTo>
                      <a:cubicBezTo>
                        <a:pt x="254" y="181"/>
                        <a:pt x="254" y="181"/>
                        <a:pt x="254" y="181"/>
                      </a:cubicBezTo>
                      <a:cubicBezTo>
                        <a:pt x="254" y="181"/>
                        <a:pt x="254" y="181"/>
                        <a:pt x="254" y="181"/>
                      </a:cubicBezTo>
                      <a:cubicBezTo>
                        <a:pt x="253" y="180"/>
                        <a:pt x="253" y="180"/>
                        <a:pt x="253" y="180"/>
                      </a:cubicBezTo>
                      <a:cubicBezTo>
                        <a:pt x="253" y="180"/>
                        <a:pt x="253" y="180"/>
                        <a:pt x="253" y="180"/>
                      </a:cubicBezTo>
                      <a:cubicBezTo>
                        <a:pt x="252" y="181"/>
                        <a:pt x="252" y="181"/>
                        <a:pt x="252" y="181"/>
                      </a:cubicBezTo>
                      <a:cubicBezTo>
                        <a:pt x="251" y="181"/>
                        <a:pt x="251" y="181"/>
                        <a:pt x="251" y="181"/>
                      </a:cubicBezTo>
                      <a:cubicBezTo>
                        <a:pt x="250" y="180"/>
                        <a:pt x="250" y="180"/>
                        <a:pt x="250" y="180"/>
                      </a:cubicBezTo>
                      <a:cubicBezTo>
                        <a:pt x="249" y="180"/>
                        <a:pt x="249" y="180"/>
                        <a:pt x="249" y="180"/>
                      </a:cubicBezTo>
                      <a:cubicBezTo>
                        <a:pt x="248" y="180"/>
                        <a:pt x="248" y="180"/>
                        <a:pt x="248" y="180"/>
                      </a:cubicBezTo>
                      <a:cubicBezTo>
                        <a:pt x="248" y="180"/>
                        <a:pt x="248" y="180"/>
                        <a:pt x="248" y="180"/>
                      </a:cubicBezTo>
                      <a:cubicBezTo>
                        <a:pt x="248" y="181"/>
                        <a:pt x="248" y="181"/>
                        <a:pt x="248" y="181"/>
                      </a:cubicBezTo>
                      <a:cubicBezTo>
                        <a:pt x="248" y="181"/>
                        <a:pt x="248" y="181"/>
                        <a:pt x="248" y="181"/>
                      </a:cubicBezTo>
                      <a:cubicBezTo>
                        <a:pt x="248" y="182"/>
                        <a:pt x="248" y="182"/>
                        <a:pt x="248" y="182"/>
                      </a:cubicBezTo>
                      <a:cubicBezTo>
                        <a:pt x="249" y="182"/>
                        <a:pt x="249" y="182"/>
                        <a:pt x="249" y="182"/>
                      </a:cubicBezTo>
                      <a:cubicBezTo>
                        <a:pt x="250" y="183"/>
                        <a:pt x="250" y="183"/>
                        <a:pt x="250" y="183"/>
                      </a:cubicBezTo>
                      <a:cubicBezTo>
                        <a:pt x="250" y="183"/>
                        <a:pt x="250" y="183"/>
                        <a:pt x="250" y="183"/>
                      </a:cubicBezTo>
                      <a:cubicBezTo>
                        <a:pt x="249" y="185"/>
                        <a:pt x="249" y="185"/>
                        <a:pt x="249" y="185"/>
                      </a:cubicBezTo>
                      <a:cubicBezTo>
                        <a:pt x="249" y="185"/>
                        <a:pt x="249" y="185"/>
                        <a:pt x="249" y="185"/>
                      </a:cubicBezTo>
                      <a:cubicBezTo>
                        <a:pt x="247" y="186"/>
                        <a:pt x="247" y="186"/>
                        <a:pt x="247" y="186"/>
                      </a:cubicBezTo>
                      <a:cubicBezTo>
                        <a:pt x="246" y="187"/>
                        <a:pt x="246" y="187"/>
                        <a:pt x="246" y="187"/>
                      </a:cubicBezTo>
                      <a:cubicBezTo>
                        <a:pt x="245" y="189"/>
                        <a:pt x="245" y="189"/>
                        <a:pt x="245" y="189"/>
                      </a:cubicBezTo>
                      <a:cubicBezTo>
                        <a:pt x="244" y="188"/>
                        <a:pt x="244" y="188"/>
                        <a:pt x="244" y="188"/>
                      </a:cubicBezTo>
                      <a:cubicBezTo>
                        <a:pt x="243" y="189"/>
                        <a:pt x="243" y="189"/>
                        <a:pt x="243" y="189"/>
                      </a:cubicBezTo>
                      <a:cubicBezTo>
                        <a:pt x="243" y="190"/>
                        <a:pt x="243" y="190"/>
                        <a:pt x="243" y="190"/>
                      </a:cubicBezTo>
                      <a:cubicBezTo>
                        <a:pt x="242" y="190"/>
                        <a:pt x="242" y="190"/>
                        <a:pt x="242" y="190"/>
                      </a:cubicBezTo>
                      <a:cubicBezTo>
                        <a:pt x="239" y="190"/>
                        <a:pt x="239" y="190"/>
                        <a:pt x="239" y="190"/>
                      </a:cubicBezTo>
                      <a:cubicBezTo>
                        <a:pt x="238" y="189"/>
                        <a:pt x="238" y="189"/>
                        <a:pt x="238" y="189"/>
                      </a:cubicBezTo>
                      <a:cubicBezTo>
                        <a:pt x="238" y="188"/>
                        <a:pt x="238" y="188"/>
                        <a:pt x="238" y="188"/>
                      </a:cubicBezTo>
                      <a:cubicBezTo>
                        <a:pt x="236" y="187"/>
                        <a:pt x="236" y="187"/>
                        <a:pt x="236" y="187"/>
                      </a:cubicBezTo>
                      <a:cubicBezTo>
                        <a:pt x="236" y="187"/>
                        <a:pt x="236" y="187"/>
                        <a:pt x="236" y="187"/>
                      </a:cubicBezTo>
                      <a:cubicBezTo>
                        <a:pt x="237" y="187"/>
                        <a:pt x="237" y="187"/>
                        <a:pt x="237" y="187"/>
                      </a:cubicBezTo>
                      <a:cubicBezTo>
                        <a:pt x="237" y="186"/>
                        <a:pt x="237" y="186"/>
                        <a:pt x="237" y="186"/>
                      </a:cubicBezTo>
                      <a:cubicBezTo>
                        <a:pt x="237" y="186"/>
                        <a:pt x="237" y="186"/>
                        <a:pt x="237" y="186"/>
                      </a:cubicBezTo>
                      <a:cubicBezTo>
                        <a:pt x="236" y="186"/>
                        <a:pt x="236" y="186"/>
                        <a:pt x="236" y="186"/>
                      </a:cubicBezTo>
                      <a:cubicBezTo>
                        <a:pt x="235" y="184"/>
                        <a:pt x="235" y="184"/>
                        <a:pt x="235" y="184"/>
                      </a:cubicBezTo>
                      <a:cubicBezTo>
                        <a:pt x="234" y="183"/>
                        <a:pt x="234" y="183"/>
                        <a:pt x="234" y="183"/>
                      </a:cubicBezTo>
                      <a:cubicBezTo>
                        <a:pt x="232" y="183"/>
                        <a:pt x="232" y="183"/>
                        <a:pt x="232" y="183"/>
                      </a:cubicBezTo>
                      <a:cubicBezTo>
                        <a:pt x="230" y="182"/>
                        <a:pt x="230" y="182"/>
                        <a:pt x="230" y="182"/>
                      </a:cubicBezTo>
                      <a:cubicBezTo>
                        <a:pt x="228" y="182"/>
                        <a:pt x="228" y="182"/>
                        <a:pt x="228" y="182"/>
                      </a:cubicBezTo>
                      <a:cubicBezTo>
                        <a:pt x="227" y="182"/>
                        <a:pt x="227" y="182"/>
                        <a:pt x="227" y="182"/>
                      </a:cubicBezTo>
                      <a:cubicBezTo>
                        <a:pt x="227" y="183"/>
                        <a:pt x="227" y="183"/>
                        <a:pt x="227" y="183"/>
                      </a:cubicBezTo>
                      <a:cubicBezTo>
                        <a:pt x="228" y="183"/>
                        <a:pt x="228" y="183"/>
                        <a:pt x="228" y="183"/>
                      </a:cubicBezTo>
                      <a:cubicBezTo>
                        <a:pt x="228" y="183"/>
                        <a:pt x="228" y="183"/>
                        <a:pt x="228" y="183"/>
                      </a:cubicBezTo>
                      <a:cubicBezTo>
                        <a:pt x="229" y="183"/>
                        <a:pt x="229" y="183"/>
                        <a:pt x="229" y="183"/>
                      </a:cubicBezTo>
                      <a:cubicBezTo>
                        <a:pt x="231" y="183"/>
                        <a:pt x="231" y="183"/>
                        <a:pt x="231" y="183"/>
                      </a:cubicBezTo>
                      <a:cubicBezTo>
                        <a:pt x="233" y="183"/>
                        <a:pt x="233" y="183"/>
                        <a:pt x="233" y="183"/>
                      </a:cubicBezTo>
                      <a:cubicBezTo>
                        <a:pt x="234" y="184"/>
                        <a:pt x="234" y="184"/>
                        <a:pt x="234" y="184"/>
                      </a:cubicBezTo>
                      <a:cubicBezTo>
                        <a:pt x="233" y="184"/>
                        <a:pt x="233" y="184"/>
                        <a:pt x="233" y="184"/>
                      </a:cubicBezTo>
                      <a:cubicBezTo>
                        <a:pt x="233" y="184"/>
                        <a:pt x="233" y="184"/>
                        <a:pt x="233" y="184"/>
                      </a:cubicBezTo>
                      <a:cubicBezTo>
                        <a:pt x="233" y="185"/>
                        <a:pt x="233" y="185"/>
                        <a:pt x="233" y="185"/>
                      </a:cubicBezTo>
                      <a:cubicBezTo>
                        <a:pt x="233" y="185"/>
                        <a:pt x="233" y="185"/>
                        <a:pt x="233" y="185"/>
                      </a:cubicBezTo>
                      <a:cubicBezTo>
                        <a:pt x="233" y="186"/>
                        <a:pt x="233" y="186"/>
                        <a:pt x="233" y="186"/>
                      </a:cubicBezTo>
                      <a:cubicBezTo>
                        <a:pt x="233" y="186"/>
                        <a:pt x="233" y="186"/>
                        <a:pt x="233" y="186"/>
                      </a:cubicBezTo>
                      <a:cubicBezTo>
                        <a:pt x="234" y="188"/>
                        <a:pt x="234" y="188"/>
                        <a:pt x="234" y="188"/>
                      </a:cubicBezTo>
                      <a:cubicBezTo>
                        <a:pt x="235" y="189"/>
                        <a:pt x="235" y="189"/>
                        <a:pt x="235" y="189"/>
                      </a:cubicBezTo>
                      <a:cubicBezTo>
                        <a:pt x="237" y="190"/>
                        <a:pt x="237" y="190"/>
                        <a:pt x="237" y="190"/>
                      </a:cubicBezTo>
                      <a:cubicBezTo>
                        <a:pt x="239" y="190"/>
                        <a:pt x="239" y="190"/>
                        <a:pt x="239" y="190"/>
                      </a:cubicBezTo>
                      <a:cubicBezTo>
                        <a:pt x="242" y="191"/>
                        <a:pt x="242" y="191"/>
                        <a:pt x="242" y="191"/>
                      </a:cubicBezTo>
                      <a:cubicBezTo>
                        <a:pt x="242" y="192"/>
                        <a:pt x="242" y="192"/>
                        <a:pt x="242" y="192"/>
                      </a:cubicBezTo>
                      <a:cubicBezTo>
                        <a:pt x="242" y="192"/>
                        <a:pt x="242" y="192"/>
                        <a:pt x="242" y="192"/>
                      </a:cubicBezTo>
                      <a:cubicBezTo>
                        <a:pt x="241" y="193"/>
                        <a:pt x="241" y="193"/>
                        <a:pt x="241" y="193"/>
                      </a:cubicBezTo>
                      <a:cubicBezTo>
                        <a:pt x="240" y="194"/>
                        <a:pt x="240" y="194"/>
                        <a:pt x="240" y="194"/>
                      </a:cubicBezTo>
                      <a:cubicBezTo>
                        <a:pt x="239" y="195"/>
                        <a:pt x="239" y="195"/>
                        <a:pt x="239" y="195"/>
                      </a:cubicBezTo>
                      <a:cubicBezTo>
                        <a:pt x="238" y="195"/>
                        <a:pt x="238" y="195"/>
                        <a:pt x="238" y="195"/>
                      </a:cubicBezTo>
                      <a:cubicBezTo>
                        <a:pt x="238" y="195"/>
                        <a:pt x="238" y="195"/>
                        <a:pt x="238" y="195"/>
                      </a:cubicBezTo>
                      <a:cubicBezTo>
                        <a:pt x="238" y="196"/>
                        <a:pt x="238" y="196"/>
                        <a:pt x="238" y="196"/>
                      </a:cubicBezTo>
                      <a:cubicBezTo>
                        <a:pt x="235" y="198"/>
                        <a:pt x="235" y="198"/>
                        <a:pt x="235" y="198"/>
                      </a:cubicBezTo>
                      <a:cubicBezTo>
                        <a:pt x="234" y="199"/>
                        <a:pt x="234" y="199"/>
                        <a:pt x="234" y="199"/>
                      </a:cubicBezTo>
                      <a:cubicBezTo>
                        <a:pt x="233" y="200"/>
                        <a:pt x="233" y="200"/>
                        <a:pt x="233" y="200"/>
                      </a:cubicBezTo>
                      <a:cubicBezTo>
                        <a:pt x="232" y="200"/>
                        <a:pt x="232" y="200"/>
                        <a:pt x="232" y="200"/>
                      </a:cubicBezTo>
                      <a:cubicBezTo>
                        <a:pt x="231" y="200"/>
                        <a:pt x="231" y="200"/>
                        <a:pt x="231" y="200"/>
                      </a:cubicBezTo>
                      <a:cubicBezTo>
                        <a:pt x="231" y="200"/>
                        <a:pt x="231" y="200"/>
                        <a:pt x="231" y="200"/>
                      </a:cubicBezTo>
                      <a:cubicBezTo>
                        <a:pt x="231" y="201"/>
                        <a:pt x="231" y="201"/>
                        <a:pt x="231" y="201"/>
                      </a:cubicBezTo>
                      <a:cubicBezTo>
                        <a:pt x="229" y="199"/>
                        <a:pt x="229" y="199"/>
                        <a:pt x="229" y="199"/>
                      </a:cubicBezTo>
                      <a:cubicBezTo>
                        <a:pt x="229" y="199"/>
                        <a:pt x="229" y="199"/>
                        <a:pt x="229" y="199"/>
                      </a:cubicBezTo>
                      <a:cubicBezTo>
                        <a:pt x="228" y="200"/>
                        <a:pt x="228" y="200"/>
                        <a:pt x="228" y="200"/>
                      </a:cubicBezTo>
                      <a:cubicBezTo>
                        <a:pt x="228" y="199"/>
                        <a:pt x="228" y="199"/>
                        <a:pt x="228" y="199"/>
                      </a:cubicBezTo>
                      <a:cubicBezTo>
                        <a:pt x="228" y="199"/>
                        <a:pt x="228" y="199"/>
                        <a:pt x="228" y="199"/>
                      </a:cubicBezTo>
                      <a:cubicBezTo>
                        <a:pt x="228" y="198"/>
                        <a:pt x="228" y="198"/>
                        <a:pt x="228" y="198"/>
                      </a:cubicBezTo>
                      <a:cubicBezTo>
                        <a:pt x="228" y="198"/>
                        <a:pt x="228" y="198"/>
                        <a:pt x="228" y="198"/>
                      </a:cubicBezTo>
                      <a:cubicBezTo>
                        <a:pt x="228" y="197"/>
                        <a:pt x="228" y="197"/>
                        <a:pt x="228" y="197"/>
                      </a:cubicBezTo>
                      <a:cubicBezTo>
                        <a:pt x="227" y="198"/>
                        <a:pt x="227" y="198"/>
                        <a:pt x="227" y="198"/>
                      </a:cubicBezTo>
                      <a:cubicBezTo>
                        <a:pt x="226" y="200"/>
                        <a:pt x="226" y="200"/>
                        <a:pt x="226" y="200"/>
                      </a:cubicBezTo>
                      <a:cubicBezTo>
                        <a:pt x="226" y="199"/>
                        <a:pt x="226" y="199"/>
                        <a:pt x="226" y="199"/>
                      </a:cubicBezTo>
                      <a:cubicBezTo>
                        <a:pt x="226" y="197"/>
                        <a:pt x="226" y="197"/>
                        <a:pt x="226" y="197"/>
                      </a:cubicBezTo>
                      <a:cubicBezTo>
                        <a:pt x="225" y="199"/>
                        <a:pt x="225" y="199"/>
                        <a:pt x="225" y="199"/>
                      </a:cubicBezTo>
                      <a:cubicBezTo>
                        <a:pt x="226" y="199"/>
                        <a:pt x="226" y="199"/>
                        <a:pt x="226" y="199"/>
                      </a:cubicBezTo>
                      <a:cubicBezTo>
                        <a:pt x="225" y="201"/>
                        <a:pt x="225" y="201"/>
                        <a:pt x="225" y="201"/>
                      </a:cubicBezTo>
                      <a:cubicBezTo>
                        <a:pt x="224" y="202"/>
                        <a:pt x="224" y="202"/>
                        <a:pt x="224" y="202"/>
                      </a:cubicBezTo>
                      <a:cubicBezTo>
                        <a:pt x="224" y="202"/>
                        <a:pt x="224" y="202"/>
                        <a:pt x="224" y="202"/>
                      </a:cubicBezTo>
                      <a:cubicBezTo>
                        <a:pt x="224" y="202"/>
                        <a:pt x="224" y="202"/>
                        <a:pt x="224" y="202"/>
                      </a:cubicBezTo>
                      <a:cubicBezTo>
                        <a:pt x="223" y="201"/>
                        <a:pt x="223" y="201"/>
                        <a:pt x="223" y="201"/>
                      </a:cubicBezTo>
                      <a:cubicBezTo>
                        <a:pt x="223" y="201"/>
                        <a:pt x="223" y="201"/>
                        <a:pt x="223" y="201"/>
                      </a:cubicBezTo>
                      <a:cubicBezTo>
                        <a:pt x="223" y="202"/>
                        <a:pt x="223" y="202"/>
                        <a:pt x="223" y="202"/>
                      </a:cubicBezTo>
                      <a:cubicBezTo>
                        <a:pt x="222" y="202"/>
                        <a:pt x="222" y="202"/>
                        <a:pt x="222" y="202"/>
                      </a:cubicBezTo>
                      <a:cubicBezTo>
                        <a:pt x="222" y="203"/>
                        <a:pt x="222" y="203"/>
                        <a:pt x="222" y="203"/>
                      </a:cubicBezTo>
                      <a:cubicBezTo>
                        <a:pt x="222" y="203"/>
                        <a:pt x="222" y="203"/>
                        <a:pt x="222" y="203"/>
                      </a:cubicBezTo>
                      <a:cubicBezTo>
                        <a:pt x="221" y="203"/>
                        <a:pt x="221" y="203"/>
                        <a:pt x="221" y="203"/>
                      </a:cubicBezTo>
                      <a:cubicBezTo>
                        <a:pt x="221" y="202"/>
                        <a:pt x="221" y="202"/>
                        <a:pt x="221" y="202"/>
                      </a:cubicBezTo>
                      <a:cubicBezTo>
                        <a:pt x="220" y="202"/>
                        <a:pt x="220" y="202"/>
                        <a:pt x="220" y="202"/>
                      </a:cubicBezTo>
                      <a:cubicBezTo>
                        <a:pt x="219" y="200"/>
                        <a:pt x="219" y="200"/>
                        <a:pt x="219" y="200"/>
                      </a:cubicBezTo>
                      <a:cubicBezTo>
                        <a:pt x="217" y="200"/>
                        <a:pt x="217" y="200"/>
                        <a:pt x="217" y="200"/>
                      </a:cubicBezTo>
                      <a:cubicBezTo>
                        <a:pt x="215" y="199"/>
                        <a:pt x="215" y="199"/>
                        <a:pt x="215" y="199"/>
                      </a:cubicBezTo>
                      <a:cubicBezTo>
                        <a:pt x="215" y="198"/>
                        <a:pt x="215" y="198"/>
                        <a:pt x="215" y="198"/>
                      </a:cubicBezTo>
                      <a:cubicBezTo>
                        <a:pt x="214" y="197"/>
                        <a:pt x="214" y="197"/>
                        <a:pt x="214" y="197"/>
                      </a:cubicBezTo>
                      <a:cubicBezTo>
                        <a:pt x="213" y="196"/>
                        <a:pt x="213" y="196"/>
                        <a:pt x="213" y="196"/>
                      </a:cubicBezTo>
                      <a:cubicBezTo>
                        <a:pt x="212" y="196"/>
                        <a:pt x="212" y="196"/>
                        <a:pt x="212" y="196"/>
                      </a:cubicBezTo>
                      <a:cubicBezTo>
                        <a:pt x="212" y="197"/>
                        <a:pt x="212" y="197"/>
                        <a:pt x="212" y="197"/>
                      </a:cubicBezTo>
                      <a:cubicBezTo>
                        <a:pt x="211" y="197"/>
                        <a:pt x="211" y="197"/>
                        <a:pt x="211" y="197"/>
                      </a:cubicBezTo>
                      <a:cubicBezTo>
                        <a:pt x="212" y="198"/>
                        <a:pt x="212" y="198"/>
                        <a:pt x="212" y="198"/>
                      </a:cubicBezTo>
                      <a:cubicBezTo>
                        <a:pt x="213" y="199"/>
                        <a:pt x="213" y="199"/>
                        <a:pt x="213" y="199"/>
                      </a:cubicBezTo>
                      <a:cubicBezTo>
                        <a:pt x="213" y="198"/>
                        <a:pt x="213" y="198"/>
                        <a:pt x="213" y="198"/>
                      </a:cubicBezTo>
                      <a:cubicBezTo>
                        <a:pt x="213" y="198"/>
                        <a:pt x="213" y="198"/>
                        <a:pt x="213" y="198"/>
                      </a:cubicBezTo>
                      <a:cubicBezTo>
                        <a:pt x="213" y="197"/>
                        <a:pt x="213" y="197"/>
                        <a:pt x="213" y="197"/>
                      </a:cubicBezTo>
                      <a:cubicBezTo>
                        <a:pt x="213" y="197"/>
                        <a:pt x="213" y="197"/>
                        <a:pt x="213" y="197"/>
                      </a:cubicBezTo>
                      <a:cubicBezTo>
                        <a:pt x="215" y="199"/>
                        <a:pt x="215" y="199"/>
                        <a:pt x="215" y="199"/>
                      </a:cubicBezTo>
                      <a:cubicBezTo>
                        <a:pt x="217" y="200"/>
                        <a:pt x="217" y="200"/>
                        <a:pt x="217" y="200"/>
                      </a:cubicBezTo>
                      <a:cubicBezTo>
                        <a:pt x="217" y="201"/>
                        <a:pt x="217" y="201"/>
                        <a:pt x="217" y="201"/>
                      </a:cubicBezTo>
                      <a:cubicBezTo>
                        <a:pt x="216" y="201"/>
                        <a:pt x="216" y="201"/>
                        <a:pt x="216" y="201"/>
                      </a:cubicBezTo>
                      <a:cubicBezTo>
                        <a:pt x="215" y="201"/>
                        <a:pt x="215" y="201"/>
                        <a:pt x="215" y="201"/>
                      </a:cubicBezTo>
                      <a:cubicBezTo>
                        <a:pt x="214" y="201"/>
                        <a:pt x="214" y="201"/>
                        <a:pt x="214" y="201"/>
                      </a:cubicBezTo>
                      <a:cubicBezTo>
                        <a:pt x="214" y="202"/>
                        <a:pt x="214" y="202"/>
                        <a:pt x="214" y="202"/>
                      </a:cubicBezTo>
                      <a:cubicBezTo>
                        <a:pt x="214" y="202"/>
                        <a:pt x="214" y="202"/>
                        <a:pt x="214" y="202"/>
                      </a:cubicBezTo>
                      <a:cubicBezTo>
                        <a:pt x="215" y="202"/>
                        <a:pt x="215" y="202"/>
                        <a:pt x="215" y="202"/>
                      </a:cubicBezTo>
                      <a:cubicBezTo>
                        <a:pt x="217" y="202"/>
                        <a:pt x="217" y="202"/>
                        <a:pt x="217" y="202"/>
                      </a:cubicBezTo>
                      <a:cubicBezTo>
                        <a:pt x="218" y="201"/>
                        <a:pt x="218" y="201"/>
                        <a:pt x="218" y="201"/>
                      </a:cubicBezTo>
                      <a:cubicBezTo>
                        <a:pt x="218" y="201"/>
                        <a:pt x="218" y="201"/>
                        <a:pt x="218" y="201"/>
                      </a:cubicBezTo>
                      <a:cubicBezTo>
                        <a:pt x="219" y="201"/>
                        <a:pt x="219" y="201"/>
                        <a:pt x="219" y="201"/>
                      </a:cubicBezTo>
                      <a:cubicBezTo>
                        <a:pt x="219" y="202"/>
                        <a:pt x="219" y="202"/>
                        <a:pt x="219" y="202"/>
                      </a:cubicBezTo>
                      <a:cubicBezTo>
                        <a:pt x="221" y="204"/>
                        <a:pt x="221" y="204"/>
                        <a:pt x="221" y="204"/>
                      </a:cubicBezTo>
                      <a:cubicBezTo>
                        <a:pt x="220" y="206"/>
                        <a:pt x="220" y="206"/>
                        <a:pt x="220" y="206"/>
                      </a:cubicBezTo>
                      <a:cubicBezTo>
                        <a:pt x="219" y="207"/>
                        <a:pt x="219" y="207"/>
                        <a:pt x="219" y="207"/>
                      </a:cubicBezTo>
                      <a:cubicBezTo>
                        <a:pt x="218" y="208"/>
                        <a:pt x="218" y="208"/>
                        <a:pt x="218" y="208"/>
                      </a:cubicBezTo>
                      <a:cubicBezTo>
                        <a:pt x="218" y="208"/>
                        <a:pt x="218" y="208"/>
                        <a:pt x="218" y="208"/>
                      </a:cubicBezTo>
                      <a:cubicBezTo>
                        <a:pt x="217" y="208"/>
                        <a:pt x="217" y="208"/>
                        <a:pt x="217" y="208"/>
                      </a:cubicBezTo>
                      <a:cubicBezTo>
                        <a:pt x="216" y="207"/>
                        <a:pt x="216" y="207"/>
                        <a:pt x="216" y="207"/>
                      </a:cubicBezTo>
                      <a:cubicBezTo>
                        <a:pt x="214" y="207"/>
                        <a:pt x="214" y="207"/>
                        <a:pt x="214" y="207"/>
                      </a:cubicBezTo>
                      <a:cubicBezTo>
                        <a:pt x="213" y="206"/>
                        <a:pt x="213" y="206"/>
                        <a:pt x="213" y="206"/>
                      </a:cubicBezTo>
                      <a:cubicBezTo>
                        <a:pt x="212" y="204"/>
                        <a:pt x="212" y="204"/>
                        <a:pt x="212" y="204"/>
                      </a:cubicBezTo>
                      <a:cubicBezTo>
                        <a:pt x="211" y="204"/>
                        <a:pt x="211" y="204"/>
                        <a:pt x="211" y="204"/>
                      </a:cubicBezTo>
                      <a:cubicBezTo>
                        <a:pt x="211" y="204"/>
                        <a:pt x="211" y="204"/>
                        <a:pt x="211" y="204"/>
                      </a:cubicBezTo>
                      <a:cubicBezTo>
                        <a:pt x="211" y="204"/>
                        <a:pt x="211" y="204"/>
                        <a:pt x="211" y="204"/>
                      </a:cubicBezTo>
                      <a:cubicBezTo>
                        <a:pt x="211" y="205"/>
                        <a:pt x="211" y="205"/>
                        <a:pt x="211" y="205"/>
                      </a:cubicBezTo>
                      <a:cubicBezTo>
                        <a:pt x="212" y="206"/>
                        <a:pt x="212" y="206"/>
                        <a:pt x="212" y="206"/>
                      </a:cubicBezTo>
                      <a:cubicBezTo>
                        <a:pt x="213" y="208"/>
                        <a:pt x="213" y="208"/>
                        <a:pt x="213" y="208"/>
                      </a:cubicBezTo>
                      <a:cubicBezTo>
                        <a:pt x="214" y="209"/>
                        <a:pt x="214" y="209"/>
                        <a:pt x="214" y="209"/>
                      </a:cubicBezTo>
                      <a:cubicBezTo>
                        <a:pt x="213" y="210"/>
                        <a:pt x="213" y="210"/>
                        <a:pt x="213" y="210"/>
                      </a:cubicBezTo>
                      <a:cubicBezTo>
                        <a:pt x="213" y="210"/>
                        <a:pt x="213" y="210"/>
                        <a:pt x="213" y="210"/>
                      </a:cubicBezTo>
                      <a:cubicBezTo>
                        <a:pt x="212" y="210"/>
                        <a:pt x="212" y="210"/>
                        <a:pt x="212" y="210"/>
                      </a:cubicBezTo>
                      <a:cubicBezTo>
                        <a:pt x="211" y="209"/>
                        <a:pt x="211" y="209"/>
                        <a:pt x="211" y="209"/>
                      </a:cubicBezTo>
                      <a:cubicBezTo>
                        <a:pt x="211" y="209"/>
                        <a:pt x="211" y="209"/>
                        <a:pt x="211" y="209"/>
                      </a:cubicBezTo>
                      <a:cubicBezTo>
                        <a:pt x="211" y="209"/>
                        <a:pt x="211" y="209"/>
                        <a:pt x="211" y="209"/>
                      </a:cubicBezTo>
                      <a:cubicBezTo>
                        <a:pt x="211" y="210"/>
                        <a:pt x="211" y="210"/>
                        <a:pt x="211" y="210"/>
                      </a:cubicBezTo>
                      <a:cubicBezTo>
                        <a:pt x="212" y="210"/>
                        <a:pt x="212" y="210"/>
                        <a:pt x="212" y="210"/>
                      </a:cubicBezTo>
                      <a:cubicBezTo>
                        <a:pt x="212" y="211"/>
                        <a:pt x="212" y="211"/>
                        <a:pt x="212" y="211"/>
                      </a:cubicBezTo>
                      <a:cubicBezTo>
                        <a:pt x="211" y="210"/>
                        <a:pt x="211" y="210"/>
                        <a:pt x="211" y="210"/>
                      </a:cubicBezTo>
                      <a:cubicBezTo>
                        <a:pt x="210" y="210"/>
                        <a:pt x="210" y="210"/>
                        <a:pt x="210" y="210"/>
                      </a:cubicBezTo>
                      <a:cubicBezTo>
                        <a:pt x="210" y="211"/>
                        <a:pt x="210" y="211"/>
                        <a:pt x="210" y="211"/>
                      </a:cubicBezTo>
                      <a:cubicBezTo>
                        <a:pt x="211" y="211"/>
                        <a:pt x="211" y="211"/>
                        <a:pt x="211" y="211"/>
                      </a:cubicBezTo>
                      <a:cubicBezTo>
                        <a:pt x="211" y="212"/>
                        <a:pt x="211" y="212"/>
                        <a:pt x="211" y="212"/>
                      </a:cubicBezTo>
                      <a:cubicBezTo>
                        <a:pt x="210" y="213"/>
                        <a:pt x="210" y="213"/>
                        <a:pt x="210" y="213"/>
                      </a:cubicBezTo>
                      <a:cubicBezTo>
                        <a:pt x="210" y="212"/>
                        <a:pt x="210" y="212"/>
                        <a:pt x="210" y="212"/>
                      </a:cubicBezTo>
                      <a:cubicBezTo>
                        <a:pt x="209" y="212"/>
                        <a:pt x="209" y="212"/>
                        <a:pt x="209" y="212"/>
                      </a:cubicBezTo>
                      <a:cubicBezTo>
                        <a:pt x="210" y="212"/>
                        <a:pt x="210" y="212"/>
                        <a:pt x="210" y="212"/>
                      </a:cubicBezTo>
                      <a:cubicBezTo>
                        <a:pt x="209" y="213"/>
                        <a:pt x="209" y="213"/>
                        <a:pt x="209" y="213"/>
                      </a:cubicBezTo>
                      <a:cubicBezTo>
                        <a:pt x="209" y="213"/>
                        <a:pt x="209" y="213"/>
                        <a:pt x="209" y="213"/>
                      </a:cubicBezTo>
                      <a:cubicBezTo>
                        <a:pt x="208" y="212"/>
                        <a:pt x="208" y="212"/>
                        <a:pt x="208" y="212"/>
                      </a:cubicBezTo>
                      <a:cubicBezTo>
                        <a:pt x="207" y="213"/>
                        <a:pt x="207" y="213"/>
                        <a:pt x="207" y="213"/>
                      </a:cubicBezTo>
                      <a:cubicBezTo>
                        <a:pt x="206" y="214"/>
                        <a:pt x="206" y="214"/>
                        <a:pt x="206" y="214"/>
                      </a:cubicBezTo>
                      <a:cubicBezTo>
                        <a:pt x="207" y="214"/>
                        <a:pt x="207" y="214"/>
                        <a:pt x="207" y="214"/>
                      </a:cubicBezTo>
                      <a:cubicBezTo>
                        <a:pt x="207" y="215"/>
                        <a:pt x="207" y="215"/>
                        <a:pt x="207" y="215"/>
                      </a:cubicBezTo>
                      <a:cubicBezTo>
                        <a:pt x="207" y="215"/>
                        <a:pt x="207" y="215"/>
                        <a:pt x="207" y="215"/>
                      </a:cubicBezTo>
                      <a:cubicBezTo>
                        <a:pt x="206" y="214"/>
                        <a:pt x="206" y="214"/>
                        <a:pt x="206" y="214"/>
                      </a:cubicBezTo>
                      <a:cubicBezTo>
                        <a:pt x="205" y="214"/>
                        <a:pt x="205" y="214"/>
                        <a:pt x="205" y="214"/>
                      </a:cubicBezTo>
                      <a:cubicBezTo>
                        <a:pt x="205" y="214"/>
                        <a:pt x="205" y="214"/>
                        <a:pt x="205" y="214"/>
                      </a:cubicBezTo>
                      <a:cubicBezTo>
                        <a:pt x="204" y="214"/>
                        <a:pt x="204" y="214"/>
                        <a:pt x="204" y="214"/>
                      </a:cubicBezTo>
                      <a:cubicBezTo>
                        <a:pt x="204" y="214"/>
                        <a:pt x="204" y="214"/>
                        <a:pt x="204" y="214"/>
                      </a:cubicBezTo>
                      <a:cubicBezTo>
                        <a:pt x="205" y="215"/>
                        <a:pt x="205" y="215"/>
                        <a:pt x="205" y="215"/>
                      </a:cubicBezTo>
                      <a:cubicBezTo>
                        <a:pt x="205" y="216"/>
                        <a:pt x="205" y="216"/>
                        <a:pt x="205" y="216"/>
                      </a:cubicBezTo>
                      <a:cubicBezTo>
                        <a:pt x="205" y="216"/>
                        <a:pt x="205" y="216"/>
                        <a:pt x="205" y="216"/>
                      </a:cubicBezTo>
                      <a:cubicBezTo>
                        <a:pt x="204" y="216"/>
                        <a:pt x="204" y="216"/>
                        <a:pt x="204" y="216"/>
                      </a:cubicBezTo>
                      <a:cubicBezTo>
                        <a:pt x="203" y="217"/>
                        <a:pt x="203" y="217"/>
                        <a:pt x="203" y="217"/>
                      </a:cubicBezTo>
                      <a:cubicBezTo>
                        <a:pt x="202" y="218"/>
                        <a:pt x="202" y="218"/>
                        <a:pt x="202" y="218"/>
                      </a:cubicBezTo>
                      <a:cubicBezTo>
                        <a:pt x="202" y="218"/>
                        <a:pt x="202" y="218"/>
                        <a:pt x="202" y="218"/>
                      </a:cubicBezTo>
                      <a:cubicBezTo>
                        <a:pt x="202" y="219"/>
                        <a:pt x="202" y="219"/>
                        <a:pt x="202" y="219"/>
                      </a:cubicBezTo>
                      <a:cubicBezTo>
                        <a:pt x="201" y="219"/>
                        <a:pt x="201" y="219"/>
                        <a:pt x="201" y="219"/>
                      </a:cubicBezTo>
                      <a:cubicBezTo>
                        <a:pt x="201" y="219"/>
                        <a:pt x="201" y="219"/>
                        <a:pt x="201" y="219"/>
                      </a:cubicBezTo>
                      <a:cubicBezTo>
                        <a:pt x="201" y="220"/>
                        <a:pt x="201" y="220"/>
                        <a:pt x="201" y="220"/>
                      </a:cubicBezTo>
                      <a:cubicBezTo>
                        <a:pt x="200" y="220"/>
                        <a:pt x="200" y="220"/>
                        <a:pt x="200" y="220"/>
                      </a:cubicBezTo>
                      <a:cubicBezTo>
                        <a:pt x="199" y="222"/>
                        <a:pt x="199" y="222"/>
                        <a:pt x="199" y="222"/>
                      </a:cubicBezTo>
                      <a:cubicBezTo>
                        <a:pt x="198" y="222"/>
                        <a:pt x="198" y="222"/>
                        <a:pt x="198" y="222"/>
                      </a:cubicBezTo>
                      <a:cubicBezTo>
                        <a:pt x="198" y="223"/>
                        <a:pt x="198" y="223"/>
                        <a:pt x="198" y="223"/>
                      </a:cubicBezTo>
                      <a:cubicBezTo>
                        <a:pt x="197" y="224"/>
                        <a:pt x="197" y="224"/>
                        <a:pt x="197" y="224"/>
                      </a:cubicBezTo>
                      <a:cubicBezTo>
                        <a:pt x="196" y="223"/>
                        <a:pt x="196" y="223"/>
                        <a:pt x="196" y="223"/>
                      </a:cubicBezTo>
                      <a:cubicBezTo>
                        <a:pt x="196" y="223"/>
                        <a:pt x="196" y="223"/>
                        <a:pt x="196" y="223"/>
                      </a:cubicBezTo>
                      <a:cubicBezTo>
                        <a:pt x="196" y="224"/>
                        <a:pt x="196" y="224"/>
                        <a:pt x="196" y="224"/>
                      </a:cubicBezTo>
                      <a:cubicBezTo>
                        <a:pt x="195" y="225"/>
                        <a:pt x="195" y="225"/>
                        <a:pt x="195" y="225"/>
                      </a:cubicBezTo>
                      <a:cubicBezTo>
                        <a:pt x="195" y="227"/>
                        <a:pt x="195" y="227"/>
                        <a:pt x="195" y="227"/>
                      </a:cubicBezTo>
                      <a:cubicBezTo>
                        <a:pt x="194" y="228"/>
                        <a:pt x="194" y="228"/>
                        <a:pt x="194" y="228"/>
                      </a:cubicBezTo>
                      <a:cubicBezTo>
                        <a:pt x="194" y="229"/>
                        <a:pt x="194" y="229"/>
                        <a:pt x="194" y="229"/>
                      </a:cubicBezTo>
                      <a:cubicBezTo>
                        <a:pt x="193" y="229"/>
                        <a:pt x="193" y="229"/>
                        <a:pt x="193" y="229"/>
                      </a:cubicBezTo>
                      <a:cubicBezTo>
                        <a:pt x="193" y="231"/>
                        <a:pt x="193" y="231"/>
                        <a:pt x="193" y="231"/>
                      </a:cubicBezTo>
                      <a:cubicBezTo>
                        <a:pt x="193" y="231"/>
                        <a:pt x="193" y="231"/>
                        <a:pt x="193" y="231"/>
                      </a:cubicBezTo>
                      <a:cubicBezTo>
                        <a:pt x="193" y="233"/>
                        <a:pt x="193" y="233"/>
                        <a:pt x="193" y="233"/>
                      </a:cubicBezTo>
                      <a:cubicBezTo>
                        <a:pt x="192" y="234"/>
                        <a:pt x="192" y="234"/>
                        <a:pt x="192" y="234"/>
                      </a:cubicBezTo>
                      <a:cubicBezTo>
                        <a:pt x="192" y="235"/>
                        <a:pt x="192" y="235"/>
                        <a:pt x="192" y="235"/>
                      </a:cubicBezTo>
                      <a:cubicBezTo>
                        <a:pt x="191" y="235"/>
                        <a:pt x="191" y="235"/>
                        <a:pt x="191" y="235"/>
                      </a:cubicBezTo>
                      <a:cubicBezTo>
                        <a:pt x="190" y="235"/>
                        <a:pt x="190" y="235"/>
                        <a:pt x="190" y="235"/>
                      </a:cubicBezTo>
                      <a:cubicBezTo>
                        <a:pt x="191" y="235"/>
                        <a:pt x="191" y="235"/>
                        <a:pt x="191" y="235"/>
                      </a:cubicBezTo>
                      <a:cubicBezTo>
                        <a:pt x="192" y="236"/>
                        <a:pt x="192" y="236"/>
                        <a:pt x="192" y="236"/>
                      </a:cubicBezTo>
                      <a:cubicBezTo>
                        <a:pt x="191" y="237"/>
                        <a:pt x="191" y="237"/>
                        <a:pt x="191" y="237"/>
                      </a:cubicBezTo>
                      <a:cubicBezTo>
                        <a:pt x="192" y="237"/>
                        <a:pt x="192" y="237"/>
                        <a:pt x="192" y="237"/>
                      </a:cubicBezTo>
                      <a:cubicBezTo>
                        <a:pt x="192" y="239"/>
                        <a:pt x="192" y="239"/>
                        <a:pt x="192" y="239"/>
                      </a:cubicBezTo>
                      <a:cubicBezTo>
                        <a:pt x="192" y="239"/>
                        <a:pt x="192" y="239"/>
                        <a:pt x="192" y="239"/>
                      </a:cubicBezTo>
                      <a:cubicBezTo>
                        <a:pt x="191" y="241"/>
                        <a:pt x="191" y="241"/>
                        <a:pt x="191" y="241"/>
                      </a:cubicBezTo>
                      <a:cubicBezTo>
                        <a:pt x="190" y="242"/>
                        <a:pt x="190" y="242"/>
                        <a:pt x="190" y="242"/>
                      </a:cubicBezTo>
                      <a:cubicBezTo>
                        <a:pt x="188" y="242"/>
                        <a:pt x="188" y="242"/>
                        <a:pt x="188" y="242"/>
                      </a:cubicBezTo>
                      <a:cubicBezTo>
                        <a:pt x="187" y="243"/>
                        <a:pt x="187" y="243"/>
                        <a:pt x="187" y="243"/>
                      </a:cubicBezTo>
                      <a:cubicBezTo>
                        <a:pt x="188" y="242"/>
                        <a:pt x="188" y="242"/>
                        <a:pt x="188" y="242"/>
                      </a:cubicBezTo>
                      <a:cubicBezTo>
                        <a:pt x="191" y="242"/>
                        <a:pt x="191" y="242"/>
                        <a:pt x="191" y="242"/>
                      </a:cubicBezTo>
                      <a:cubicBezTo>
                        <a:pt x="192" y="240"/>
                        <a:pt x="192" y="240"/>
                        <a:pt x="192" y="240"/>
                      </a:cubicBezTo>
                      <a:cubicBezTo>
                        <a:pt x="194" y="238"/>
                        <a:pt x="194" y="238"/>
                        <a:pt x="194" y="238"/>
                      </a:cubicBezTo>
                      <a:cubicBezTo>
                        <a:pt x="196" y="238"/>
                        <a:pt x="196" y="238"/>
                        <a:pt x="196" y="238"/>
                      </a:cubicBezTo>
                      <a:cubicBezTo>
                        <a:pt x="197" y="238"/>
                        <a:pt x="197" y="238"/>
                        <a:pt x="197" y="238"/>
                      </a:cubicBezTo>
                      <a:cubicBezTo>
                        <a:pt x="197" y="239"/>
                        <a:pt x="197" y="239"/>
                        <a:pt x="197" y="239"/>
                      </a:cubicBezTo>
                      <a:cubicBezTo>
                        <a:pt x="197" y="240"/>
                        <a:pt x="197" y="240"/>
                        <a:pt x="197" y="240"/>
                      </a:cubicBezTo>
                      <a:cubicBezTo>
                        <a:pt x="197" y="241"/>
                        <a:pt x="197" y="241"/>
                        <a:pt x="197" y="241"/>
                      </a:cubicBezTo>
                      <a:cubicBezTo>
                        <a:pt x="197" y="242"/>
                        <a:pt x="197" y="242"/>
                        <a:pt x="197" y="242"/>
                      </a:cubicBezTo>
                      <a:cubicBezTo>
                        <a:pt x="197" y="244"/>
                        <a:pt x="197" y="244"/>
                        <a:pt x="197" y="244"/>
                      </a:cubicBezTo>
                      <a:cubicBezTo>
                        <a:pt x="197" y="246"/>
                        <a:pt x="197" y="246"/>
                        <a:pt x="197" y="246"/>
                      </a:cubicBezTo>
                      <a:cubicBezTo>
                        <a:pt x="197" y="246"/>
                        <a:pt x="197" y="246"/>
                        <a:pt x="197" y="246"/>
                      </a:cubicBezTo>
                      <a:cubicBezTo>
                        <a:pt x="197" y="248"/>
                        <a:pt x="197" y="248"/>
                        <a:pt x="197" y="248"/>
                      </a:cubicBezTo>
                      <a:cubicBezTo>
                        <a:pt x="197" y="249"/>
                        <a:pt x="197" y="249"/>
                        <a:pt x="197" y="249"/>
                      </a:cubicBezTo>
                      <a:cubicBezTo>
                        <a:pt x="194" y="251"/>
                        <a:pt x="194" y="251"/>
                        <a:pt x="194" y="251"/>
                      </a:cubicBezTo>
                      <a:cubicBezTo>
                        <a:pt x="193" y="252"/>
                        <a:pt x="193" y="252"/>
                        <a:pt x="193" y="252"/>
                      </a:cubicBezTo>
                      <a:cubicBezTo>
                        <a:pt x="192" y="252"/>
                        <a:pt x="192" y="252"/>
                        <a:pt x="192" y="252"/>
                      </a:cubicBezTo>
                      <a:cubicBezTo>
                        <a:pt x="193" y="252"/>
                        <a:pt x="193" y="252"/>
                        <a:pt x="193" y="252"/>
                      </a:cubicBezTo>
                      <a:cubicBezTo>
                        <a:pt x="194" y="252"/>
                        <a:pt x="194" y="252"/>
                        <a:pt x="194" y="252"/>
                      </a:cubicBezTo>
                      <a:cubicBezTo>
                        <a:pt x="198" y="251"/>
                        <a:pt x="198" y="251"/>
                        <a:pt x="198" y="251"/>
                      </a:cubicBezTo>
                      <a:cubicBezTo>
                        <a:pt x="201" y="250"/>
                        <a:pt x="201" y="250"/>
                        <a:pt x="201" y="250"/>
                      </a:cubicBezTo>
                      <a:cubicBezTo>
                        <a:pt x="203" y="250"/>
                        <a:pt x="203" y="250"/>
                        <a:pt x="203" y="250"/>
                      </a:cubicBezTo>
                      <a:cubicBezTo>
                        <a:pt x="205" y="251"/>
                        <a:pt x="205" y="251"/>
                        <a:pt x="205" y="251"/>
                      </a:cubicBezTo>
                      <a:cubicBezTo>
                        <a:pt x="206" y="252"/>
                        <a:pt x="206" y="252"/>
                        <a:pt x="206" y="252"/>
                      </a:cubicBezTo>
                      <a:cubicBezTo>
                        <a:pt x="208" y="253"/>
                        <a:pt x="208" y="253"/>
                        <a:pt x="208" y="253"/>
                      </a:cubicBezTo>
                      <a:cubicBezTo>
                        <a:pt x="209" y="253"/>
                        <a:pt x="209" y="253"/>
                        <a:pt x="209" y="253"/>
                      </a:cubicBezTo>
                      <a:cubicBezTo>
                        <a:pt x="210" y="254"/>
                        <a:pt x="210" y="254"/>
                        <a:pt x="210" y="254"/>
                      </a:cubicBezTo>
                      <a:cubicBezTo>
                        <a:pt x="211" y="255"/>
                        <a:pt x="211" y="255"/>
                        <a:pt x="211" y="255"/>
                      </a:cubicBezTo>
                      <a:cubicBezTo>
                        <a:pt x="212" y="255"/>
                        <a:pt x="212" y="255"/>
                        <a:pt x="212" y="255"/>
                      </a:cubicBezTo>
                      <a:cubicBezTo>
                        <a:pt x="213" y="257"/>
                        <a:pt x="213" y="257"/>
                        <a:pt x="213" y="257"/>
                      </a:cubicBezTo>
                      <a:cubicBezTo>
                        <a:pt x="214" y="257"/>
                        <a:pt x="214" y="257"/>
                        <a:pt x="214" y="257"/>
                      </a:cubicBezTo>
                      <a:cubicBezTo>
                        <a:pt x="214" y="258"/>
                        <a:pt x="214" y="258"/>
                        <a:pt x="214" y="258"/>
                      </a:cubicBezTo>
                      <a:cubicBezTo>
                        <a:pt x="214" y="258"/>
                        <a:pt x="214" y="258"/>
                        <a:pt x="214" y="258"/>
                      </a:cubicBezTo>
                      <a:cubicBezTo>
                        <a:pt x="215" y="260"/>
                        <a:pt x="215" y="260"/>
                        <a:pt x="215" y="260"/>
                      </a:cubicBezTo>
                      <a:cubicBezTo>
                        <a:pt x="215" y="260"/>
                        <a:pt x="215" y="260"/>
                        <a:pt x="215" y="260"/>
                      </a:cubicBezTo>
                      <a:cubicBezTo>
                        <a:pt x="216" y="260"/>
                        <a:pt x="216" y="260"/>
                        <a:pt x="216" y="260"/>
                      </a:cubicBezTo>
                      <a:cubicBezTo>
                        <a:pt x="216" y="261"/>
                        <a:pt x="216" y="261"/>
                        <a:pt x="216" y="261"/>
                      </a:cubicBezTo>
                      <a:cubicBezTo>
                        <a:pt x="218" y="262"/>
                        <a:pt x="218" y="262"/>
                        <a:pt x="218" y="262"/>
                      </a:cubicBezTo>
                      <a:cubicBezTo>
                        <a:pt x="219" y="262"/>
                        <a:pt x="219" y="262"/>
                        <a:pt x="219" y="262"/>
                      </a:cubicBezTo>
                      <a:cubicBezTo>
                        <a:pt x="220" y="263"/>
                        <a:pt x="220" y="263"/>
                        <a:pt x="220" y="263"/>
                      </a:cubicBezTo>
                      <a:cubicBezTo>
                        <a:pt x="221" y="263"/>
                        <a:pt x="221" y="263"/>
                        <a:pt x="221" y="263"/>
                      </a:cubicBezTo>
                      <a:cubicBezTo>
                        <a:pt x="222" y="264"/>
                        <a:pt x="222" y="264"/>
                        <a:pt x="222" y="264"/>
                      </a:cubicBezTo>
                      <a:cubicBezTo>
                        <a:pt x="223" y="265"/>
                        <a:pt x="223" y="265"/>
                        <a:pt x="223" y="265"/>
                      </a:cubicBezTo>
                      <a:cubicBezTo>
                        <a:pt x="224" y="266"/>
                        <a:pt x="224" y="266"/>
                        <a:pt x="224" y="266"/>
                      </a:cubicBezTo>
                      <a:cubicBezTo>
                        <a:pt x="224" y="266"/>
                        <a:pt x="224" y="266"/>
                        <a:pt x="224" y="266"/>
                      </a:cubicBezTo>
                      <a:cubicBezTo>
                        <a:pt x="224" y="267"/>
                        <a:pt x="224" y="267"/>
                        <a:pt x="224" y="267"/>
                      </a:cubicBezTo>
                      <a:cubicBezTo>
                        <a:pt x="225" y="267"/>
                        <a:pt x="225" y="267"/>
                        <a:pt x="225" y="267"/>
                      </a:cubicBezTo>
                      <a:cubicBezTo>
                        <a:pt x="226" y="267"/>
                        <a:pt x="226" y="267"/>
                        <a:pt x="226" y="267"/>
                      </a:cubicBezTo>
                      <a:cubicBezTo>
                        <a:pt x="227" y="267"/>
                        <a:pt x="227" y="267"/>
                        <a:pt x="227" y="267"/>
                      </a:cubicBezTo>
                      <a:cubicBezTo>
                        <a:pt x="229" y="267"/>
                        <a:pt x="229" y="267"/>
                        <a:pt x="229" y="267"/>
                      </a:cubicBezTo>
                      <a:cubicBezTo>
                        <a:pt x="229" y="267"/>
                        <a:pt x="229" y="267"/>
                        <a:pt x="229" y="267"/>
                      </a:cubicBezTo>
                      <a:cubicBezTo>
                        <a:pt x="230" y="267"/>
                        <a:pt x="230" y="267"/>
                        <a:pt x="230" y="267"/>
                      </a:cubicBezTo>
                      <a:cubicBezTo>
                        <a:pt x="231" y="267"/>
                        <a:pt x="231" y="267"/>
                        <a:pt x="231" y="267"/>
                      </a:cubicBezTo>
                      <a:cubicBezTo>
                        <a:pt x="233" y="268"/>
                        <a:pt x="233" y="268"/>
                        <a:pt x="233" y="268"/>
                      </a:cubicBezTo>
                      <a:cubicBezTo>
                        <a:pt x="234" y="267"/>
                        <a:pt x="234" y="267"/>
                        <a:pt x="234" y="267"/>
                      </a:cubicBezTo>
                      <a:cubicBezTo>
                        <a:pt x="235" y="267"/>
                        <a:pt x="235" y="267"/>
                        <a:pt x="235" y="267"/>
                      </a:cubicBezTo>
                      <a:cubicBezTo>
                        <a:pt x="235" y="268"/>
                        <a:pt x="235" y="268"/>
                        <a:pt x="235" y="268"/>
                      </a:cubicBezTo>
                      <a:cubicBezTo>
                        <a:pt x="235" y="268"/>
                        <a:pt x="235" y="268"/>
                        <a:pt x="235" y="268"/>
                      </a:cubicBezTo>
                      <a:cubicBezTo>
                        <a:pt x="236" y="268"/>
                        <a:pt x="236" y="268"/>
                        <a:pt x="236" y="268"/>
                      </a:cubicBezTo>
                      <a:cubicBezTo>
                        <a:pt x="236" y="269"/>
                        <a:pt x="236" y="269"/>
                        <a:pt x="236" y="269"/>
                      </a:cubicBezTo>
                      <a:cubicBezTo>
                        <a:pt x="235" y="271"/>
                        <a:pt x="235" y="271"/>
                        <a:pt x="235" y="271"/>
                      </a:cubicBezTo>
                      <a:cubicBezTo>
                        <a:pt x="234" y="272"/>
                        <a:pt x="234" y="272"/>
                        <a:pt x="234" y="272"/>
                      </a:cubicBezTo>
                      <a:cubicBezTo>
                        <a:pt x="234" y="273"/>
                        <a:pt x="234" y="273"/>
                        <a:pt x="234" y="273"/>
                      </a:cubicBezTo>
                      <a:cubicBezTo>
                        <a:pt x="233" y="274"/>
                        <a:pt x="233" y="274"/>
                        <a:pt x="233" y="274"/>
                      </a:cubicBezTo>
                      <a:cubicBezTo>
                        <a:pt x="233" y="275"/>
                        <a:pt x="233" y="275"/>
                        <a:pt x="233" y="275"/>
                      </a:cubicBezTo>
                      <a:cubicBezTo>
                        <a:pt x="234" y="275"/>
                        <a:pt x="234" y="275"/>
                        <a:pt x="234" y="275"/>
                      </a:cubicBezTo>
                      <a:cubicBezTo>
                        <a:pt x="234" y="277"/>
                        <a:pt x="234" y="277"/>
                        <a:pt x="234" y="277"/>
                      </a:cubicBezTo>
                      <a:cubicBezTo>
                        <a:pt x="232" y="279"/>
                        <a:pt x="232" y="279"/>
                        <a:pt x="232" y="279"/>
                      </a:cubicBezTo>
                      <a:cubicBezTo>
                        <a:pt x="232" y="279"/>
                        <a:pt x="232" y="279"/>
                        <a:pt x="232" y="279"/>
                      </a:cubicBezTo>
                      <a:cubicBezTo>
                        <a:pt x="232" y="280"/>
                        <a:pt x="232" y="280"/>
                        <a:pt x="232" y="280"/>
                      </a:cubicBezTo>
                      <a:cubicBezTo>
                        <a:pt x="231" y="281"/>
                        <a:pt x="231" y="281"/>
                        <a:pt x="231" y="281"/>
                      </a:cubicBezTo>
                      <a:cubicBezTo>
                        <a:pt x="231" y="283"/>
                        <a:pt x="231" y="283"/>
                        <a:pt x="231" y="283"/>
                      </a:cubicBezTo>
                      <a:cubicBezTo>
                        <a:pt x="231" y="284"/>
                        <a:pt x="231" y="284"/>
                        <a:pt x="231" y="284"/>
                      </a:cubicBezTo>
                      <a:cubicBezTo>
                        <a:pt x="232" y="284"/>
                        <a:pt x="232" y="284"/>
                        <a:pt x="232" y="284"/>
                      </a:cubicBezTo>
                      <a:cubicBezTo>
                        <a:pt x="232" y="285"/>
                        <a:pt x="232" y="285"/>
                        <a:pt x="232" y="285"/>
                      </a:cubicBezTo>
                      <a:cubicBezTo>
                        <a:pt x="233" y="286"/>
                        <a:pt x="233" y="286"/>
                        <a:pt x="233" y="286"/>
                      </a:cubicBezTo>
                      <a:cubicBezTo>
                        <a:pt x="233" y="286"/>
                        <a:pt x="233" y="286"/>
                        <a:pt x="233" y="286"/>
                      </a:cubicBezTo>
                      <a:cubicBezTo>
                        <a:pt x="233" y="287"/>
                        <a:pt x="233" y="287"/>
                        <a:pt x="233" y="287"/>
                      </a:cubicBezTo>
                      <a:cubicBezTo>
                        <a:pt x="233" y="287"/>
                        <a:pt x="233" y="287"/>
                        <a:pt x="233" y="287"/>
                      </a:cubicBezTo>
                      <a:cubicBezTo>
                        <a:pt x="233" y="288"/>
                        <a:pt x="233" y="288"/>
                        <a:pt x="233" y="288"/>
                      </a:cubicBezTo>
                      <a:cubicBezTo>
                        <a:pt x="234" y="288"/>
                        <a:pt x="234" y="288"/>
                        <a:pt x="234" y="288"/>
                      </a:cubicBezTo>
                      <a:cubicBezTo>
                        <a:pt x="235" y="289"/>
                        <a:pt x="235" y="289"/>
                        <a:pt x="235" y="289"/>
                      </a:cubicBezTo>
                      <a:cubicBezTo>
                        <a:pt x="235" y="289"/>
                        <a:pt x="235" y="289"/>
                        <a:pt x="235" y="289"/>
                      </a:cubicBezTo>
                      <a:cubicBezTo>
                        <a:pt x="236" y="289"/>
                        <a:pt x="236" y="289"/>
                        <a:pt x="236" y="289"/>
                      </a:cubicBezTo>
                      <a:cubicBezTo>
                        <a:pt x="236" y="290"/>
                        <a:pt x="236" y="290"/>
                        <a:pt x="236" y="290"/>
                      </a:cubicBezTo>
                      <a:cubicBezTo>
                        <a:pt x="236" y="292"/>
                        <a:pt x="236" y="292"/>
                        <a:pt x="236" y="292"/>
                      </a:cubicBezTo>
                      <a:cubicBezTo>
                        <a:pt x="237" y="292"/>
                        <a:pt x="237" y="292"/>
                        <a:pt x="237" y="292"/>
                      </a:cubicBezTo>
                      <a:cubicBezTo>
                        <a:pt x="236" y="293"/>
                        <a:pt x="236" y="293"/>
                        <a:pt x="236" y="293"/>
                      </a:cubicBezTo>
                      <a:cubicBezTo>
                        <a:pt x="234" y="295"/>
                        <a:pt x="234" y="295"/>
                        <a:pt x="234" y="295"/>
                      </a:cubicBezTo>
                      <a:cubicBezTo>
                        <a:pt x="236" y="294"/>
                        <a:pt x="236" y="294"/>
                        <a:pt x="236" y="294"/>
                      </a:cubicBezTo>
                      <a:cubicBezTo>
                        <a:pt x="237" y="293"/>
                        <a:pt x="237" y="293"/>
                        <a:pt x="237" y="293"/>
                      </a:cubicBezTo>
                      <a:cubicBezTo>
                        <a:pt x="238" y="294"/>
                        <a:pt x="238" y="294"/>
                        <a:pt x="238" y="294"/>
                      </a:cubicBezTo>
                      <a:cubicBezTo>
                        <a:pt x="239" y="294"/>
                        <a:pt x="239" y="294"/>
                        <a:pt x="239" y="294"/>
                      </a:cubicBezTo>
                      <a:cubicBezTo>
                        <a:pt x="240" y="295"/>
                        <a:pt x="240" y="295"/>
                        <a:pt x="240" y="295"/>
                      </a:cubicBezTo>
                      <a:cubicBezTo>
                        <a:pt x="240" y="294"/>
                        <a:pt x="240" y="294"/>
                        <a:pt x="240" y="294"/>
                      </a:cubicBezTo>
                      <a:cubicBezTo>
                        <a:pt x="240" y="293"/>
                        <a:pt x="240" y="293"/>
                        <a:pt x="240" y="293"/>
                      </a:cubicBezTo>
                      <a:cubicBezTo>
                        <a:pt x="242" y="291"/>
                        <a:pt x="242" y="291"/>
                        <a:pt x="242" y="291"/>
                      </a:cubicBezTo>
                      <a:cubicBezTo>
                        <a:pt x="242" y="291"/>
                        <a:pt x="242" y="291"/>
                        <a:pt x="242" y="291"/>
                      </a:cubicBezTo>
                      <a:cubicBezTo>
                        <a:pt x="242" y="292"/>
                        <a:pt x="242" y="292"/>
                        <a:pt x="242" y="292"/>
                      </a:cubicBezTo>
                      <a:cubicBezTo>
                        <a:pt x="242" y="292"/>
                        <a:pt x="242" y="292"/>
                        <a:pt x="242" y="292"/>
                      </a:cubicBezTo>
                      <a:cubicBezTo>
                        <a:pt x="242" y="293"/>
                        <a:pt x="242" y="293"/>
                        <a:pt x="242" y="293"/>
                      </a:cubicBezTo>
                      <a:cubicBezTo>
                        <a:pt x="243" y="294"/>
                        <a:pt x="243" y="294"/>
                        <a:pt x="243" y="294"/>
                      </a:cubicBezTo>
                      <a:cubicBezTo>
                        <a:pt x="243" y="295"/>
                        <a:pt x="243" y="295"/>
                        <a:pt x="243" y="295"/>
                      </a:cubicBezTo>
                      <a:cubicBezTo>
                        <a:pt x="244" y="296"/>
                        <a:pt x="244" y="296"/>
                        <a:pt x="244" y="296"/>
                      </a:cubicBezTo>
                      <a:cubicBezTo>
                        <a:pt x="245" y="296"/>
                        <a:pt x="245" y="296"/>
                        <a:pt x="245" y="296"/>
                      </a:cubicBezTo>
                      <a:cubicBezTo>
                        <a:pt x="244" y="296"/>
                        <a:pt x="244" y="296"/>
                        <a:pt x="244" y="296"/>
                      </a:cubicBezTo>
                      <a:cubicBezTo>
                        <a:pt x="244" y="295"/>
                        <a:pt x="244" y="295"/>
                        <a:pt x="244" y="295"/>
                      </a:cubicBezTo>
                      <a:cubicBezTo>
                        <a:pt x="243" y="294"/>
                        <a:pt x="243" y="294"/>
                        <a:pt x="243" y="294"/>
                      </a:cubicBezTo>
                      <a:cubicBezTo>
                        <a:pt x="244" y="293"/>
                        <a:pt x="244" y="293"/>
                        <a:pt x="244" y="293"/>
                      </a:cubicBezTo>
                      <a:cubicBezTo>
                        <a:pt x="244" y="292"/>
                        <a:pt x="244" y="292"/>
                        <a:pt x="244" y="292"/>
                      </a:cubicBezTo>
                      <a:cubicBezTo>
                        <a:pt x="244" y="291"/>
                        <a:pt x="244" y="291"/>
                        <a:pt x="244" y="291"/>
                      </a:cubicBezTo>
                      <a:cubicBezTo>
                        <a:pt x="244" y="291"/>
                        <a:pt x="244" y="291"/>
                        <a:pt x="244" y="291"/>
                      </a:cubicBezTo>
                      <a:cubicBezTo>
                        <a:pt x="244" y="291"/>
                        <a:pt x="244" y="291"/>
                        <a:pt x="244" y="291"/>
                      </a:cubicBezTo>
                      <a:cubicBezTo>
                        <a:pt x="244" y="291"/>
                        <a:pt x="244" y="291"/>
                        <a:pt x="244" y="291"/>
                      </a:cubicBezTo>
                      <a:cubicBezTo>
                        <a:pt x="245" y="289"/>
                        <a:pt x="245" y="289"/>
                        <a:pt x="245" y="289"/>
                      </a:cubicBezTo>
                      <a:cubicBezTo>
                        <a:pt x="246" y="288"/>
                        <a:pt x="246" y="288"/>
                        <a:pt x="246" y="288"/>
                      </a:cubicBezTo>
                      <a:cubicBezTo>
                        <a:pt x="246" y="288"/>
                        <a:pt x="246" y="288"/>
                        <a:pt x="246" y="288"/>
                      </a:cubicBezTo>
                      <a:cubicBezTo>
                        <a:pt x="246" y="287"/>
                        <a:pt x="246" y="287"/>
                        <a:pt x="246" y="287"/>
                      </a:cubicBezTo>
                      <a:cubicBezTo>
                        <a:pt x="245" y="286"/>
                        <a:pt x="245" y="286"/>
                        <a:pt x="245" y="286"/>
                      </a:cubicBezTo>
                      <a:cubicBezTo>
                        <a:pt x="245" y="286"/>
                        <a:pt x="245" y="286"/>
                        <a:pt x="245" y="286"/>
                      </a:cubicBezTo>
                      <a:cubicBezTo>
                        <a:pt x="246" y="285"/>
                        <a:pt x="246" y="285"/>
                        <a:pt x="246" y="285"/>
                      </a:cubicBezTo>
                      <a:cubicBezTo>
                        <a:pt x="246" y="284"/>
                        <a:pt x="246" y="284"/>
                        <a:pt x="246" y="284"/>
                      </a:cubicBezTo>
                      <a:cubicBezTo>
                        <a:pt x="246" y="284"/>
                        <a:pt x="246" y="284"/>
                        <a:pt x="246" y="284"/>
                      </a:cubicBezTo>
                      <a:cubicBezTo>
                        <a:pt x="245" y="283"/>
                        <a:pt x="245" y="283"/>
                        <a:pt x="245" y="283"/>
                      </a:cubicBezTo>
                      <a:cubicBezTo>
                        <a:pt x="245" y="283"/>
                        <a:pt x="245" y="283"/>
                        <a:pt x="245" y="283"/>
                      </a:cubicBezTo>
                      <a:cubicBezTo>
                        <a:pt x="246" y="281"/>
                        <a:pt x="246" y="281"/>
                        <a:pt x="246" y="281"/>
                      </a:cubicBezTo>
                      <a:cubicBezTo>
                        <a:pt x="245" y="280"/>
                        <a:pt x="245" y="280"/>
                        <a:pt x="245" y="280"/>
                      </a:cubicBezTo>
                      <a:cubicBezTo>
                        <a:pt x="246" y="279"/>
                        <a:pt x="246" y="279"/>
                        <a:pt x="246" y="279"/>
                      </a:cubicBezTo>
                      <a:cubicBezTo>
                        <a:pt x="246" y="278"/>
                        <a:pt x="246" y="278"/>
                        <a:pt x="246" y="278"/>
                      </a:cubicBezTo>
                      <a:cubicBezTo>
                        <a:pt x="246" y="277"/>
                        <a:pt x="246" y="277"/>
                        <a:pt x="246" y="277"/>
                      </a:cubicBezTo>
                      <a:cubicBezTo>
                        <a:pt x="246" y="277"/>
                        <a:pt x="246" y="277"/>
                        <a:pt x="246" y="277"/>
                      </a:cubicBezTo>
                      <a:cubicBezTo>
                        <a:pt x="246" y="276"/>
                        <a:pt x="246" y="276"/>
                        <a:pt x="246" y="276"/>
                      </a:cubicBezTo>
                      <a:cubicBezTo>
                        <a:pt x="247" y="276"/>
                        <a:pt x="247" y="276"/>
                        <a:pt x="247" y="276"/>
                      </a:cubicBezTo>
                      <a:cubicBezTo>
                        <a:pt x="246" y="276"/>
                        <a:pt x="246" y="276"/>
                        <a:pt x="246" y="276"/>
                      </a:cubicBezTo>
                      <a:cubicBezTo>
                        <a:pt x="246" y="275"/>
                        <a:pt x="246" y="275"/>
                        <a:pt x="246" y="275"/>
                      </a:cubicBezTo>
                      <a:cubicBezTo>
                        <a:pt x="246" y="275"/>
                        <a:pt x="246" y="275"/>
                        <a:pt x="246" y="275"/>
                      </a:cubicBezTo>
                      <a:cubicBezTo>
                        <a:pt x="246" y="274"/>
                        <a:pt x="246" y="274"/>
                        <a:pt x="246" y="274"/>
                      </a:cubicBezTo>
                      <a:cubicBezTo>
                        <a:pt x="246" y="273"/>
                        <a:pt x="246" y="273"/>
                        <a:pt x="246" y="273"/>
                      </a:cubicBezTo>
                      <a:cubicBezTo>
                        <a:pt x="246" y="273"/>
                        <a:pt x="246" y="273"/>
                        <a:pt x="246" y="273"/>
                      </a:cubicBezTo>
                      <a:cubicBezTo>
                        <a:pt x="245" y="272"/>
                        <a:pt x="245" y="272"/>
                        <a:pt x="245" y="272"/>
                      </a:cubicBezTo>
                      <a:cubicBezTo>
                        <a:pt x="245" y="271"/>
                        <a:pt x="245" y="271"/>
                        <a:pt x="245" y="271"/>
                      </a:cubicBezTo>
                      <a:cubicBezTo>
                        <a:pt x="246" y="271"/>
                        <a:pt x="246" y="271"/>
                        <a:pt x="246" y="271"/>
                      </a:cubicBezTo>
                      <a:cubicBezTo>
                        <a:pt x="248" y="271"/>
                        <a:pt x="248" y="271"/>
                        <a:pt x="248" y="271"/>
                      </a:cubicBezTo>
                      <a:cubicBezTo>
                        <a:pt x="249" y="270"/>
                        <a:pt x="249" y="270"/>
                        <a:pt x="249" y="270"/>
                      </a:cubicBezTo>
                      <a:cubicBezTo>
                        <a:pt x="250" y="270"/>
                        <a:pt x="250" y="270"/>
                        <a:pt x="250" y="270"/>
                      </a:cubicBezTo>
                      <a:cubicBezTo>
                        <a:pt x="251" y="270"/>
                        <a:pt x="251" y="270"/>
                        <a:pt x="251" y="270"/>
                      </a:cubicBezTo>
                      <a:cubicBezTo>
                        <a:pt x="253" y="269"/>
                        <a:pt x="253" y="269"/>
                        <a:pt x="253" y="269"/>
                      </a:cubicBezTo>
                      <a:cubicBezTo>
                        <a:pt x="256" y="268"/>
                        <a:pt x="256" y="268"/>
                        <a:pt x="256" y="268"/>
                      </a:cubicBezTo>
                      <a:cubicBezTo>
                        <a:pt x="256" y="268"/>
                        <a:pt x="256" y="268"/>
                        <a:pt x="256" y="268"/>
                      </a:cubicBezTo>
                      <a:cubicBezTo>
                        <a:pt x="256" y="267"/>
                        <a:pt x="256" y="267"/>
                        <a:pt x="256" y="267"/>
                      </a:cubicBezTo>
                      <a:cubicBezTo>
                        <a:pt x="259" y="266"/>
                        <a:pt x="259" y="266"/>
                        <a:pt x="259" y="266"/>
                      </a:cubicBezTo>
                      <a:cubicBezTo>
                        <a:pt x="259" y="265"/>
                        <a:pt x="259" y="265"/>
                        <a:pt x="259" y="265"/>
                      </a:cubicBezTo>
                      <a:cubicBezTo>
                        <a:pt x="260" y="265"/>
                        <a:pt x="260" y="265"/>
                        <a:pt x="260" y="265"/>
                      </a:cubicBezTo>
                      <a:cubicBezTo>
                        <a:pt x="261" y="263"/>
                        <a:pt x="261" y="263"/>
                        <a:pt x="261" y="263"/>
                      </a:cubicBezTo>
                      <a:cubicBezTo>
                        <a:pt x="262" y="263"/>
                        <a:pt x="262" y="263"/>
                        <a:pt x="262" y="263"/>
                      </a:cubicBezTo>
                      <a:cubicBezTo>
                        <a:pt x="262" y="264"/>
                        <a:pt x="262" y="264"/>
                        <a:pt x="262" y="264"/>
                      </a:cubicBezTo>
                      <a:cubicBezTo>
                        <a:pt x="263" y="263"/>
                        <a:pt x="263" y="263"/>
                        <a:pt x="263" y="263"/>
                      </a:cubicBezTo>
                      <a:cubicBezTo>
                        <a:pt x="264" y="263"/>
                        <a:pt x="264" y="263"/>
                        <a:pt x="264" y="263"/>
                      </a:cubicBezTo>
                      <a:cubicBezTo>
                        <a:pt x="263" y="262"/>
                        <a:pt x="263" y="262"/>
                        <a:pt x="263" y="262"/>
                      </a:cubicBezTo>
                      <a:cubicBezTo>
                        <a:pt x="263" y="261"/>
                        <a:pt x="263" y="261"/>
                        <a:pt x="263" y="261"/>
                      </a:cubicBezTo>
                      <a:cubicBezTo>
                        <a:pt x="262" y="261"/>
                        <a:pt x="262" y="261"/>
                        <a:pt x="262" y="261"/>
                      </a:cubicBezTo>
                      <a:cubicBezTo>
                        <a:pt x="262" y="262"/>
                        <a:pt x="262" y="262"/>
                        <a:pt x="262" y="262"/>
                      </a:cubicBezTo>
                      <a:cubicBezTo>
                        <a:pt x="262" y="262"/>
                        <a:pt x="262" y="262"/>
                        <a:pt x="262" y="262"/>
                      </a:cubicBezTo>
                      <a:cubicBezTo>
                        <a:pt x="262" y="261"/>
                        <a:pt x="262" y="261"/>
                        <a:pt x="262" y="261"/>
                      </a:cubicBezTo>
                      <a:cubicBezTo>
                        <a:pt x="263" y="259"/>
                        <a:pt x="263" y="259"/>
                        <a:pt x="263" y="259"/>
                      </a:cubicBezTo>
                      <a:cubicBezTo>
                        <a:pt x="263" y="259"/>
                        <a:pt x="263" y="259"/>
                        <a:pt x="263" y="259"/>
                      </a:cubicBezTo>
                      <a:cubicBezTo>
                        <a:pt x="263" y="257"/>
                        <a:pt x="263" y="257"/>
                        <a:pt x="263" y="257"/>
                      </a:cubicBezTo>
                      <a:cubicBezTo>
                        <a:pt x="263" y="256"/>
                        <a:pt x="263" y="256"/>
                        <a:pt x="263" y="256"/>
                      </a:cubicBezTo>
                      <a:cubicBezTo>
                        <a:pt x="263" y="255"/>
                        <a:pt x="263" y="255"/>
                        <a:pt x="263" y="255"/>
                      </a:cubicBezTo>
                      <a:cubicBezTo>
                        <a:pt x="263" y="252"/>
                        <a:pt x="263" y="252"/>
                        <a:pt x="263" y="252"/>
                      </a:cubicBezTo>
                      <a:cubicBezTo>
                        <a:pt x="262" y="250"/>
                        <a:pt x="262" y="250"/>
                        <a:pt x="262" y="250"/>
                      </a:cubicBezTo>
                      <a:cubicBezTo>
                        <a:pt x="261" y="248"/>
                        <a:pt x="261" y="248"/>
                        <a:pt x="261" y="248"/>
                      </a:cubicBezTo>
                      <a:cubicBezTo>
                        <a:pt x="260" y="247"/>
                        <a:pt x="260" y="247"/>
                        <a:pt x="260" y="247"/>
                      </a:cubicBezTo>
                      <a:cubicBezTo>
                        <a:pt x="260" y="246"/>
                        <a:pt x="260" y="246"/>
                        <a:pt x="260" y="246"/>
                      </a:cubicBezTo>
                      <a:cubicBezTo>
                        <a:pt x="259" y="246"/>
                        <a:pt x="259" y="246"/>
                        <a:pt x="259" y="246"/>
                      </a:cubicBezTo>
                      <a:cubicBezTo>
                        <a:pt x="258" y="245"/>
                        <a:pt x="258" y="245"/>
                        <a:pt x="258" y="245"/>
                      </a:cubicBezTo>
                      <a:cubicBezTo>
                        <a:pt x="259" y="244"/>
                        <a:pt x="259" y="244"/>
                        <a:pt x="259" y="244"/>
                      </a:cubicBezTo>
                      <a:cubicBezTo>
                        <a:pt x="260" y="243"/>
                        <a:pt x="260" y="243"/>
                        <a:pt x="260" y="243"/>
                      </a:cubicBezTo>
                      <a:cubicBezTo>
                        <a:pt x="262" y="241"/>
                        <a:pt x="262" y="241"/>
                        <a:pt x="262" y="241"/>
                      </a:cubicBezTo>
                      <a:cubicBezTo>
                        <a:pt x="263" y="241"/>
                        <a:pt x="263" y="241"/>
                        <a:pt x="263" y="241"/>
                      </a:cubicBezTo>
                      <a:cubicBezTo>
                        <a:pt x="264" y="240"/>
                        <a:pt x="264" y="240"/>
                        <a:pt x="264" y="240"/>
                      </a:cubicBezTo>
                      <a:cubicBezTo>
                        <a:pt x="264" y="240"/>
                        <a:pt x="264" y="240"/>
                        <a:pt x="264" y="240"/>
                      </a:cubicBezTo>
                      <a:cubicBezTo>
                        <a:pt x="263" y="239"/>
                        <a:pt x="263" y="239"/>
                        <a:pt x="263" y="239"/>
                      </a:cubicBezTo>
                      <a:cubicBezTo>
                        <a:pt x="263" y="239"/>
                        <a:pt x="263" y="239"/>
                        <a:pt x="263" y="239"/>
                      </a:cubicBezTo>
                      <a:cubicBezTo>
                        <a:pt x="264" y="238"/>
                        <a:pt x="264" y="238"/>
                        <a:pt x="264" y="238"/>
                      </a:cubicBezTo>
                      <a:cubicBezTo>
                        <a:pt x="265" y="238"/>
                        <a:pt x="265" y="238"/>
                        <a:pt x="265" y="238"/>
                      </a:cubicBezTo>
                      <a:cubicBezTo>
                        <a:pt x="266" y="239"/>
                        <a:pt x="266" y="239"/>
                        <a:pt x="266" y="239"/>
                      </a:cubicBezTo>
                      <a:cubicBezTo>
                        <a:pt x="266" y="239"/>
                        <a:pt x="266" y="239"/>
                        <a:pt x="266" y="239"/>
                      </a:cubicBezTo>
                      <a:cubicBezTo>
                        <a:pt x="266" y="239"/>
                        <a:pt x="266" y="239"/>
                        <a:pt x="266" y="239"/>
                      </a:cubicBezTo>
                      <a:cubicBezTo>
                        <a:pt x="266" y="238"/>
                        <a:pt x="266" y="238"/>
                        <a:pt x="266" y="238"/>
                      </a:cubicBezTo>
                      <a:cubicBezTo>
                        <a:pt x="267" y="237"/>
                        <a:pt x="267" y="237"/>
                        <a:pt x="267" y="237"/>
                      </a:cubicBezTo>
                      <a:cubicBezTo>
                        <a:pt x="268" y="236"/>
                        <a:pt x="268" y="236"/>
                        <a:pt x="268" y="236"/>
                      </a:cubicBezTo>
                      <a:cubicBezTo>
                        <a:pt x="268" y="235"/>
                        <a:pt x="268" y="235"/>
                        <a:pt x="268" y="235"/>
                      </a:cubicBezTo>
                      <a:cubicBezTo>
                        <a:pt x="266" y="235"/>
                        <a:pt x="266" y="235"/>
                        <a:pt x="266" y="235"/>
                      </a:cubicBezTo>
                      <a:cubicBezTo>
                        <a:pt x="266" y="235"/>
                        <a:pt x="266" y="235"/>
                        <a:pt x="266" y="235"/>
                      </a:cubicBezTo>
                      <a:cubicBezTo>
                        <a:pt x="267" y="234"/>
                        <a:pt x="267" y="234"/>
                        <a:pt x="267" y="234"/>
                      </a:cubicBezTo>
                      <a:cubicBezTo>
                        <a:pt x="267" y="233"/>
                        <a:pt x="267" y="233"/>
                        <a:pt x="267" y="233"/>
                      </a:cubicBezTo>
                      <a:cubicBezTo>
                        <a:pt x="266" y="233"/>
                        <a:pt x="266" y="233"/>
                        <a:pt x="266" y="233"/>
                      </a:cubicBezTo>
                      <a:cubicBezTo>
                        <a:pt x="267" y="232"/>
                        <a:pt x="267" y="232"/>
                        <a:pt x="267" y="232"/>
                      </a:cubicBezTo>
                      <a:cubicBezTo>
                        <a:pt x="268" y="232"/>
                        <a:pt x="268" y="232"/>
                        <a:pt x="268" y="232"/>
                      </a:cubicBezTo>
                      <a:cubicBezTo>
                        <a:pt x="267" y="232"/>
                        <a:pt x="267" y="232"/>
                        <a:pt x="267" y="232"/>
                      </a:cubicBezTo>
                      <a:cubicBezTo>
                        <a:pt x="267" y="231"/>
                        <a:pt x="267" y="231"/>
                        <a:pt x="267" y="231"/>
                      </a:cubicBezTo>
                      <a:cubicBezTo>
                        <a:pt x="267" y="230"/>
                        <a:pt x="267" y="230"/>
                        <a:pt x="267" y="230"/>
                      </a:cubicBezTo>
                      <a:cubicBezTo>
                        <a:pt x="268" y="229"/>
                        <a:pt x="268" y="229"/>
                        <a:pt x="268" y="229"/>
                      </a:cubicBezTo>
                      <a:cubicBezTo>
                        <a:pt x="267" y="229"/>
                        <a:pt x="267" y="229"/>
                        <a:pt x="267" y="229"/>
                      </a:cubicBezTo>
                      <a:cubicBezTo>
                        <a:pt x="266" y="229"/>
                        <a:pt x="266" y="229"/>
                        <a:pt x="266" y="229"/>
                      </a:cubicBezTo>
                      <a:cubicBezTo>
                        <a:pt x="265" y="229"/>
                        <a:pt x="265" y="229"/>
                        <a:pt x="265" y="229"/>
                      </a:cubicBezTo>
                      <a:cubicBezTo>
                        <a:pt x="265" y="229"/>
                        <a:pt x="265" y="229"/>
                        <a:pt x="265" y="229"/>
                      </a:cubicBezTo>
                      <a:cubicBezTo>
                        <a:pt x="268" y="227"/>
                        <a:pt x="268" y="227"/>
                        <a:pt x="268" y="227"/>
                      </a:cubicBezTo>
                      <a:cubicBezTo>
                        <a:pt x="269" y="226"/>
                        <a:pt x="269" y="226"/>
                        <a:pt x="269" y="226"/>
                      </a:cubicBezTo>
                      <a:cubicBezTo>
                        <a:pt x="269" y="225"/>
                        <a:pt x="269" y="225"/>
                        <a:pt x="269" y="225"/>
                      </a:cubicBezTo>
                      <a:cubicBezTo>
                        <a:pt x="270" y="225"/>
                        <a:pt x="270" y="225"/>
                        <a:pt x="270" y="225"/>
                      </a:cubicBezTo>
                      <a:cubicBezTo>
                        <a:pt x="270" y="224"/>
                        <a:pt x="270" y="224"/>
                        <a:pt x="270" y="224"/>
                      </a:cubicBezTo>
                      <a:cubicBezTo>
                        <a:pt x="270" y="223"/>
                        <a:pt x="270" y="223"/>
                        <a:pt x="270" y="223"/>
                      </a:cubicBezTo>
                      <a:cubicBezTo>
                        <a:pt x="270" y="223"/>
                        <a:pt x="270" y="223"/>
                        <a:pt x="270" y="223"/>
                      </a:cubicBezTo>
                      <a:cubicBezTo>
                        <a:pt x="269" y="223"/>
                        <a:pt x="269" y="223"/>
                        <a:pt x="269" y="223"/>
                      </a:cubicBezTo>
                      <a:cubicBezTo>
                        <a:pt x="269" y="223"/>
                        <a:pt x="269" y="223"/>
                        <a:pt x="269" y="223"/>
                      </a:cubicBezTo>
                      <a:cubicBezTo>
                        <a:pt x="268" y="222"/>
                        <a:pt x="268" y="222"/>
                        <a:pt x="268" y="222"/>
                      </a:cubicBezTo>
                      <a:cubicBezTo>
                        <a:pt x="268" y="220"/>
                        <a:pt x="268" y="220"/>
                        <a:pt x="268" y="220"/>
                      </a:cubicBezTo>
                      <a:cubicBezTo>
                        <a:pt x="269" y="219"/>
                        <a:pt x="269" y="219"/>
                        <a:pt x="269" y="219"/>
                      </a:cubicBezTo>
                      <a:cubicBezTo>
                        <a:pt x="269" y="218"/>
                        <a:pt x="269" y="218"/>
                        <a:pt x="269" y="218"/>
                      </a:cubicBezTo>
                      <a:cubicBezTo>
                        <a:pt x="270" y="217"/>
                        <a:pt x="270" y="217"/>
                        <a:pt x="270" y="217"/>
                      </a:cubicBezTo>
                      <a:cubicBezTo>
                        <a:pt x="270" y="218"/>
                        <a:pt x="270" y="218"/>
                        <a:pt x="270" y="218"/>
                      </a:cubicBezTo>
                      <a:cubicBezTo>
                        <a:pt x="271" y="217"/>
                        <a:pt x="271" y="217"/>
                        <a:pt x="271" y="217"/>
                      </a:cubicBezTo>
                      <a:cubicBezTo>
                        <a:pt x="271" y="217"/>
                        <a:pt x="271" y="217"/>
                        <a:pt x="271" y="217"/>
                      </a:cubicBezTo>
                      <a:cubicBezTo>
                        <a:pt x="271" y="216"/>
                        <a:pt x="271" y="216"/>
                        <a:pt x="271" y="216"/>
                      </a:cubicBezTo>
                      <a:cubicBezTo>
                        <a:pt x="272" y="216"/>
                        <a:pt x="272" y="216"/>
                        <a:pt x="272" y="216"/>
                      </a:cubicBezTo>
                      <a:cubicBezTo>
                        <a:pt x="273" y="216"/>
                        <a:pt x="273" y="216"/>
                        <a:pt x="273" y="216"/>
                      </a:cubicBezTo>
                      <a:cubicBezTo>
                        <a:pt x="273" y="216"/>
                        <a:pt x="273" y="216"/>
                        <a:pt x="273" y="216"/>
                      </a:cubicBezTo>
                      <a:cubicBezTo>
                        <a:pt x="275" y="217"/>
                        <a:pt x="275" y="217"/>
                        <a:pt x="275" y="217"/>
                      </a:cubicBezTo>
                      <a:cubicBezTo>
                        <a:pt x="276" y="217"/>
                        <a:pt x="276" y="217"/>
                        <a:pt x="276" y="217"/>
                      </a:cubicBezTo>
                      <a:cubicBezTo>
                        <a:pt x="279" y="218"/>
                        <a:pt x="279" y="218"/>
                        <a:pt x="279" y="218"/>
                      </a:cubicBezTo>
                      <a:cubicBezTo>
                        <a:pt x="280" y="218"/>
                        <a:pt x="280" y="218"/>
                        <a:pt x="280" y="218"/>
                      </a:cubicBezTo>
                      <a:cubicBezTo>
                        <a:pt x="279" y="219"/>
                        <a:pt x="279" y="219"/>
                        <a:pt x="279" y="219"/>
                      </a:cubicBezTo>
                      <a:cubicBezTo>
                        <a:pt x="278" y="220"/>
                        <a:pt x="278" y="220"/>
                        <a:pt x="278" y="220"/>
                      </a:cubicBezTo>
                      <a:cubicBezTo>
                        <a:pt x="280" y="220"/>
                        <a:pt x="280" y="220"/>
                        <a:pt x="280" y="220"/>
                      </a:cubicBezTo>
                      <a:cubicBezTo>
                        <a:pt x="281" y="219"/>
                        <a:pt x="281" y="219"/>
                        <a:pt x="281" y="219"/>
                      </a:cubicBezTo>
                      <a:cubicBezTo>
                        <a:pt x="282" y="219"/>
                        <a:pt x="282" y="219"/>
                        <a:pt x="282" y="219"/>
                      </a:cubicBezTo>
                      <a:cubicBezTo>
                        <a:pt x="282" y="219"/>
                        <a:pt x="282" y="219"/>
                        <a:pt x="282" y="219"/>
                      </a:cubicBezTo>
                      <a:cubicBezTo>
                        <a:pt x="283" y="219"/>
                        <a:pt x="283" y="219"/>
                        <a:pt x="283" y="219"/>
                      </a:cubicBezTo>
                      <a:cubicBezTo>
                        <a:pt x="284" y="220"/>
                        <a:pt x="284" y="220"/>
                        <a:pt x="284" y="220"/>
                      </a:cubicBezTo>
                      <a:cubicBezTo>
                        <a:pt x="284" y="219"/>
                        <a:pt x="284" y="219"/>
                        <a:pt x="284" y="219"/>
                      </a:cubicBezTo>
                      <a:cubicBezTo>
                        <a:pt x="285" y="220"/>
                        <a:pt x="285" y="220"/>
                        <a:pt x="285" y="220"/>
                      </a:cubicBezTo>
                      <a:cubicBezTo>
                        <a:pt x="285" y="219"/>
                        <a:pt x="285" y="219"/>
                        <a:pt x="285" y="219"/>
                      </a:cubicBezTo>
                      <a:cubicBezTo>
                        <a:pt x="286" y="219"/>
                        <a:pt x="286" y="219"/>
                        <a:pt x="286" y="219"/>
                      </a:cubicBezTo>
                      <a:cubicBezTo>
                        <a:pt x="287" y="218"/>
                        <a:pt x="287" y="218"/>
                        <a:pt x="287" y="218"/>
                      </a:cubicBezTo>
                      <a:cubicBezTo>
                        <a:pt x="289" y="220"/>
                        <a:pt x="289" y="220"/>
                        <a:pt x="289" y="220"/>
                      </a:cubicBezTo>
                      <a:cubicBezTo>
                        <a:pt x="289" y="220"/>
                        <a:pt x="289" y="220"/>
                        <a:pt x="289" y="220"/>
                      </a:cubicBezTo>
                      <a:cubicBezTo>
                        <a:pt x="290" y="221"/>
                        <a:pt x="290" y="221"/>
                        <a:pt x="290" y="221"/>
                      </a:cubicBezTo>
                      <a:cubicBezTo>
                        <a:pt x="291" y="221"/>
                        <a:pt x="291" y="221"/>
                        <a:pt x="291" y="221"/>
                      </a:cubicBezTo>
                      <a:cubicBezTo>
                        <a:pt x="291" y="223"/>
                        <a:pt x="291" y="223"/>
                        <a:pt x="291" y="223"/>
                      </a:cubicBezTo>
                      <a:cubicBezTo>
                        <a:pt x="290" y="223"/>
                        <a:pt x="290" y="223"/>
                        <a:pt x="290" y="223"/>
                      </a:cubicBezTo>
                      <a:cubicBezTo>
                        <a:pt x="290" y="224"/>
                        <a:pt x="290" y="224"/>
                        <a:pt x="290" y="224"/>
                      </a:cubicBezTo>
                      <a:cubicBezTo>
                        <a:pt x="291" y="224"/>
                        <a:pt x="291" y="224"/>
                        <a:pt x="291" y="224"/>
                      </a:cubicBezTo>
                      <a:cubicBezTo>
                        <a:pt x="292" y="224"/>
                        <a:pt x="292" y="224"/>
                        <a:pt x="292" y="224"/>
                      </a:cubicBezTo>
                      <a:cubicBezTo>
                        <a:pt x="293" y="225"/>
                        <a:pt x="293" y="225"/>
                        <a:pt x="293" y="225"/>
                      </a:cubicBezTo>
                      <a:cubicBezTo>
                        <a:pt x="292" y="226"/>
                        <a:pt x="292" y="226"/>
                        <a:pt x="292" y="226"/>
                      </a:cubicBezTo>
                      <a:cubicBezTo>
                        <a:pt x="293" y="226"/>
                        <a:pt x="293" y="226"/>
                        <a:pt x="293" y="226"/>
                      </a:cubicBezTo>
                      <a:cubicBezTo>
                        <a:pt x="293" y="226"/>
                        <a:pt x="293" y="226"/>
                        <a:pt x="293" y="226"/>
                      </a:cubicBezTo>
                      <a:cubicBezTo>
                        <a:pt x="294" y="227"/>
                        <a:pt x="294" y="227"/>
                        <a:pt x="294" y="227"/>
                      </a:cubicBezTo>
                      <a:cubicBezTo>
                        <a:pt x="294" y="227"/>
                        <a:pt x="294" y="227"/>
                        <a:pt x="294" y="227"/>
                      </a:cubicBezTo>
                      <a:cubicBezTo>
                        <a:pt x="293" y="227"/>
                        <a:pt x="293" y="227"/>
                        <a:pt x="293" y="227"/>
                      </a:cubicBezTo>
                      <a:cubicBezTo>
                        <a:pt x="293" y="227"/>
                        <a:pt x="293" y="227"/>
                        <a:pt x="293" y="227"/>
                      </a:cubicBezTo>
                      <a:cubicBezTo>
                        <a:pt x="292" y="227"/>
                        <a:pt x="292" y="227"/>
                        <a:pt x="292" y="227"/>
                      </a:cubicBezTo>
                      <a:cubicBezTo>
                        <a:pt x="293" y="228"/>
                        <a:pt x="293" y="228"/>
                        <a:pt x="293" y="228"/>
                      </a:cubicBezTo>
                      <a:cubicBezTo>
                        <a:pt x="293" y="229"/>
                        <a:pt x="293" y="229"/>
                        <a:pt x="293" y="229"/>
                      </a:cubicBezTo>
                      <a:cubicBezTo>
                        <a:pt x="294" y="229"/>
                        <a:pt x="294" y="229"/>
                        <a:pt x="294" y="229"/>
                      </a:cubicBezTo>
                      <a:cubicBezTo>
                        <a:pt x="294" y="229"/>
                        <a:pt x="294" y="229"/>
                        <a:pt x="294" y="229"/>
                      </a:cubicBezTo>
                      <a:cubicBezTo>
                        <a:pt x="295" y="229"/>
                        <a:pt x="295" y="229"/>
                        <a:pt x="295" y="229"/>
                      </a:cubicBezTo>
                      <a:cubicBezTo>
                        <a:pt x="296" y="230"/>
                        <a:pt x="296" y="230"/>
                        <a:pt x="296" y="230"/>
                      </a:cubicBezTo>
                      <a:cubicBezTo>
                        <a:pt x="297" y="230"/>
                        <a:pt x="297" y="230"/>
                        <a:pt x="297" y="230"/>
                      </a:cubicBezTo>
                      <a:cubicBezTo>
                        <a:pt x="297" y="230"/>
                        <a:pt x="297" y="230"/>
                        <a:pt x="297" y="230"/>
                      </a:cubicBezTo>
                      <a:cubicBezTo>
                        <a:pt x="298" y="230"/>
                        <a:pt x="298" y="230"/>
                        <a:pt x="298" y="230"/>
                      </a:cubicBezTo>
                      <a:cubicBezTo>
                        <a:pt x="299" y="230"/>
                        <a:pt x="299" y="230"/>
                        <a:pt x="299" y="230"/>
                      </a:cubicBezTo>
                      <a:cubicBezTo>
                        <a:pt x="299" y="232"/>
                        <a:pt x="299" y="232"/>
                        <a:pt x="299" y="232"/>
                      </a:cubicBezTo>
                      <a:cubicBezTo>
                        <a:pt x="300" y="232"/>
                        <a:pt x="300" y="232"/>
                        <a:pt x="300" y="232"/>
                      </a:cubicBezTo>
                      <a:cubicBezTo>
                        <a:pt x="301" y="232"/>
                        <a:pt x="301" y="232"/>
                        <a:pt x="301" y="232"/>
                      </a:cubicBezTo>
                      <a:cubicBezTo>
                        <a:pt x="301" y="230"/>
                        <a:pt x="301" y="230"/>
                        <a:pt x="301" y="230"/>
                      </a:cubicBezTo>
                      <a:cubicBezTo>
                        <a:pt x="302" y="230"/>
                        <a:pt x="302" y="230"/>
                        <a:pt x="302" y="230"/>
                      </a:cubicBezTo>
                      <a:cubicBezTo>
                        <a:pt x="302" y="232"/>
                        <a:pt x="302" y="232"/>
                        <a:pt x="302" y="232"/>
                      </a:cubicBezTo>
                      <a:cubicBezTo>
                        <a:pt x="302" y="233"/>
                        <a:pt x="302" y="233"/>
                        <a:pt x="302" y="233"/>
                      </a:cubicBezTo>
                      <a:cubicBezTo>
                        <a:pt x="300" y="233"/>
                        <a:pt x="300" y="233"/>
                        <a:pt x="300" y="233"/>
                      </a:cubicBezTo>
                      <a:cubicBezTo>
                        <a:pt x="299" y="235"/>
                        <a:pt x="299" y="235"/>
                        <a:pt x="299" y="235"/>
                      </a:cubicBezTo>
                      <a:cubicBezTo>
                        <a:pt x="300" y="237"/>
                        <a:pt x="300" y="237"/>
                        <a:pt x="300" y="237"/>
                      </a:cubicBezTo>
                      <a:cubicBezTo>
                        <a:pt x="299" y="238"/>
                        <a:pt x="299" y="238"/>
                        <a:pt x="299" y="238"/>
                      </a:cubicBezTo>
                      <a:cubicBezTo>
                        <a:pt x="299" y="236"/>
                        <a:pt x="299" y="236"/>
                        <a:pt x="299" y="236"/>
                      </a:cubicBezTo>
                      <a:cubicBezTo>
                        <a:pt x="299" y="237"/>
                        <a:pt x="299" y="237"/>
                        <a:pt x="299" y="237"/>
                      </a:cubicBezTo>
                      <a:cubicBezTo>
                        <a:pt x="298" y="238"/>
                        <a:pt x="298" y="238"/>
                        <a:pt x="298" y="238"/>
                      </a:cubicBezTo>
                      <a:cubicBezTo>
                        <a:pt x="296" y="238"/>
                        <a:pt x="296" y="238"/>
                        <a:pt x="296" y="238"/>
                      </a:cubicBezTo>
                      <a:cubicBezTo>
                        <a:pt x="294" y="237"/>
                        <a:pt x="294" y="237"/>
                        <a:pt x="294" y="237"/>
                      </a:cubicBezTo>
                      <a:cubicBezTo>
                        <a:pt x="296" y="238"/>
                        <a:pt x="296" y="238"/>
                        <a:pt x="296" y="238"/>
                      </a:cubicBezTo>
                      <a:cubicBezTo>
                        <a:pt x="298" y="239"/>
                        <a:pt x="298" y="239"/>
                        <a:pt x="298" y="239"/>
                      </a:cubicBezTo>
                      <a:cubicBezTo>
                        <a:pt x="299" y="240"/>
                        <a:pt x="299" y="240"/>
                        <a:pt x="299" y="240"/>
                      </a:cubicBezTo>
                      <a:cubicBezTo>
                        <a:pt x="299" y="241"/>
                        <a:pt x="299" y="241"/>
                        <a:pt x="299" y="241"/>
                      </a:cubicBezTo>
                      <a:cubicBezTo>
                        <a:pt x="298" y="242"/>
                        <a:pt x="298" y="242"/>
                        <a:pt x="298" y="242"/>
                      </a:cubicBezTo>
                      <a:cubicBezTo>
                        <a:pt x="298" y="243"/>
                        <a:pt x="298" y="243"/>
                        <a:pt x="298" y="243"/>
                      </a:cubicBezTo>
                      <a:cubicBezTo>
                        <a:pt x="297" y="244"/>
                        <a:pt x="297" y="244"/>
                        <a:pt x="297" y="244"/>
                      </a:cubicBezTo>
                      <a:cubicBezTo>
                        <a:pt x="297" y="244"/>
                        <a:pt x="297" y="244"/>
                        <a:pt x="297" y="244"/>
                      </a:cubicBezTo>
                      <a:cubicBezTo>
                        <a:pt x="298" y="246"/>
                        <a:pt x="298" y="246"/>
                        <a:pt x="298" y="246"/>
                      </a:cubicBezTo>
                      <a:cubicBezTo>
                        <a:pt x="299" y="246"/>
                        <a:pt x="299" y="246"/>
                        <a:pt x="299" y="246"/>
                      </a:cubicBezTo>
                      <a:cubicBezTo>
                        <a:pt x="299" y="246"/>
                        <a:pt x="299" y="246"/>
                        <a:pt x="299" y="246"/>
                      </a:cubicBezTo>
                      <a:cubicBezTo>
                        <a:pt x="297" y="245"/>
                        <a:pt x="297" y="245"/>
                        <a:pt x="297" y="245"/>
                      </a:cubicBezTo>
                      <a:cubicBezTo>
                        <a:pt x="298" y="247"/>
                        <a:pt x="298" y="247"/>
                        <a:pt x="298" y="247"/>
                      </a:cubicBezTo>
                      <a:cubicBezTo>
                        <a:pt x="299" y="248"/>
                        <a:pt x="299" y="248"/>
                        <a:pt x="299" y="248"/>
                      </a:cubicBezTo>
                      <a:cubicBezTo>
                        <a:pt x="299" y="247"/>
                        <a:pt x="299" y="247"/>
                        <a:pt x="299" y="247"/>
                      </a:cubicBezTo>
                      <a:cubicBezTo>
                        <a:pt x="299" y="247"/>
                        <a:pt x="299" y="247"/>
                        <a:pt x="299" y="247"/>
                      </a:cubicBezTo>
                      <a:cubicBezTo>
                        <a:pt x="300" y="247"/>
                        <a:pt x="300" y="247"/>
                        <a:pt x="300" y="247"/>
                      </a:cubicBezTo>
                      <a:cubicBezTo>
                        <a:pt x="301" y="247"/>
                        <a:pt x="301" y="247"/>
                        <a:pt x="301" y="247"/>
                      </a:cubicBezTo>
                      <a:cubicBezTo>
                        <a:pt x="301" y="248"/>
                        <a:pt x="301" y="248"/>
                        <a:pt x="301" y="248"/>
                      </a:cubicBezTo>
                      <a:cubicBezTo>
                        <a:pt x="301" y="249"/>
                        <a:pt x="301" y="249"/>
                        <a:pt x="301" y="249"/>
                      </a:cubicBezTo>
                      <a:cubicBezTo>
                        <a:pt x="301" y="250"/>
                        <a:pt x="301" y="250"/>
                        <a:pt x="301" y="250"/>
                      </a:cubicBezTo>
                      <a:cubicBezTo>
                        <a:pt x="300" y="252"/>
                        <a:pt x="300" y="252"/>
                        <a:pt x="300" y="252"/>
                      </a:cubicBezTo>
                      <a:cubicBezTo>
                        <a:pt x="300" y="252"/>
                        <a:pt x="300" y="252"/>
                        <a:pt x="300" y="252"/>
                      </a:cubicBezTo>
                      <a:cubicBezTo>
                        <a:pt x="299" y="253"/>
                        <a:pt x="299" y="253"/>
                        <a:pt x="299" y="253"/>
                      </a:cubicBezTo>
                      <a:cubicBezTo>
                        <a:pt x="300" y="253"/>
                        <a:pt x="300" y="253"/>
                        <a:pt x="300" y="253"/>
                      </a:cubicBezTo>
                      <a:cubicBezTo>
                        <a:pt x="302" y="251"/>
                        <a:pt x="302" y="251"/>
                        <a:pt x="302" y="251"/>
                      </a:cubicBezTo>
                      <a:cubicBezTo>
                        <a:pt x="303" y="249"/>
                        <a:pt x="303" y="249"/>
                        <a:pt x="303" y="249"/>
                      </a:cubicBezTo>
                      <a:cubicBezTo>
                        <a:pt x="303" y="249"/>
                        <a:pt x="303" y="249"/>
                        <a:pt x="303" y="249"/>
                      </a:cubicBezTo>
                      <a:cubicBezTo>
                        <a:pt x="303" y="250"/>
                        <a:pt x="303" y="250"/>
                        <a:pt x="303" y="250"/>
                      </a:cubicBezTo>
                      <a:cubicBezTo>
                        <a:pt x="303" y="252"/>
                        <a:pt x="303" y="252"/>
                        <a:pt x="303" y="252"/>
                      </a:cubicBezTo>
                      <a:cubicBezTo>
                        <a:pt x="303" y="252"/>
                        <a:pt x="303" y="252"/>
                        <a:pt x="303" y="252"/>
                      </a:cubicBezTo>
                      <a:cubicBezTo>
                        <a:pt x="303" y="253"/>
                        <a:pt x="303" y="253"/>
                        <a:pt x="303" y="253"/>
                      </a:cubicBezTo>
                      <a:cubicBezTo>
                        <a:pt x="302" y="254"/>
                        <a:pt x="302" y="254"/>
                        <a:pt x="302" y="254"/>
                      </a:cubicBezTo>
                      <a:cubicBezTo>
                        <a:pt x="304" y="253"/>
                        <a:pt x="304" y="253"/>
                        <a:pt x="304" y="253"/>
                      </a:cubicBezTo>
                      <a:cubicBezTo>
                        <a:pt x="304" y="252"/>
                        <a:pt x="304" y="252"/>
                        <a:pt x="304" y="252"/>
                      </a:cubicBezTo>
                      <a:cubicBezTo>
                        <a:pt x="305" y="251"/>
                        <a:pt x="305" y="251"/>
                        <a:pt x="305" y="251"/>
                      </a:cubicBezTo>
                      <a:cubicBezTo>
                        <a:pt x="306" y="251"/>
                        <a:pt x="306" y="251"/>
                        <a:pt x="306" y="251"/>
                      </a:cubicBezTo>
                      <a:cubicBezTo>
                        <a:pt x="306" y="250"/>
                        <a:pt x="306" y="250"/>
                        <a:pt x="306" y="250"/>
                      </a:cubicBezTo>
                      <a:cubicBezTo>
                        <a:pt x="307" y="250"/>
                        <a:pt x="307" y="250"/>
                        <a:pt x="307" y="250"/>
                      </a:cubicBezTo>
                      <a:cubicBezTo>
                        <a:pt x="307" y="251"/>
                        <a:pt x="307" y="251"/>
                        <a:pt x="307" y="251"/>
                      </a:cubicBezTo>
                      <a:cubicBezTo>
                        <a:pt x="308" y="250"/>
                        <a:pt x="308" y="250"/>
                        <a:pt x="308" y="250"/>
                      </a:cubicBezTo>
                      <a:cubicBezTo>
                        <a:pt x="308" y="250"/>
                        <a:pt x="308" y="250"/>
                        <a:pt x="308" y="250"/>
                      </a:cubicBezTo>
                      <a:cubicBezTo>
                        <a:pt x="309" y="249"/>
                        <a:pt x="309" y="249"/>
                        <a:pt x="309" y="249"/>
                      </a:cubicBezTo>
                      <a:cubicBezTo>
                        <a:pt x="309" y="249"/>
                        <a:pt x="309" y="249"/>
                        <a:pt x="309" y="249"/>
                      </a:cubicBezTo>
                      <a:cubicBezTo>
                        <a:pt x="311" y="248"/>
                        <a:pt x="311" y="248"/>
                        <a:pt x="311" y="248"/>
                      </a:cubicBezTo>
                      <a:cubicBezTo>
                        <a:pt x="311" y="248"/>
                        <a:pt x="311" y="248"/>
                        <a:pt x="311" y="248"/>
                      </a:cubicBezTo>
                      <a:cubicBezTo>
                        <a:pt x="311" y="250"/>
                        <a:pt x="311" y="250"/>
                        <a:pt x="311" y="250"/>
                      </a:cubicBezTo>
                      <a:cubicBezTo>
                        <a:pt x="311" y="251"/>
                        <a:pt x="311" y="251"/>
                        <a:pt x="311" y="251"/>
                      </a:cubicBezTo>
                      <a:cubicBezTo>
                        <a:pt x="312" y="249"/>
                        <a:pt x="312" y="249"/>
                        <a:pt x="312" y="249"/>
                      </a:cubicBezTo>
                      <a:cubicBezTo>
                        <a:pt x="312" y="248"/>
                        <a:pt x="312" y="248"/>
                        <a:pt x="312" y="248"/>
                      </a:cubicBezTo>
                      <a:cubicBezTo>
                        <a:pt x="312" y="248"/>
                        <a:pt x="312" y="248"/>
                        <a:pt x="312" y="248"/>
                      </a:cubicBezTo>
                      <a:cubicBezTo>
                        <a:pt x="312" y="248"/>
                        <a:pt x="312" y="248"/>
                        <a:pt x="312" y="248"/>
                      </a:cubicBezTo>
                      <a:cubicBezTo>
                        <a:pt x="313" y="247"/>
                        <a:pt x="313" y="247"/>
                        <a:pt x="313" y="247"/>
                      </a:cubicBezTo>
                      <a:cubicBezTo>
                        <a:pt x="313" y="247"/>
                        <a:pt x="313" y="247"/>
                        <a:pt x="313" y="247"/>
                      </a:cubicBezTo>
                      <a:cubicBezTo>
                        <a:pt x="314" y="245"/>
                        <a:pt x="314" y="245"/>
                        <a:pt x="314" y="245"/>
                      </a:cubicBezTo>
                      <a:cubicBezTo>
                        <a:pt x="314" y="245"/>
                        <a:pt x="314" y="245"/>
                        <a:pt x="314" y="245"/>
                      </a:cubicBezTo>
                      <a:cubicBezTo>
                        <a:pt x="315" y="244"/>
                        <a:pt x="315" y="244"/>
                        <a:pt x="315" y="244"/>
                      </a:cubicBezTo>
                      <a:cubicBezTo>
                        <a:pt x="315" y="244"/>
                        <a:pt x="315" y="244"/>
                        <a:pt x="315" y="244"/>
                      </a:cubicBezTo>
                      <a:cubicBezTo>
                        <a:pt x="316" y="244"/>
                        <a:pt x="316" y="244"/>
                        <a:pt x="316" y="244"/>
                      </a:cubicBezTo>
                      <a:cubicBezTo>
                        <a:pt x="317" y="244"/>
                        <a:pt x="317" y="244"/>
                        <a:pt x="317" y="244"/>
                      </a:cubicBezTo>
                      <a:cubicBezTo>
                        <a:pt x="317" y="244"/>
                        <a:pt x="317" y="244"/>
                        <a:pt x="317" y="244"/>
                      </a:cubicBezTo>
                      <a:cubicBezTo>
                        <a:pt x="316" y="243"/>
                        <a:pt x="316" y="243"/>
                        <a:pt x="316" y="243"/>
                      </a:cubicBezTo>
                      <a:cubicBezTo>
                        <a:pt x="315" y="243"/>
                        <a:pt x="315" y="243"/>
                        <a:pt x="315" y="243"/>
                      </a:cubicBezTo>
                      <a:cubicBezTo>
                        <a:pt x="315" y="243"/>
                        <a:pt x="315" y="243"/>
                        <a:pt x="315" y="243"/>
                      </a:cubicBezTo>
                      <a:cubicBezTo>
                        <a:pt x="316" y="241"/>
                        <a:pt x="316" y="241"/>
                        <a:pt x="316" y="241"/>
                      </a:cubicBezTo>
                      <a:cubicBezTo>
                        <a:pt x="317" y="241"/>
                        <a:pt x="317" y="241"/>
                        <a:pt x="317" y="241"/>
                      </a:cubicBezTo>
                      <a:cubicBezTo>
                        <a:pt x="317" y="242"/>
                        <a:pt x="317" y="242"/>
                        <a:pt x="317" y="242"/>
                      </a:cubicBezTo>
                      <a:cubicBezTo>
                        <a:pt x="317" y="241"/>
                        <a:pt x="317" y="241"/>
                        <a:pt x="317" y="241"/>
                      </a:cubicBezTo>
                      <a:cubicBezTo>
                        <a:pt x="318" y="240"/>
                        <a:pt x="318" y="240"/>
                        <a:pt x="318" y="240"/>
                      </a:cubicBezTo>
                      <a:cubicBezTo>
                        <a:pt x="318" y="240"/>
                        <a:pt x="318" y="240"/>
                        <a:pt x="318" y="240"/>
                      </a:cubicBezTo>
                      <a:cubicBezTo>
                        <a:pt x="319" y="239"/>
                        <a:pt x="319" y="239"/>
                        <a:pt x="319" y="239"/>
                      </a:cubicBezTo>
                      <a:cubicBezTo>
                        <a:pt x="319" y="238"/>
                        <a:pt x="319" y="238"/>
                        <a:pt x="319" y="238"/>
                      </a:cubicBezTo>
                      <a:cubicBezTo>
                        <a:pt x="319" y="237"/>
                        <a:pt x="319" y="237"/>
                        <a:pt x="319" y="237"/>
                      </a:cubicBezTo>
                      <a:cubicBezTo>
                        <a:pt x="320" y="236"/>
                        <a:pt x="320" y="236"/>
                        <a:pt x="320" y="236"/>
                      </a:cubicBezTo>
                      <a:cubicBezTo>
                        <a:pt x="321" y="236"/>
                        <a:pt x="321" y="236"/>
                        <a:pt x="321" y="236"/>
                      </a:cubicBezTo>
                      <a:cubicBezTo>
                        <a:pt x="321" y="237"/>
                        <a:pt x="321" y="237"/>
                        <a:pt x="321" y="237"/>
                      </a:cubicBezTo>
                      <a:cubicBezTo>
                        <a:pt x="320" y="237"/>
                        <a:pt x="320" y="237"/>
                        <a:pt x="320" y="237"/>
                      </a:cubicBezTo>
                      <a:cubicBezTo>
                        <a:pt x="321" y="237"/>
                        <a:pt x="321" y="237"/>
                        <a:pt x="321" y="237"/>
                      </a:cubicBezTo>
                      <a:cubicBezTo>
                        <a:pt x="322" y="237"/>
                        <a:pt x="322" y="237"/>
                        <a:pt x="322" y="237"/>
                      </a:cubicBezTo>
                      <a:cubicBezTo>
                        <a:pt x="321" y="238"/>
                        <a:pt x="321" y="238"/>
                        <a:pt x="321" y="238"/>
                      </a:cubicBezTo>
                      <a:cubicBezTo>
                        <a:pt x="321" y="238"/>
                        <a:pt x="321" y="238"/>
                        <a:pt x="321" y="238"/>
                      </a:cubicBezTo>
                      <a:cubicBezTo>
                        <a:pt x="321" y="239"/>
                        <a:pt x="321" y="239"/>
                        <a:pt x="321" y="239"/>
                      </a:cubicBezTo>
                      <a:cubicBezTo>
                        <a:pt x="321" y="239"/>
                        <a:pt x="321" y="239"/>
                        <a:pt x="321" y="239"/>
                      </a:cubicBezTo>
                      <a:cubicBezTo>
                        <a:pt x="320" y="239"/>
                        <a:pt x="320" y="239"/>
                        <a:pt x="320" y="239"/>
                      </a:cubicBezTo>
                      <a:cubicBezTo>
                        <a:pt x="320" y="239"/>
                        <a:pt x="320" y="239"/>
                        <a:pt x="320" y="239"/>
                      </a:cubicBezTo>
                      <a:cubicBezTo>
                        <a:pt x="321" y="240"/>
                        <a:pt x="321" y="240"/>
                        <a:pt x="321" y="240"/>
                      </a:cubicBezTo>
                      <a:cubicBezTo>
                        <a:pt x="322" y="240"/>
                        <a:pt x="322" y="240"/>
                        <a:pt x="322" y="240"/>
                      </a:cubicBezTo>
                      <a:cubicBezTo>
                        <a:pt x="321" y="240"/>
                        <a:pt x="321" y="240"/>
                        <a:pt x="321" y="240"/>
                      </a:cubicBezTo>
                      <a:cubicBezTo>
                        <a:pt x="321" y="241"/>
                        <a:pt x="321" y="241"/>
                        <a:pt x="321" y="241"/>
                      </a:cubicBezTo>
                      <a:cubicBezTo>
                        <a:pt x="322" y="241"/>
                        <a:pt x="322" y="241"/>
                        <a:pt x="322" y="241"/>
                      </a:cubicBezTo>
                      <a:cubicBezTo>
                        <a:pt x="322" y="241"/>
                        <a:pt x="322" y="241"/>
                        <a:pt x="322" y="241"/>
                      </a:cubicBezTo>
                      <a:cubicBezTo>
                        <a:pt x="321" y="242"/>
                        <a:pt x="321" y="242"/>
                        <a:pt x="321" y="242"/>
                      </a:cubicBezTo>
                      <a:cubicBezTo>
                        <a:pt x="321" y="243"/>
                        <a:pt x="321" y="243"/>
                        <a:pt x="321" y="243"/>
                      </a:cubicBezTo>
                      <a:cubicBezTo>
                        <a:pt x="322" y="243"/>
                        <a:pt x="322" y="243"/>
                        <a:pt x="322" y="243"/>
                      </a:cubicBezTo>
                      <a:cubicBezTo>
                        <a:pt x="322" y="244"/>
                        <a:pt x="322" y="244"/>
                        <a:pt x="322" y="244"/>
                      </a:cubicBezTo>
                      <a:cubicBezTo>
                        <a:pt x="322" y="245"/>
                        <a:pt x="322" y="245"/>
                        <a:pt x="322" y="245"/>
                      </a:cubicBezTo>
                      <a:cubicBezTo>
                        <a:pt x="321" y="244"/>
                        <a:pt x="321" y="244"/>
                        <a:pt x="321" y="244"/>
                      </a:cubicBezTo>
                      <a:cubicBezTo>
                        <a:pt x="321" y="245"/>
                        <a:pt x="321" y="245"/>
                        <a:pt x="321" y="245"/>
                      </a:cubicBezTo>
                      <a:cubicBezTo>
                        <a:pt x="321" y="245"/>
                        <a:pt x="321" y="245"/>
                        <a:pt x="321" y="245"/>
                      </a:cubicBezTo>
                      <a:cubicBezTo>
                        <a:pt x="322" y="246"/>
                        <a:pt x="322" y="246"/>
                        <a:pt x="322" y="246"/>
                      </a:cubicBezTo>
                      <a:cubicBezTo>
                        <a:pt x="322" y="246"/>
                        <a:pt x="322" y="246"/>
                        <a:pt x="322" y="246"/>
                      </a:cubicBezTo>
                      <a:cubicBezTo>
                        <a:pt x="323" y="245"/>
                        <a:pt x="323" y="245"/>
                        <a:pt x="323" y="245"/>
                      </a:cubicBezTo>
                      <a:cubicBezTo>
                        <a:pt x="323" y="246"/>
                        <a:pt x="323" y="246"/>
                        <a:pt x="323" y="246"/>
                      </a:cubicBezTo>
                      <a:cubicBezTo>
                        <a:pt x="323" y="246"/>
                        <a:pt x="323" y="246"/>
                        <a:pt x="323" y="246"/>
                      </a:cubicBezTo>
                      <a:cubicBezTo>
                        <a:pt x="323" y="247"/>
                        <a:pt x="323" y="247"/>
                        <a:pt x="323" y="247"/>
                      </a:cubicBezTo>
                      <a:cubicBezTo>
                        <a:pt x="322" y="247"/>
                        <a:pt x="322" y="247"/>
                        <a:pt x="322" y="247"/>
                      </a:cubicBezTo>
                      <a:cubicBezTo>
                        <a:pt x="321" y="247"/>
                        <a:pt x="321" y="247"/>
                        <a:pt x="321" y="247"/>
                      </a:cubicBezTo>
                      <a:cubicBezTo>
                        <a:pt x="320" y="248"/>
                        <a:pt x="320" y="248"/>
                        <a:pt x="320" y="248"/>
                      </a:cubicBezTo>
                      <a:cubicBezTo>
                        <a:pt x="321" y="248"/>
                        <a:pt x="321" y="248"/>
                        <a:pt x="321" y="248"/>
                      </a:cubicBezTo>
                      <a:cubicBezTo>
                        <a:pt x="323" y="248"/>
                        <a:pt x="323" y="248"/>
                        <a:pt x="323" y="248"/>
                      </a:cubicBezTo>
                      <a:cubicBezTo>
                        <a:pt x="324" y="248"/>
                        <a:pt x="324" y="248"/>
                        <a:pt x="324" y="248"/>
                      </a:cubicBezTo>
                      <a:cubicBezTo>
                        <a:pt x="324" y="249"/>
                        <a:pt x="324" y="249"/>
                        <a:pt x="324" y="249"/>
                      </a:cubicBezTo>
                      <a:cubicBezTo>
                        <a:pt x="323" y="249"/>
                        <a:pt x="323" y="249"/>
                        <a:pt x="323" y="249"/>
                      </a:cubicBezTo>
                      <a:cubicBezTo>
                        <a:pt x="324" y="250"/>
                        <a:pt x="324" y="250"/>
                        <a:pt x="324" y="250"/>
                      </a:cubicBezTo>
                      <a:cubicBezTo>
                        <a:pt x="324" y="249"/>
                        <a:pt x="324" y="249"/>
                        <a:pt x="324" y="249"/>
                      </a:cubicBezTo>
                      <a:cubicBezTo>
                        <a:pt x="324" y="250"/>
                        <a:pt x="324" y="250"/>
                        <a:pt x="324" y="250"/>
                      </a:cubicBezTo>
                      <a:cubicBezTo>
                        <a:pt x="324" y="251"/>
                        <a:pt x="324" y="251"/>
                        <a:pt x="324" y="251"/>
                      </a:cubicBezTo>
                      <a:cubicBezTo>
                        <a:pt x="322" y="251"/>
                        <a:pt x="322" y="251"/>
                        <a:pt x="322" y="251"/>
                      </a:cubicBezTo>
                      <a:cubicBezTo>
                        <a:pt x="321" y="251"/>
                        <a:pt x="321" y="251"/>
                        <a:pt x="321" y="251"/>
                      </a:cubicBezTo>
                      <a:cubicBezTo>
                        <a:pt x="321" y="251"/>
                        <a:pt x="321" y="251"/>
                        <a:pt x="321" y="251"/>
                      </a:cubicBezTo>
                      <a:cubicBezTo>
                        <a:pt x="321" y="252"/>
                        <a:pt x="321" y="252"/>
                        <a:pt x="321" y="252"/>
                      </a:cubicBezTo>
                      <a:cubicBezTo>
                        <a:pt x="321" y="253"/>
                        <a:pt x="321" y="253"/>
                        <a:pt x="321" y="253"/>
                      </a:cubicBezTo>
                      <a:cubicBezTo>
                        <a:pt x="322" y="252"/>
                        <a:pt x="322" y="252"/>
                        <a:pt x="322" y="252"/>
                      </a:cubicBezTo>
                      <a:cubicBezTo>
                        <a:pt x="324" y="252"/>
                        <a:pt x="324" y="252"/>
                        <a:pt x="324" y="252"/>
                      </a:cubicBezTo>
                      <a:cubicBezTo>
                        <a:pt x="325" y="252"/>
                        <a:pt x="325" y="252"/>
                        <a:pt x="325" y="252"/>
                      </a:cubicBezTo>
                      <a:cubicBezTo>
                        <a:pt x="325" y="252"/>
                        <a:pt x="325" y="252"/>
                        <a:pt x="325" y="252"/>
                      </a:cubicBezTo>
                      <a:cubicBezTo>
                        <a:pt x="324" y="253"/>
                        <a:pt x="324" y="253"/>
                        <a:pt x="324" y="253"/>
                      </a:cubicBezTo>
                      <a:cubicBezTo>
                        <a:pt x="324" y="253"/>
                        <a:pt x="324" y="253"/>
                        <a:pt x="324" y="253"/>
                      </a:cubicBezTo>
                      <a:cubicBezTo>
                        <a:pt x="324" y="253"/>
                        <a:pt x="324" y="253"/>
                        <a:pt x="324" y="253"/>
                      </a:cubicBezTo>
                      <a:cubicBezTo>
                        <a:pt x="323" y="253"/>
                        <a:pt x="323" y="253"/>
                        <a:pt x="323" y="253"/>
                      </a:cubicBezTo>
                      <a:cubicBezTo>
                        <a:pt x="321" y="255"/>
                        <a:pt x="321" y="255"/>
                        <a:pt x="321" y="255"/>
                      </a:cubicBezTo>
                      <a:cubicBezTo>
                        <a:pt x="323" y="254"/>
                        <a:pt x="323" y="254"/>
                        <a:pt x="323" y="254"/>
                      </a:cubicBezTo>
                      <a:cubicBezTo>
                        <a:pt x="324" y="254"/>
                        <a:pt x="324" y="254"/>
                        <a:pt x="324" y="254"/>
                      </a:cubicBezTo>
                      <a:cubicBezTo>
                        <a:pt x="325" y="254"/>
                        <a:pt x="325" y="254"/>
                        <a:pt x="325" y="254"/>
                      </a:cubicBezTo>
                      <a:cubicBezTo>
                        <a:pt x="325" y="254"/>
                        <a:pt x="325" y="254"/>
                        <a:pt x="325" y="254"/>
                      </a:cubicBezTo>
                      <a:cubicBezTo>
                        <a:pt x="325" y="255"/>
                        <a:pt x="325" y="255"/>
                        <a:pt x="325" y="255"/>
                      </a:cubicBezTo>
                      <a:cubicBezTo>
                        <a:pt x="325" y="255"/>
                        <a:pt x="325" y="255"/>
                        <a:pt x="325" y="255"/>
                      </a:cubicBezTo>
                      <a:cubicBezTo>
                        <a:pt x="324" y="256"/>
                        <a:pt x="324" y="256"/>
                        <a:pt x="324" y="256"/>
                      </a:cubicBezTo>
                      <a:cubicBezTo>
                        <a:pt x="323" y="257"/>
                        <a:pt x="323" y="257"/>
                        <a:pt x="323" y="257"/>
                      </a:cubicBezTo>
                      <a:cubicBezTo>
                        <a:pt x="324" y="256"/>
                        <a:pt x="324" y="256"/>
                        <a:pt x="324" y="256"/>
                      </a:cubicBezTo>
                      <a:cubicBezTo>
                        <a:pt x="325" y="256"/>
                        <a:pt x="325" y="256"/>
                        <a:pt x="325" y="256"/>
                      </a:cubicBezTo>
                      <a:cubicBezTo>
                        <a:pt x="325" y="256"/>
                        <a:pt x="325" y="256"/>
                        <a:pt x="325" y="256"/>
                      </a:cubicBezTo>
                      <a:cubicBezTo>
                        <a:pt x="326" y="256"/>
                        <a:pt x="326" y="256"/>
                        <a:pt x="326" y="256"/>
                      </a:cubicBezTo>
                      <a:cubicBezTo>
                        <a:pt x="327" y="258"/>
                        <a:pt x="327" y="258"/>
                        <a:pt x="327" y="258"/>
                      </a:cubicBezTo>
                      <a:cubicBezTo>
                        <a:pt x="326" y="259"/>
                        <a:pt x="326" y="259"/>
                        <a:pt x="326" y="259"/>
                      </a:cubicBezTo>
                      <a:cubicBezTo>
                        <a:pt x="325" y="258"/>
                        <a:pt x="325" y="258"/>
                        <a:pt x="325" y="258"/>
                      </a:cubicBezTo>
                      <a:cubicBezTo>
                        <a:pt x="325" y="259"/>
                        <a:pt x="325" y="259"/>
                        <a:pt x="325" y="259"/>
                      </a:cubicBezTo>
                      <a:cubicBezTo>
                        <a:pt x="324" y="259"/>
                        <a:pt x="324" y="259"/>
                        <a:pt x="324" y="259"/>
                      </a:cubicBezTo>
                      <a:cubicBezTo>
                        <a:pt x="324" y="259"/>
                        <a:pt x="324" y="259"/>
                        <a:pt x="324" y="259"/>
                      </a:cubicBezTo>
                      <a:cubicBezTo>
                        <a:pt x="325" y="259"/>
                        <a:pt x="325" y="259"/>
                        <a:pt x="325" y="259"/>
                      </a:cubicBezTo>
                      <a:cubicBezTo>
                        <a:pt x="325" y="259"/>
                        <a:pt x="325" y="259"/>
                        <a:pt x="325" y="259"/>
                      </a:cubicBezTo>
                      <a:cubicBezTo>
                        <a:pt x="327" y="260"/>
                        <a:pt x="327" y="260"/>
                        <a:pt x="327" y="260"/>
                      </a:cubicBezTo>
                      <a:cubicBezTo>
                        <a:pt x="327" y="260"/>
                        <a:pt x="327" y="260"/>
                        <a:pt x="327" y="260"/>
                      </a:cubicBezTo>
                      <a:cubicBezTo>
                        <a:pt x="327" y="261"/>
                        <a:pt x="327" y="261"/>
                        <a:pt x="327" y="261"/>
                      </a:cubicBezTo>
                      <a:cubicBezTo>
                        <a:pt x="326" y="261"/>
                        <a:pt x="326" y="261"/>
                        <a:pt x="326" y="261"/>
                      </a:cubicBezTo>
                      <a:cubicBezTo>
                        <a:pt x="327" y="261"/>
                        <a:pt x="327" y="261"/>
                        <a:pt x="327" y="261"/>
                      </a:cubicBezTo>
                      <a:cubicBezTo>
                        <a:pt x="328" y="261"/>
                        <a:pt x="328" y="261"/>
                        <a:pt x="328" y="261"/>
                      </a:cubicBezTo>
                      <a:cubicBezTo>
                        <a:pt x="328" y="262"/>
                        <a:pt x="328" y="262"/>
                        <a:pt x="328" y="262"/>
                      </a:cubicBezTo>
                      <a:cubicBezTo>
                        <a:pt x="328" y="263"/>
                        <a:pt x="328" y="263"/>
                        <a:pt x="328" y="263"/>
                      </a:cubicBezTo>
                      <a:cubicBezTo>
                        <a:pt x="328" y="263"/>
                        <a:pt x="328" y="263"/>
                        <a:pt x="328" y="263"/>
                      </a:cubicBezTo>
                      <a:cubicBezTo>
                        <a:pt x="326" y="264"/>
                        <a:pt x="326" y="264"/>
                        <a:pt x="326" y="264"/>
                      </a:cubicBezTo>
                      <a:cubicBezTo>
                        <a:pt x="326" y="264"/>
                        <a:pt x="326" y="264"/>
                        <a:pt x="326" y="264"/>
                      </a:cubicBezTo>
                      <a:cubicBezTo>
                        <a:pt x="325" y="264"/>
                        <a:pt x="325" y="264"/>
                        <a:pt x="325" y="264"/>
                      </a:cubicBezTo>
                      <a:cubicBezTo>
                        <a:pt x="326" y="264"/>
                        <a:pt x="326" y="264"/>
                        <a:pt x="326" y="264"/>
                      </a:cubicBezTo>
                      <a:cubicBezTo>
                        <a:pt x="326" y="265"/>
                        <a:pt x="326" y="265"/>
                        <a:pt x="326" y="265"/>
                      </a:cubicBezTo>
                      <a:cubicBezTo>
                        <a:pt x="325" y="265"/>
                        <a:pt x="325" y="265"/>
                        <a:pt x="325" y="265"/>
                      </a:cubicBezTo>
                      <a:cubicBezTo>
                        <a:pt x="324" y="264"/>
                        <a:pt x="324" y="264"/>
                        <a:pt x="324" y="264"/>
                      </a:cubicBezTo>
                      <a:cubicBezTo>
                        <a:pt x="323" y="264"/>
                        <a:pt x="323" y="264"/>
                        <a:pt x="323" y="264"/>
                      </a:cubicBezTo>
                      <a:cubicBezTo>
                        <a:pt x="324" y="265"/>
                        <a:pt x="324" y="265"/>
                        <a:pt x="324" y="265"/>
                      </a:cubicBezTo>
                      <a:cubicBezTo>
                        <a:pt x="324" y="266"/>
                        <a:pt x="324" y="266"/>
                        <a:pt x="324" y="266"/>
                      </a:cubicBezTo>
                      <a:cubicBezTo>
                        <a:pt x="325" y="267"/>
                        <a:pt x="325" y="267"/>
                        <a:pt x="325" y="267"/>
                      </a:cubicBezTo>
                      <a:cubicBezTo>
                        <a:pt x="325" y="267"/>
                        <a:pt x="325" y="267"/>
                        <a:pt x="325" y="267"/>
                      </a:cubicBezTo>
                      <a:cubicBezTo>
                        <a:pt x="325" y="267"/>
                        <a:pt x="325" y="267"/>
                        <a:pt x="325" y="267"/>
                      </a:cubicBezTo>
                      <a:cubicBezTo>
                        <a:pt x="324" y="268"/>
                        <a:pt x="324" y="268"/>
                        <a:pt x="324" y="268"/>
                      </a:cubicBezTo>
                      <a:cubicBezTo>
                        <a:pt x="324" y="268"/>
                        <a:pt x="324" y="268"/>
                        <a:pt x="324" y="268"/>
                      </a:cubicBezTo>
                      <a:cubicBezTo>
                        <a:pt x="322" y="268"/>
                        <a:pt x="322" y="268"/>
                        <a:pt x="322" y="268"/>
                      </a:cubicBezTo>
                      <a:cubicBezTo>
                        <a:pt x="324" y="268"/>
                        <a:pt x="324" y="268"/>
                        <a:pt x="324" y="268"/>
                      </a:cubicBezTo>
                      <a:cubicBezTo>
                        <a:pt x="325" y="268"/>
                        <a:pt x="325" y="268"/>
                        <a:pt x="325" y="268"/>
                      </a:cubicBezTo>
                      <a:cubicBezTo>
                        <a:pt x="325" y="268"/>
                        <a:pt x="325" y="268"/>
                        <a:pt x="325" y="268"/>
                      </a:cubicBezTo>
                      <a:cubicBezTo>
                        <a:pt x="326" y="268"/>
                        <a:pt x="326" y="268"/>
                        <a:pt x="326" y="268"/>
                      </a:cubicBezTo>
                      <a:cubicBezTo>
                        <a:pt x="327" y="268"/>
                        <a:pt x="327" y="268"/>
                        <a:pt x="327" y="268"/>
                      </a:cubicBezTo>
                      <a:cubicBezTo>
                        <a:pt x="327" y="268"/>
                        <a:pt x="327" y="268"/>
                        <a:pt x="327" y="268"/>
                      </a:cubicBezTo>
                      <a:cubicBezTo>
                        <a:pt x="327" y="269"/>
                        <a:pt x="327" y="269"/>
                        <a:pt x="327" y="269"/>
                      </a:cubicBezTo>
                      <a:cubicBezTo>
                        <a:pt x="327" y="269"/>
                        <a:pt x="327" y="269"/>
                        <a:pt x="327" y="269"/>
                      </a:cubicBezTo>
                      <a:cubicBezTo>
                        <a:pt x="327" y="269"/>
                        <a:pt x="327" y="269"/>
                        <a:pt x="327" y="269"/>
                      </a:cubicBezTo>
                      <a:cubicBezTo>
                        <a:pt x="327" y="269"/>
                        <a:pt x="327" y="269"/>
                        <a:pt x="327" y="269"/>
                      </a:cubicBezTo>
                      <a:cubicBezTo>
                        <a:pt x="327" y="270"/>
                        <a:pt x="327" y="270"/>
                        <a:pt x="327" y="270"/>
                      </a:cubicBezTo>
                      <a:cubicBezTo>
                        <a:pt x="327" y="270"/>
                        <a:pt x="327" y="270"/>
                        <a:pt x="327" y="270"/>
                      </a:cubicBezTo>
                      <a:cubicBezTo>
                        <a:pt x="328" y="270"/>
                        <a:pt x="328" y="270"/>
                        <a:pt x="328" y="270"/>
                      </a:cubicBezTo>
                      <a:cubicBezTo>
                        <a:pt x="329" y="270"/>
                        <a:pt x="329" y="270"/>
                        <a:pt x="329" y="270"/>
                      </a:cubicBezTo>
                      <a:cubicBezTo>
                        <a:pt x="329" y="270"/>
                        <a:pt x="329" y="270"/>
                        <a:pt x="329" y="270"/>
                      </a:cubicBezTo>
                      <a:cubicBezTo>
                        <a:pt x="329" y="271"/>
                        <a:pt x="329" y="271"/>
                        <a:pt x="329" y="271"/>
                      </a:cubicBezTo>
                      <a:cubicBezTo>
                        <a:pt x="329" y="272"/>
                        <a:pt x="329" y="272"/>
                        <a:pt x="329" y="272"/>
                      </a:cubicBezTo>
                      <a:cubicBezTo>
                        <a:pt x="329" y="272"/>
                        <a:pt x="329" y="272"/>
                        <a:pt x="329" y="272"/>
                      </a:cubicBezTo>
                      <a:cubicBezTo>
                        <a:pt x="329" y="272"/>
                        <a:pt x="329" y="272"/>
                        <a:pt x="329" y="272"/>
                      </a:cubicBezTo>
                      <a:cubicBezTo>
                        <a:pt x="330" y="271"/>
                        <a:pt x="330" y="271"/>
                        <a:pt x="330" y="271"/>
                      </a:cubicBezTo>
                      <a:cubicBezTo>
                        <a:pt x="330" y="271"/>
                        <a:pt x="330" y="271"/>
                        <a:pt x="330" y="271"/>
                      </a:cubicBezTo>
                      <a:cubicBezTo>
                        <a:pt x="330" y="272"/>
                        <a:pt x="330" y="272"/>
                        <a:pt x="330" y="272"/>
                      </a:cubicBezTo>
                      <a:cubicBezTo>
                        <a:pt x="331" y="272"/>
                        <a:pt x="331" y="272"/>
                        <a:pt x="331" y="272"/>
                      </a:cubicBezTo>
                      <a:cubicBezTo>
                        <a:pt x="330" y="273"/>
                        <a:pt x="330" y="273"/>
                        <a:pt x="330" y="273"/>
                      </a:cubicBezTo>
                      <a:cubicBezTo>
                        <a:pt x="328" y="275"/>
                        <a:pt x="328" y="275"/>
                        <a:pt x="328" y="275"/>
                      </a:cubicBezTo>
                      <a:cubicBezTo>
                        <a:pt x="327" y="275"/>
                        <a:pt x="327" y="275"/>
                        <a:pt x="327" y="275"/>
                      </a:cubicBezTo>
                      <a:cubicBezTo>
                        <a:pt x="326" y="275"/>
                        <a:pt x="326" y="275"/>
                        <a:pt x="326" y="275"/>
                      </a:cubicBezTo>
                      <a:cubicBezTo>
                        <a:pt x="327" y="276"/>
                        <a:pt x="327" y="276"/>
                        <a:pt x="327" y="276"/>
                      </a:cubicBezTo>
                      <a:cubicBezTo>
                        <a:pt x="328" y="275"/>
                        <a:pt x="328" y="275"/>
                        <a:pt x="328" y="275"/>
                      </a:cubicBezTo>
                      <a:cubicBezTo>
                        <a:pt x="330" y="274"/>
                        <a:pt x="330" y="274"/>
                        <a:pt x="330" y="274"/>
                      </a:cubicBezTo>
                      <a:cubicBezTo>
                        <a:pt x="331" y="274"/>
                        <a:pt x="331" y="274"/>
                        <a:pt x="331" y="274"/>
                      </a:cubicBezTo>
                      <a:cubicBezTo>
                        <a:pt x="331" y="274"/>
                        <a:pt x="331" y="274"/>
                        <a:pt x="331" y="274"/>
                      </a:cubicBezTo>
                      <a:cubicBezTo>
                        <a:pt x="330" y="275"/>
                        <a:pt x="330" y="275"/>
                        <a:pt x="330" y="275"/>
                      </a:cubicBezTo>
                      <a:cubicBezTo>
                        <a:pt x="329" y="276"/>
                        <a:pt x="329" y="276"/>
                        <a:pt x="329" y="276"/>
                      </a:cubicBezTo>
                      <a:cubicBezTo>
                        <a:pt x="330" y="276"/>
                        <a:pt x="330" y="276"/>
                        <a:pt x="330" y="276"/>
                      </a:cubicBezTo>
                      <a:cubicBezTo>
                        <a:pt x="331" y="275"/>
                        <a:pt x="331" y="275"/>
                        <a:pt x="331" y="275"/>
                      </a:cubicBezTo>
                      <a:cubicBezTo>
                        <a:pt x="332" y="274"/>
                        <a:pt x="332" y="274"/>
                        <a:pt x="332" y="274"/>
                      </a:cubicBezTo>
                      <a:cubicBezTo>
                        <a:pt x="333" y="274"/>
                        <a:pt x="333" y="274"/>
                        <a:pt x="333" y="274"/>
                      </a:cubicBezTo>
                      <a:cubicBezTo>
                        <a:pt x="333" y="274"/>
                        <a:pt x="333" y="274"/>
                        <a:pt x="333" y="274"/>
                      </a:cubicBezTo>
                      <a:cubicBezTo>
                        <a:pt x="332" y="275"/>
                        <a:pt x="332" y="275"/>
                        <a:pt x="332" y="275"/>
                      </a:cubicBezTo>
                      <a:cubicBezTo>
                        <a:pt x="332" y="275"/>
                        <a:pt x="332" y="275"/>
                        <a:pt x="332" y="275"/>
                      </a:cubicBezTo>
                      <a:cubicBezTo>
                        <a:pt x="332" y="275"/>
                        <a:pt x="332" y="275"/>
                        <a:pt x="332" y="275"/>
                      </a:cubicBezTo>
                      <a:cubicBezTo>
                        <a:pt x="333" y="275"/>
                        <a:pt x="333" y="275"/>
                        <a:pt x="333" y="275"/>
                      </a:cubicBezTo>
                      <a:cubicBezTo>
                        <a:pt x="334" y="275"/>
                        <a:pt x="334" y="275"/>
                        <a:pt x="334" y="275"/>
                      </a:cubicBezTo>
                      <a:cubicBezTo>
                        <a:pt x="332" y="276"/>
                        <a:pt x="332" y="276"/>
                        <a:pt x="332" y="276"/>
                      </a:cubicBezTo>
                      <a:cubicBezTo>
                        <a:pt x="332" y="277"/>
                        <a:pt x="332" y="277"/>
                        <a:pt x="332" y="277"/>
                      </a:cubicBezTo>
                      <a:cubicBezTo>
                        <a:pt x="332" y="277"/>
                        <a:pt x="332" y="277"/>
                        <a:pt x="332" y="277"/>
                      </a:cubicBezTo>
                      <a:cubicBezTo>
                        <a:pt x="333" y="276"/>
                        <a:pt x="333" y="276"/>
                        <a:pt x="333" y="276"/>
                      </a:cubicBezTo>
                      <a:cubicBezTo>
                        <a:pt x="335" y="275"/>
                        <a:pt x="335" y="275"/>
                        <a:pt x="335" y="275"/>
                      </a:cubicBezTo>
                      <a:cubicBezTo>
                        <a:pt x="335" y="275"/>
                        <a:pt x="335" y="275"/>
                        <a:pt x="335" y="275"/>
                      </a:cubicBezTo>
                      <a:cubicBezTo>
                        <a:pt x="335" y="275"/>
                        <a:pt x="335" y="275"/>
                        <a:pt x="335" y="275"/>
                      </a:cubicBezTo>
                      <a:cubicBezTo>
                        <a:pt x="334" y="276"/>
                        <a:pt x="334" y="276"/>
                        <a:pt x="334" y="276"/>
                      </a:cubicBezTo>
                      <a:cubicBezTo>
                        <a:pt x="336" y="275"/>
                        <a:pt x="336" y="275"/>
                        <a:pt x="336" y="275"/>
                      </a:cubicBezTo>
                      <a:cubicBezTo>
                        <a:pt x="336" y="275"/>
                        <a:pt x="336" y="275"/>
                        <a:pt x="336" y="275"/>
                      </a:cubicBezTo>
                      <a:cubicBezTo>
                        <a:pt x="336" y="277"/>
                        <a:pt x="336" y="277"/>
                        <a:pt x="336" y="277"/>
                      </a:cubicBezTo>
                      <a:cubicBezTo>
                        <a:pt x="335" y="277"/>
                        <a:pt x="335" y="277"/>
                        <a:pt x="335" y="277"/>
                      </a:cubicBezTo>
                      <a:cubicBezTo>
                        <a:pt x="335" y="277"/>
                        <a:pt x="335" y="277"/>
                        <a:pt x="335" y="277"/>
                      </a:cubicBezTo>
                      <a:cubicBezTo>
                        <a:pt x="336" y="277"/>
                        <a:pt x="336" y="277"/>
                        <a:pt x="336" y="277"/>
                      </a:cubicBezTo>
                      <a:cubicBezTo>
                        <a:pt x="337" y="278"/>
                        <a:pt x="337" y="278"/>
                        <a:pt x="337" y="278"/>
                      </a:cubicBezTo>
                      <a:cubicBezTo>
                        <a:pt x="338" y="277"/>
                        <a:pt x="338" y="277"/>
                        <a:pt x="338" y="277"/>
                      </a:cubicBezTo>
                      <a:cubicBezTo>
                        <a:pt x="339" y="277"/>
                        <a:pt x="339" y="277"/>
                        <a:pt x="339" y="277"/>
                      </a:cubicBezTo>
                      <a:cubicBezTo>
                        <a:pt x="340" y="277"/>
                        <a:pt x="340" y="277"/>
                        <a:pt x="340" y="277"/>
                      </a:cubicBezTo>
                      <a:cubicBezTo>
                        <a:pt x="340" y="278"/>
                        <a:pt x="340" y="278"/>
                        <a:pt x="340" y="278"/>
                      </a:cubicBezTo>
                      <a:cubicBezTo>
                        <a:pt x="339" y="278"/>
                        <a:pt x="339" y="278"/>
                        <a:pt x="339" y="278"/>
                      </a:cubicBezTo>
                      <a:cubicBezTo>
                        <a:pt x="339" y="278"/>
                        <a:pt x="339" y="278"/>
                        <a:pt x="339" y="278"/>
                      </a:cubicBezTo>
                      <a:cubicBezTo>
                        <a:pt x="341" y="279"/>
                        <a:pt x="341" y="279"/>
                        <a:pt x="341" y="279"/>
                      </a:cubicBezTo>
                      <a:cubicBezTo>
                        <a:pt x="342" y="279"/>
                        <a:pt x="342" y="279"/>
                        <a:pt x="342" y="279"/>
                      </a:cubicBezTo>
                      <a:cubicBezTo>
                        <a:pt x="340" y="279"/>
                        <a:pt x="340" y="279"/>
                        <a:pt x="340" y="279"/>
                      </a:cubicBezTo>
                      <a:cubicBezTo>
                        <a:pt x="340" y="280"/>
                        <a:pt x="340" y="280"/>
                        <a:pt x="340" y="280"/>
                      </a:cubicBezTo>
                      <a:cubicBezTo>
                        <a:pt x="338" y="280"/>
                        <a:pt x="338" y="280"/>
                        <a:pt x="338" y="280"/>
                      </a:cubicBezTo>
                      <a:cubicBezTo>
                        <a:pt x="338" y="280"/>
                        <a:pt x="338" y="280"/>
                        <a:pt x="338" y="280"/>
                      </a:cubicBezTo>
                      <a:cubicBezTo>
                        <a:pt x="337" y="280"/>
                        <a:pt x="337" y="280"/>
                        <a:pt x="337" y="280"/>
                      </a:cubicBezTo>
                      <a:cubicBezTo>
                        <a:pt x="336" y="281"/>
                        <a:pt x="336" y="281"/>
                        <a:pt x="336" y="281"/>
                      </a:cubicBezTo>
                      <a:cubicBezTo>
                        <a:pt x="334" y="281"/>
                        <a:pt x="334" y="281"/>
                        <a:pt x="334" y="281"/>
                      </a:cubicBezTo>
                      <a:cubicBezTo>
                        <a:pt x="331" y="282"/>
                        <a:pt x="331" y="282"/>
                        <a:pt x="331" y="282"/>
                      </a:cubicBezTo>
                      <a:cubicBezTo>
                        <a:pt x="331" y="282"/>
                        <a:pt x="331" y="282"/>
                        <a:pt x="331" y="282"/>
                      </a:cubicBezTo>
                      <a:cubicBezTo>
                        <a:pt x="333" y="282"/>
                        <a:pt x="333" y="282"/>
                        <a:pt x="333" y="282"/>
                      </a:cubicBezTo>
                      <a:cubicBezTo>
                        <a:pt x="335" y="281"/>
                        <a:pt x="335" y="281"/>
                        <a:pt x="335" y="281"/>
                      </a:cubicBezTo>
                      <a:cubicBezTo>
                        <a:pt x="336" y="281"/>
                        <a:pt x="336" y="281"/>
                        <a:pt x="336" y="281"/>
                      </a:cubicBezTo>
                      <a:cubicBezTo>
                        <a:pt x="336" y="282"/>
                        <a:pt x="336" y="282"/>
                        <a:pt x="336" y="282"/>
                      </a:cubicBezTo>
                      <a:cubicBezTo>
                        <a:pt x="334" y="282"/>
                        <a:pt x="334" y="282"/>
                        <a:pt x="334" y="282"/>
                      </a:cubicBezTo>
                      <a:cubicBezTo>
                        <a:pt x="332" y="282"/>
                        <a:pt x="332" y="282"/>
                        <a:pt x="332" y="282"/>
                      </a:cubicBezTo>
                      <a:cubicBezTo>
                        <a:pt x="331" y="283"/>
                        <a:pt x="331" y="283"/>
                        <a:pt x="331" y="283"/>
                      </a:cubicBezTo>
                      <a:cubicBezTo>
                        <a:pt x="330" y="284"/>
                        <a:pt x="330" y="284"/>
                        <a:pt x="330" y="284"/>
                      </a:cubicBezTo>
                      <a:cubicBezTo>
                        <a:pt x="329" y="284"/>
                        <a:pt x="329" y="284"/>
                        <a:pt x="329" y="284"/>
                      </a:cubicBezTo>
                      <a:cubicBezTo>
                        <a:pt x="329" y="284"/>
                        <a:pt x="329" y="284"/>
                        <a:pt x="329" y="284"/>
                      </a:cubicBezTo>
                      <a:cubicBezTo>
                        <a:pt x="328" y="285"/>
                        <a:pt x="328" y="285"/>
                        <a:pt x="328" y="285"/>
                      </a:cubicBezTo>
                      <a:cubicBezTo>
                        <a:pt x="327" y="284"/>
                        <a:pt x="327" y="284"/>
                        <a:pt x="327" y="284"/>
                      </a:cubicBezTo>
                      <a:cubicBezTo>
                        <a:pt x="326" y="282"/>
                        <a:pt x="326" y="282"/>
                        <a:pt x="326" y="282"/>
                      </a:cubicBezTo>
                      <a:cubicBezTo>
                        <a:pt x="326" y="283"/>
                        <a:pt x="326" y="283"/>
                        <a:pt x="326" y="283"/>
                      </a:cubicBezTo>
                      <a:cubicBezTo>
                        <a:pt x="325" y="283"/>
                        <a:pt x="325" y="283"/>
                        <a:pt x="325" y="283"/>
                      </a:cubicBezTo>
                      <a:cubicBezTo>
                        <a:pt x="326" y="284"/>
                        <a:pt x="326" y="284"/>
                        <a:pt x="326" y="284"/>
                      </a:cubicBezTo>
                      <a:cubicBezTo>
                        <a:pt x="326" y="284"/>
                        <a:pt x="326" y="284"/>
                        <a:pt x="326" y="284"/>
                      </a:cubicBezTo>
                      <a:cubicBezTo>
                        <a:pt x="328" y="286"/>
                        <a:pt x="328" y="286"/>
                        <a:pt x="328" y="286"/>
                      </a:cubicBezTo>
                      <a:cubicBezTo>
                        <a:pt x="328" y="286"/>
                        <a:pt x="328" y="286"/>
                        <a:pt x="328" y="286"/>
                      </a:cubicBezTo>
                      <a:cubicBezTo>
                        <a:pt x="327" y="286"/>
                        <a:pt x="327" y="286"/>
                        <a:pt x="327" y="286"/>
                      </a:cubicBezTo>
                      <a:cubicBezTo>
                        <a:pt x="327" y="286"/>
                        <a:pt x="327" y="286"/>
                        <a:pt x="327" y="286"/>
                      </a:cubicBezTo>
                      <a:cubicBezTo>
                        <a:pt x="327" y="287"/>
                        <a:pt x="327" y="287"/>
                        <a:pt x="327" y="287"/>
                      </a:cubicBezTo>
                      <a:cubicBezTo>
                        <a:pt x="328" y="287"/>
                        <a:pt x="328" y="287"/>
                        <a:pt x="328" y="287"/>
                      </a:cubicBezTo>
                      <a:cubicBezTo>
                        <a:pt x="328" y="287"/>
                        <a:pt x="328" y="287"/>
                        <a:pt x="328" y="287"/>
                      </a:cubicBezTo>
                      <a:cubicBezTo>
                        <a:pt x="329" y="287"/>
                        <a:pt x="329" y="287"/>
                        <a:pt x="329" y="287"/>
                      </a:cubicBezTo>
                      <a:cubicBezTo>
                        <a:pt x="329" y="285"/>
                        <a:pt x="329" y="285"/>
                        <a:pt x="329" y="285"/>
                      </a:cubicBezTo>
                      <a:cubicBezTo>
                        <a:pt x="331" y="285"/>
                        <a:pt x="331" y="285"/>
                        <a:pt x="331" y="285"/>
                      </a:cubicBezTo>
                      <a:cubicBezTo>
                        <a:pt x="332" y="285"/>
                        <a:pt x="332" y="285"/>
                        <a:pt x="332" y="285"/>
                      </a:cubicBezTo>
                      <a:cubicBezTo>
                        <a:pt x="333" y="285"/>
                        <a:pt x="333" y="285"/>
                        <a:pt x="333" y="285"/>
                      </a:cubicBezTo>
                      <a:cubicBezTo>
                        <a:pt x="333" y="284"/>
                        <a:pt x="333" y="284"/>
                        <a:pt x="333" y="284"/>
                      </a:cubicBezTo>
                      <a:cubicBezTo>
                        <a:pt x="334" y="283"/>
                        <a:pt x="334" y="283"/>
                        <a:pt x="334" y="283"/>
                      </a:cubicBezTo>
                      <a:cubicBezTo>
                        <a:pt x="335" y="283"/>
                        <a:pt x="335" y="283"/>
                        <a:pt x="335" y="283"/>
                      </a:cubicBezTo>
                      <a:cubicBezTo>
                        <a:pt x="336" y="282"/>
                        <a:pt x="336" y="282"/>
                        <a:pt x="336" y="282"/>
                      </a:cubicBezTo>
                      <a:cubicBezTo>
                        <a:pt x="338" y="282"/>
                        <a:pt x="338" y="282"/>
                        <a:pt x="338" y="282"/>
                      </a:cubicBezTo>
                      <a:cubicBezTo>
                        <a:pt x="339" y="282"/>
                        <a:pt x="339" y="282"/>
                        <a:pt x="339" y="282"/>
                      </a:cubicBezTo>
                      <a:cubicBezTo>
                        <a:pt x="338" y="282"/>
                        <a:pt x="338" y="282"/>
                        <a:pt x="338" y="282"/>
                      </a:cubicBezTo>
                      <a:cubicBezTo>
                        <a:pt x="337" y="282"/>
                        <a:pt x="337" y="282"/>
                        <a:pt x="337" y="282"/>
                      </a:cubicBezTo>
                      <a:cubicBezTo>
                        <a:pt x="337" y="282"/>
                        <a:pt x="337" y="282"/>
                        <a:pt x="337" y="282"/>
                      </a:cubicBezTo>
                      <a:cubicBezTo>
                        <a:pt x="338" y="281"/>
                        <a:pt x="338" y="281"/>
                        <a:pt x="338" y="281"/>
                      </a:cubicBezTo>
                      <a:cubicBezTo>
                        <a:pt x="340" y="281"/>
                        <a:pt x="340" y="281"/>
                        <a:pt x="340" y="281"/>
                      </a:cubicBezTo>
                      <a:cubicBezTo>
                        <a:pt x="341" y="282"/>
                        <a:pt x="341" y="282"/>
                        <a:pt x="341" y="282"/>
                      </a:cubicBezTo>
                      <a:cubicBezTo>
                        <a:pt x="342" y="283"/>
                        <a:pt x="342" y="283"/>
                        <a:pt x="342" y="283"/>
                      </a:cubicBezTo>
                      <a:cubicBezTo>
                        <a:pt x="342" y="284"/>
                        <a:pt x="342" y="284"/>
                        <a:pt x="342" y="284"/>
                      </a:cubicBezTo>
                      <a:cubicBezTo>
                        <a:pt x="341" y="285"/>
                        <a:pt x="341" y="285"/>
                        <a:pt x="341" y="285"/>
                      </a:cubicBezTo>
                      <a:cubicBezTo>
                        <a:pt x="340" y="285"/>
                        <a:pt x="340" y="285"/>
                        <a:pt x="340" y="285"/>
                      </a:cubicBezTo>
                      <a:cubicBezTo>
                        <a:pt x="339" y="285"/>
                        <a:pt x="339" y="285"/>
                        <a:pt x="339" y="285"/>
                      </a:cubicBezTo>
                      <a:cubicBezTo>
                        <a:pt x="341" y="285"/>
                        <a:pt x="341" y="285"/>
                        <a:pt x="341" y="285"/>
                      </a:cubicBezTo>
                      <a:cubicBezTo>
                        <a:pt x="341" y="286"/>
                        <a:pt x="341" y="286"/>
                        <a:pt x="341" y="286"/>
                      </a:cubicBezTo>
                      <a:cubicBezTo>
                        <a:pt x="341" y="286"/>
                        <a:pt x="341" y="286"/>
                        <a:pt x="341" y="286"/>
                      </a:cubicBezTo>
                      <a:cubicBezTo>
                        <a:pt x="342" y="285"/>
                        <a:pt x="342" y="285"/>
                        <a:pt x="342" y="285"/>
                      </a:cubicBezTo>
                      <a:cubicBezTo>
                        <a:pt x="343" y="284"/>
                        <a:pt x="343" y="284"/>
                        <a:pt x="343" y="284"/>
                      </a:cubicBezTo>
                      <a:cubicBezTo>
                        <a:pt x="344" y="284"/>
                        <a:pt x="344" y="284"/>
                        <a:pt x="344" y="284"/>
                      </a:cubicBezTo>
                      <a:cubicBezTo>
                        <a:pt x="344" y="285"/>
                        <a:pt x="344" y="285"/>
                        <a:pt x="344" y="285"/>
                      </a:cubicBezTo>
                      <a:cubicBezTo>
                        <a:pt x="344" y="285"/>
                        <a:pt x="344" y="285"/>
                        <a:pt x="344" y="285"/>
                      </a:cubicBezTo>
                      <a:cubicBezTo>
                        <a:pt x="344" y="285"/>
                        <a:pt x="344" y="285"/>
                        <a:pt x="344" y="285"/>
                      </a:cubicBezTo>
                      <a:cubicBezTo>
                        <a:pt x="345" y="285"/>
                        <a:pt x="345" y="285"/>
                        <a:pt x="345" y="285"/>
                      </a:cubicBezTo>
                      <a:cubicBezTo>
                        <a:pt x="346" y="286"/>
                        <a:pt x="346" y="286"/>
                        <a:pt x="346" y="286"/>
                      </a:cubicBezTo>
                      <a:cubicBezTo>
                        <a:pt x="347" y="286"/>
                        <a:pt x="347" y="286"/>
                        <a:pt x="347" y="286"/>
                      </a:cubicBezTo>
                      <a:cubicBezTo>
                        <a:pt x="346" y="286"/>
                        <a:pt x="346" y="286"/>
                        <a:pt x="346" y="286"/>
                      </a:cubicBezTo>
                      <a:cubicBezTo>
                        <a:pt x="345" y="286"/>
                        <a:pt x="345" y="286"/>
                        <a:pt x="345" y="286"/>
                      </a:cubicBezTo>
                      <a:cubicBezTo>
                        <a:pt x="346" y="287"/>
                        <a:pt x="346" y="287"/>
                        <a:pt x="346" y="287"/>
                      </a:cubicBezTo>
                      <a:cubicBezTo>
                        <a:pt x="347" y="287"/>
                        <a:pt x="347" y="287"/>
                        <a:pt x="347" y="287"/>
                      </a:cubicBezTo>
                      <a:cubicBezTo>
                        <a:pt x="347" y="288"/>
                        <a:pt x="347" y="288"/>
                        <a:pt x="347" y="288"/>
                      </a:cubicBezTo>
                      <a:cubicBezTo>
                        <a:pt x="346" y="289"/>
                        <a:pt x="346" y="289"/>
                        <a:pt x="346" y="289"/>
                      </a:cubicBezTo>
                      <a:cubicBezTo>
                        <a:pt x="346" y="288"/>
                        <a:pt x="346" y="288"/>
                        <a:pt x="346" y="288"/>
                      </a:cubicBezTo>
                      <a:cubicBezTo>
                        <a:pt x="345" y="289"/>
                        <a:pt x="345" y="289"/>
                        <a:pt x="345" y="289"/>
                      </a:cubicBezTo>
                      <a:cubicBezTo>
                        <a:pt x="346" y="289"/>
                        <a:pt x="346" y="289"/>
                        <a:pt x="346" y="289"/>
                      </a:cubicBezTo>
                      <a:cubicBezTo>
                        <a:pt x="346" y="290"/>
                        <a:pt x="346" y="290"/>
                        <a:pt x="346" y="290"/>
                      </a:cubicBezTo>
                      <a:cubicBezTo>
                        <a:pt x="345" y="290"/>
                        <a:pt x="345" y="290"/>
                        <a:pt x="345" y="290"/>
                      </a:cubicBezTo>
                      <a:cubicBezTo>
                        <a:pt x="345" y="291"/>
                        <a:pt x="345" y="291"/>
                        <a:pt x="345" y="291"/>
                      </a:cubicBezTo>
                      <a:cubicBezTo>
                        <a:pt x="344" y="291"/>
                        <a:pt x="344" y="291"/>
                        <a:pt x="344" y="291"/>
                      </a:cubicBezTo>
                      <a:cubicBezTo>
                        <a:pt x="343" y="291"/>
                        <a:pt x="343" y="291"/>
                        <a:pt x="343" y="291"/>
                      </a:cubicBezTo>
                      <a:cubicBezTo>
                        <a:pt x="344" y="291"/>
                        <a:pt x="344" y="291"/>
                        <a:pt x="344" y="291"/>
                      </a:cubicBezTo>
                      <a:cubicBezTo>
                        <a:pt x="345" y="292"/>
                        <a:pt x="345" y="292"/>
                        <a:pt x="345" y="292"/>
                      </a:cubicBezTo>
                      <a:cubicBezTo>
                        <a:pt x="346" y="292"/>
                        <a:pt x="346" y="292"/>
                        <a:pt x="346" y="292"/>
                      </a:cubicBezTo>
                      <a:cubicBezTo>
                        <a:pt x="346" y="293"/>
                        <a:pt x="346" y="293"/>
                        <a:pt x="346" y="293"/>
                      </a:cubicBezTo>
                      <a:cubicBezTo>
                        <a:pt x="346" y="293"/>
                        <a:pt x="346" y="293"/>
                        <a:pt x="346" y="293"/>
                      </a:cubicBezTo>
                      <a:cubicBezTo>
                        <a:pt x="345" y="293"/>
                        <a:pt x="345" y="293"/>
                        <a:pt x="345" y="293"/>
                      </a:cubicBezTo>
                      <a:cubicBezTo>
                        <a:pt x="344" y="293"/>
                        <a:pt x="344" y="293"/>
                        <a:pt x="344" y="293"/>
                      </a:cubicBezTo>
                      <a:cubicBezTo>
                        <a:pt x="345" y="293"/>
                        <a:pt x="345" y="293"/>
                        <a:pt x="345" y="293"/>
                      </a:cubicBezTo>
                      <a:cubicBezTo>
                        <a:pt x="346" y="293"/>
                        <a:pt x="346" y="293"/>
                        <a:pt x="346" y="293"/>
                      </a:cubicBezTo>
                      <a:cubicBezTo>
                        <a:pt x="346" y="293"/>
                        <a:pt x="346" y="293"/>
                        <a:pt x="346" y="293"/>
                      </a:cubicBezTo>
                      <a:cubicBezTo>
                        <a:pt x="346" y="294"/>
                        <a:pt x="346" y="294"/>
                        <a:pt x="346" y="294"/>
                      </a:cubicBezTo>
                      <a:cubicBezTo>
                        <a:pt x="346" y="295"/>
                        <a:pt x="346" y="295"/>
                        <a:pt x="346" y="295"/>
                      </a:cubicBezTo>
                      <a:cubicBezTo>
                        <a:pt x="345" y="295"/>
                        <a:pt x="345" y="295"/>
                        <a:pt x="345" y="295"/>
                      </a:cubicBezTo>
                      <a:cubicBezTo>
                        <a:pt x="345" y="296"/>
                        <a:pt x="345" y="296"/>
                        <a:pt x="345" y="296"/>
                      </a:cubicBezTo>
                      <a:cubicBezTo>
                        <a:pt x="343" y="296"/>
                        <a:pt x="343" y="296"/>
                        <a:pt x="343" y="296"/>
                      </a:cubicBezTo>
                      <a:cubicBezTo>
                        <a:pt x="342" y="297"/>
                        <a:pt x="342" y="297"/>
                        <a:pt x="342" y="297"/>
                      </a:cubicBezTo>
                      <a:cubicBezTo>
                        <a:pt x="341" y="297"/>
                        <a:pt x="341" y="297"/>
                        <a:pt x="341" y="297"/>
                      </a:cubicBezTo>
                      <a:cubicBezTo>
                        <a:pt x="341" y="297"/>
                        <a:pt x="341" y="297"/>
                        <a:pt x="341" y="297"/>
                      </a:cubicBezTo>
                      <a:cubicBezTo>
                        <a:pt x="340" y="298"/>
                        <a:pt x="340" y="298"/>
                        <a:pt x="340" y="298"/>
                      </a:cubicBezTo>
                      <a:cubicBezTo>
                        <a:pt x="340" y="298"/>
                        <a:pt x="340" y="298"/>
                        <a:pt x="340" y="298"/>
                      </a:cubicBezTo>
                      <a:cubicBezTo>
                        <a:pt x="339" y="298"/>
                        <a:pt x="339" y="298"/>
                        <a:pt x="339" y="298"/>
                      </a:cubicBezTo>
                      <a:cubicBezTo>
                        <a:pt x="339" y="299"/>
                        <a:pt x="339" y="299"/>
                        <a:pt x="339" y="299"/>
                      </a:cubicBezTo>
                      <a:cubicBezTo>
                        <a:pt x="338" y="298"/>
                        <a:pt x="338" y="298"/>
                        <a:pt x="338" y="298"/>
                      </a:cubicBezTo>
                      <a:cubicBezTo>
                        <a:pt x="337" y="298"/>
                        <a:pt x="337" y="298"/>
                        <a:pt x="337" y="298"/>
                      </a:cubicBezTo>
                      <a:cubicBezTo>
                        <a:pt x="337" y="298"/>
                        <a:pt x="337" y="298"/>
                        <a:pt x="337" y="298"/>
                      </a:cubicBezTo>
                      <a:cubicBezTo>
                        <a:pt x="336" y="298"/>
                        <a:pt x="336" y="298"/>
                        <a:pt x="336" y="298"/>
                      </a:cubicBezTo>
                      <a:cubicBezTo>
                        <a:pt x="335" y="299"/>
                        <a:pt x="335" y="299"/>
                        <a:pt x="335" y="299"/>
                      </a:cubicBezTo>
                      <a:cubicBezTo>
                        <a:pt x="334" y="299"/>
                        <a:pt x="334" y="299"/>
                        <a:pt x="334" y="299"/>
                      </a:cubicBezTo>
                      <a:cubicBezTo>
                        <a:pt x="334" y="298"/>
                        <a:pt x="334" y="298"/>
                        <a:pt x="334" y="298"/>
                      </a:cubicBezTo>
                      <a:cubicBezTo>
                        <a:pt x="334" y="298"/>
                        <a:pt x="334" y="298"/>
                        <a:pt x="334" y="298"/>
                      </a:cubicBezTo>
                      <a:cubicBezTo>
                        <a:pt x="334" y="299"/>
                        <a:pt x="334" y="299"/>
                        <a:pt x="334" y="299"/>
                      </a:cubicBezTo>
                      <a:cubicBezTo>
                        <a:pt x="333" y="299"/>
                        <a:pt x="333" y="299"/>
                        <a:pt x="333" y="299"/>
                      </a:cubicBezTo>
                      <a:cubicBezTo>
                        <a:pt x="332" y="299"/>
                        <a:pt x="332" y="299"/>
                        <a:pt x="332" y="299"/>
                      </a:cubicBezTo>
                      <a:cubicBezTo>
                        <a:pt x="332" y="299"/>
                        <a:pt x="332" y="299"/>
                        <a:pt x="332" y="299"/>
                      </a:cubicBezTo>
                      <a:cubicBezTo>
                        <a:pt x="332" y="299"/>
                        <a:pt x="332" y="299"/>
                        <a:pt x="332" y="299"/>
                      </a:cubicBezTo>
                      <a:cubicBezTo>
                        <a:pt x="332" y="300"/>
                        <a:pt x="332" y="300"/>
                        <a:pt x="332" y="300"/>
                      </a:cubicBezTo>
                      <a:cubicBezTo>
                        <a:pt x="331" y="300"/>
                        <a:pt x="331" y="300"/>
                        <a:pt x="331" y="300"/>
                      </a:cubicBezTo>
                      <a:cubicBezTo>
                        <a:pt x="331" y="300"/>
                        <a:pt x="331" y="300"/>
                        <a:pt x="331" y="300"/>
                      </a:cubicBezTo>
                      <a:cubicBezTo>
                        <a:pt x="330" y="301"/>
                        <a:pt x="330" y="301"/>
                        <a:pt x="330" y="301"/>
                      </a:cubicBezTo>
                      <a:cubicBezTo>
                        <a:pt x="330" y="302"/>
                        <a:pt x="330" y="302"/>
                        <a:pt x="330" y="302"/>
                      </a:cubicBezTo>
                      <a:cubicBezTo>
                        <a:pt x="329" y="302"/>
                        <a:pt x="329" y="302"/>
                        <a:pt x="329" y="302"/>
                      </a:cubicBezTo>
                      <a:cubicBezTo>
                        <a:pt x="329" y="303"/>
                        <a:pt x="329" y="303"/>
                        <a:pt x="329" y="303"/>
                      </a:cubicBezTo>
                      <a:cubicBezTo>
                        <a:pt x="328" y="303"/>
                        <a:pt x="328" y="303"/>
                        <a:pt x="328" y="303"/>
                      </a:cubicBezTo>
                      <a:cubicBezTo>
                        <a:pt x="327" y="304"/>
                        <a:pt x="327" y="304"/>
                        <a:pt x="327" y="304"/>
                      </a:cubicBezTo>
                      <a:cubicBezTo>
                        <a:pt x="327" y="304"/>
                        <a:pt x="327" y="304"/>
                        <a:pt x="327" y="304"/>
                      </a:cubicBezTo>
                      <a:cubicBezTo>
                        <a:pt x="326" y="304"/>
                        <a:pt x="326" y="304"/>
                        <a:pt x="326" y="304"/>
                      </a:cubicBezTo>
                      <a:cubicBezTo>
                        <a:pt x="325" y="304"/>
                        <a:pt x="325" y="304"/>
                        <a:pt x="325" y="304"/>
                      </a:cubicBezTo>
                      <a:cubicBezTo>
                        <a:pt x="325" y="304"/>
                        <a:pt x="325" y="304"/>
                        <a:pt x="325" y="304"/>
                      </a:cubicBezTo>
                      <a:cubicBezTo>
                        <a:pt x="324" y="305"/>
                        <a:pt x="324" y="305"/>
                        <a:pt x="324" y="305"/>
                      </a:cubicBezTo>
                      <a:cubicBezTo>
                        <a:pt x="324" y="304"/>
                        <a:pt x="324" y="304"/>
                        <a:pt x="324" y="304"/>
                      </a:cubicBezTo>
                      <a:cubicBezTo>
                        <a:pt x="322" y="304"/>
                        <a:pt x="322" y="304"/>
                        <a:pt x="322" y="304"/>
                      </a:cubicBezTo>
                      <a:cubicBezTo>
                        <a:pt x="322" y="304"/>
                        <a:pt x="322" y="304"/>
                        <a:pt x="322" y="304"/>
                      </a:cubicBezTo>
                      <a:cubicBezTo>
                        <a:pt x="321" y="304"/>
                        <a:pt x="321" y="304"/>
                        <a:pt x="321" y="304"/>
                      </a:cubicBezTo>
                      <a:cubicBezTo>
                        <a:pt x="320" y="304"/>
                        <a:pt x="320" y="304"/>
                        <a:pt x="320" y="304"/>
                      </a:cubicBezTo>
                      <a:cubicBezTo>
                        <a:pt x="318" y="305"/>
                        <a:pt x="318" y="305"/>
                        <a:pt x="318" y="305"/>
                      </a:cubicBezTo>
                      <a:cubicBezTo>
                        <a:pt x="317" y="305"/>
                        <a:pt x="317" y="305"/>
                        <a:pt x="317" y="305"/>
                      </a:cubicBezTo>
                      <a:cubicBezTo>
                        <a:pt x="317" y="304"/>
                        <a:pt x="317" y="304"/>
                        <a:pt x="317" y="304"/>
                      </a:cubicBezTo>
                      <a:cubicBezTo>
                        <a:pt x="317" y="304"/>
                        <a:pt x="317" y="304"/>
                        <a:pt x="317" y="304"/>
                      </a:cubicBezTo>
                      <a:cubicBezTo>
                        <a:pt x="316" y="305"/>
                        <a:pt x="316" y="305"/>
                        <a:pt x="316" y="305"/>
                      </a:cubicBezTo>
                      <a:cubicBezTo>
                        <a:pt x="315" y="305"/>
                        <a:pt x="315" y="305"/>
                        <a:pt x="315" y="305"/>
                      </a:cubicBezTo>
                      <a:cubicBezTo>
                        <a:pt x="314" y="304"/>
                        <a:pt x="314" y="304"/>
                        <a:pt x="314" y="304"/>
                      </a:cubicBezTo>
                      <a:cubicBezTo>
                        <a:pt x="313" y="304"/>
                        <a:pt x="313" y="304"/>
                        <a:pt x="313" y="304"/>
                      </a:cubicBezTo>
                      <a:cubicBezTo>
                        <a:pt x="312" y="304"/>
                        <a:pt x="312" y="304"/>
                        <a:pt x="312" y="304"/>
                      </a:cubicBezTo>
                      <a:cubicBezTo>
                        <a:pt x="311" y="304"/>
                        <a:pt x="311" y="304"/>
                        <a:pt x="311" y="304"/>
                      </a:cubicBezTo>
                      <a:cubicBezTo>
                        <a:pt x="311" y="304"/>
                        <a:pt x="311" y="304"/>
                        <a:pt x="311" y="304"/>
                      </a:cubicBezTo>
                      <a:cubicBezTo>
                        <a:pt x="310" y="304"/>
                        <a:pt x="310" y="304"/>
                        <a:pt x="310" y="304"/>
                      </a:cubicBezTo>
                      <a:cubicBezTo>
                        <a:pt x="309" y="304"/>
                        <a:pt x="309" y="304"/>
                        <a:pt x="309" y="304"/>
                      </a:cubicBezTo>
                      <a:cubicBezTo>
                        <a:pt x="308" y="303"/>
                        <a:pt x="308" y="303"/>
                        <a:pt x="308" y="303"/>
                      </a:cubicBezTo>
                      <a:cubicBezTo>
                        <a:pt x="307" y="304"/>
                        <a:pt x="307" y="304"/>
                        <a:pt x="307" y="304"/>
                      </a:cubicBezTo>
                      <a:cubicBezTo>
                        <a:pt x="306" y="304"/>
                        <a:pt x="306" y="304"/>
                        <a:pt x="306" y="304"/>
                      </a:cubicBezTo>
                      <a:cubicBezTo>
                        <a:pt x="305" y="303"/>
                        <a:pt x="305" y="303"/>
                        <a:pt x="305" y="303"/>
                      </a:cubicBezTo>
                      <a:cubicBezTo>
                        <a:pt x="304" y="304"/>
                        <a:pt x="304" y="304"/>
                        <a:pt x="304" y="304"/>
                      </a:cubicBezTo>
                      <a:cubicBezTo>
                        <a:pt x="304" y="304"/>
                        <a:pt x="304" y="304"/>
                        <a:pt x="304" y="304"/>
                      </a:cubicBezTo>
                      <a:cubicBezTo>
                        <a:pt x="303" y="304"/>
                        <a:pt x="303" y="304"/>
                        <a:pt x="303" y="304"/>
                      </a:cubicBezTo>
                      <a:cubicBezTo>
                        <a:pt x="302" y="303"/>
                        <a:pt x="302" y="303"/>
                        <a:pt x="302" y="303"/>
                      </a:cubicBezTo>
                      <a:cubicBezTo>
                        <a:pt x="300" y="303"/>
                        <a:pt x="300" y="303"/>
                        <a:pt x="300" y="303"/>
                      </a:cubicBezTo>
                      <a:cubicBezTo>
                        <a:pt x="299" y="303"/>
                        <a:pt x="299" y="303"/>
                        <a:pt x="299" y="303"/>
                      </a:cubicBezTo>
                      <a:cubicBezTo>
                        <a:pt x="298" y="302"/>
                        <a:pt x="298" y="302"/>
                        <a:pt x="298" y="302"/>
                      </a:cubicBezTo>
                      <a:cubicBezTo>
                        <a:pt x="297" y="303"/>
                        <a:pt x="297" y="303"/>
                        <a:pt x="297" y="303"/>
                      </a:cubicBezTo>
                      <a:cubicBezTo>
                        <a:pt x="296" y="303"/>
                        <a:pt x="296" y="303"/>
                        <a:pt x="296" y="303"/>
                      </a:cubicBezTo>
                      <a:cubicBezTo>
                        <a:pt x="297" y="303"/>
                        <a:pt x="297" y="303"/>
                        <a:pt x="297" y="303"/>
                      </a:cubicBezTo>
                      <a:cubicBezTo>
                        <a:pt x="297" y="304"/>
                        <a:pt x="297" y="304"/>
                        <a:pt x="297" y="304"/>
                      </a:cubicBezTo>
                      <a:cubicBezTo>
                        <a:pt x="296" y="304"/>
                        <a:pt x="296" y="304"/>
                        <a:pt x="296" y="304"/>
                      </a:cubicBezTo>
                      <a:cubicBezTo>
                        <a:pt x="294" y="305"/>
                        <a:pt x="294" y="305"/>
                        <a:pt x="294" y="305"/>
                      </a:cubicBezTo>
                      <a:cubicBezTo>
                        <a:pt x="293" y="306"/>
                        <a:pt x="293" y="306"/>
                        <a:pt x="293" y="306"/>
                      </a:cubicBezTo>
                      <a:cubicBezTo>
                        <a:pt x="293" y="307"/>
                        <a:pt x="293" y="307"/>
                        <a:pt x="293" y="307"/>
                      </a:cubicBezTo>
                      <a:cubicBezTo>
                        <a:pt x="292" y="307"/>
                        <a:pt x="292" y="307"/>
                        <a:pt x="292" y="307"/>
                      </a:cubicBezTo>
                      <a:cubicBezTo>
                        <a:pt x="292" y="308"/>
                        <a:pt x="292" y="308"/>
                        <a:pt x="292" y="308"/>
                      </a:cubicBezTo>
                      <a:cubicBezTo>
                        <a:pt x="292" y="309"/>
                        <a:pt x="292" y="309"/>
                        <a:pt x="292" y="309"/>
                      </a:cubicBezTo>
                      <a:cubicBezTo>
                        <a:pt x="290" y="309"/>
                        <a:pt x="290" y="309"/>
                        <a:pt x="290" y="309"/>
                      </a:cubicBezTo>
                      <a:cubicBezTo>
                        <a:pt x="289" y="309"/>
                        <a:pt x="289" y="309"/>
                        <a:pt x="289" y="309"/>
                      </a:cubicBezTo>
                      <a:cubicBezTo>
                        <a:pt x="288" y="309"/>
                        <a:pt x="288" y="309"/>
                        <a:pt x="288" y="309"/>
                      </a:cubicBezTo>
                      <a:cubicBezTo>
                        <a:pt x="287" y="310"/>
                        <a:pt x="287" y="310"/>
                        <a:pt x="287" y="310"/>
                      </a:cubicBezTo>
                      <a:cubicBezTo>
                        <a:pt x="286" y="310"/>
                        <a:pt x="286" y="310"/>
                        <a:pt x="286" y="310"/>
                      </a:cubicBezTo>
                      <a:cubicBezTo>
                        <a:pt x="286" y="310"/>
                        <a:pt x="286" y="310"/>
                        <a:pt x="286" y="310"/>
                      </a:cubicBezTo>
                      <a:cubicBezTo>
                        <a:pt x="285" y="310"/>
                        <a:pt x="285" y="310"/>
                        <a:pt x="285" y="310"/>
                      </a:cubicBezTo>
                      <a:cubicBezTo>
                        <a:pt x="285" y="311"/>
                        <a:pt x="285" y="311"/>
                        <a:pt x="285" y="311"/>
                      </a:cubicBezTo>
                      <a:cubicBezTo>
                        <a:pt x="284" y="311"/>
                        <a:pt x="284" y="311"/>
                        <a:pt x="284" y="311"/>
                      </a:cubicBezTo>
                      <a:cubicBezTo>
                        <a:pt x="283" y="312"/>
                        <a:pt x="283" y="312"/>
                        <a:pt x="283" y="312"/>
                      </a:cubicBezTo>
                      <a:cubicBezTo>
                        <a:pt x="283" y="313"/>
                        <a:pt x="283" y="313"/>
                        <a:pt x="283" y="313"/>
                      </a:cubicBezTo>
                      <a:cubicBezTo>
                        <a:pt x="282" y="313"/>
                        <a:pt x="282" y="313"/>
                        <a:pt x="282" y="313"/>
                      </a:cubicBezTo>
                      <a:cubicBezTo>
                        <a:pt x="281" y="314"/>
                        <a:pt x="281" y="314"/>
                        <a:pt x="281" y="314"/>
                      </a:cubicBezTo>
                      <a:cubicBezTo>
                        <a:pt x="279" y="315"/>
                        <a:pt x="279" y="315"/>
                        <a:pt x="279" y="315"/>
                      </a:cubicBezTo>
                      <a:cubicBezTo>
                        <a:pt x="279" y="317"/>
                        <a:pt x="279" y="317"/>
                        <a:pt x="279" y="317"/>
                      </a:cubicBezTo>
                      <a:cubicBezTo>
                        <a:pt x="277" y="317"/>
                        <a:pt x="277" y="317"/>
                        <a:pt x="277" y="317"/>
                      </a:cubicBezTo>
                      <a:cubicBezTo>
                        <a:pt x="276" y="318"/>
                        <a:pt x="276" y="318"/>
                        <a:pt x="276" y="318"/>
                      </a:cubicBezTo>
                      <a:cubicBezTo>
                        <a:pt x="275" y="318"/>
                        <a:pt x="275" y="318"/>
                        <a:pt x="275" y="318"/>
                      </a:cubicBezTo>
                      <a:cubicBezTo>
                        <a:pt x="275" y="320"/>
                        <a:pt x="275" y="320"/>
                        <a:pt x="275" y="320"/>
                      </a:cubicBezTo>
                      <a:cubicBezTo>
                        <a:pt x="274" y="320"/>
                        <a:pt x="274" y="320"/>
                        <a:pt x="274" y="320"/>
                      </a:cubicBezTo>
                      <a:cubicBezTo>
                        <a:pt x="272" y="322"/>
                        <a:pt x="272" y="322"/>
                        <a:pt x="272" y="322"/>
                      </a:cubicBezTo>
                      <a:cubicBezTo>
                        <a:pt x="272" y="322"/>
                        <a:pt x="272" y="322"/>
                        <a:pt x="272" y="322"/>
                      </a:cubicBezTo>
                      <a:cubicBezTo>
                        <a:pt x="270" y="323"/>
                        <a:pt x="270" y="323"/>
                        <a:pt x="270" y="323"/>
                      </a:cubicBezTo>
                      <a:cubicBezTo>
                        <a:pt x="268" y="324"/>
                        <a:pt x="268" y="324"/>
                        <a:pt x="268" y="324"/>
                      </a:cubicBezTo>
                      <a:cubicBezTo>
                        <a:pt x="269" y="324"/>
                        <a:pt x="269" y="324"/>
                        <a:pt x="269" y="324"/>
                      </a:cubicBezTo>
                      <a:cubicBezTo>
                        <a:pt x="272" y="323"/>
                        <a:pt x="272" y="323"/>
                        <a:pt x="272" y="323"/>
                      </a:cubicBezTo>
                      <a:cubicBezTo>
                        <a:pt x="274" y="322"/>
                        <a:pt x="274" y="322"/>
                        <a:pt x="274" y="322"/>
                      </a:cubicBezTo>
                      <a:cubicBezTo>
                        <a:pt x="275" y="321"/>
                        <a:pt x="275" y="321"/>
                        <a:pt x="275" y="321"/>
                      </a:cubicBezTo>
                      <a:cubicBezTo>
                        <a:pt x="277" y="319"/>
                        <a:pt x="277" y="319"/>
                        <a:pt x="277" y="319"/>
                      </a:cubicBezTo>
                      <a:cubicBezTo>
                        <a:pt x="278" y="318"/>
                        <a:pt x="278" y="318"/>
                        <a:pt x="278" y="318"/>
                      </a:cubicBezTo>
                      <a:cubicBezTo>
                        <a:pt x="279" y="318"/>
                        <a:pt x="279" y="318"/>
                        <a:pt x="279" y="318"/>
                      </a:cubicBezTo>
                      <a:cubicBezTo>
                        <a:pt x="281" y="316"/>
                        <a:pt x="281" y="316"/>
                        <a:pt x="281" y="316"/>
                      </a:cubicBezTo>
                      <a:cubicBezTo>
                        <a:pt x="284" y="314"/>
                        <a:pt x="284" y="314"/>
                        <a:pt x="284" y="314"/>
                      </a:cubicBezTo>
                      <a:cubicBezTo>
                        <a:pt x="286" y="313"/>
                        <a:pt x="286" y="313"/>
                        <a:pt x="286" y="313"/>
                      </a:cubicBezTo>
                      <a:cubicBezTo>
                        <a:pt x="288" y="313"/>
                        <a:pt x="288" y="313"/>
                        <a:pt x="288" y="313"/>
                      </a:cubicBezTo>
                      <a:cubicBezTo>
                        <a:pt x="289" y="312"/>
                        <a:pt x="289" y="312"/>
                        <a:pt x="289" y="312"/>
                      </a:cubicBezTo>
                      <a:cubicBezTo>
                        <a:pt x="291" y="312"/>
                        <a:pt x="291" y="312"/>
                        <a:pt x="291" y="312"/>
                      </a:cubicBezTo>
                      <a:cubicBezTo>
                        <a:pt x="294" y="311"/>
                        <a:pt x="294" y="311"/>
                        <a:pt x="294" y="311"/>
                      </a:cubicBezTo>
                      <a:cubicBezTo>
                        <a:pt x="295" y="311"/>
                        <a:pt x="295" y="311"/>
                        <a:pt x="295" y="311"/>
                      </a:cubicBezTo>
                      <a:cubicBezTo>
                        <a:pt x="296" y="310"/>
                        <a:pt x="296" y="310"/>
                        <a:pt x="296" y="310"/>
                      </a:cubicBezTo>
                      <a:cubicBezTo>
                        <a:pt x="300" y="310"/>
                        <a:pt x="300" y="310"/>
                        <a:pt x="300" y="310"/>
                      </a:cubicBezTo>
                      <a:cubicBezTo>
                        <a:pt x="301" y="311"/>
                        <a:pt x="301" y="311"/>
                        <a:pt x="301" y="311"/>
                      </a:cubicBezTo>
                      <a:cubicBezTo>
                        <a:pt x="303" y="312"/>
                        <a:pt x="303" y="312"/>
                        <a:pt x="303" y="312"/>
                      </a:cubicBezTo>
                      <a:cubicBezTo>
                        <a:pt x="303" y="312"/>
                        <a:pt x="303" y="312"/>
                        <a:pt x="303" y="312"/>
                      </a:cubicBezTo>
                      <a:cubicBezTo>
                        <a:pt x="302" y="312"/>
                        <a:pt x="302" y="312"/>
                        <a:pt x="302" y="312"/>
                      </a:cubicBezTo>
                      <a:cubicBezTo>
                        <a:pt x="302" y="312"/>
                        <a:pt x="302" y="312"/>
                        <a:pt x="302" y="312"/>
                      </a:cubicBezTo>
                      <a:cubicBezTo>
                        <a:pt x="302" y="312"/>
                        <a:pt x="302" y="312"/>
                        <a:pt x="302" y="312"/>
                      </a:cubicBezTo>
                      <a:cubicBezTo>
                        <a:pt x="302" y="312"/>
                        <a:pt x="302" y="312"/>
                        <a:pt x="302" y="312"/>
                      </a:cubicBezTo>
                      <a:cubicBezTo>
                        <a:pt x="303" y="313"/>
                        <a:pt x="303" y="313"/>
                        <a:pt x="303" y="313"/>
                      </a:cubicBezTo>
                      <a:cubicBezTo>
                        <a:pt x="304" y="313"/>
                        <a:pt x="304" y="313"/>
                        <a:pt x="304" y="313"/>
                      </a:cubicBezTo>
                      <a:cubicBezTo>
                        <a:pt x="303" y="313"/>
                        <a:pt x="303" y="313"/>
                        <a:pt x="303" y="313"/>
                      </a:cubicBezTo>
                      <a:cubicBezTo>
                        <a:pt x="304" y="314"/>
                        <a:pt x="304" y="314"/>
                        <a:pt x="304" y="314"/>
                      </a:cubicBezTo>
                      <a:cubicBezTo>
                        <a:pt x="303" y="315"/>
                        <a:pt x="303" y="315"/>
                        <a:pt x="303" y="315"/>
                      </a:cubicBezTo>
                      <a:cubicBezTo>
                        <a:pt x="302" y="316"/>
                        <a:pt x="302" y="316"/>
                        <a:pt x="302" y="316"/>
                      </a:cubicBezTo>
                      <a:cubicBezTo>
                        <a:pt x="301" y="316"/>
                        <a:pt x="301" y="316"/>
                        <a:pt x="301" y="316"/>
                      </a:cubicBezTo>
                      <a:cubicBezTo>
                        <a:pt x="300" y="316"/>
                        <a:pt x="300" y="316"/>
                        <a:pt x="300" y="316"/>
                      </a:cubicBezTo>
                      <a:cubicBezTo>
                        <a:pt x="299" y="317"/>
                        <a:pt x="299" y="317"/>
                        <a:pt x="299" y="317"/>
                      </a:cubicBezTo>
                      <a:cubicBezTo>
                        <a:pt x="298" y="317"/>
                        <a:pt x="298" y="317"/>
                        <a:pt x="298" y="317"/>
                      </a:cubicBezTo>
                      <a:cubicBezTo>
                        <a:pt x="297" y="317"/>
                        <a:pt x="297" y="317"/>
                        <a:pt x="297" y="317"/>
                      </a:cubicBezTo>
                      <a:cubicBezTo>
                        <a:pt x="296" y="316"/>
                        <a:pt x="296" y="316"/>
                        <a:pt x="296" y="316"/>
                      </a:cubicBezTo>
                      <a:cubicBezTo>
                        <a:pt x="295" y="317"/>
                        <a:pt x="295" y="317"/>
                        <a:pt x="295" y="317"/>
                      </a:cubicBezTo>
                      <a:cubicBezTo>
                        <a:pt x="294" y="317"/>
                        <a:pt x="294" y="317"/>
                        <a:pt x="294" y="317"/>
                      </a:cubicBezTo>
                      <a:cubicBezTo>
                        <a:pt x="293" y="317"/>
                        <a:pt x="293" y="317"/>
                        <a:pt x="293" y="317"/>
                      </a:cubicBezTo>
                      <a:cubicBezTo>
                        <a:pt x="292" y="317"/>
                        <a:pt x="292" y="317"/>
                        <a:pt x="292" y="317"/>
                      </a:cubicBezTo>
                      <a:cubicBezTo>
                        <a:pt x="293" y="317"/>
                        <a:pt x="293" y="317"/>
                        <a:pt x="293" y="317"/>
                      </a:cubicBezTo>
                      <a:cubicBezTo>
                        <a:pt x="295" y="317"/>
                        <a:pt x="295" y="317"/>
                        <a:pt x="295" y="317"/>
                      </a:cubicBezTo>
                      <a:cubicBezTo>
                        <a:pt x="297" y="318"/>
                        <a:pt x="297" y="318"/>
                        <a:pt x="297" y="318"/>
                      </a:cubicBezTo>
                      <a:cubicBezTo>
                        <a:pt x="297" y="318"/>
                        <a:pt x="297" y="318"/>
                        <a:pt x="297" y="318"/>
                      </a:cubicBezTo>
                      <a:cubicBezTo>
                        <a:pt x="297" y="319"/>
                        <a:pt x="297" y="319"/>
                        <a:pt x="297" y="319"/>
                      </a:cubicBezTo>
                      <a:cubicBezTo>
                        <a:pt x="298" y="318"/>
                        <a:pt x="298" y="318"/>
                        <a:pt x="298" y="318"/>
                      </a:cubicBezTo>
                      <a:cubicBezTo>
                        <a:pt x="299" y="318"/>
                        <a:pt x="299" y="318"/>
                        <a:pt x="299" y="318"/>
                      </a:cubicBezTo>
                      <a:cubicBezTo>
                        <a:pt x="300" y="318"/>
                        <a:pt x="300" y="318"/>
                        <a:pt x="300" y="318"/>
                      </a:cubicBezTo>
                      <a:cubicBezTo>
                        <a:pt x="300" y="318"/>
                        <a:pt x="300" y="318"/>
                        <a:pt x="300" y="318"/>
                      </a:cubicBezTo>
                      <a:cubicBezTo>
                        <a:pt x="301" y="318"/>
                        <a:pt x="301" y="318"/>
                        <a:pt x="301" y="318"/>
                      </a:cubicBezTo>
                      <a:cubicBezTo>
                        <a:pt x="301" y="319"/>
                        <a:pt x="301" y="319"/>
                        <a:pt x="301" y="319"/>
                      </a:cubicBezTo>
                      <a:cubicBezTo>
                        <a:pt x="300" y="319"/>
                        <a:pt x="300" y="319"/>
                        <a:pt x="300" y="319"/>
                      </a:cubicBezTo>
                      <a:cubicBezTo>
                        <a:pt x="299" y="322"/>
                        <a:pt x="299" y="322"/>
                        <a:pt x="299" y="322"/>
                      </a:cubicBezTo>
                      <a:cubicBezTo>
                        <a:pt x="299" y="322"/>
                        <a:pt x="299" y="322"/>
                        <a:pt x="299" y="322"/>
                      </a:cubicBezTo>
                      <a:cubicBezTo>
                        <a:pt x="298" y="322"/>
                        <a:pt x="298" y="322"/>
                        <a:pt x="298" y="322"/>
                      </a:cubicBezTo>
                      <a:cubicBezTo>
                        <a:pt x="300" y="322"/>
                        <a:pt x="300" y="322"/>
                        <a:pt x="300" y="322"/>
                      </a:cubicBezTo>
                      <a:cubicBezTo>
                        <a:pt x="300" y="323"/>
                        <a:pt x="300" y="323"/>
                        <a:pt x="300" y="323"/>
                      </a:cubicBezTo>
                      <a:cubicBezTo>
                        <a:pt x="299" y="323"/>
                        <a:pt x="299" y="323"/>
                        <a:pt x="299" y="323"/>
                      </a:cubicBezTo>
                      <a:cubicBezTo>
                        <a:pt x="300" y="324"/>
                        <a:pt x="300" y="324"/>
                        <a:pt x="300" y="324"/>
                      </a:cubicBezTo>
                      <a:cubicBezTo>
                        <a:pt x="300" y="325"/>
                        <a:pt x="300" y="325"/>
                        <a:pt x="300" y="325"/>
                      </a:cubicBezTo>
                      <a:cubicBezTo>
                        <a:pt x="300" y="326"/>
                        <a:pt x="300" y="326"/>
                        <a:pt x="300" y="326"/>
                      </a:cubicBezTo>
                      <a:cubicBezTo>
                        <a:pt x="300" y="326"/>
                        <a:pt x="300" y="326"/>
                        <a:pt x="300" y="326"/>
                      </a:cubicBezTo>
                      <a:cubicBezTo>
                        <a:pt x="301" y="327"/>
                        <a:pt x="301" y="327"/>
                        <a:pt x="301" y="327"/>
                      </a:cubicBezTo>
                      <a:cubicBezTo>
                        <a:pt x="302" y="327"/>
                        <a:pt x="302" y="327"/>
                        <a:pt x="302" y="327"/>
                      </a:cubicBezTo>
                      <a:cubicBezTo>
                        <a:pt x="302" y="328"/>
                        <a:pt x="302" y="328"/>
                        <a:pt x="302" y="328"/>
                      </a:cubicBezTo>
                      <a:cubicBezTo>
                        <a:pt x="304" y="328"/>
                        <a:pt x="304" y="328"/>
                        <a:pt x="304" y="328"/>
                      </a:cubicBezTo>
                      <a:cubicBezTo>
                        <a:pt x="303" y="328"/>
                        <a:pt x="303" y="328"/>
                        <a:pt x="303" y="328"/>
                      </a:cubicBezTo>
                      <a:cubicBezTo>
                        <a:pt x="302" y="329"/>
                        <a:pt x="302" y="329"/>
                        <a:pt x="302" y="329"/>
                      </a:cubicBezTo>
                      <a:cubicBezTo>
                        <a:pt x="304" y="330"/>
                        <a:pt x="304" y="330"/>
                        <a:pt x="304" y="330"/>
                      </a:cubicBezTo>
                      <a:cubicBezTo>
                        <a:pt x="305" y="330"/>
                        <a:pt x="305" y="330"/>
                        <a:pt x="305" y="330"/>
                      </a:cubicBezTo>
                      <a:cubicBezTo>
                        <a:pt x="306" y="330"/>
                        <a:pt x="306" y="330"/>
                        <a:pt x="306" y="330"/>
                      </a:cubicBezTo>
                      <a:cubicBezTo>
                        <a:pt x="306" y="330"/>
                        <a:pt x="306" y="330"/>
                        <a:pt x="306" y="330"/>
                      </a:cubicBezTo>
                      <a:cubicBezTo>
                        <a:pt x="308" y="330"/>
                        <a:pt x="308" y="330"/>
                        <a:pt x="308" y="330"/>
                      </a:cubicBezTo>
                      <a:cubicBezTo>
                        <a:pt x="308" y="331"/>
                        <a:pt x="308" y="331"/>
                        <a:pt x="308" y="331"/>
                      </a:cubicBezTo>
                      <a:cubicBezTo>
                        <a:pt x="310" y="331"/>
                        <a:pt x="310" y="331"/>
                        <a:pt x="310" y="331"/>
                      </a:cubicBezTo>
                      <a:cubicBezTo>
                        <a:pt x="310" y="330"/>
                        <a:pt x="310" y="330"/>
                        <a:pt x="310" y="330"/>
                      </a:cubicBezTo>
                      <a:cubicBezTo>
                        <a:pt x="311" y="330"/>
                        <a:pt x="311" y="330"/>
                        <a:pt x="311" y="330"/>
                      </a:cubicBezTo>
                      <a:cubicBezTo>
                        <a:pt x="311" y="330"/>
                        <a:pt x="311" y="330"/>
                        <a:pt x="311" y="330"/>
                      </a:cubicBezTo>
                      <a:cubicBezTo>
                        <a:pt x="311" y="331"/>
                        <a:pt x="311" y="331"/>
                        <a:pt x="311" y="331"/>
                      </a:cubicBezTo>
                      <a:cubicBezTo>
                        <a:pt x="312" y="331"/>
                        <a:pt x="312" y="331"/>
                        <a:pt x="312" y="331"/>
                      </a:cubicBezTo>
                      <a:cubicBezTo>
                        <a:pt x="314" y="332"/>
                        <a:pt x="314" y="332"/>
                        <a:pt x="314" y="332"/>
                      </a:cubicBezTo>
                      <a:cubicBezTo>
                        <a:pt x="314" y="332"/>
                        <a:pt x="314" y="332"/>
                        <a:pt x="314" y="332"/>
                      </a:cubicBezTo>
                      <a:cubicBezTo>
                        <a:pt x="313" y="332"/>
                        <a:pt x="313" y="332"/>
                        <a:pt x="313" y="332"/>
                      </a:cubicBezTo>
                      <a:cubicBezTo>
                        <a:pt x="313" y="332"/>
                        <a:pt x="313" y="332"/>
                        <a:pt x="313" y="332"/>
                      </a:cubicBezTo>
                      <a:cubicBezTo>
                        <a:pt x="314" y="333"/>
                        <a:pt x="314" y="333"/>
                        <a:pt x="314" y="333"/>
                      </a:cubicBezTo>
                      <a:cubicBezTo>
                        <a:pt x="315" y="333"/>
                        <a:pt x="315" y="333"/>
                        <a:pt x="315" y="333"/>
                      </a:cubicBezTo>
                      <a:cubicBezTo>
                        <a:pt x="315" y="333"/>
                        <a:pt x="315" y="333"/>
                        <a:pt x="315" y="333"/>
                      </a:cubicBezTo>
                      <a:cubicBezTo>
                        <a:pt x="314" y="333"/>
                        <a:pt x="314" y="333"/>
                        <a:pt x="314" y="333"/>
                      </a:cubicBezTo>
                      <a:cubicBezTo>
                        <a:pt x="314" y="333"/>
                        <a:pt x="314" y="333"/>
                        <a:pt x="314" y="333"/>
                      </a:cubicBezTo>
                      <a:cubicBezTo>
                        <a:pt x="313" y="333"/>
                        <a:pt x="313" y="333"/>
                        <a:pt x="313" y="333"/>
                      </a:cubicBezTo>
                      <a:cubicBezTo>
                        <a:pt x="312" y="334"/>
                        <a:pt x="312" y="334"/>
                        <a:pt x="312" y="334"/>
                      </a:cubicBezTo>
                      <a:cubicBezTo>
                        <a:pt x="309" y="335"/>
                        <a:pt x="309" y="335"/>
                        <a:pt x="309" y="335"/>
                      </a:cubicBezTo>
                      <a:cubicBezTo>
                        <a:pt x="309" y="335"/>
                        <a:pt x="309" y="335"/>
                        <a:pt x="309" y="335"/>
                      </a:cubicBezTo>
                      <a:cubicBezTo>
                        <a:pt x="307" y="335"/>
                        <a:pt x="307" y="335"/>
                        <a:pt x="307" y="335"/>
                      </a:cubicBezTo>
                      <a:cubicBezTo>
                        <a:pt x="305" y="335"/>
                        <a:pt x="305" y="335"/>
                        <a:pt x="305" y="335"/>
                      </a:cubicBezTo>
                      <a:cubicBezTo>
                        <a:pt x="304" y="336"/>
                        <a:pt x="304" y="336"/>
                        <a:pt x="304" y="336"/>
                      </a:cubicBezTo>
                      <a:cubicBezTo>
                        <a:pt x="303" y="336"/>
                        <a:pt x="303" y="336"/>
                        <a:pt x="303" y="336"/>
                      </a:cubicBezTo>
                      <a:cubicBezTo>
                        <a:pt x="303" y="337"/>
                        <a:pt x="303" y="337"/>
                        <a:pt x="303" y="337"/>
                      </a:cubicBezTo>
                      <a:cubicBezTo>
                        <a:pt x="302" y="337"/>
                        <a:pt x="302" y="337"/>
                        <a:pt x="302" y="337"/>
                      </a:cubicBezTo>
                      <a:cubicBezTo>
                        <a:pt x="302" y="336"/>
                        <a:pt x="302" y="336"/>
                        <a:pt x="302" y="336"/>
                      </a:cubicBezTo>
                      <a:cubicBezTo>
                        <a:pt x="301" y="336"/>
                        <a:pt x="301" y="336"/>
                        <a:pt x="301" y="336"/>
                      </a:cubicBezTo>
                      <a:cubicBezTo>
                        <a:pt x="301" y="336"/>
                        <a:pt x="301" y="336"/>
                        <a:pt x="301" y="336"/>
                      </a:cubicBezTo>
                      <a:cubicBezTo>
                        <a:pt x="300" y="336"/>
                        <a:pt x="300" y="336"/>
                        <a:pt x="300" y="336"/>
                      </a:cubicBezTo>
                      <a:cubicBezTo>
                        <a:pt x="299" y="337"/>
                        <a:pt x="299" y="337"/>
                        <a:pt x="299" y="337"/>
                      </a:cubicBezTo>
                      <a:cubicBezTo>
                        <a:pt x="300" y="337"/>
                        <a:pt x="300" y="337"/>
                        <a:pt x="300" y="337"/>
                      </a:cubicBezTo>
                      <a:cubicBezTo>
                        <a:pt x="298" y="338"/>
                        <a:pt x="298" y="338"/>
                        <a:pt x="298" y="338"/>
                      </a:cubicBezTo>
                      <a:cubicBezTo>
                        <a:pt x="297" y="340"/>
                        <a:pt x="297" y="340"/>
                        <a:pt x="297" y="340"/>
                      </a:cubicBezTo>
                      <a:cubicBezTo>
                        <a:pt x="296" y="340"/>
                        <a:pt x="296" y="340"/>
                        <a:pt x="296" y="340"/>
                      </a:cubicBezTo>
                      <a:cubicBezTo>
                        <a:pt x="295" y="341"/>
                        <a:pt x="295" y="341"/>
                        <a:pt x="295" y="341"/>
                      </a:cubicBezTo>
                      <a:cubicBezTo>
                        <a:pt x="295" y="341"/>
                        <a:pt x="295" y="341"/>
                        <a:pt x="295" y="341"/>
                      </a:cubicBezTo>
                      <a:cubicBezTo>
                        <a:pt x="294" y="341"/>
                        <a:pt x="294" y="341"/>
                        <a:pt x="294" y="341"/>
                      </a:cubicBezTo>
                      <a:cubicBezTo>
                        <a:pt x="294" y="342"/>
                        <a:pt x="294" y="342"/>
                        <a:pt x="294" y="342"/>
                      </a:cubicBezTo>
                      <a:cubicBezTo>
                        <a:pt x="294" y="342"/>
                        <a:pt x="294" y="342"/>
                        <a:pt x="294" y="342"/>
                      </a:cubicBezTo>
                      <a:cubicBezTo>
                        <a:pt x="293" y="342"/>
                        <a:pt x="293" y="342"/>
                        <a:pt x="293" y="342"/>
                      </a:cubicBezTo>
                      <a:cubicBezTo>
                        <a:pt x="293" y="342"/>
                        <a:pt x="293" y="342"/>
                        <a:pt x="293" y="342"/>
                      </a:cubicBezTo>
                      <a:cubicBezTo>
                        <a:pt x="292" y="342"/>
                        <a:pt x="292" y="342"/>
                        <a:pt x="292" y="342"/>
                      </a:cubicBezTo>
                      <a:cubicBezTo>
                        <a:pt x="292" y="341"/>
                        <a:pt x="292" y="341"/>
                        <a:pt x="292" y="341"/>
                      </a:cubicBezTo>
                      <a:cubicBezTo>
                        <a:pt x="291" y="340"/>
                        <a:pt x="291" y="340"/>
                        <a:pt x="291" y="340"/>
                      </a:cubicBezTo>
                      <a:cubicBezTo>
                        <a:pt x="291" y="341"/>
                        <a:pt x="291" y="341"/>
                        <a:pt x="291" y="341"/>
                      </a:cubicBezTo>
                      <a:cubicBezTo>
                        <a:pt x="291" y="340"/>
                        <a:pt x="291" y="340"/>
                        <a:pt x="291" y="340"/>
                      </a:cubicBezTo>
                      <a:cubicBezTo>
                        <a:pt x="290" y="339"/>
                        <a:pt x="290" y="339"/>
                        <a:pt x="290" y="339"/>
                      </a:cubicBezTo>
                      <a:cubicBezTo>
                        <a:pt x="290" y="338"/>
                        <a:pt x="290" y="338"/>
                        <a:pt x="290" y="338"/>
                      </a:cubicBezTo>
                      <a:cubicBezTo>
                        <a:pt x="291" y="337"/>
                        <a:pt x="291" y="337"/>
                        <a:pt x="291" y="337"/>
                      </a:cubicBezTo>
                      <a:cubicBezTo>
                        <a:pt x="292" y="336"/>
                        <a:pt x="292" y="336"/>
                        <a:pt x="292" y="336"/>
                      </a:cubicBezTo>
                      <a:cubicBezTo>
                        <a:pt x="293" y="335"/>
                        <a:pt x="293" y="335"/>
                        <a:pt x="293" y="335"/>
                      </a:cubicBezTo>
                      <a:cubicBezTo>
                        <a:pt x="294" y="334"/>
                        <a:pt x="294" y="334"/>
                        <a:pt x="294" y="334"/>
                      </a:cubicBezTo>
                      <a:cubicBezTo>
                        <a:pt x="296" y="334"/>
                        <a:pt x="296" y="334"/>
                        <a:pt x="296" y="334"/>
                      </a:cubicBezTo>
                      <a:cubicBezTo>
                        <a:pt x="298" y="333"/>
                        <a:pt x="298" y="333"/>
                        <a:pt x="298" y="333"/>
                      </a:cubicBezTo>
                      <a:cubicBezTo>
                        <a:pt x="299" y="332"/>
                        <a:pt x="299" y="332"/>
                        <a:pt x="299" y="332"/>
                      </a:cubicBezTo>
                      <a:cubicBezTo>
                        <a:pt x="300" y="333"/>
                        <a:pt x="300" y="333"/>
                        <a:pt x="300" y="333"/>
                      </a:cubicBezTo>
                      <a:cubicBezTo>
                        <a:pt x="300" y="333"/>
                        <a:pt x="300" y="333"/>
                        <a:pt x="300" y="333"/>
                      </a:cubicBezTo>
                      <a:cubicBezTo>
                        <a:pt x="301" y="334"/>
                        <a:pt x="301" y="334"/>
                        <a:pt x="301" y="334"/>
                      </a:cubicBezTo>
                      <a:cubicBezTo>
                        <a:pt x="301" y="333"/>
                        <a:pt x="301" y="333"/>
                        <a:pt x="301" y="333"/>
                      </a:cubicBezTo>
                      <a:cubicBezTo>
                        <a:pt x="301" y="333"/>
                        <a:pt x="301" y="333"/>
                        <a:pt x="301" y="333"/>
                      </a:cubicBezTo>
                      <a:cubicBezTo>
                        <a:pt x="302" y="333"/>
                        <a:pt x="302" y="333"/>
                        <a:pt x="302" y="333"/>
                      </a:cubicBezTo>
                      <a:cubicBezTo>
                        <a:pt x="303" y="333"/>
                        <a:pt x="303" y="333"/>
                        <a:pt x="303" y="333"/>
                      </a:cubicBezTo>
                      <a:cubicBezTo>
                        <a:pt x="304" y="332"/>
                        <a:pt x="304" y="332"/>
                        <a:pt x="304" y="332"/>
                      </a:cubicBezTo>
                      <a:cubicBezTo>
                        <a:pt x="303" y="332"/>
                        <a:pt x="303" y="332"/>
                        <a:pt x="303" y="332"/>
                      </a:cubicBezTo>
                      <a:cubicBezTo>
                        <a:pt x="301" y="332"/>
                        <a:pt x="301" y="332"/>
                        <a:pt x="301" y="332"/>
                      </a:cubicBezTo>
                      <a:cubicBezTo>
                        <a:pt x="300" y="332"/>
                        <a:pt x="300" y="332"/>
                        <a:pt x="300" y="332"/>
                      </a:cubicBezTo>
                      <a:cubicBezTo>
                        <a:pt x="299" y="332"/>
                        <a:pt x="299" y="332"/>
                        <a:pt x="299" y="332"/>
                      </a:cubicBezTo>
                      <a:cubicBezTo>
                        <a:pt x="298" y="332"/>
                        <a:pt x="298" y="332"/>
                        <a:pt x="298" y="332"/>
                      </a:cubicBezTo>
                      <a:cubicBezTo>
                        <a:pt x="297" y="332"/>
                        <a:pt x="297" y="332"/>
                        <a:pt x="297" y="332"/>
                      </a:cubicBezTo>
                      <a:cubicBezTo>
                        <a:pt x="298" y="331"/>
                        <a:pt x="298" y="331"/>
                        <a:pt x="298" y="331"/>
                      </a:cubicBezTo>
                      <a:cubicBezTo>
                        <a:pt x="299" y="331"/>
                        <a:pt x="299" y="331"/>
                        <a:pt x="299" y="331"/>
                      </a:cubicBezTo>
                      <a:cubicBezTo>
                        <a:pt x="300" y="330"/>
                        <a:pt x="300" y="330"/>
                        <a:pt x="300" y="330"/>
                      </a:cubicBezTo>
                      <a:cubicBezTo>
                        <a:pt x="300" y="329"/>
                        <a:pt x="300" y="329"/>
                        <a:pt x="300" y="329"/>
                      </a:cubicBezTo>
                      <a:cubicBezTo>
                        <a:pt x="300" y="330"/>
                        <a:pt x="300" y="330"/>
                        <a:pt x="300" y="330"/>
                      </a:cubicBezTo>
                      <a:cubicBezTo>
                        <a:pt x="300" y="329"/>
                        <a:pt x="300" y="329"/>
                        <a:pt x="300" y="329"/>
                      </a:cubicBezTo>
                      <a:cubicBezTo>
                        <a:pt x="299" y="331"/>
                        <a:pt x="299" y="331"/>
                        <a:pt x="299" y="331"/>
                      </a:cubicBezTo>
                      <a:cubicBezTo>
                        <a:pt x="298" y="331"/>
                        <a:pt x="298" y="331"/>
                        <a:pt x="298" y="331"/>
                      </a:cubicBezTo>
                      <a:cubicBezTo>
                        <a:pt x="297" y="332"/>
                        <a:pt x="297" y="332"/>
                        <a:pt x="297" y="332"/>
                      </a:cubicBezTo>
                      <a:cubicBezTo>
                        <a:pt x="296" y="332"/>
                        <a:pt x="296" y="332"/>
                        <a:pt x="296" y="332"/>
                      </a:cubicBezTo>
                      <a:cubicBezTo>
                        <a:pt x="295" y="332"/>
                        <a:pt x="295" y="332"/>
                        <a:pt x="295" y="332"/>
                      </a:cubicBezTo>
                      <a:cubicBezTo>
                        <a:pt x="293" y="333"/>
                        <a:pt x="293" y="333"/>
                        <a:pt x="293" y="333"/>
                      </a:cubicBezTo>
                      <a:cubicBezTo>
                        <a:pt x="293" y="333"/>
                        <a:pt x="293" y="333"/>
                        <a:pt x="293" y="333"/>
                      </a:cubicBezTo>
                      <a:cubicBezTo>
                        <a:pt x="293" y="332"/>
                        <a:pt x="293" y="332"/>
                        <a:pt x="293" y="332"/>
                      </a:cubicBezTo>
                      <a:cubicBezTo>
                        <a:pt x="293" y="332"/>
                        <a:pt x="293" y="332"/>
                        <a:pt x="293" y="332"/>
                      </a:cubicBezTo>
                      <a:cubicBezTo>
                        <a:pt x="293" y="331"/>
                        <a:pt x="293" y="331"/>
                        <a:pt x="293" y="331"/>
                      </a:cubicBezTo>
                      <a:cubicBezTo>
                        <a:pt x="292" y="332"/>
                        <a:pt x="292" y="332"/>
                        <a:pt x="292" y="332"/>
                      </a:cubicBezTo>
                      <a:cubicBezTo>
                        <a:pt x="292" y="333"/>
                        <a:pt x="292" y="333"/>
                        <a:pt x="292" y="333"/>
                      </a:cubicBezTo>
                      <a:cubicBezTo>
                        <a:pt x="291" y="333"/>
                        <a:pt x="291" y="333"/>
                        <a:pt x="291" y="333"/>
                      </a:cubicBezTo>
                      <a:cubicBezTo>
                        <a:pt x="290" y="333"/>
                        <a:pt x="290" y="333"/>
                        <a:pt x="290" y="333"/>
                      </a:cubicBezTo>
                      <a:cubicBezTo>
                        <a:pt x="290" y="333"/>
                        <a:pt x="290" y="333"/>
                        <a:pt x="290" y="333"/>
                      </a:cubicBezTo>
                      <a:cubicBezTo>
                        <a:pt x="289" y="333"/>
                        <a:pt x="289" y="333"/>
                        <a:pt x="289" y="333"/>
                      </a:cubicBezTo>
                      <a:cubicBezTo>
                        <a:pt x="289" y="333"/>
                        <a:pt x="289" y="333"/>
                        <a:pt x="289" y="333"/>
                      </a:cubicBezTo>
                      <a:cubicBezTo>
                        <a:pt x="288" y="333"/>
                        <a:pt x="288" y="333"/>
                        <a:pt x="288" y="333"/>
                      </a:cubicBezTo>
                      <a:cubicBezTo>
                        <a:pt x="286" y="332"/>
                        <a:pt x="286" y="332"/>
                        <a:pt x="286" y="332"/>
                      </a:cubicBezTo>
                      <a:cubicBezTo>
                        <a:pt x="286" y="332"/>
                        <a:pt x="286" y="332"/>
                        <a:pt x="286" y="332"/>
                      </a:cubicBezTo>
                      <a:cubicBezTo>
                        <a:pt x="286" y="332"/>
                        <a:pt x="286" y="332"/>
                        <a:pt x="286" y="332"/>
                      </a:cubicBezTo>
                      <a:cubicBezTo>
                        <a:pt x="286" y="332"/>
                        <a:pt x="286" y="332"/>
                        <a:pt x="286" y="332"/>
                      </a:cubicBezTo>
                      <a:cubicBezTo>
                        <a:pt x="286" y="331"/>
                        <a:pt x="286" y="331"/>
                        <a:pt x="286" y="331"/>
                      </a:cubicBezTo>
                      <a:cubicBezTo>
                        <a:pt x="286" y="331"/>
                        <a:pt x="286" y="331"/>
                        <a:pt x="286" y="331"/>
                      </a:cubicBezTo>
                      <a:cubicBezTo>
                        <a:pt x="286" y="330"/>
                        <a:pt x="286" y="330"/>
                        <a:pt x="286" y="330"/>
                      </a:cubicBezTo>
                      <a:cubicBezTo>
                        <a:pt x="286" y="330"/>
                        <a:pt x="286" y="330"/>
                        <a:pt x="286" y="330"/>
                      </a:cubicBezTo>
                      <a:cubicBezTo>
                        <a:pt x="286" y="329"/>
                        <a:pt x="286" y="329"/>
                        <a:pt x="286" y="329"/>
                      </a:cubicBezTo>
                      <a:cubicBezTo>
                        <a:pt x="285" y="329"/>
                        <a:pt x="285" y="329"/>
                        <a:pt x="285" y="329"/>
                      </a:cubicBezTo>
                      <a:cubicBezTo>
                        <a:pt x="285" y="328"/>
                        <a:pt x="285" y="328"/>
                        <a:pt x="285" y="328"/>
                      </a:cubicBezTo>
                      <a:cubicBezTo>
                        <a:pt x="286" y="323"/>
                        <a:pt x="286" y="323"/>
                        <a:pt x="286" y="323"/>
                      </a:cubicBezTo>
                      <a:cubicBezTo>
                        <a:pt x="286" y="322"/>
                        <a:pt x="286" y="322"/>
                        <a:pt x="286" y="322"/>
                      </a:cubicBezTo>
                      <a:cubicBezTo>
                        <a:pt x="285" y="320"/>
                        <a:pt x="285" y="320"/>
                        <a:pt x="285" y="320"/>
                      </a:cubicBezTo>
                      <a:cubicBezTo>
                        <a:pt x="284" y="320"/>
                        <a:pt x="284" y="320"/>
                        <a:pt x="284" y="320"/>
                      </a:cubicBezTo>
                      <a:cubicBezTo>
                        <a:pt x="283" y="320"/>
                        <a:pt x="283" y="320"/>
                        <a:pt x="283" y="320"/>
                      </a:cubicBezTo>
                      <a:cubicBezTo>
                        <a:pt x="282" y="320"/>
                        <a:pt x="282" y="320"/>
                        <a:pt x="282" y="320"/>
                      </a:cubicBezTo>
                      <a:cubicBezTo>
                        <a:pt x="281" y="320"/>
                        <a:pt x="281" y="320"/>
                        <a:pt x="281" y="320"/>
                      </a:cubicBezTo>
                      <a:cubicBezTo>
                        <a:pt x="281" y="319"/>
                        <a:pt x="281" y="319"/>
                        <a:pt x="281" y="319"/>
                      </a:cubicBezTo>
                      <a:cubicBezTo>
                        <a:pt x="280" y="319"/>
                        <a:pt x="280" y="319"/>
                        <a:pt x="280" y="319"/>
                      </a:cubicBezTo>
                      <a:cubicBezTo>
                        <a:pt x="279" y="320"/>
                        <a:pt x="279" y="320"/>
                        <a:pt x="279" y="320"/>
                      </a:cubicBezTo>
                      <a:cubicBezTo>
                        <a:pt x="279" y="321"/>
                        <a:pt x="279" y="321"/>
                        <a:pt x="279" y="321"/>
                      </a:cubicBezTo>
                      <a:cubicBezTo>
                        <a:pt x="277" y="323"/>
                        <a:pt x="277" y="323"/>
                        <a:pt x="277" y="323"/>
                      </a:cubicBezTo>
                      <a:cubicBezTo>
                        <a:pt x="277" y="324"/>
                        <a:pt x="277" y="324"/>
                        <a:pt x="277" y="324"/>
                      </a:cubicBezTo>
                      <a:cubicBezTo>
                        <a:pt x="277" y="324"/>
                        <a:pt x="277" y="324"/>
                        <a:pt x="277" y="324"/>
                      </a:cubicBezTo>
                      <a:cubicBezTo>
                        <a:pt x="275" y="325"/>
                        <a:pt x="275" y="325"/>
                        <a:pt x="275" y="325"/>
                      </a:cubicBezTo>
                      <a:cubicBezTo>
                        <a:pt x="275" y="326"/>
                        <a:pt x="275" y="326"/>
                        <a:pt x="275" y="326"/>
                      </a:cubicBezTo>
                      <a:cubicBezTo>
                        <a:pt x="275" y="327"/>
                        <a:pt x="275" y="327"/>
                        <a:pt x="275" y="327"/>
                      </a:cubicBezTo>
                      <a:cubicBezTo>
                        <a:pt x="274" y="328"/>
                        <a:pt x="274" y="328"/>
                        <a:pt x="274" y="328"/>
                      </a:cubicBezTo>
                      <a:cubicBezTo>
                        <a:pt x="273" y="328"/>
                        <a:pt x="273" y="328"/>
                        <a:pt x="273" y="328"/>
                      </a:cubicBezTo>
                      <a:cubicBezTo>
                        <a:pt x="271" y="330"/>
                        <a:pt x="271" y="330"/>
                        <a:pt x="271" y="330"/>
                      </a:cubicBezTo>
                      <a:cubicBezTo>
                        <a:pt x="271" y="330"/>
                        <a:pt x="271" y="330"/>
                        <a:pt x="271" y="330"/>
                      </a:cubicBezTo>
                      <a:cubicBezTo>
                        <a:pt x="271" y="331"/>
                        <a:pt x="271" y="331"/>
                        <a:pt x="271" y="331"/>
                      </a:cubicBezTo>
                      <a:cubicBezTo>
                        <a:pt x="270" y="331"/>
                        <a:pt x="270" y="331"/>
                        <a:pt x="270" y="331"/>
                      </a:cubicBezTo>
                      <a:cubicBezTo>
                        <a:pt x="269" y="331"/>
                        <a:pt x="269" y="331"/>
                        <a:pt x="269" y="331"/>
                      </a:cubicBezTo>
                      <a:cubicBezTo>
                        <a:pt x="269" y="331"/>
                        <a:pt x="269" y="331"/>
                        <a:pt x="269" y="331"/>
                      </a:cubicBezTo>
                      <a:cubicBezTo>
                        <a:pt x="268" y="331"/>
                        <a:pt x="268" y="331"/>
                        <a:pt x="268" y="331"/>
                      </a:cubicBezTo>
                      <a:cubicBezTo>
                        <a:pt x="267" y="332"/>
                        <a:pt x="267" y="332"/>
                        <a:pt x="267" y="332"/>
                      </a:cubicBezTo>
                      <a:cubicBezTo>
                        <a:pt x="253" y="332"/>
                        <a:pt x="253" y="332"/>
                        <a:pt x="253" y="332"/>
                      </a:cubicBezTo>
                      <a:cubicBezTo>
                        <a:pt x="252" y="332"/>
                        <a:pt x="252" y="332"/>
                        <a:pt x="252" y="332"/>
                      </a:cubicBezTo>
                      <a:cubicBezTo>
                        <a:pt x="251" y="333"/>
                        <a:pt x="251" y="333"/>
                        <a:pt x="251" y="333"/>
                      </a:cubicBezTo>
                      <a:cubicBezTo>
                        <a:pt x="250" y="333"/>
                        <a:pt x="250" y="333"/>
                        <a:pt x="250" y="333"/>
                      </a:cubicBezTo>
                      <a:cubicBezTo>
                        <a:pt x="249" y="334"/>
                        <a:pt x="249" y="334"/>
                        <a:pt x="249" y="334"/>
                      </a:cubicBezTo>
                      <a:cubicBezTo>
                        <a:pt x="247" y="336"/>
                        <a:pt x="247" y="336"/>
                        <a:pt x="247" y="336"/>
                      </a:cubicBezTo>
                      <a:cubicBezTo>
                        <a:pt x="245" y="336"/>
                        <a:pt x="245" y="336"/>
                        <a:pt x="245" y="336"/>
                      </a:cubicBezTo>
                      <a:cubicBezTo>
                        <a:pt x="244" y="336"/>
                        <a:pt x="244" y="336"/>
                        <a:pt x="244" y="336"/>
                      </a:cubicBezTo>
                      <a:cubicBezTo>
                        <a:pt x="240" y="339"/>
                        <a:pt x="240" y="339"/>
                        <a:pt x="240" y="339"/>
                      </a:cubicBezTo>
                      <a:cubicBezTo>
                        <a:pt x="231" y="342"/>
                        <a:pt x="231" y="342"/>
                        <a:pt x="231" y="342"/>
                      </a:cubicBezTo>
                      <a:cubicBezTo>
                        <a:pt x="231" y="344"/>
                        <a:pt x="231" y="344"/>
                        <a:pt x="231" y="344"/>
                      </a:cubicBezTo>
                      <a:cubicBezTo>
                        <a:pt x="229" y="344"/>
                        <a:pt x="229" y="344"/>
                        <a:pt x="229" y="344"/>
                      </a:cubicBezTo>
                      <a:cubicBezTo>
                        <a:pt x="213" y="348"/>
                        <a:pt x="213" y="348"/>
                        <a:pt x="213" y="348"/>
                      </a:cubicBezTo>
                      <a:cubicBezTo>
                        <a:pt x="212" y="347"/>
                        <a:pt x="212" y="347"/>
                        <a:pt x="212" y="347"/>
                      </a:cubicBezTo>
                      <a:cubicBezTo>
                        <a:pt x="213" y="346"/>
                        <a:pt x="213" y="346"/>
                        <a:pt x="213" y="346"/>
                      </a:cubicBezTo>
                      <a:cubicBezTo>
                        <a:pt x="214" y="345"/>
                        <a:pt x="214" y="345"/>
                        <a:pt x="214" y="345"/>
                      </a:cubicBezTo>
                      <a:cubicBezTo>
                        <a:pt x="215" y="344"/>
                        <a:pt x="215" y="344"/>
                        <a:pt x="215" y="344"/>
                      </a:cubicBezTo>
                      <a:cubicBezTo>
                        <a:pt x="216" y="343"/>
                        <a:pt x="216" y="343"/>
                        <a:pt x="216" y="343"/>
                      </a:cubicBezTo>
                      <a:cubicBezTo>
                        <a:pt x="216" y="342"/>
                        <a:pt x="216" y="342"/>
                        <a:pt x="216" y="342"/>
                      </a:cubicBezTo>
                      <a:cubicBezTo>
                        <a:pt x="217" y="336"/>
                        <a:pt x="217" y="336"/>
                        <a:pt x="217" y="336"/>
                      </a:cubicBezTo>
                      <a:cubicBezTo>
                        <a:pt x="214" y="323"/>
                        <a:pt x="214" y="323"/>
                        <a:pt x="214" y="323"/>
                      </a:cubicBezTo>
                      <a:cubicBezTo>
                        <a:pt x="211" y="321"/>
                        <a:pt x="211" y="321"/>
                        <a:pt x="211" y="321"/>
                      </a:cubicBezTo>
                      <a:cubicBezTo>
                        <a:pt x="209" y="320"/>
                        <a:pt x="209" y="320"/>
                        <a:pt x="209" y="320"/>
                      </a:cubicBezTo>
                      <a:cubicBezTo>
                        <a:pt x="190" y="312"/>
                        <a:pt x="190" y="312"/>
                        <a:pt x="190" y="312"/>
                      </a:cubicBezTo>
                      <a:cubicBezTo>
                        <a:pt x="190" y="311"/>
                        <a:pt x="190" y="311"/>
                        <a:pt x="190" y="311"/>
                      </a:cubicBezTo>
                      <a:cubicBezTo>
                        <a:pt x="188" y="311"/>
                        <a:pt x="188" y="311"/>
                        <a:pt x="188" y="311"/>
                      </a:cubicBezTo>
                      <a:cubicBezTo>
                        <a:pt x="188" y="310"/>
                        <a:pt x="188" y="310"/>
                        <a:pt x="188" y="310"/>
                      </a:cubicBezTo>
                      <a:cubicBezTo>
                        <a:pt x="186" y="310"/>
                        <a:pt x="186" y="310"/>
                        <a:pt x="186" y="310"/>
                      </a:cubicBezTo>
                      <a:cubicBezTo>
                        <a:pt x="185" y="310"/>
                        <a:pt x="185" y="310"/>
                        <a:pt x="185" y="310"/>
                      </a:cubicBezTo>
                      <a:cubicBezTo>
                        <a:pt x="185" y="309"/>
                        <a:pt x="185" y="309"/>
                        <a:pt x="185" y="309"/>
                      </a:cubicBezTo>
                      <a:cubicBezTo>
                        <a:pt x="184" y="310"/>
                        <a:pt x="184" y="310"/>
                        <a:pt x="184" y="310"/>
                      </a:cubicBezTo>
                      <a:cubicBezTo>
                        <a:pt x="182" y="310"/>
                        <a:pt x="182" y="310"/>
                        <a:pt x="182" y="310"/>
                      </a:cubicBezTo>
                      <a:cubicBezTo>
                        <a:pt x="182" y="309"/>
                        <a:pt x="182" y="309"/>
                        <a:pt x="182" y="309"/>
                      </a:cubicBezTo>
                      <a:cubicBezTo>
                        <a:pt x="181" y="309"/>
                        <a:pt x="181" y="309"/>
                        <a:pt x="181" y="309"/>
                      </a:cubicBezTo>
                      <a:cubicBezTo>
                        <a:pt x="180" y="309"/>
                        <a:pt x="180" y="309"/>
                        <a:pt x="180" y="309"/>
                      </a:cubicBezTo>
                      <a:cubicBezTo>
                        <a:pt x="178" y="308"/>
                        <a:pt x="178" y="308"/>
                        <a:pt x="178" y="308"/>
                      </a:cubicBezTo>
                      <a:cubicBezTo>
                        <a:pt x="178" y="307"/>
                        <a:pt x="178" y="307"/>
                        <a:pt x="178" y="307"/>
                      </a:cubicBezTo>
                      <a:cubicBezTo>
                        <a:pt x="177" y="307"/>
                        <a:pt x="177" y="307"/>
                        <a:pt x="177" y="307"/>
                      </a:cubicBezTo>
                      <a:cubicBezTo>
                        <a:pt x="176" y="306"/>
                        <a:pt x="176" y="306"/>
                        <a:pt x="176" y="306"/>
                      </a:cubicBezTo>
                      <a:cubicBezTo>
                        <a:pt x="175" y="306"/>
                        <a:pt x="175" y="306"/>
                        <a:pt x="175" y="306"/>
                      </a:cubicBezTo>
                      <a:cubicBezTo>
                        <a:pt x="175" y="306"/>
                        <a:pt x="175" y="306"/>
                        <a:pt x="175" y="306"/>
                      </a:cubicBezTo>
                      <a:cubicBezTo>
                        <a:pt x="174" y="306"/>
                        <a:pt x="174" y="306"/>
                        <a:pt x="174" y="306"/>
                      </a:cubicBezTo>
                      <a:cubicBezTo>
                        <a:pt x="173" y="306"/>
                        <a:pt x="173" y="306"/>
                        <a:pt x="173" y="306"/>
                      </a:cubicBezTo>
                      <a:cubicBezTo>
                        <a:pt x="173" y="306"/>
                        <a:pt x="173" y="306"/>
                        <a:pt x="173" y="306"/>
                      </a:cubicBezTo>
                      <a:cubicBezTo>
                        <a:pt x="172" y="306"/>
                        <a:pt x="172" y="306"/>
                        <a:pt x="172" y="306"/>
                      </a:cubicBezTo>
                      <a:cubicBezTo>
                        <a:pt x="172" y="305"/>
                        <a:pt x="172" y="305"/>
                        <a:pt x="172" y="305"/>
                      </a:cubicBezTo>
                      <a:cubicBezTo>
                        <a:pt x="171" y="305"/>
                        <a:pt x="171" y="305"/>
                        <a:pt x="171" y="305"/>
                      </a:cubicBezTo>
                      <a:cubicBezTo>
                        <a:pt x="171" y="305"/>
                        <a:pt x="171" y="305"/>
                        <a:pt x="171" y="305"/>
                      </a:cubicBezTo>
                      <a:cubicBezTo>
                        <a:pt x="170" y="304"/>
                        <a:pt x="170" y="304"/>
                        <a:pt x="170" y="304"/>
                      </a:cubicBezTo>
                      <a:cubicBezTo>
                        <a:pt x="170" y="304"/>
                        <a:pt x="170" y="304"/>
                        <a:pt x="170" y="304"/>
                      </a:cubicBezTo>
                      <a:cubicBezTo>
                        <a:pt x="169" y="303"/>
                        <a:pt x="169" y="303"/>
                        <a:pt x="169" y="303"/>
                      </a:cubicBezTo>
                      <a:cubicBezTo>
                        <a:pt x="168" y="303"/>
                        <a:pt x="168" y="303"/>
                        <a:pt x="168" y="303"/>
                      </a:cubicBezTo>
                      <a:cubicBezTo>
                        <a:pt x="167" y="303"/>
                        <a:pt x="167" y="303"/>
                        <a:pt x="167" y="303"/>
                      </a:cubicBezTo>
                      <a:lnTo>
                        <a:pt x="43" y="292"/>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5" name="Freeform 170">
                  <a:extLst>
                    <a:ext uri="{FF2B5EF4-FFF2-40B4-BE49-F238E27FC236}">
                      <a16:creationId xmlns:a16="http://schemas.microsoft.com/office/drawing/2014/main" id="{7FC6A33E-49E6-5D51-E0D0-3638F74AFA37}"/>
                    </a:ext>
                  </a:extLst>
                </p:cNvPr>
                <p:cNvSpPr>
                  <a:spLocks noEditPoints="1"/>
                </p:cNvSpPr>
                <p:nvPr/>
              </p:nvSpPr>
              <p:spPr bwMode="auto">
                <a:xfrm>
                  <a:off x="792" y="1462"/>
                  <a:ext cx="608" cy="422"/>
                </a:xfrm>
                <a:custGeom>
                  <a:avLst/>
                  <a:gdLst>
                    <a:gd name="T0" fmla="*/ 225 w 257"/>
                    <a:gd name="T1" fmla="*/ 143 h 178"/>
                    <a:gd name="T2" fmla="*/ 253 w 257"/>
                    <a:gd name="T3" fmla="*/ 30 h 178"/>
                    <a:gd name="T4" fmla="*/ 236 w 257"/>
                    <a:gd name="T5" fmla="*/ 23 h 178"/>
                    <a:gd name="T6" fmla="*/ 225 w 257"/>
                    <a:gd name="T7" fmla="*/ 11 h 178"/>
                    <a:gd name="T8" fmla="*/ 213 w 257"/>
                    <a:gd name="T9" fmla="*/ 7 h 178"/>
                    <a:gd name="T10" fmla="*/ 201 w 257"/>
                    <a:gd name="T11" fmla="*/ 3 h 178"/>
                    <a:gd name="T12" fmla="*/ 180 w 257"/>
                    <a:gd name="T13" fmla="*/ 10 h 178"/>
                    <a:gd name="T14" fmla="*/ 157 w 257"/>
                    <a:gd name="T15" fmla="*/ 39 h 178"/>
                    <a:gd name="T16" fmla="*/ 153 w 257"/>
                    <a:gd name="T17" fmla="*/ 48 h 178"/>
                    <a:gd name="T18" fmla="*/ 146 w 257"/>
                    <a:gd name="T19" fmla="*/ 43 h 178"/>
                    <a:gd name="T20" fmla="*/ 129 w 257"/>
                    <a:gd name="T21" fmla="*/ 54 h 178"/>
                    <a:gd name="T22" fmla="*/ 137 w 257"/>
                    <a:gd name="T23" fmla="*/ 65 h 178"/>
                    <a:gd name="T24" fmla="*/ 140 w 257"/>
                    <a:gd name="T25" fmla="*/ 76 h 178"/>
                    <a:gd name="T26" fmla="*/ 112 w 257"/>
                    <a:gd name="T27" fmla="*/ 85 h 178"/>
                    <a:gd name="T28" fmla="*/ 112 w 257"/>
                    <a:gd name="T29" fmla="*/ 96 h 178"/>
                    <a:gd name="T30" fmla="*/ 108 w 257"/>
                    <a:gd name="T31" fmla="*/ 109 h 178"/>
                    <a:gd name="T32" fmla="*/ 112 w 257"/>
                    <a:gd name="T33" fmla="*/ 118 h 178"/>
                    <a:gd name="T34" fmla="*/ 121 w 257"/>
                    <a:gd name="T35" fmla="*/ 123 h 178"/>
                    <a:gd name="T36" fmla="*/ 119 w 257"/>
                    <a:gd name="T37" fmla="*/ 134 h 178"/>
                    <a:gd name="T38" fmla="*/ 97 w 257"/>
                    <a:gd name="T39" fmla="*/ 146 h 178"/>
                    <a:gd name="T40" fmla="*/ 91 w 257"/>
                    <a:gd name="T41" fmla="*/ 152 h 178"/>
                    <a:gd name="T42" fmla="*/ 105 w 257"/>
                    <a:gd name="T43" fmla="*/ 148 h 178"/>
                    <a:gd name="T44" fmla="*/ 119 w 257"/>
                    <a:gd name="T45" fmla="*/ 142 h 178"/>
                    <a:gd name="T46" fmla="*/ 137 w 257"/>
                    <a:gd name="T47" fmla="*/ 132 h 178"/>
                    <a:gd name="T48" fmla="*/ 149 w 257"/>
                    <a:gd name="T49" fmla="*/ 120 h 178"/>
                    <a:gd name="T50" fmla="*/ 171 w 257"/>
                    <a:gd name="T51" fmla="*/ 108 h 178"/>
                    <a:gd name="T52" fmla="*/ 154 w 257"/>
                    <a:gd name="T53" fmla="*/ 124 h 178"/>
                    <a:gd name="T54" fmla="*/ 166 w 257"/>
                    <a:gd name="T55" fmla="*/ 122 h 178"/>
                    <a:gd name="T56" fmla="*/ 177 w 257"/>
                    <a:gd name="T57" fmla="*/ 116 h 178"/>
                    <a:gd name="T58" fmla="*/ 182 w 257"/>
                    <a:gd name="T59" fmla="*/ 120 h 178"/>
                    <a:gd name="T60" fmla="*/ 198 w 257"/>
                    <a:gd name="T61" fmla="*/ 128 h 178"/>
                    <a:gd name="T62" fmla="*/ 209 w 257"/>
                    <a:gd name="T63" fmla="*/ 136 h 178"/>
                    <a:gd name="T64" fmla="*/ 215 w 257"/>
                    <a:gd name="T65" fmla="*/ 140 h 178"/>
                    <a:gd name="T66" fmla="*/ 221 w 257"/>
                    <a:gd name="T67" fmla="*/ 142 h 178"/>
                    <a:gd name="T68" fmla="*/ 222 w 257"/>
                    <a:gd name="T69" fmla="*/ 158 h 178"/>
                    <a:gd name="T70" fmla="*/ 227 w 257"/>
                    <a:gd name="T71" fmla="*/ 168 h 178"/>
                    <a:gd name="T72" fmla="*/ 217 w 257"/>
                    <a:gd name="T73" fmla="*/ 174 h 178"/>
                    <a:gd name="T74" fmla="*/ 215 w 257"/>
                    <a:gd name="T75" fmla="*/ 174 h 178"/>
                    <a:gd name="T76" fmla="*/ 217 w 257"/>
                    <a:gd name="T77" fmla="*/ 167 h 178"/>
                    <a:gd name="T78" fmla="*/ 218 w 257"/>
                    <a:gd name="T79" fmla="*/ 177 h 178"/>
                    <a:gd name="T80" fmla="*/ 223 w 257"/>
                    <a:gd name="T81" fmla="*/ 168 h 178"/>
                    <a:gd name="T82" fmla="*/ 221 w 257"/>
                    <a:gd name="T83" fmla="*/ 162 h 178"/>
                    <a:gd name="T84" fmla="*/ 216 w 257"/>
                    <a:gd name="T85" fmla="*/ 163 h 178"/>
                    <a:gd name="T86" fmla="*/ 214 w 257"/>
                    <a:gd name="T87" fmla="*/ 156 h 178"/>
                    <a:gd name="T88" fmla="*/ 220 w 257"/>
                    <a:gd name="T89" fmla="*/ 156 h 178"/>
                    <a:gd name="T90" fmla="*/ 212 w 257"/>
                    <a:gd name="T91" fmla="*/ 153 h 178"/>
                    <a:gd name="T92" fmla="*/ 119 w 257"/>
                    <a:gd name="T93" fmla="*/ 81 h 178"/>
                    <a:gd name="T94" fmla="*/ 186 w 257"/>
                    <a:gd name="T95" fmla="*/ 126 h 178"/>
                    <a:gd name="T96" fmla="*/ 172 w 257"/>
                    <a:gd name="T97" fmla="*/ 124 h 178"/>
                    <a:gd name="T98" fmla="*/ 97 w 257"/>
                    <a:gd name="T99" fmla="*/ 67 h 178"/>
                    <a:gd name="T100" fmla="*/ 99 w 257"/>
                    <a:gd name="T101" fmla="*/ 102 h 178"/>
                    <a:gd name="T102" fmla="*/ 144 w 257"/>
                    <a:gd name="T103" fmla="*/ 131 h 178"/>
                    <a:gd name="T104" fmla="*/ 137 w 257"/>
                    <a:gd name="T105" fmla="*/ 136 h 178"/>
                    <a:gd name="T106" fmla="*/ 139 w 257"/>
                    <a:gd name="T107" fmla="*/ 138 h 178"/>
                    <a:gd name="T108" fmla="*/ 130 w 257"/>
                    <a:gd name="T109" fmla="*/ 145 h 178"/>
                    <a:gd name="T110" fmla="*/ 100 w 257"/>
                    <a:gd name="T111" fmla="*/ 153 h 178"/>
                    <a:gd name="T112" fmla="*/ 3 w 257"/>
                    <a:gd name="T113" fmla="*/ 168 h 178"/>
                    <a:gd name="T114" fmla="*/ 24 w 257"/>
                    <a:gd name="T115" fmla="*/ 168 h 178"/>
                    <a:gd name="T116" fmla="*/ 45 w 257"/>
                    <a:gd name="T117" fmla="*/ 166 h 178"/>
                    <a:gd name="T118" fmla="*/ 64 w 257"/>
                    <a:gd name="T119" fmla="*/ 160 h 178"/>
                    <a:gd name="T120" fmla="*/ 73 w 257"/>
                    <a:gd name="T121" fmla="*/ 158 h 178"/>
                    <a:gd name="T122" fmla="*/ 77 w 257"/>
                    <a:gd name="T123" fmla="*/ 153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7" h="178">
                      <a:moveTo>
                        <a:pt x="231" y="170"/>
                      </a:moveTo>
                      <a:cubicBezTo>
                        <a:pt x="231" y="170"/>
                        <a:pt x="231" y="170"/>
                        <a:pt x="231" y="170"/>
                      </a:cubicBezTo>
                      <a:cubicBezTo>
                        <a:pt x="231" y="169"/>
                        <a:pt x="231" y="169"/>
                        <a:pt x="231" y="169"/>
                      </a:cubicBezTo>
                      <a:cubicBezTo>
                        <a:pt x="232" y="169"/>
                        <a:pt x="232" y="169"/>
                        <a:pt x="232" y="169"/>
                      </a:cubicBezTo>
                      <a:cubicBezTo>
                        <a:pt x="232" y="168"/>
                        <a:pt x="232" y="168"/>
                        <a:pt x="232" y="168"/>
                      </a:cubicBezTo>
                      <a:cubicBezTo>
                        <a:pt x="232" y="168"/>
                        <a:pt x="232" y="168"/>
                        <a:pt x="232" y="168"/>
                      </a:cubicBezTo>
                      <a:cubicBezTo>
                        <a:pt x="232" y="168"/>
                        <a:pt x="232" y="168"/>
                        <a:pt x="232" y="168"/>
                      </a:cubicBezTo>
                      <a:cubicBezTo>
                        <a:pt x="231" y="167"/>
                        <a:pt x="231" y="167"/>
                        <a:pt x="231" y="167"/>
                      </a:cubicBezTo>
                      <a:cubicBezTo>
                        <a:pt x="231" y="167"/>
                        <a:pt x="231" y="167"/>
                        <a:pt x="231" y="167"/>
                      </a:cubicBezTo>
                      <a:cubicBezTo>
                        <a:pt x="231" y="166"/>
                        <a:pt x="231" y="166"/>
                        <a:pt x="231" y="166"/>
                      </a:cubicBezTo>
                      <a:cubicBezTo>
                        <a:pt x="230" y="165"/>
                        <a:pt x="230" y="165"/>
                        <a:pt x="230" y="165"/>
                      </a:cubicBezTo>
                      <a:cubicBezTo>
                        <a:pt x="229" y="165"/>
                        <a:pt x="229" y="165"/>
                        <a:pt x="229" y="165"/>
                      </a:cubicBezTo>
                      <a:cubicBezTo>
                        <a:pt x="229" y="164"/>
                        <a:pt x="229" y="164"/>
                        <a:pt x="229" y="164"/>
                      </a:cubicBezTo>
                      <a:cubicBezTo>
                        <a:pt x="228" y="163"/>
                        <a:pt x="228" y="163"/>
                        <a:pt x="228" y="163"/>
                      </a:cubicBezTo>
                      <a:cubicBezTo>
                        <a:pt x="227" y="163"/>
                        <a:pt x="227" y="163"/>
                        <a:pt x="227" y="163"/>
                      </a:cubicBezTo>
                      <a:cubicBezTo>
                        <a:pt x="226" y="163"/>
                        <a:pt x="226" y="163"/>
                        <a:pt x="226" y="163"/>
                      </a:cubicBezTo>
                      <a:cubicBezTo>
                        <a:pt x="226" y="162"/>
                        <a:pt x="226" y="162"/>
                        <a:pt x="226" y="162"/>
                      </a:cubicBezTo>
                      <a:cubicBezTo>
                        <a:pt x="227" y="162"/>
                        <a:pt x="227" y="162"/>
                        <a:pt x="227" y="162"/>
                      </a:cubicBezTo>
                      <a:cubicBezTo>
                        <a:pt x="227" y="161"/>
                        <a:pt x="227" y="161"/>
                        <a:pt x="227" y="161"/>
                      </a:cubicBezTo>
                      <a:cubicBezTo>
                        <a:pt x="226" y="161"/>
                        <a:pt x="226" y="161"/>
                        <a:pt x="226" y="161"/>
                      </a:cubicBezTo>
                      <a:cubicBezTo>
                        <a:pt x="226" y="160"/>
                        <a:pt x="226" y="160"/>
                        <a:pt x="226" y="160"/>
                      </a:cubicBezTo>
                      <a:cubicBezTo>
                        <a:pt x="226" y="160"/>
                        <a:pt x="226" y="160"/>
                        <a:pt x="226" y="160"/>
                      </a:cubicBezTo>
                      <a:cubicBezTo>
                        <a:pt x="227" y="160"/>
                        <a:pt x="227" y="160"/>
                        <a:pt x="227" y="160"/>
                      </a:cubicBezTo>
                      <a:cubicBezTo>
                        <a:pt x="227" y="160"/>
                        <a:pt x="227" y="160"/>
                        <a:pt x="227" y="160"/>
                      </a:cubicBezTo>
                      <a:cubicBezTo>
                        <a:pt x="226" y="159"/>
                        <a:pt x="226" y="159"/>
                        <a:pt x="226" y="159"/>
                      </a:cubicBezTo>
                      <a:cubicBezTo>
                        <a:pt x="226" y="159"/>
                        <a:pt x="226" y="159"/>
                        <a:pt x="226" y="159"/>
                      </a:cubicBezTo>
                      <a:cubicBezTo>
                        <a:pt x="226" y="159"/>
                        <a:pt x="226" y="159"/>
                        <a:pt x="226" y="159"/>
                      </a:cubicBezTo>
                      <a:cubicBezTo>
                        <a:pt x="226" y="158"/>
                        <a:pt x="226" y="158"/>
                        <a:pt x="226" y="158"/>
                      </a:cubicBezTo>
                      <a:cubicBezTo>
                        <a:pt x="226" y="155"/>
                        <a:pt x="226" y="155"/>
                        <a:pt x="226" y="155"/>
                      </a:cubicBezTo>
                      <a:cubicBezTo>
                        <a:pt x="226" y="152"/>
                        <a:pt x="226" y="152"/>
                        <a:pt x="226" y="152"/>
                      </a:cubicBezTo>
                      <a:cubicBezTo>
                        <a:pt x="227" y="150"/>
                        <a:pt x="227" y="150"/>
                        <a:pt x="227" y="150"/>
                      </a:cubicBezTo>
                      <a:cubicBezTo>
                        <a:pt x="226" y="149"/>
                        <a:pt x="226" y="149"/>
                        <a:pt x="226" y="149"/>
                      </a:cubicBezTo>
                      <a:cubicBezTo>
                        <a:pt x="226" y="148"/>
                        <a:pt x="226" y="148"/>
                        <a:pt x="226" y="148"/>
                      </a:cubicBezTo>
                      <a:cubicBezTo>
                        <a:pt x="227" y="147"/>
                        <a:pt x="227" y="147"/>
                        <a:pt x="227" y="147"/>
                      </a:cubicBezTo>
                      <a:cubicBezTo>
                        <a:pt x="226" y="146"/>
                        <a:pt x="226" y="146"/>
                        <a:pt x="226" y="146"/>
                      </a:cubicBezTo>
                      <a:cubicBezTo>
                        <a:pt x="226" y="146"/>
                        <a:pt x="226" y="146"/>
                        <a:pt x="226" y="146"/>
                      </a:cubicBezTo>
                      <a:cubicBezTo>
                        <a:pt x="226" y="144"/>
                        <a:pt x="226" y="144"/>
                        <a:pt x="226" y="144"/>
                      </a:cubicBezTo>
                      <a:cubicBezTo>
                        <a:pt x="225" y="143"/>
                        <a:pt x="225" y="143"/>
                        <a:pt x="225" y="143"/>
                      </a:cubicBezTo>
                      <a:cubicBezTo>
                        <a:pt x="224" y="142"/>
                        <a:pt x="224" y="142"/>
                        <a:pt x="224" y="142"/>
                      </a:cubicBezTo>
                      <a:cubicBezTo>
                        <a:pt x="225" y="141"/>
                        <a:pt x="225" y="141"/>
                        <a:pt x="225" y="141"/>
                      </a:cubicBezTo>
                      <a:cubicBezTo>
                        <a:pt x="224" y="138"/>
                        <a:pt x="224" y="138"/>
                        <a:pt x="224" y="138"/>
                      </a:cubicBezTo>
                      <a:cubicBezTo>
                        <a:pt x="224" y="138"/>
                        <a:pt x="224" y="138"/>
                        <a:pt x="224" y="138"/>
                      </a:cubicBezTo>
                      <a:cubicBezTo>
                        <a:pt x="225" y="137"/>
                        <a:pt x="225" y="137"/>
                        <a:pt x="225" y="137"/>
                      </a:cubicBezTo>
                      <a:cubicBezTo>
                        <a:pt x="224" y="136"/>
                        <a:pt x="224" y="136"/>
                        <a:pt x="224" y="136"/>
                      </a:cubicBezTo>
                      <a:cubicBezTo>
                        <a:pt x="224" y="135"/>
                        <a:pt x="224" y="135"/>
                        <a:pt x="224" y="135"/>
                      </a:cubicBezTo>
                      <a:cubicBezTo>
                        <a:pt x="223" y="134"/>
                        <a:pt x="223" y="134"/>
                        <a:pt x="223" y="134"/>
                      </a:cubicBezTo>
                      <a:cubicBezTo>
                        <a:pt x="222" y="134"/>
                        <a:pt x="222" y="134"/>
                        <a:pt x="222" y="134"/>
                      </a:cubicBezTo>
                      <a:cubicBezTo>
                        <a:pt x="220" y="135"/>
                        <a:pt x="220" y="135"/>
                        <a:pt x="220" y="135"/>
                      </a:cubicBezTo>
                      <a:cubicBezTo>
                        <a:pt x="220" y="135"/>
                        <a:pt x="220" y="135"/>
                        <a:pt x="220" y="135"/>
                      </a:cubicBezTo>
                      <a:cubicBezTo>
                        <a:pt x="218" y="136"/>
                        <a:pt x="218" y="136"/>
                        <a:pt x="218" y="136"/>
                      </a:cubicBezTo>
                      <a:cubicBezTo>
                        <a:pt x="217" y="137"/>
                        <a:pt x="217" y="137"/>
                        <a:pt x="217" y="137"/>
                      </a:cubicBezTo>
                      <a:cubicBezTo>
                        <a:pt x="216" y="138"/>
                        <a:pt x="216" y="138"/>
                        <a:pt x="216" y="138"/>
                      </a:cubicBezTo>
                      <a:cubicBezTo>
                        <a:pt x="215" y="139"/>
                        <a:pt x="215" y="139"/>
                        <a:pt x="215" y="139"/>
                      </a:cubicBezTo>
                      <a:cubicBezTo>
                        <a:pt x="213" y="139"/>
                        <a:pt x="213" y="139"/>
                        <a:pt x="213" y="139"/>
                      </a:cubicBezTo>
                      <a:cubicBezTo>
                        <a:pt x="211" y="139"/>
                        <a:pt x="211" y="139"/>
                        <a:pt x="211" y="139"/>
                      </a:cubicBezTo>
                      <a:cubicBezTo>
                        <a:pt x="211" y="139"/>
                        <a:pt x="211" y="139"/>
                        <a:pt x="211" y="139"/>
                      </a:cubicBezTo>
                      <a:cubicBezTo>
                        <a:pt x="211" y="139"/>
                        <a:pt x="211" y="139"/>
                        <a:pt x="211" y="139"/>
                      </a:cubicBezTo>
                      <a:cubicBezTo>
                        <a:pt x="212" y="138"/>
                        <a:pt x="212" y="138"/>
                        <a:pt x="212" y="138"/>
                      </a:cubicBezTo>
                      <a:cubicBezTo>
                        <a:pt x="211" y="136"/>
                        <a:pt x="211" y="136"/>
                        <a:pt x="211" y="136"/>
                      </a:cubicBezTo>
                      <a:cubicBezTo>
                        <a:pt x="210" y="132"/>
                        <a:pt x="210" y="132"/>
                        <a:pt x="210" y="132"/>
                      </a:cubicBezTo>
                      <a:cubicBezTo>
                        <a:pt x="209" y="129"/>
                        <a:pt x="209" y="129"/>
                        <a:pt x="209" y="129"/>
                      </a:cubicBezTo>
                      <a:cubicBezTo>
                        <a:pt x="209" y="128"/>
                        <a:pt x="209" y="128"/>
                        <a:pt x="209" y="128"/>
                      </a:cubicBezTo>
                      <a:cubicBezTo>
                        <a:pt x="210" y="126"/>
                        <a:pt x="210" y="126"/>
                        <a:pt x="210" y="126"/>
                      </a:cubicBezTo>
                      <a:cubicBezTo>
                        <a:pt x="207" y="126"/>
                        <a:pt x="207" y="126"/>
                        <a:pt x="207" y="126"/>
                      </a:cubicBezTo>
                      <a:cubicBezTo>
                        <a:pt x="205" y="127"/>
                        <a:pt x="205" y="127"/>
                        <a:pt x="205" y="127"/>
                      </a:cubicBezTo>
                      <a:cubicBezTo>
                        <a:pt x="204" y="127"/>
                        <a:pt x="204" y="127"/>
                        <a:pt x="204" y="127"/>
                      </a:cubicBezTo>
                      <a:cubicBezTo>
                        <a:pt x="201" y="126"/>
                        <a:pt x="201" y="126"/>
                        <a:pt x="201" y="126"/>
                      </a:cubicBezTo>
                      <a:cubicBezTo>
                        <a:pt x="257" y="35"/>
                        <a:pt x="257" y="35"/>
                        <a:pt x="257" y="35"/>
                      </a:cubicBezTo>
                      <a:cubicBezTo>
                        <a:pt x="257" y="35"/>
                        <a:pt x="257" y="35"/>
                        <a:pt x="257" y="35"/>
                      </a:cubicBezTo>
                      <a:cubicBezTo>
                        <a:pt x="256" y="35"/>
                        <a:pt x="256" y="35"/>
                        <a:pt x="256" y="35"/>
                      </a:cubicBezTo>
                      <a:cubicBezTo>
                        <a:pt x="255" y="35"/>
                        <a:pt x="255" y="35"/>
                        <a:pt x="255" y="35"/>
                      </a:cubicBezTo>
                      <a:cubicBezTo>
                        <a:pt x="254" y="34"/>
                        <a:pt x="254" y="34"/>
                        <a:pt x="254" y="34"/>
                      </a:cubicBezTo>
                      <a:cubicBezTo>
                        <a:pt x="254" y="32"/>
                        <a:pt x="254" y="32"/>
                        <a:pt x="254" y="32"/>
                      </a:cubicBezTo>
                      <a:cubicBezTo>
                        <a:pt x="253" y="32"/>
                        <a:pt x="253" y="32"/>
                        <a:pt x="253" y="32"/>
                      </a:cubicBezTo>
                      <a:cubicBezTo>
                        <a:pt x="253" y="31"/>
                        <a:pt x="253" y="31"/>
                        <a:pt x="253" y="31"/>
                      </a:cubicBezTo>
                      <a:cubicBezTo>
                        <a:pt x="253" y="30"/>
                        <a:pt x="253" y="30"/>
                        <a:pt x="253" y="30"/>
                      </a:cubicBezTo>
                      <a:cubicBezTo>
                        <a:pt x="252" y="29"/>
                        <a:pt x="252" y="29"/>
                        <a:pt x="252" y="29"/>
                      </a:cubicBezTo>
                      <a:cubicBezTo>
                        <a:pt x="252" y="29"/>
                        <a:pt x="252" y="29"/>
                        <a:pt x="252" y="29"/>
                      </a:cubicBezTo>
                      <a:cubicBezTo>
                        <a:pt x="250" y="29"/>
                        <a:pt x="250" y="29"/>
                        <a:pt x="250" y="29"/>
                      </a:cubicBezTo>
                      <a:cubicBezTo>
                        <a:pt x="250" y="29"/>
                        <a:pt x="250" y="29"/>
                        <a:pt x="250" y="29"/>
                      </a:cubicBezTo>
                      <a:cubicBezTo>
                        <a:pt x="248" y="29"/>
                        <a:pt x="248" y="29"/>
                        <a:pt x="248" y="29"/>
                      </a:cubicBezTo>
                      <a:cubicBezTo>
                        <a:pt x="247" y="29"/>
                        <a:pt x="247" y="29"/>
                        <a:pt x="247" y="29"/>
                      </a:cubicBezTo>
                      <a:cubicBezTo>
                        <a:pt x="246" y="29"/>
                        <a:pt x="246" y="29"/>
                        <a:pt x="246" y="29"/>
                      </a:cubicBezTo>
                      <a:cubicBezTo>
                        <a:pt x="246" y="29"/>
                        <a:pt x="246" y="29"/>
                        <a:pt x="246" y="29"/>
                      </a:cubicBezTo>
                      <a:cubicBezTo>
                        <a:pt x="246" y="29"/>
                        <a:pt x="246" y="29"/>
                        <a:pt x="246" y="29"/>
                      </a:cubicBezTo>
                      <a:cubicBezTo>
                        <a:pt x="245" y="29"/>
                        <a:pt x="245" y="29"/>
                        <a:pt x="245" y="29"/>
                      </a:cubicBezTo>
                      <a:cubicBezTo>
                        <a:pt x="245" y="29"/>
                        <a:pt x="245" y="29"/>
                        <a:pt x="245" y="29"/>
                      </a:cubicBezTo>
                      <a:cubicBezTo>
                        <a:pt x="245" y="29"/>
                        <a:pt x="245" y="29"/>
                        <a:pt x="245" y="29"/>
                      </a:cubicBezTo>
                      <a:cubicBezTo>
                        <a:pt x="245" y="28"/>
                        <a:pt x="245" y="28"/>
                        <a:pt x="245" y="28"/>
                      </a:cubicBezTo>
                      <a:cubicBezTo>
                        <a:pt x="245" y="28"/>
                        <a:pt x="245" y="28"/>
                        <a:pt x="245" y="28"/>
                      </a:cubicBezTo>
                      <a:cubicBezTo>
                        <a:pt x="244" y="28"/>
                        <a:pt x="244" y="28"/>
                        <a:pt x="244" y="28"/>
                      </a:cubicBezTo>
                      <a:cubicBezTo>
                        <a:pt x="244" y="28"/>
                        <a:pt x="244" y="28"/>
                        <a:pt x="244" y="28"/>
                      </a:cubicBezTo>
                      <a:cubicBezTo>
                        <a:pt x="243" y="28"/>
                        <a:pt x="243" y="28"/>
                        <a:pt x="243" y="28"/>
                      </a:cubicBezTo>
                      <a:cubicBezTo>
                        <a:pt x="243" y="27"/>
                        <a:pt x="243" y="27"/>
                        <a:pt x="243" y="27"/>
                      </a:cubicBezTo>
                      <a:cubicBezTo>
                        <a:pt x="244" y="27"/>
                        <a:pt x="244" y="27"/>
                        <a:pt x="244" y="27"/>
                      </a:cubicBezTo>
                      <a:cubicBezTo>
                        <a:pt x="243" y="27"/>
                        <a:pt x="243" y="27"/>
                        <a:pt x="243" y="27"/>
                      </a:cubicBezTo>
                      <a:cubicBezTo>
                        <a:pt x="243" y="27"/>
                        <a:pt x="243" y="27"/>
                        <a:pt x="243" y="27"/>
                      </a:cubicBezTo>
                      <a:cubicBezTo>
                        <a:pt x="242" y="27"/>
                        <a:pt x="242" y="27"/>
                        <a:pt x="242" y="27"/>
                      </a:cubicBezTo>
                      <a:cubicBezTo>
                        <a:pt x="242" y="26"/>
                        <a:pt x="242" y="26"/>
                        <a:pt x="242" y="26"/>
                      </a:cubicBezTo>
                      <a:cubicBezTo>
                        <a:pt x="242" y="26"/>
                        <a:pt x="242" y="26"/>
                        <a:pt x="242" y="26"/>
                      </a:cubicBezTo>
                      <a:cubicBezTo>
                        <a:pt x="240" y="25"/>
                        <a:pt x="240" y="25"/>
                        <a:pt x="240" y="25"/>
                      </a:cubicBezTo>
                      <a:cubicBezTo>
                        <a:pt x="240" y="25"/>
                        <a:pt x="240" y="25"/>
                        <a:pt x="240" y="25"/>
                      </a:cubicBezTo>
                      <a:cubicBezTo>
                        <a:pt x="239" y="24"/>
                        <a:pt x="239" y="24"/>
                        <a:pt x="239" y="24"/>
                      </a:cubicBezTo>
                      <a:cubicBezTo>
                        <a:pt x="239" y="24"/>
                        <a:pt x="239" y="24"/>
                        <a:pt x="239" y="24"/>
                      </a:cubicBezTo>
                      <a:cubicBezTo>
                        <a:pt x="239" y="25"/>
                        <a:pt x="239" y="25"/>
                        <a:pt x="239" y="25"/>
                      </a:cubicBezTo>
                      <a:cubicBezTo>
                        <a:pt x="239" y="25"/>
                        <a:pt x="239" y="25"/>
                        <a:pt x="239" y="25"/>
                      </a:cubicBezTo>
                      <a:cubicBezTo>
                        <a:pt x="239" y="24"/>
                        <a:pt x="239" y="24"/>
                        <a:pt x="239" y="24"/>
                      </a:cubicBezTo>
                      <a:cubicBezTo>
                        <a:pt x="238" y="24"/>
                        <a:pt x="238" y="24"/>
                        <a:pt x="238" y="24"/>
                      </a:cubicBezTo>
                      <a:cubicBezTo>
                        <a:pt x="237" y="25"/>
                        <a:pt x="237" y="25"/>
                        <a:pt x="237" y="25"/>
                      </a:cubicBezTo>
                      <a:cubicBezTo>
                        <a:pt x="237" y="24"/>
                        <a:pt x="237" y="24"/>
                        <a:pt x="237" y="24"/>
                      </a:cubicBezTo>
                      <a:cubicBezTo>
                        <a:pt x="237" y="24"/>
                        <a:pt x="237" y="24"/>
                        <a:pt x="237" y="24"/>
                      </a:cubicBezTo>
                      <a:cubicBezTo>
                        <a:pt x="237" y="24"/>
                        <a:pt x="237" y="24"/>
                        <a:pt x="237" y="24"/>
                      </a:cubicBezTo>
                      <a:cubicBezTo>
                        <a:pt x="237" y="23"/>
                        <a:pt x="237" y="23"/>
                        <a:pt x="237" y="23"/>
                      </a:cubicBezTo>
                      <a:cubicBezTo>
                        <a:pt x="236" y="23"/>
                        <a:pt x="236" y="23"/>
                        <a:pt x="236" y="23"/>
                      </a:cubicBezTo>
                      <a:cubicBezTo>
                        <a:pt x="235" y="23"/>
                        <a:pt x="235" y="23"/>
                        <a:pt x="235" y="23"/>
                      </a:cubicBezTo>
                      <a:cubicBezTo>
                        <a:pt x="236" y="23"/>
                        <a:pt x="236" y="23"/>
                        <a:pt x="236" y="23"/>
                      </a:cubicBezTo>
                      <a:cubicBezTo>
                        <a:pt x="236" y="22"/>
                        <a:pt x="236" y="22"/>
                        <a:pt x="236" y="22"/>
                      </a:cubicBezTo>
                      <a:cubicBezTo>
                        <a:pt x="235" y="22"/>
                        <a:pt x="235" y="22"/>
                        <a:pt x="235" y="22"/>
                      </a:cubicBezTo>
                      <a:cubicBezTo>
                        <a:pt x="234" y="21"/>
                        <a:pt x="234" y="21"/>
                        <a:pt x="234" y="21"/>
                      </a:cubicBezTo>
                      <a:cubicBezTo>
                        <a:pt x="234" y="21"/>
                        <a:pt x="234" y="21"/>
                        <a:pt x="234" y="21"/>
                      </a:cubicBezTo>
                      <a:cubicBezTo>
                        <a:pt x="234" y="21"/>
                        <a:pt x="234" y="21"/>
                        <a:pt x="234" y="21"/>
                      </a:cubicBezTo>
                      <a:cubicBezTo>
                        <a:pt x="233" y="20"/>
                        <a:pt x="233" y="20"/>
                        <a:pt x="233" y="20"/>
                      </a:cubicBezTo>
                      <a:cubicBezTo>
                        <a:pt x="233" y="21"/>
                        <a:pt x="233" y="21"/>
                        <a:pt x="233" y="21"/>
                      </a:cubicBezTo>
                      <a:cubicBezTo>
                        <a:pt x="231" y="22"/>
                        <a:pt x="231" y="22"/>
                        <a:pt x="231" y="22"/>
                      </a:cubicBezTo>
                      <a:cubicBezTo>
                        <a:pt x="229" y="23"/>
                        <a:pt x="229" y="23"/>
                        <a:pt x="229" y="23"/>
                      </a:cubicBezTo>
                      <a:cubicBezTo>
                        <a:pt x="231" y="22"/>
                        <a:pt x="231" y="22"/>
                        <a:pt x="231" y="22"/>
                      </a:cubicBezTo>
                      <a:cubicBezTo>
                        <a:pt x="232" y="21"/>
                        <a:pt x="232" y="21"/>
                        <a:pt x="232" y="21"/>
                      </a:cubicBezTo>
                      <a:cubicBezTo>
                        <a:pt x="233" y="20"/>
                        <a:pt x="233" y="20"/>
                        <a:pt x="233" y="20"/>
                      </a:cubicBezTo>
                      <a:cubicBezTo>
                        <a:pt x="233" y="19"/>
                        <a:pt x="233" y="19"/>
                        <a:pt x="233" y="19"/>
                      </a:cubicBezTo>
                      <a:cubicBezTo>
                        <a:pt x="233" y="18"/>
                        <a:pt x="233" y="18"/>
                        <a:pt x="233" y="18"/>
                      </a:cubicBezTo>
                      <a:cubicBezTo>
                        <a:pt x="231" y="17"/>
                        <a:pt x="231" y="17"/>
                        <a:pt x="231" y="17"/>
                      </a:cubicBezTo>
                      <a:cubicBezTo>
                        <a:pt x="230" y="17"/>
                        <a:pt x="230" y="17"/>
                        <a:pt x="230" y="17"/>
                      </a:cubicBezTo>
                      <a:cubicBezTo>
                        <a:pt x="229" y="18"/>
                        <a:pt x="229" y="18"/>
                        <a:pt x="229" y="18"/>
                      </a:cubicBezTo>
                      <a:cubicBezTo>
                        <a:pt x="228" y="18"/>
                        <a:pt x="228" y="18"/>
                        <a:pt x="228" y="18"/>
                      </a:cubicBezTo>
                      <a:cubicBezTo>
                        <a:pt x="228" y="18"/>
                        <a:pt x="228" y="18"/>
                        <a:pt x="228" y="18"/>
                      </a:cubicBezTo>
                      <a:cubicBezTo>
                        <a:pt x="227" y="18"/>
                        <a:pt x="227" y="18"/>
                        <a:pt x="227" y="18"/>
                      </a:cubicBezTo>
                      <a:cubicBezTo>
                        <a:pt x="225" y="20"/>
                        <a:pt x="225" y="20"/>
                        <a:pt x="225" y="20"/>
                      </a:cubicBezTo>
                      <a:cubicBezTo>
                        <a:pt x="224" y="20"/>
                        <a:pt x="224" y="20"/>
                        <a:pt x="224" y="20"/>
                      </a:cubicBezTo>
                      <a:cubicBezTo>
                        <a:pt x="225" y="19"/>
                        <a:pt x="225" y="19"/>
                        <a:pt x="225" y="19"/>
                      </a:cubicBezTo>
                      <a:cubicBezTo>
                        <a:pt x="225" y="18"/>
                        <a:pt x="225" y="18"/>
                        <a:pt x="225" y="18"/>
                      </a:cubicBezTo>
                      <a:cubicBezTo>
                        <a:pt x="225" y="17"/>
                        <a:pt x="225" y="17"/>
                        <a:pt x="225" y="17"/>
                      </a:cubicBezTo>
                      <a:cubicBezTo>
                        <a:pt x="225" y="17"/>
                        <a:pt x="225" y="17"/>
                        <a:pt x="225" y="17"/>
                      </a:cubicBezTo>
                      <a:cubicBezTo>
                        <a:pt x="224" y="16"/>
                        <a:pt x="224" y="16"/>
                        <a:pt x="224" y="16"/>
                      </a:cubicBezTo>
                      <a:cubicBezTo>
                        <a:pt x="224" y="15"/>
                        <a:pt x="224" y="15"/>
                        <a:pt x="224" y="15"/>
                      </a:cubicBezTo>
                      <a:cubicBezTo>
                        <a:pt x="224" y="15"/>
                        <a:pt x="224" y="15"/>
                        <a:pt x="224" y="15"/>
                      </a:cubicBezTo>
                      <a:cubicBezTo>
                        <a:pt x="225" y="15"/>
                        <a:pt x="225" y="15"/>
                        <a:pt x="225" y="15"/>
                      </a:cubicBezTo>
                      <a:cubicBezTo>
                        <a:pt x="225" y="15"/>
                        <a:pt x="225" y="15"/>
                        <a:pt x="225" y="15"/>
                      </a:cubicBezTo>
                      <a:cubicBezTo>
                        <a:pt x="223" y="14"/>
                        <a:pt x="223" y="14"/>
                        <a:pt x="223" y="14"/>
                      </a:cubicBezTo>
                      <a:cubicBezTo>
                        <a:pt x="223" y="13"/>
                        <a:pt x="223" y="13"/>
                        <a:pt x="223" y="13"/>
                      </a:cubicBezTo>
                      <a:cubicBezTo>
                        <a:pt x="223" y="12"/>
                        <a:pt x="223" y="12"/>
                        <a:pt x="223" y="12"/>
                      </a:cubicBezTo>
                      <a:cubicBezTo>
                        <a:pt x="224" y="12"/>
                        <a:pt x="224" y="12"/>
                        <a:pt x="224" y="12"/>
                      </a:cubicBezTo>
                      <a:cubicBezTo>
                        <a:pt x="225" y="11"/>
                        <a:pt x="225" y="11"/>
                        <a:pt x="225" y="11"/>
                      </a:cubicBezTo>
                      <a:cubicBezTo>
                        <a:pt x="225" y="11"/>
                        <a:pt x="225" y="11"/>
                        <a:pt x="225" y="11"/>
                      </a:cubicBezTo>
                      <a:cubicBezTo>
                        <a:pt x="224" y="10"/>
                        <a:pt x="224" y="10"/>
                        <a:pt x="224" y="10"/>
                      </a:cubicBezTo>
                      <a:cubicBezTo>
                        <a:pt x="224" y="10"/>
                        <a:pt x="224" y="10"/>
                        <a:pt x="224" y="10"/>
                      </a:cubicBezTo>
                      <a:cubicBezTo>
                        <a:pt x="223" y="10"/>
                        <a:pt x="223" y="10"/>
                        <a:pt x="223" y="10"/>
                      </a:cubicBezTo>
                      <a:cubicBezTo>
                        <a:pt x="223" y="9"/>
                        <a:pt x="223" y="9"/>
                        <a:pt x="223" y="9"/>
                      </a:cubicBezTo>
                      <a:cubicBezTo>
                        <a:pt x="222" y="9"/>
                        <a:pt x="222" y="9"/>
                        <a:pt x="222" y="9"/>
                      </a:cubicBezTo>
                      <a:cubicBezTo>
                        <a:pt x="221" y="9"/>
                        <a:pt x="221" y="9"/>
                        <a:pt x="221" y="9"/>
                      </a:cubicBezTo>
                      <a:cubicBezTo>
                        <a:pt x="220" y="9"/>
                        <a:pt x="220" y="9"/>
                        <a:pt x="220" y="9"/>
                      </a:cubicBezTo>
                      <a:cubicBezTo>
                        <a:pt x="219" y="8"/>
                        <a:pt x="219" y="8"/>
                        <a:pt x="219" y="8"/>
                      </a:cubicBezTo>
                      <a:cubicBezTo>
                        <a:pt x="219" y="9"/>
                        <a:pt x="219" y="9"/>
                        <a:pt x="219" y="9"/>
                      </a:cubicBezTo>
                      <a:cubicBezTo>
                        <a:pt x="218" y="9"/>
                        <a:pt x="218" y="9"/>
                        <a:pt x="218" y="9"/>
                      </a:cubicBezTo>
                      <a:cubicBezTo>
                        <a:pt x="217" y="9"/>
                        <a:pt x="217" y="9"/>
                        <a:pt x="217" y="9"/>
                      </a:cubicBezTo>
                      <a:cubicBezTo>
                        <a:pt x="217" y="10"/>
                        <a:pt x="217" y="10"/>
                        <a:pt x="217" y="10"/>
                      </a:cubicBezTo>
                      <a:cubicBezTo>
                        <a:pt x="217" y="9"/>
                        <a:pt x="217" y="9"/>
                        <a:pt x="217" y="9"/>
                      </a:cubicBezTo>
                      <a:cubicBezTo>
                        <a:pt x="217" y="8"/>
                        <a:pt x="217" y="8"/>
                        <a:pt x="217" y="8"/>
                      </a:cubicBezTo>
                      <a:cubicBezTo>
                        <a:pt x="217" y="8"/>
                        <a:pt x="217" y="8"/>
                        <a:pt x="217" y="8"/>
                      </a:cubicBezTo>
                      <a:cubicBezTo>
                        <a:pt x="217" y="7"/>
                        <a:pt x="217" y="7"/>
                        <a:pt x="217" y="7"/>
                      </a:cubicBezTo>
                      <a:cubicBezTo>
                        <a:pt x="218" y="7"/>
                        <a:pt x="218" y="7"/>
                        <a:pt x="218" y="7"/>
                      </a:cubicBezTo>
                      <a:cubicBezTo>
                        <a:pt x="218" y="7"/>
                        <a:pt x="218" y="7"/>
                        <a:pt x="218" y="7"/>
                      </a:cubicBezTo>
                      <a:cubicBezTo>
                        <a:pt x="218" y="6"/>
                        <a:pt x="218" y="6"/>
                        <a:pt x="218" y="6"/>
                      </a:cubicBezTo>
                      <a:cubicBezTo>
                        <a:pt x="218" y="5"/>
                        <a:pt x="218" y="5"/>
                        <a:pt x="218" y="5"/>
                      </a:cubicBezTo>
                      <a:cubicBezTo>
                        <a:pt x="218" y="5"/>
                        <a:pt x="218" y="5"/>
                        <a:pt x="218" y="5"/>
                      </a:cubicBezTo>
                      <a:cubicBezTo>
                        <a:pt x="218" y="5"/>
                        <a:pt x="218" y="5"/>
                        <a:pt x="218" y="5"/>
                      </a:cubicBezTo>
                      <a:cubicBezTo>
                        <a:pt x="217" y="5"/>
                        <a:pt x="217" y="5"/>
                        <a:pt x="217" y="5"/>
                      </a:cubicBezTo>
                      <a:cubicBezTo>
                        <a:pt x="217" y="6"/>
                        <a:pt x="217" y="6"/>
                        <a:pt x="217" y="6"/>
                      </a:cubicBezTo>
                      <a:cubicBezTo>
                        <a:pt x="216" y="6"/>
                        <a:pt x="216" y="6"/>
                        <a:pt x="216" y="6"/>
                      </a:cubicBezTo>
                      <a:cubicBezTo>
                        <a:pt x="216" y="6"/>
                        <a:pt x="216" y="6"/>
                        <a:pt x="216" y="6"/>
                      </a:cubicBezTo>
                      <a:cubicBezTo>
                        <a:pt x="215" y="6"/>
                        <a:pt x="215" y="6"/>
                        <a:pt x="215" y="6"/>
                      </a:cubicBezTo>
                      <a:cubicBezTo>
                        <a:pt x="215" y="7"/>
                        <a:pt x="215" y="7"/>
                        <a:pt x="215" y="7"/>
                      </a:cubicBezTo>
                      <a:cubicBezTo>
                        <a:pt x="215" y="7"/>
                        <a:pt x="215" y="7"/>
                        <a:pt x="215" y="7"/>
                      </a:cubicBezTo>
                      <a:cubicBezTo>
                        <a:pt x="214" y="8"/>
                        <a:pt x="214" y="8"/>
                        <a:pt x="214" y="8"/>
                      </a:cubicBezTo>
                      <a:cubicBezTo>
                        <a:pt x="214" y="8"/>
                        <a:pt x="214" y="8"/>
                        <a:pt x="214" y="8"/>
                      </a:cubicBezTo>
                      <a:cubicBezTo>
                        <a:pt x="213" y="8"/>
                        <a:pt x="213" y="8"/>
                        <a:pt x="213" y="8"/>
                      </a:cubicBezTo>
                      <a:cubicBezTo>
                        <a:pt x="213" y="9"/>
                        <a:pt x="213" y="9"/>
                        <a:pt x="213" y="9"/>
                      </a:cubicBezTo>
                      <a:cubicBezTo>
                        <a:pt x="213" y="10"/>
                        <a:pt x="213" y="10"/>
                        <a:pt x="213" y="10"/>
                      </a:cubicBezTo>
                      <a:cubicBezTo>
                        <a:pt x="212" y="9"/>
                        <a:pt x="212" y="9"/>
                        <a:pt x="212" y="9"/>
                      </a:cubicBezTo>
                      <a:cubicBezTo>
                        <a:pt x="212" y="8"/>
                        <a:pt x="212" y="8"/>
                        <a:pt x="212" y="8"/>
                      </a:cubicBezTo>
                      <a:cubicBezTo>
                        <a:pt x="213" y="7"/>
                        <a:pt x="213" y="7"/>
                        <a:pt x="213" y="7"/>
                      </a:cubicBezTo>
                      <a:cubicBezTo>
                        <a:pt x="212" y="7"/>
                        <a:pt x="212" y="7"/>
                        <a:pt x="212" y="7"/>
                      </a:cubicBezTo>
                      <a:cubicBezTo>
                        <a:pt x="212" y="8"/>
                        <a:pt x="212" y="8"/>
                        <a:pt x="212" y="8"/>
                      </a:cubicBezTo>
                      <a:cubicBezTo>
                        <a:pt x="212" y="8"/>
                        <a:pt x="212" y="8"/>
                        <a:pt x="212" y="8"/>
                      </a:cubicBezTo>
                      <a:cubicBezTo>
                        <a:pt x="211" y="8"/>
                        <a:pt x="211" y="8"/>
                        <a:pt x="211" y="8"/>
                      </a:cubicBezTo>
                      <a:cubicBezTo>
                        <a:pt x="211" y="7"/>
                        <a:pt x="211" y="7"/>
                        <a:pt x="211" y="7"/>
                      </a:cubicBezTo>
                      <a:cubicBezTo>
                        <a:pt x="211" y="6"/>
                        <a:pt x="211" y="6"/>
                        <a:pt x="211" y="6"/>
                      </a:cubicBezTo>
                      <a:cubicBezTo>
                        <a:pt x="210" y="6"/>
                        <a:pt x="210" y="6"/>
                        <a:pt x="210" y="6"/>
                      </a:cubicBezTo>
                      <a:cubicBezTo>
                        <a:pt x="210" y="6"/>
                        <a:pt x="210" y="6"/>
                        <a:pt x="210" y="6"/>
                      </a:cubicBezTo>
                      <a:cubicBezTo>
                        <a:pt x="211" y="5"/>
                        <a:pt x="211" y="5"/>
                        <a:pt x="211" y="5"/>
                      </a:cubicBezTo>
                      <a:cubicBezTo>
                        <a:pt x="212" y="5"/>
                        <a:pt x="212" y="5"/>
                        <a:pt x="212" y="5"/>
                      </a:cubicBezTo>
                      <a:cubicBezTo>
                        <a:pt x="213" y="6"/>
                        <a:pt x="213" y="6"/>
                        <a:pt x="213" y="6"/>
                      </a:cubicBezTo>
                      <a:cubicBezTo>
                        <a:pt x="215" y="5"/>
                        <a:pt x="215" y="5"/>
                        <a:pt x="215" y="5"/>
                      </a:cubicBezTo>
                      <a:cubicBezTo>
                        <a:pt x="215" y="5"/>
                        <a:pt x="215" y="5"/>
                        <a:pt x="215" y="5"/>
                      </a:cubicBezTo>
                      <a:cubicBezTo>
                        <a:pt x="216" y="4"/>
                        <a:pt x="216" y="4"/>
                        <a:pt x="216" y="4"/>
                      </a:cubicBezTo>
                      <a:cubicBezTo>
                        <a:pt x="217" y="4"/>
                        <a:pt x="217" y="4"/>
                        <a:pt x="217" y="4"/>
                      </a:cubicBezTo>
                      <a:cubicBezTo>
                        <a:pt x="217" y="3"/>
                        <a:pt x="217" y="3"/>
                        <a:pt x="217" y="3"/>
                      </a:cubicBezTo>
                      <a:cubicBezTo>
                        <a:pt x="217" y="3"/>
                        <a:pt x="217" y="3"/>
                        <a:pt x="217" y="3"/>
                      </a:cubicBezTo>
                      <a:cubicBezTo>
                        <a:pt x="215" y="2"/>
                        <a:pt x="215" y="2"/>
                        <a:pt x="215" y="2"/>
                      </a:cubicBezTo>
                      <a:cubicBezTo>
                        <a:pt x="215" y="2"/>
                        <a:pt x="215" y="2"/>
                        <a:pt x="215" y="2"/>
                      </a:cubicBezTo>
                      <a:cubicBezTo>
                        <a:pt x="215" y="2"/>
                        <a:pt x="215" y="2"/>
                        <a:pt x="215" y="2"/>
                      </a:cubicBezTo>
                      <a:cubicBezTo>
                        <a:pt x="215" y="1"/>
                        <a:pt x="215" y="1"/>
                        <a:pt x="215" y="1"/>
                      </a:cubicBezTo>
                      <a:cubicBezTo>
                        <a:pt x="214" y="1"/>
                        <a:pt x="214" y="1"/>
                        <a:pt x="214" y="1"/>
                      </a:cubicBezTo>
                      <a:cubicBezTo>
                        <a:pt x="214" y="1"/>
                        <a:pt x="214" y="1"/>
                        <a:pt x="214" y="1"/>
                      </a:cubicBezTo>
                      <a:cubicBezTo>
                        <a:pt x="215" y="1"/>
                        <a:pt x="215" y="1"/>
                        <a:pt x="215" y="1"/>
                      </a:cubicBezTo>
                      <a:cubicBezTo>
                        <a:pt x="215" y="0"/>
                        <a:pt x="215" y="0"/>
                        <a:pt x="215" y="0"/>
                      </a:cubicBezTo>
                      <a:cubicBezTo>
                        <a:pt x="215" y="0"/>
                        <a:pt x="215" y="0"/>
                        <a:pt x="215" y="0"/>
                      </a:cubicBezTo>
                      <a:cubicBezTo>
                        <a:pt x="213" y="1"/>
                        <a:pt x="213" y="1"/>
                        <a:pt x="213" y="1"/>
                      </a:cubicBezTo>
                      <a:cubicBezTo>
                        <a:pt x="212" y="1"/>
                        <a:pt x="212" y="1"/>
                        <a:pt x="212" y="1"/>
                      </a:cubicBezTo>
                      <a:cubicBezTo>
                        <a:pt x="211" y="2"/>
                        <a:pt x="211" y="2"/>
                        <a:pt x="211" y="2"/>
                      </a:cubicBezTo>
                      <a:cubicBezTo>
                        <a:pt x="210" y="2"/>
                        <a:pt x="210" y="2"/>
                        <a:pt x="210" y="2"/>
                      </a:cubicBezTo>
                      <a:cubicBezTo>
                        <a:pt x="208" y="4"/>
                        <a:pt x="208" y="4"/>
                        <a:pt x="208" y="4"/>
                      </a:cubicBezTo>
                      <a:cubicBezTo>
                        <a:pt x="207" y="4"/>
                        <a:pt x="207" y="4"/>
                        <a:pt x="207" y="4"/>
                      </a:cubicBezTo>
                      <a:cubicBezTo>
                        <a:pt x="205" y="4"/>
                        <a:pt x="205" y="4"/>
                        <a:pt x="205" y="4"/>
                      </a:cubicBezTo>
                      <a:cubicBezTo>
                        <a:pt x="204" y="3"/>
                        <a:pt x="204" y="3"/>
                        <a:pt x="204" y="3"/>
                      </a:cubicBezTo>
                      <a:cubicBezTo>
                        <a:pt x="203" y="3"/>
                        <a:pt x="203" y="3"/>
                        <a:pt x="203" y="3"/>
                      </a:cubicBezTo>
                      <a:cubicBezTo>
                        <a:pt x="203" y="3"/>
                        <a:pt x="203" y="3"/>
                        <a:pt x="203" y="3"/>
                      </a:cubicBezTo>
                      <a:cubicBezTo>
                        <a:pt x="202" y="3"/>
                        <a:pt x="202" y="3"/>
                        <a:pt x="202" y="3"/>
                      </a:cubicBezTo>
                      <a:cubicBezTo>
                        <a:pt x="201" y="3"/>
                        <a:pt x="201" y="3"/>
                        <a:pt x="201" y="3"/>
                      </a:cubicBezTo>
                      <a:cubicBezTo>
                        <a:pt x="200" y="3"/>
                        <a:pt x="200" y="3"/>
                        <a:pt x="200" y="3"/>
                      </a:cubicBezTo>
                      <a:cubicBezTo>
                        <a:pt x="200" y="4"/>
                        <a:pt x="200" y="4"/>
                        <a:pt x="200" y="4"/>
                      </a:cubicBezTo>
                      <a:cubicBezTo>
                        <a:pt x="200" y="4"/>
                        <a:pt x="200" y="4"/>
                        <a:pt x="200" y="4"/>
                      </a:cubicBezTo>
                      <a:cubicBezTo>
                        <a:pt x="199" y="3"/>
                        <a:pt x="199" y="3"/>
                        <a:pt x="199" y="3"/>
                      </a:cubicBezTo>
                      <a:cubicBezTo>
                        <a:pt x="200" y="3"/>
                        <a:pt x="200" y="3"/>
                        <a:pt x="200" y="3"/>
                      </a:cubicBezTo>
                      <a:cubicBezTo>
                        <a:pt x="201" y="2"/>
                        <a:pt x="201" y="2"/>
                        <a:pt x="201" y="2"/>
                      </a:cubicBezTo>
                      <a:cubicBezTo>
                        <a:pt x="200" y="2"/>
                        <a:pt x="200" y="2"/>
                        <a:pt x="200" y="2"/>
                      </a:cubicBezTo>
                      <a:cubicBezTo>
                        <a:pt x="199" y="2"/>
                        <a:pt x="199" y="2"/>
                        <a:pt x="199" y="2"/>
                      </a:cubicBezTo>
                      <a:cubicBezTo>
                        <a:pt x="197" y="3"/>
                        <a:pt x="197" y="3"/>
                        <a:pt x="197" y="3"/>
                      </a:cubicBezTo>
                      <a:cubicBezTo>
                        <a:pt x="196" y="4"/>
                        <a:pt x="196" y="4"/>
                        <a:pt x="196" y="4"/>
                      </a:cubicBezTo>
                      <a:cubicBezTo>
                        <a:pt x="195" y="5"/>
                        <a:pt x="195" y="5"/>
                        <a:pt x="195" y="5"/>
                      </a:cubicBezTo>
                      <a:cubicBezTo>
                        <a:pt x="196" y="5"/>
                        <a:pt x="196" y="5"/>
                        <a:pt x="196" y="5"/>
                      </a:cubicBezTo>
                      <a:cubicBezTo>
                        <a:pt x="197" y="6"/>
                        <a:pt x="197" y="6"/>
                        <a:pt x="197" y="6"/>
                      </a:cubicBezTo>
                      <a:cubicBezTo>
                        <a:pt x="196" y="6"/>
                        <a:pt x="196" y="6"/>
                        <a:pt x="196" y="6"/>
                      </a:cubicBezTo>
                      <a:cubicBezTo>
                        <a:pt x="195" y="6"/>
                        <a:pt x="195" y="6"/>
                        <a:pt x="195" y="6"/>
                      </a:cubicBezTo>
                      <a:cubicBezTo>
                        <a:pt x="194" y="7"/>
                        <a:pt x="194" y="7"/>
                        <a:pt x="194" y="7"/>
                      </a:cubicBezTo>
                      <a:cubicBezTo>
                        <a:pt x="193" y="9"/>
                        <a:pt x="193" y="9"/>
                        <a:pt x="193" y="9"/>
                      </a:cubicBezTo>
                      <a:cubicBezTo>
                        <a:pt x="192" y="10"/>
                        <a:pt x="192" y="10"/>
                        <a:pt x="192" y="10"/>
                      </a:cubicBezTo>
                      <a:cubicBezTo>
                        <a:pt x="192" y="10"/>
                        <a:pt x="192" y="10"/>
                        <a:pt x="192" y="10"/>
                      </a:cubicBezTo>
                      <a:cubicBezTo>
                        <a:pt x="191" y="10"/>
                        <a:pt x="191" y="10"/>
                        <a:pt x="191" y="10"/>
                      </a:cubicBezTo>
                      <a:cubicBezTo>
                        <a:pt x="192" y="9"/>
                        <a:pt x="192" y="9"/>
                        <a:pt x="192" y="9"/>
                      </a:cubicBezTo>
                      <a:cubicBezTo>
                        <a:pt x="193" y="7"/>
                        <a:pt x="193" y="7"/>
                        <a:pt x="193" y="7"/>
                      </a:cubicBezTo>
                      <a:cubicBezTo>
                        <a:pt x="193" y="6"/>
                        <a:pt x="193" y="6"/>
                        <a:pt x="193" y="6"/>
                      </a:cubicBezTo>
                      <a:cubicBezTo>
                        <a:pt x="193" y="6"/>
                        <a:pt x="193" y="6"/>
                        <a:pt x="193" y="6"/>
                      </a:cubicBezTo>
                      <a:cubicBezTo>
                        <a:pt x="190" y="7"/>
                        <a:pt x="190" y="7"/>
                        <a:pt x="190" y="7"/>
                      </a:cubicBezTo>
                      <a:cubicBezTo>
                        <a:pt x="189" y="7"/>
                        <a:pt x="189" y="7"/>
                        <a:pt x="189" y="7"/>
                      </a:cubicBezTo>
                      <a:cubicBezTo>
                        <a:pt x="189" y="7"/>
                        <a:pt x="189" y="7"/>
                        <a:pt x="189" y="7"/>
                      </a:cubicBezTo>
                      <a:cubicBezTo>
                        <a:pt x="188" y="6"/>
                        <a:pt x="188" y="6"/>
                        <a:pt x="188" y="6"/>
                      </a:cubicBezTo>
                      <a:cubicBezTo>
                        <a:pt x="187" y="6"/>
                        <a:pt x="187" y="6"/>
                        <a:pt x="187" y="6"/>
                      </a:cubicBezTo>
                      <a:cubicBezTo>
                        <a:pt x="186" y="6"/>
                        <a:pt x="186" y="6"/>
                        <a:pt x="186" y="6"/>
                      </a:cubicBezTo>
                      <a:cubicBezTo>
                        <a:pt x="186" y="6"/>
                        <a:pt x="186" y="6"/>
                        <a:pt x="186" y="6"/>
                      </a:cubicBezTo>
                      <a:cubicBezTo>
                        <a:pt x="188" y="7"/>
                        <a:pt x="188" y="7"/>
                        <a:pt x="188" y="7"/>
                      </a:cubicBezTo>
                      <a:cubicBezTo>
                        <a:pt x="188" y="7"/>
                        <a:pt x="188" y="7"/>
                        <a:pt x="188" y="7"/>
                      </a:cubicBezTo>
                      <a:cubicBezTo>
                        <a:pt x="188" y="7"/>
                        <a:pt x="188" y="7"/>
                        <a:pt x="188" y="7"/>
                      </a:cubicBezTo>
                      <a:cubicBezTo>
                        <a:pt x="186" y="7"/>
                        <a:pt x="186" y="7"/>
                        <a:pt x="186" y="7"/>
                      </a:cubicBezTo>
                      <a:cubicBezTo>
                        <a:pt x="185" y="7"/>
                        <a:pt x="185" y="7"/>
                        <a:pt x="185" y="7"/>
                      </a:cubicBezTo>
                      <a:cubicBezTo>
                        <a:pt x="183" y="8"/>
                        <a:pt x="183" y="8"/>
                        <a:pt x="183" y="8"/>
                      </a:cubicBezTo>
                      <a:cubicBezTo>
                        <a:pt x="180" y="10"/>
                        <a:pt x="180" y="10"/>
                        <a:pt x="180" y="10"/>
                      </a:cubicBezTo>
                      <a:cubicBezTo>
                        <a:pt x="178" y="11"/>
                        <a:pt x="178" y="11"/>
                        <a:pt x="178" y="11"/>
                      </a:cubicBezTo>
                      <a:cubicBezTo>
                        <a:pt x="176" y="12"/>
                        <a:pt x="176" y="12"/>
                        <a:pt x="176" y="12"/>
                      </a:cubicBezTo>
                      <a:cubicBezTo>
                        <a:pt x="174" y="14"/>
                        <a:pt x="174" y="14"/>
                        <a:pt x="174" y="14"/>
                      </a:cubicBezTo>
                      <a:cubicBezTo>
                        <a:pt x="171" y="16"/>
                        <a:pt x="171" y="16"/>
                        <a:pt x="171" y="16"/>
                      </a:cubicBezTo>
                      <a:cubicBezTo>
                        <a:pt x="170" y="16"/>
                        <a:pt x="170" y="16"/>
                        <a:pt x="170" y="16"/>
                      </a:cubicBezTo>
                      <a:cubicBezTo>
                        <a:pt x="169" y="16"/>
                        <a:pt x="169" y="16"/>
                        <a:pt x="169" y="16"/>
                      </a:cubicBezTo>
                      <a:cubicBezTo>
                        <a:pt x="168" y="17"/>
                        <a:pt x="168" y="17"/>
                        <a:pt x="168" y="17"/>
                      </a:cubicBezTo>
                      <a:cubicBezTo>
                        <a:pt x="167" y="17"/>
                        <a:pt x="167" y="17"/>
                        <a:pt x="167" y="17"/>
                      </a:cubicBezTo>
                      <a:cubicBezTo>
                        <a:pt x="165" y="18"/>
                        <a:pt x="165" y="18"/>
                        <a:pt x="165" y="18"/>
                      </a:cubicBezTo>
                      <a:cubicBezTo>
                        <a:pt x="164" y="18"/>
                        <a:pt x="164" y="18"/>
                        <a:pt x="164" y="18"/>
                      </a:cubicBezTo>
                      <a:cubicBezTo>
                        <a:pt x="163" y="18"/>
                        <a:pt x="163" y="18"/>
                        <a:pt x="163" y="18"/>
                      </a:cubicBezTo>
                      <a:cubicBezTo>
                        <a:pt x="161" y="17"/>
                        <a:pt x="161" y="17"/>
                        <a:pt x="161" y="17"/>
                      </a:cubicBezTo>
                      <a:cubicBezTo>
                        <a:pt x="160" y="17"/>
                        <a:pt x="160" y="17"/>
                        <a:pt x="160" y="17"/>
                      </a:cubicBezTo>
                      <a:cubicBezTo>
                        <a:pt x="159" y="16"/>
                        <a:pt x="159" y="16"/>
                        <a:pt x="159" y="16"/>
                      </a:cubicBezTo>
                      <a:cubicBezTo>
                        <a:pt x="158" y="16"/>
                        <a:pt x="158" y="16"/>
                        <a:pt x="158" y="16"/>
                      </a:cubicBezTo>
                      <a:cubicBezTo>
                        <a:pt x="157" y="16"/>
                        <a:pt x="157" y="16"/>
                        <a:pt x="157" y="16"/>
                      </a:cubicBezTo>
                      <a:cubicBezTo>
                        <a:pt x="156" y="17"/>
                        <a:pt x="156" y="17"/>
                        <a:pt x="156" y="17"/>
                      </a:cubicBezTo>
                      <a:cubicBezTo>
                        <a:pt x="154" y="18"/>
                        <a:pt x="154" y="18"/>
                        <a:pt x="154" y="18"/>
                      </a:cubicBezTo>
                      <a:cubicBezTo>
                        <a:pt x="154" y="19"/>
                        <a:pt x="154" y="19"/>
                        <a:pt x="154" y="19"/>
                      </a:cubicBezTo>
                      <a:cubicBezTo>
                        <a:pt x="153" y="20"/>
                        <a:pt x="153" y="20"/>
                        <a:pt x="153" y="20"/>
                      </a:cubicBezTo>
                      <a:cubicBezTo>
                        <a:pt x="152" y="21"/>
                        <a:pt x="152" y="21"/>
                        <a:pt x="152" y="21"/>
                      </a:cubicBezTo>
                      <a:cubicBezTo>
                        <a:pt x="152" y="21"/>
                        <a:pt x="152" y="21"/>
                        <a:pt x="152" y="21"/>
                      </a:cubicBezTo>
                      <a:cubicBezTo>
                        <a:pt x="151" y="21"/>
                        <a:pt x="151" y="21"/>
                        <a:pt x="151" y="21"/>
                      </a:cubicBezTo>
                      <a:cubicBezTo>
                        <a:pt x="151" y="21"/>
                        <a:pt x="151" y="21"/>
                        <a:pt x="151" y="21"/>
                      </a:cubicBezTo>
                      <a:cubicBezTo>
                        <a:pt x="151" y="23"/>
                        <a:pt x="151" y="23"/>
                        <a:pt x="151" y="23"/>
                      </a:cubicBezTo>
                      <a:cubicBezTo>
                        <a:pt x="153" y="27"/>
                        <a:pt x="153" y="27"/>
                        <a:pt x="153" y="27"/>
                      </a:cubicBezTo>
                      <a:cubicBezTo>
                        <a:pt x="154" y="30"/>
                        <a:pt x="154" y="30"/>
                        <a:pt x="154" y="30"/>
                      </a:cubicBezTo>
                      <a:cubicBezTo>
                        <a:pt x="154" y="32"/>
                        <a:pt x="154" y="32"/>
                        <a:pt x="154" y="32"/>
                      </a:cubicBezTo>
                      <a:cubicBezTo>
                        <a:pt x="154" y="35"/>
                        <a:pt x="154" y="35"/>
                        <a:pt x="154" y="35"/>
                      </a:cubicBezTo>
                      <a:cubicBezTo>
                        <a:pt x="153" y="36"/>
                        <a:pt x="153" y="36"/>
                        <a:pt x="153" y="36"/>
                      </a:cubicBezTo>
                      <a:cubicBezTo>
                        <a:pt x="152" y="37"/>
                        <a:pt x="152" y="37"/>
                        <a:pt x="152" y="37"/>
                      </a:cubicBezTo>
                      <a:cubicBezTo>
                        <a:pt x="152" y="38"/>
                        <a:pt x="152" y="38"/>
                        <a:pt x="152" y="38"/>
                      </a:cubicBezTo>
                      <a:cubicBezTo>
                        <a:pt x="154" y="40"/>
                        <a:pt x="154" y="40"/>
                        <a:pt x="154" y="40"/>
                      </a:cubicBezTo>
                      <a:cubicBezTo>
                        <a:pt x="155" y="40"/>
                        <a:pt x="155" y="40"/>
                        <a:pt x="155" y="40"/>
                      </a:cubicBezTo>
                      <a:cubicBezTo>
                        <a:pt x="155" y="39"/>
                        <a:pt x="155" y="39"/>
                        <a:pt x="155" y="39"/>
                      </a:cubicBezTo>
                      <a:cubicBezTo>
                        <a:pt x="155" y="40"/>
                        <a:pt x="155" y="40"/>
                        <a:pt x="155" y="40"/>
                      </a:cubicBezTo>
                      <a:cubicBezTo>
                        <a:pt x="156" y="39"/>
                        <a:pt x="156" y="39"/>
                        <a:pt x="156" y="39"/>
                      </a:cubicBezTo>
                      <a:cubicBezTo>
                        <a:pt x="157" y="39"/>
                        <a:pt x="157" y="39"/>
                        <a:pt x="157" y="39"/>
                      </a:cubicBezTo>
                      <a:cubicBezTo>
                        <a:pt x="156" y="40"/>
                        <a:pt x="156" y="40"/>
                        <a:pt x="156" y="40"/>
                      </a:cubicBezTo>
                      <a:cubicBezTo>
                        <a:pt x="156" y="40"/>
                        <a:pt x="156" y="40"/>
                        <a:pt x="156" y="40"/>
                      </a:cubicBezTo>
                      <a:cubicBezTo>
                        <a:pt x="158" y="42"/>
                        <a:pt x="158" y="42"/>
                        <a:pt x="158" y="42"/>
                      </a:cubicBezTo>
                      <a:cubicBezTo>
                        <a:pt x="158" y="42"/>
                        <a:pt x="158" y="42"/>
                        <a:pt x="158" y="42"/>
                      </a:cubicBezTo>
                      <a:cubicBezTo>
                        <a:pt x="157" y="42"/>
                        <a:pt x="157" y="42"/>
                        <a:pt x="157" y="42"/>
                      </a:cubicBezTo>
                      <a:cubicBezTo>
                        <a:pt x="156" y="43"/>
                        <a:pt x="156" y="43"/>
                        <a:pt x="156" y="43"/>
                      </a:cubicBezTo>
                      <a:cubicBezTo>
                        <a:pt x="156" y="45"/>
                        <a:pt x="156" y="45"/>
                        <a:pt x="156" y="45"/>
                      </a:cubicBezTo>
                      <a:cubicBezTo>
                        <a:pt x="156" y="46"/>
                        <a:pt x="156" y="46"/>
                        <a:pt x="156" y="46"/>
                      </a:cubicBezTo>
                      <a:cubicBezTo>
                        <a:pt x="157" y="47"/>
                        <a:pt x="157" y="47"/>
                        <a:pt x="157" y="47"/>
                      </a:cubicBezTo>
                      <a:cubicBezTo>
                        <a:pt x="158" y="46"/>
                        <a:pt x="158" y="46"/>
                        <a:pt x="158" y="46"/>
                      </a:cubicBezTo>
                      <a:cubicBezTo>
                        <a:pt x="159" y="46"/>
                        <a:pt x="159" y="46"/>
                        <a:pt x="159" y="46"/>
                      </a:cubicBezTo>
                      <a:cubicBezTo>
                        <a:pt x="159" y="46"/>
                        <a:pt x="159" y="46"/>
                        <a:pt x="159" y="46"/>
                      </a:cubicBezTo>
                      <a:cubicBezTo>
                        <a:pt x="160" y="47"/>
                        <a:pt x="160" y="47"/>
                        <a:pt x="160" y="47"/>
                      </a:cubicBezTo>
                      <a:cubicBezTo>
                        <a:pt x="161" y="46"/>
                        <a:pt x="161" y="46"/>
                        <a:pt x="161" y="46"/>
                      </a:cubicBezTo>
                      <a:cubicBezTo>
                        <a:pt x="163" y="47"/>
                        <a:pt x="163" y="47"/>
                        <a:pt x="163" y="47"/>
                      </a:cubicBezTo>
                      <a:cubicBezTo>
                        <a:pt x="164" y="47"/>
                        <a:pt x="164" y="47"/>
                        <a:pt x="164" y="47"/>
                      </a:cubicBezTo>
                      <a:cubicBezTo>
                        <a:pt x="163" y="48"/>
                        <a:pt x="163" y="48"/>
                        <a:pt x="163" y="48"/>
                      </a:cubicBezTo>
                      <a:cubicBezTo>
                        <a:pt x="163" y="49"/>
                        <a:pt x="163" y="49"/>
                        <a:pt x="163" y="49"/>
                      </a:cubicBezTo>
                      <a:cubicBezTo>
                        <a:pt x="163" y="50"/>
                        <a:pt x="163" y="50"/>
                        <a:pt x="163" y="50"/>
                      </a:cubicBezTo>
                      <a:cubicBezTo>
                        <a:pt x="161" y="50"/>
                        <a:pt x="161" y="50"/>
                        <a:pt x="161" y="50"/>
                      </a:cubicBezTo>
                      <a:cubicBezTo>
                        <a:pt x="161" y="49"/>
                        <a:pt x="161" y="49"/>
                        <a:pt x="161" y="49"/>
                      </a:cubicBezTo>
                      <a:cubicBezTo>
                        <a:pt x="160" y="49"/>
                        <a:pt x="160" y="49"/>
                        <a:pt x="160" y="49"/>
                      </a:cubicBezTo>
                      <a:cubicBezTo>
                        <a:pt x="160" y="49"/>
                        <a:pt x="160" y="49"/>
                        <a:pt x="160" y="49"/>
                      </a:cubicBezTo>
                      <a:cubicBezTo>
                        <a:pt x="158" y="49"/>
                        <a:pt x="158" y="49"/>
                        <a:pt x="158" y="49"/>
                      </a:cubicBezTo>
                      <a:cubicBezTo>
                        <a:pt x="158" y="48"/>
                        <a:pt x="158" y="48"/>
                        <a:pt x="158" y="48"/>
                      </a:cubicBezTo>
                      <a:cubicBezTo>
                        <a:pt x="157" y="47"/>
                        <a:pt x="157" y="47"/>
                        <a:pt x="157" y="47"/>
                      </a:cubicBezTo>
                      <a:cubicBezTo>
                        <a:pt x="156" y="47"/>
                        <a:pt x="156" y="47"/>
                        <a:pt x="156" y="47"/>
                      </a:cubicBezTo>
                      <a:cubicBezTo>
                        <a:pt x="156" y="47"/>
                        <a:pt x="156" y="47"/>
                        <a:pt x="156" y="47"/>
                      </a:cubicBezTo>
                      <a:cubicBezTo>
                        <a:pt x="155" y="46"/>
                        <a:pt x="155" y="46"/>
                        <a:pt x="155" y="46"/>
                      </a:cubicBezTo>
                      <a:cubicBezTo>
                        <a:pt x="155" y="45"/>
                        <a:pt x="155" y="45"/>
                        <a:pt x="155" y="45"/>
                      </a:cubicBezTo>
                      <a:cubicBezTo>
                        <a:pt x="156" y="42"/>
                        <a:pt x="156" y="42"/>
                        <a:pt x="156" y="42"/>
                      </a:cubicBezTo>
                      <a:cubicBezTo>
                        <a:pt x="156" y="42"/>
                        <a:pt x="156" y="42"/>
                        <a:pt x="156" y="42"/>
                      </a:cubicBezTo>
                      <a:cubicBezTo>
                        <a:pt x="156" y="42"/>
                        <a:pt x="156" y="42"/>
                        <a:pt x="156" y="42"/>
                      </a:cubicBezTo>
                      <a:cubicBezTo>
                        <a:pt x="155" y="42"/>
                        <a:pt x="155" y="42"/>
                        <a:pt x="155" y="42"/>
                      </a:cubicBezTo>
                      <a:cubicBezTo>
                        <a:pt x="155" y="45"/>
                        <a:pt x="155" y="45"/>
                        <a:pt x="155" y="45"/>
                      </a:cubicBezTo>
                      <a:cubicBezTo>
                        <a:pt x="154" y="47"/>
                        <a:pt x="154" y="47"/>
                        <a:pt x="154" y="47"/>
                      </a:cubicBezTo>
                      <a:cubicBezTo>
                        <a:pt x="153" y="47"/>
                        <a:pt x="153" y="47"/>
                        <a:pt x="153" y="47"/>
                      </a:cubicBezTo>
                      <a:cubicBezTo>
                        <a:pt x="153" y="48"/>
                        <a:pt x="153" y="48"/>
                        <a:pt x="153" y="48"/>
                      </a:cubicBezTo>
                      <a:cubicBezTo>
                        <a:pt x="154" y="47"/>
                        <a:pt x="154" y="47"/>
                        <a:pt x="154" y="47"/>
                      </a:cubicBezTo>
                      <a:cubicBezTo>
                        <a:pt x="155" y="47"/>
                        <a:pt x="155" y="47"/>
                        <a:pt x="155" y="47"/>
                      </a:cubicBezTo>
                      <a:cubicBezTo>
                        <a:pt x="155" y="48"/>
                        <a:pt x="155" y="48"/>
                        <a:pt x="155" y="48"/>
                      </a:cubicBezTo>
                      <a:cubicBezTo>
                        <a:pt x="156" y="48"/>
                        <a:pt x="156" y="48"/>
                        <a:pt x="156" y="48"/>
                      </a:cubicBezTo>
                      <a:cubicBezTo>
                        <a:pt x="157" y="49"/>
                        <a:pt x="157" y="49"/>
                        <a:pt x="157" y="49"/>
                      </a:cubicBezTo>
                      <a:cubicBezTo>
                        <a:pt x="157" y="50"/>
                        <a:pt x="157" y="50"/>
                        <a:pt x="157" y="50"/>
                      </a:cubicBezTo>
                      <a:cubicBezTo>
                        <a:pt x="156" y="51"/>
                        <a:pt x="156" y="51"/>
                        <a:pt x="156" y="51"/>
                      </a:cubicBezTo>
                      <a:cubicBezTo>
                        <a:pt x="154" y="52"/>
                        <a:pt x="154" y="52"/>
                        <a:pt x="154" y="52"/>
                      </a:cubicBezTo>
                      <a:cubicBezTo>
                        <a:pt x="156" y="50"/>
                        <a:pt x="156" y="50"/>
                        <a:pt x="156" y="50"/>
                      </a:cubicBezTo>
                      <a:cubicBezTo>
                        <a:pt x="155" y="50"/>
                        <a:pt x="155" y="50"/>
                        <a:pt x="155" y="50"/>
                      </a:cubicBezTo>
                      <a:cubicBezTo>
                        <a:pt x="155" y="49"/>
                        <a:pt x="155" y="49"/>
                        <a:pt x="155" y="49"/>
                      </a:cubicBezTo>
                      <a:cubicBezTo>
                        <a:pt x="154" y="49"/>
                        <a:pt x="154" y="49"/>
                        <a:pt x="154" y="49"/>
                      </a:cubicBezTo>
                      <a:cubicBezTo>
                        <a:pt x="154" y="49"/>
                        <a:pt x="154" y="49"/>
                        <a:pt x="154" y="49"/>
                      </a:cubicBezTo>
                      <a:cubicBezTo>
                        <a:pt x="152" y="50"/>
                        <a:pt x="152" y="50"/>
                        <a:pt x="152" y="50"/>
                      </a:cubicBezTo>
                      <a:cubicBezTo>
                        <a:pt x="152" y="51"/>
                        <a:pt x="152" y="51"/>
                        <a:pt x="152" y="51"/>
                      </a:cubicBezTo>
                      <a:cubicBezTo>
                        <a:pt x="151" y="52"/>
                        <a:pt x="151" y="52"/>
                        <a:pt x="151" y="52"/>
                      </a:cubicBezTo>
                      <a:cubicBezTo>
                        <a:pt x="151" y="52"/>
                        <a:pt x="151" y="52"/>
                        <a:pt x="151" y="52"/>
                      </a:cubicBezTo>
                      <a:cubicBezTo>
                        <a:pt x="150" y="51"/>
                        <a:pt x="150" y="51"/>
                        <a:pt x="150" y="51"/>
                      </a:cubicBezTo>
                      <a:cubicBezTo>
                        <a:pt x="150" y="51"/>
                        <a:pt x="150" y="51"/>
                        <a:pt x="150" y="51"/>
                      </a:cubicBezTo>
                      <a:cubicBezTo>
                        <a:pt x="149" y="51"/>
                        <a:pt x="149" y="51"/>
                        <a:pt x="149" y="51"/>
                      </a:cubicBezTo>
                      <a:cubicBezTo>
                        <a:pt x="148" y="51"/>
                        <a:pt x="148" y="51"/>
                        <a:pt x="148" y="51"/>
                      </a:cubicBezTo>
                      <a:cubicBezTo>
                        <a:pt x="148" y="50"/>
                        <a:pt x="148" y="50"/>
                        <a:pt x="148" y="50"/>
                      </a:cubicBezTo>
                      <a:cubicBezTo>
                        <a:pt x="147" y="50"/>
                        <a:pt x="147" y="50"/>
                        <a:pt x="147" y="50"/>
                      </a:cubicBezTo>
                      <a:cubicBezTo>
                        <a:pt x="147" y="50"/>
                        <a:pt x="147" y="50"/>
                        <a:pt x="147" y="50"/>
                      </a:cubicBezTo>
                      <a:cubicBezTo>
                        <a:pt x="146" y="50"/>
                        <a:pt x="146" y="50"/>
                        <a:pt x="146" y="50"/>
                      </a:cubicBezTo>
                      <a:cubicBezTo>
                        <a:pt x="146" y="49"/>
                        <a:pt x="146" y="49"/>
                        <a:pt x="146" y="49"/>
                      </a:cubicBezTo>
                      <a:cubicBezTo>
                        <a:pt x="145" y="49"/>
                        <a:pt x="145" y="49"/>
                        <a:pt x="145" y="49"/>
                      </a:cubicBezTo>
                      <a:cubicBezTo>
                        <a:pt x="145" y="49"/>
                        <a:pt x="145" y="49"/>
                        <a:pt x="145" y="49"/>
                      </a:cubicBezTo>
                      <a:cubicBezTo>
                        <a:pt x="144" y="49"/>
                        <a:pt x="144" y="49"/>
                        <a:pt x="144" y="49"/>
                      </a:cubicBezTo>
                      <a:cubicBezTo>
                        <a:pt x="144" y="48"/>
                        <a:pt x="144" y="48"/>
                        <a:pt x="144" y="48"/>
                      </a:cubicBezTo>
                      <a:cubicBezTo>
                        <a:pt x="144" y="47"/>
                        <a:pt x="144" y="47"/>
                        <a:pt x="144" y="47"/>
                      </a:cubicBezTo>
                      <a:cubicBezTo>
                        <a:pt x="144" y="47"/>
                        <a:pt x="144" y="47"/>
                        <a:pt x="144" y="47"/>
                      </a:cubicBezTo>
                      <a:cubicBezTo>
                        <a:pt x="145" y="47"/>
                        <a:pt x="145" y="47"/>
                        <a:pt x="145" y="47"/>
                      </a:cubicBezTo>
                      <a:cubicBezTo>
                        <a:pt x="146" y="45"/>
                        <a:pt x="146" y="45"/>
                        <a:pt x="146" y="45"/>
                      </a:cubicBezTo>
                      <a:cubicBezTo>
                        <a:pt x="146" y="45"/>
                        <a:pt x="146" y="45"/>
                        <a:pt x="146" y="45"/>
                      </a:cubicBezTo>
                      <a:cubicBezTo>
                        <a:pt x="147" y="45"/>
                        <a:pt x="147" y="45"/>
                        <a:pt x="147" y="45"/>
                      </a:cubicBezTo>
                      <a:cubicBezTo>
                        <a:pt x="147" y="44"/>
                        <a:pt x="147" y="44"/>
                        <a:pt x="147" y="44"/>
                      </a:cubicBezTo>
                      <a:cubicBezTo>
                        <a:pt x="146" y="43"/>
                        <a:pt x="146" y="43"/>
                        <a:pt x="146" y="43"/>
                      </a:cubicBezTo>
                      <a:cubicBezTo>
                        <a:pt x="145" y="43"/>
                        <a:pt x="145" y="43"/>
                        <a:pt x="145" y="43"/>
                      </a:cubicBezTo>
                      <a:cubicBezTo>
                        <a:pt x="144" y="43"/>
                        <a:pt x="144" y="43"/>
                        <a:pt x="144" y="43"/>
                      </a:cubicBezTo>
                      <a:cubicBezTo>
                        <a:pt x="142" y="43"/>
                        <a:pt x="142" y="43"/>
                        <a:pt x="142" y="43"/>
                      </a:cubicBezTo>
                      <a:cubicBezTo>
                        <a:pt x="141" y="43"/>
                        <a:pt x="141" y="43"/>
                        <a:pt x="141" y="43"/>
                      </a:cubicBezTo>
                      <a:cubicBezTo>
                        <a:pt x="141" y="43"/>
                        <a:pt x="141" y="43"/>
                        <a:pt x="141" y="43"/>
                      </a:cubicBezTo>
                      <a:cubicBezTo>
                        <a:pt x="140" y="43"/>
                        <a:pt x="140" y="43"/>
                        <a:pt x="140" y="43"/>
                      </a:cubicBezTo>
                      <a:cubicBezTo>
                        <a:pt x="137" y="44"/>
                        <a:pt x="137" y="44"/>
                        <a:pt x="137" y="44"/>
                      </a:cubicBezTo>
                      <a:cubicBezTo>
                        <a:pt x="137" y="44"/>
                        <a:pt x="137" y="44"/>
                        <a:pt x="137" y="44"/>
                      </a:cubicBezTo>
                      <a:cubicBezTo>
                        <a:pt x="137" y="45"/>
                        <a:pt x="137" y="45"/>
                        <a:pt x="137" y="45"/>
                      </a:cubicBezTo>
                      <a:cubicBezTo>
                        <a:pt x="138" y="46"/>
                        <a:pt x="138" y="46"/>
                        <a:pt x="138" y="46"/>
                      </a:cubicBezTo>
                      <a:cubicBezTo>
                        <a:pt x="138" y="46"/>
                        <a:pt x="138" y="46"/>
                        <a:pt x="138" y="46"/>
                      </a:cubicBezTo>
                      <a:cubicBezTo>
                        <a:pt x="137" y="46"/>
                        <a:pt x="137" y="46"/>
                        <a:pt x="137" y="46"/>
                      </a:cubicBezTo>
                      <a:cubicBezTo>
                        <a:pt x="136" y="46"/>
                        <a:pt x="136" y="46"/>
                        <a:pt x="136" y="46"/>
                      </a:cubicBezTo>
                      <a:cubicBezTo>
                        <a:pt x="136" y="45"/>
                        <a:pt x="136" y="45"/>
                        <a:pt x="136" y="45"/>
                      </a:cubicBezTo>
                      <a:cubicBezTo>
                        <a:pt x="135" y="45"/>
                        <a:pt x="135" y="45"/>
                        <a:pt x="135" y="45"/>
                      </a:cubicBezTo>
                      <a:cubicBezTo>
                        <a:pt x="134" y="45"/>
                        <a:pt x="134" y="45"/>
                        <a:pt x="134" y="45"/>
                      </a:cubicBezTo>
                      <a:cubicBezTo>
                        <a:pt x="132" y="45"/>
                        <a:pt x="132" y="45"/>
                        <a:pt x="132" y="45"/>
                      </a:cubicBezTo>
                      <a:cubicBezTo>
                        <a:pt x="131" y="46"/>
                        <a:pt x="131" y="46"/>
                        <a:pt x="131" y="46"/>
                      </a:cubicBezTo>
                      <a:cubicBezTo>
                        <a:pt x="131" y="46"/>
                        <a:pt x="131" y="46"/>
                        <a:pt x="131" y="46"/>
                      </a:cubicBezTo>
                      <a:cubicBezTo>
                        <a:pt x="130" y="46"/>
                        <a:pt x="130" y="46"/>
                        <a:pt x="130" y="46"/>
                      </a:cubicBezTo>
                      <a:cubicBezTo>
                        <a:pt x="130" y="46"/>
                        <a:pt x="130" y="46"/>
                        <a:pt x="130" y="46"/>
                      </a:cubicBezTo>
                      <a:cubicBezTo>
                        <a:pt x="129" y="46"/>
                        <a:pt x="129" y="46"/>
                        <a:pt x="129" y="46"/>
                      </a:cubicBezTo>
                      <a:cubicBezTo>
                        <a:pt x="128" y="46"/>
                        <a:pt x="128" y="46"/>
                        <a:pt x="128" y="46"/>
                      </a:cubicBezTo>
                      <a:cubicBezTo>
                        <a:pt x="128" y="47"/>
                        <a:pt x="128" y="47"/>
                        <a:pt x="128" y="47"/>
                      </a:cubicBezTo>
                      <a:cubicBezTo>
                        <a:pt x="127" y="47"/>
                        <a:pt x="127" y="47"/>
                        <a:pt x="127" y="47"/>
                      </a:cubicBezTo>
                      <a:cubicBezTo>
                        <a:pt x="126" y="48"/>
                        <a:pt x="126" y="48"/>
                        <a:pt x="126" y="48"/>
                      </a:cubicBezTo>
                      <a:cubicBezTo>
                        <a:pt x="125" y="48"/>
                        <a:pt x="125" y="48"/>
                        <a:pt x="125" y="48"/>
                      </a:cubicBezTo>
                      <a:cubicBezTo>
                        <a:pt x="124" y="48"/>
                        <a:pt x="124" y="48"/>
                        <a:pt x="124" y="48"/>
                      </a:cubicBezTo>
                      <a:cubicBezTo>
                        <a:pt x="124" y="48"/>
                        <a:pt x="124" y="48"/>
                        <a:pt x="124" y="48"/>
                      </a:cubicBezTo>
                      <a:cubicBezTo>
                        <a:pt x="125" y="48"/>
                        <a:pt x="125" y="48"/>
                        <a:pt x="125" y="48"/>
                      </a:cubicBezTo>
                      <a:cubicBezTo>
                        <a:pt x="124" y="48"/>
                        <a:pt x="124" y="48"/>
                        <a:pt x="124" y="48"/>
                      </a:cubicBezTo>
                      <a:cubicBezTo>
                        <a:pt x="123" y="49"/>
                        <a:pt x="123" y="49"/>
                        <a:pt x="123" y="49"/>
                      </a:cubicBezTo>
                      <a:cubicBezTo>
                        <a:pt x="123" y="49"/>
                        <a:pt x="123" y="49"/>
                        <a:pt x="123" y="49"/>
                      </a:cubicBezTo>
                      <a:cubicBezTo>
                        <a:pt x="124" y="51"/>
                        <a:pt x="124" y="51"/>
                        <a:pt x="124" y="51"/>
                      </a:cubicBezTo>
                      <a:cubicBezTo>
                        <a:pt x="125" y="52"/>
                        <a:pt x="125" y="52"/>
                        <a:pt x="125" y="52"/>
                      </a:cubicBezTo>
                      <a:cubicBezTo>
                        <a:pt x="127" y="53"/>
                        <a:pt x="127" y="53"/>
                        <a:pt x="127" y="53"/>
                      </a:cubicBezTo>
                      <a:cubicBezTo>
                        <a:pt x="128" y="54"/>
                        <a:pt x="128" y="54"/>
                        <a:pt x="128" y="54"/>
                      </a:cubicBezTo>
                      <a:cubicBezTo>
                        <a:pt x="129" y="54"/>
                        <a:pt x="129" y="54"/>
                        <a:pt x="129" y="54"/>
                      </a:cubicBezTo>
                      <a:cubicBezTo>
                        <a:pt x="129" y="56"/>
                        <a:pt x="129" y="56"/>
                        <a:pt x="129" y="56"/>
                      </a:cubicBezTo>
                      <a:cubicBezTo>
                        <a:pt x="130" y="56"/>
                        <a:pt x="130" y="56"/>
                        <a:pt x="130" y="56"/>
                      </a:cubicBezTo>
                      <a:cubicBezTo>
                        <a:pt x="131" y="56"/>
                        <a:pt x="131" y="56"/>
                        <a:pt x="131" y="56"/>
                      </a:cubicBezTo>
                      <a:cubicBezTo>
                        <a:pt x="131" y="57"/>
                        <a:pt x="131" y="57"/>
                        <a:pt x="131" y="57"/>
                      </a:cubicBezTo>
                      <a:cubicBezTo>
                        <a:pt x="129" y="57"/>
                        <a:pt x="129" y="57"/>
                        <a:pt x="129" y="57"/>
                      </a:cubicBezTo>
                      <a:cubicBezTo>
                        <a:pt x="129" y="56"/>
                        <a:pt x="129" y="56"/>
                        <a:pt x="129" y="56"/>
                      </a:cubicBezTo>
                      <a:cubicBezTo>
                        <a:pt x="128" y="55"/>
                        <a:pt x="128" y="55"/>
                        <a:pt x="128" y="55"/>
                      </a:cubicBezTo>
                      <a:cubicBezTo>
                        <a:pt x="127" y="55"/>
                        <a:pt x="127" y="55"/>
                        <a:pt x="127" y="55"/>
                      </a:cubicBezTo>
                      <a:cubicBezTo>
                        <a:pt x="127" y="55"/>
                        <a:pt x="127" y="55"/>
                        <a:pt x="127" y="55"/>
                      </a:cubicBezTo>
                      <a:cubicBezTo>
                        <a:pt x="126" y="56"/>
                        <a:pt x="126" y="56"/>
                        <a:pt x="126" y="56"/>
                      </a:cubicBezTo>
                      <a:cubicBezTo>
                        <a:pt x="125" y="56"/>
                        <a:pt x="125" y="56"/>
                        <a:pt x="125" y="56"/>
                      </a:cubicBezTo>
                      <a:cubicBezTo>
                        <a:pt x="125" y="55"/>
                        <a:pt x="125" y="55"/>
                        <a:pt x="125" y="55"/>
                      </a:cubicBezTo>
                      <a:cubicBezTo>
                        <a:pt x="126" y="54"/>
                        <a:pt x="126" y="54"/>
                        <a:pt x="126" y="54"/>
                      </a:cubicBezTo>
                      <a:cubicBezTo>
                        <a:pt x="126" y="54"/>
                        <a:pt x="126" y="54"/>
                        <a:pt x="126" y="54"/>
                      </a:cubicBezTo>
                      <a:cubicBezTo>
                        <a:pt x="125" y="54"/>
                        <a:pt x="125" y="54"/>
                        <a:pt x="125" y="54"/>
                      </a:cubicBezTo>
                      <a:cubicBezTo>
                        <a:pt x="124" y="55"/>
                        <a:pt x="124" y="55"/>
                        <a:pt x="124" y="55"/>
                      </a:cubicBezTo>
                      <a:cubicBezTo>
                        <a:pt x="124" y="56"/>
                        <a:pt x="124" y="56"/>
                        <a:pt x="124" y="56"/>
                      </a:cubicBezTo>
                      <a:cubicBezTo>
                        <a:pt x="125" y="57"/>
                        <a:pt x="125" y="57"/>
                        <a:pt x="125" y="57"/>
                      </a:cubicBezTo>
                      <a:cubicBezTo>
                        <a:pt x="125" y="57"/>
                        <a:pt x="125" y="57"/>
                        <a:pt x="125" y="57"/>
                      </a:cubicBezTo>
                      <a:cubicBezTo>
                        <a:pt x="124" y="58"/>
                        <a:pt x="124" y="58"/>
                        <a:pt x="124" y="58"/>
                      </a:cubicBezTo>
                      <a:cubicBezTo>
                        <a:pt x="123" y="59"/>
                        <a:pt x="123" y="59"/>
                        <a:pt x="123" y="59"/>
                      </a:cubicBezTo>
                      <a:cubicBezTo>
                        <a:pt x="123" y="60"/>
                        <a:pt x="123" y="60"/>
                        <a:pt x="123" y="60"/>
                      </a:cubicBezTo>
                      <a:cubicBezTo>
                        <a:pt x="123" y="62"/>
                        <a:pt x="123" y="62"/>
                        <a:pt x="123" y="62"/>
                      </a:cubicBezTo>
                      <a:cubicBezTo>
                        <a:pt x="124" y="63"/>
                        <a:pt x="124" y="63"/>
                        <a:pt x="124" y="63"/>
                      </a:cubicBezTo>
                      <a:cubicBezTo>
                        <a:pt x="126" y="64"/>
                        <a:pt x="126" y="64"/>
                        <a:pt x="126" y="64"/>
                      </a:cubicBezTo>
                      <a:cubicBezTo>
                        <a:pt x="127" y="65"/>
                        <a:pt x="127" y="65"/>
                        <a:pt x="127" y="65"/>
                      </a:cubicBezTo>
                      <a:cubicBezTo>
                        <a:pt x="128" y="65"/>
                        <a:pt x="128" y="65"/>
                        <a:pt x="128" y="65"/>
                      </a:cubicBezTo>
                      <a:cubicBezTo>
                        <a:pt x="129" y="64"/>
                        <a:pt x="129" y="64"/>
                        <a:pt x="129" y="64"/>
                      </a:cubicBezTo>
                      <a:cubicBezTo>
                        <a:pt x="130" y="64"/>
                        <a:pt x="130" y="64"/>
                        <a:pt x="130" y="64"/>
                      </a:cubicBezTo>
                      <a:cubicBezTo>
                        <a:pt x="131" y="64"/>
                        <a:pt x="131" y="64"/>
                        <a:pt x="131" y="64"/>
                      </a:cubicBezTo>
                      <a:cubicBezTo>
                        <a:pt x="133" y="64"/>
                        <a:pt x="133" y="64"/>
                        <a:pt x="133" y="64"/>
                      </a:cubicBezTo>
                      <a:cubicBezTo>
                        <a:pt x="134" y="65"/>
                        <a:pt x="134" y="65"/>
                        <a:pt x="134" y="65"/>
                      </a:cubicBezTo>
                      <a:cubicBezTo>
                        <a:pt x="134" y="66"/>
                        <a:pt x="134" y="66"/>
                        <a:pt x="134" y="66"/>
                      </a:cubicBezTo>
                      <a:cubicBezTo>
                        <a:pt x="135" y="66"/>
                        <a:pt x="135" y="66"/>
                        <a:pt x="135" y="66"/>
                      </a:cubicBezTo>
                      <a:cubicBezTo>
                        <a:pt x="135" y="66"/>
                        <a:pt x="135" y="66"/>
                        <a:pt x="135" y="66"/>
                      </a:cubicBezTo>
                      <a:cubicBezTo>
                        <a:pt x="135" y="65"/>
                        <a:pt x="135" y="65"/>
                        <a:pt x="135" y="65"/>
                      </a:cubicBezTo>
                      <a:cubicBezTo>
                        <a:pt x="136" y="64"/>
                        <a:pt x="136" y="64"/>
                        <a:pt x="136" y="64"/>
                      </a:cubicBezTo>
                      <a:cubicBezTo>
                        <a:pt x="137" y="65"/>
                        <a:pt x="137" y="65"/>
                        <a:pt x="137" y="65"/>
                      </a:cubicBezTo>
                      <a:cubicBezTo>
                        <a:pt x="137" y="65"/>
                        <a:pt x="137" y="65"/>
                        <a:pt x="137" y="65"/>
                      </a:cubicBezTo>
                      <a:cubicBezTo>
                        <a:pt x="136" y="66"/>
                        <a:pt x="136" y="66"/>
                        <a:pt x="136" y="66"/>
                      </a:cubicBezTo>
                      <a:cubicBezTo>
                        <a:pt x="136" y="67"/>
                        <a:pt x="136" y="67"/>
                        <a:pt x="136" y="67"/>
                      </a:cubicBezTo>
                      <a:cubicBezTo>
                        <a:pt x="136" y="67"/>
                        <a:pt x="136" y="67"/>
                        <a:pt x="136" y="67"/>
                      </a:cubicBezTo>
                      <a:cubicBezTo>
                        <a:pt x="137" y="66"/>
                        <a:pt x="137" y="66"/>
                        <a:pt x="137" y="66"/>
                      </a:cubicBezTo>
                      <a:cubicBezTo>
                        <a:pt x="138" y="66"/>
                        <a:pt x="138" y="66"/>
                        <a:pt x="138" y="66"/>
                      </a:cubicBezTo>
                      <a:cubicBezTo>
                        <a:pt x="139" y="65"/>
                        <a:pt x="139" y="65"/>
                        <a:pt x="139" y="65"/>
                      </a:cubicBezTo>
                      <a:cubicBezTo>
                        <a:pt x="141" y="64"/>
                        <a:pt x="141" y="64"/>
                        <a:pt x="141" y="64"/>
                      </a:cubicBezTo>
                      <a:cubicBezTo>
                        <a:pt x="143" y="64"/>
                        <a:pt x="143" y="64"/>
                        <a:pt x="143" y="64"/>
                      </a:cubicBezTo>
                      <a:cubicBezTo>
                        <a:pt x="143" y="63"/>
                        <a:pt x="143" y="63"/>
                        <a:pt x="143" y="63"/>
                      </a:cubicBezTo>
                      <a:cubicBezTo>
                        <a:pt x="144" y="63"/>
                        <a:pt x="144" y="63"/>
                        <a:pt x="144" y="63"/>
                      </a:cubicBezTo>
                      <a:cubicBezTo>
                        <a:pt x="144" y="64"/>
                        <a:pt x="144" y="64"/>
                        <a:pt x="144" y="64"/>
                      </a:cubicBezTo>
                      <a:cubicBezTo>
                        <a:pt x="144" y="64"/>
                        <a:pt x="144" y="64"/>
                        <a:pt x="144" y="64"/>
                      </a:cubicBezTo>
                      <a:cubicBezTo>
                        <a:pt x="146" y="63"/>
                        <a:pt x="146" y="63"/>
                        <a:pt x="146" y="63"/>
                      </a:cubicBezTo>
                      <a:cubicBezTo>
                        <a:pt x="147" y="63"/>
                        <a:pt x="147" y="63"/>
                        <a:pt x="147" y="63"/>
                      </a:cubicBezTo>
                      <a:cubicBezTo>
                        <a:pt x="148" y="63"/>
                        <a:pt x="148" y="63"/>
                        <a:pt x="148" y="63"/>
                      </a:cubicBezTo>
                      <a:cubicBezTo>
                        <a:pt x="147" y="63"/>
                        <a:pt x="147" y="63"/>
                        <a:pt x="147" y="63"/>
                      </a:cubicBezTo>
                      <a:cubicBezTo>
                        <a:pt x="146" y="64"/>
                        <a:pt x="146" y="64"/>
                        <a:pt x="146" y="64"/>
                      </a:cubicBezTo>
                      <a:cubicBezTo>
                        <a:pt x="146" y="64"/>
                        <a:pt x="146" y="64"/>
                        <a:pt x="146" y="64"/>
                      </a:cubicBezTo>
                      <a:cubicBezTo>
                        <a:pt x="147" y="64"/>
                        <a:pt x="147" y="64"/>
                        <a:pt x="147" y="64"/>
                      </a:cubicBezTo>
                      <a:cubicBezTo>
                        <a:pt x="146" y="66"/>
                        <a:pt x="146" y="66"/>
                        <a:pt x="146" y="66"/>
                      </a:cubicBezTo>
                      <a:cubicBezTo>
                        <a:pt x="144" y="66"/>
                        <a:pt x="144" y="66"/>
                        <a:pt x="144" y="66"/>
                      </a:cubicBezTo>
                      <a:cubicBezTo>
                        <a:pt x="144" y="66"/>
                        <a:pt x="144" y="66"/>
                        <a:pt x="144" y="66"/>
                      </a:cubicBezTo>
                      <a:cubicBezTo>
                        <a:pt x="143" y="66"/>
                        <a:pt x="143" y="66"/>
                        <a:pt x="143" y="66"/>
                      </a:cubicBezTo>
                      <a:cubicBezTo>
                        <a:pt x="142" y="66"/>
                        <a:pt x="142" y="66"/>
                        <a:pt x="142" y="66"/>
                      </a:cubicBezTo>
                      <a:cubicBezTo>
                        <a:pt x="142" y="67"/>
                        <a:pt x="142" y="67"/>
                        <a:pt x="142" y="67"/>
                      </a:cubicBezTo>
                      <a:cubicBezTo>
                        <a:pt x="143" y="67"/>
                        <a:pt x="143" y="67"/>
                        <a:pt x="143" y="67"/>
                      </a:cubicBezTo>
                      <a:cubicBezTo>
                        <a:pt x="144" y="67"/>
                        <a:pt x="144" y="67"/>
                        <a:pt x="144" y="67"/>
                      </a:cubicBezTo>
                      <a:cubicBezTo>
                        <a:pt x="144" y="69"/>
                        <a:pt x="144" y="69"/>
                        <a:pt x="144" y="69"/>
                      </a:cubicBezTo>
                      <a:cubicBezTo>
                        <a:pt x="142" y="70"/>
                        <a:pt x="142" y="70"/>
                        <a:pt x="142" y="70"/>
                      </a:cubicBezTo>
                      <a:cubicBezTo>
                        <a:pt x="142" y="71"/>
                        <a:pt x="142" y="71"/>
                        <a:pt x="142" y="71"/>
                      </a:cubicBezTo>
                      <a:cubicBezTo>
                        <a:pt x="142" y="72"/>
                        <a:pt x="142" y="72"/>
                        <a:pt x="142" y="72"/>
                      </a:cubicBezTo>
                      <a:cubicBezTo>
                        <a:pt x="141" y="72"/>
                        <a:pt x="141" y="72"/>
                        <a:pt x="141" y="72"/>
                      </a:cubicBezTo>
                      <a:cubicBezTo>
                        <a:pt x="142" y="73"/>
                        <a:pt x="142" y="73"/>
                        <a:pt x="142" y="73"/>
                      </a:cubicBezTo>
                      <a:cubicBezTo>
                        <a:pt x="142" y="73"/>
                        <a:pt x="142" y="73"/>
                        <a:pt x="142" y="73"/>
                      </a:cubicBezTo>
                      <a:cubicBezTo>
                        <a:pt x="141" y="74"/>
                        <a:pt x="141" y="74"/>
                        <a:pt x="141" y="74"/>
                      </a:cubicBezTo>
                      <a:cubicBezTo>
                        <a:pt x="141" y="75"/>
                        <a:pt x="141" y="75"/>
                        <a:pt x="141" y="75"/>
                      </a:cubicBezTo>
                      <a:cubicBezTo>
                        <a:pt x="140" y="76"/>
                        <a:pt x="140" y="76"/>
                        <a:pt x="140" y="76"/>
                      </a:cubicBezTo>
                      <a:cubicBezTo>
                        <a:pt x="139" y="76"/>
                        <a:pt x="139" y="76"/>
                        <a:pt x="139" y="76"/>
                      </a:cubicBezTo>
                      <a:cubicBezTo>
                        <a:pt x="138" y="76"/>
                        <a:pt x="138" y="76"/>
                        <a:pt x="138" y="76"/>
                      </a:cubicBezTo>
                      <a:cubicBezTo>
                        <a:pt x="137" y="77"/>
                        <a:pt x="137" y="77"/>
                        <a:pt x="137" y="77"/>
                      </a:cubicBezTo>
                      <a:cubicBezTo>
                        <a:pt x="136" y="77"/>
                        <a:pt x="136" y="77"/>
                        <a:pt x="136" y="77"/>
                      </a:cubicBezTo>
                      <a:cubicBezTo>
                        <a:pt x="135" y="77"/>
                        <a:pt x="135" y="77"/>
                        <a:pt x="135" y="77"/>
                      </a:cubicBezTo>
                      <a:cubicBezTo>
                        <a:pt x="134" y="76"/>
                        <a:pt x="134" y="76"/>
                        <a:pt x="134" y="76"/>
                      </a:cubicBezTo>
                      <a:cubicBezTo>
                        <a:pt x="134" y="76"/>
                        <a:pt x="134" y="76"/>
                        <a:pt x="134" y="76"/>
                      </a:cubicBezTo>
                      <a:cubicBezTo>
                        <a:pt x="133" y="76"/>
                        <a:pt x="133" y="76"/>
                        <a:pt x="133" y="76"/>
                      </a:cubicBezTo>
                      <a:cubicBezTo>
                        <a:pt x="133" y="75"/>
                        <a:pt x="133" y="75"/>
                        <a:pt x="133" y="75"/>
                      </a:cubicBezTo>
                      <a:cubicBezTo>
                        <a:pt x="132" y="75"/>
                        <a:pt x="132" y="75"/>
                        <a:pt x="132" y="75"/>
                      </a:cubicBezTo>
                      <a:cubicBezTo>
                        <a:pt x="131" y="76"/>
                        <a:pt x="131" y="76"/>
                        <a:pt x="131" y="76"/>
                      </a:cubicBezTo>
                      <a:cubicBezTo>
                        <a:pt x="130" y="77"/>
                        <a:pt x="130" y="77"/>
                        <a:pt x="130" y="77"/>
                      </a:cubicBezTo>
                      <a:cubicBezTo>
                        <a:pt x="129" y="78"/>
                        <a:pt x="129" y="78"/>
                        <a:pt x="129" y="78"/>
                      </a:cubicBezTo>
                      <a:cubicBezTo>
                        <a:pt x="128" y="78"/>
                        <a:pt x="128" y="78"/>
                        <a:pt x="128" y="78"/>
                      </a:cubicBezTo>
                      <a:cubicBezTo>
                        <a:pt x="127" y="79"/>
                        <a:pt x="127" y="79"/>
                        <a:pt x="127" y="79"/>
                      </a:cubicBezTo>
                      <a:cubicBezTo>
                        <a:pt x="126" y="79"/>
                        <a:pt x="126" y="79"/>
                        <a:pt x="126" y="79"/>
                      </a:cubicBezTo>
                      <a:cubicBezTo>
                        <a:pt x="125" y="79"/>
                        <a:pt x="125" y="79"/>
                        <a:pt x="125" y="79"/>
                      </a:cubicBezTo>
                      <a:cubicBezTo>
                        <a:pt x="124" y="79"/>
                        <a:pt x="124" y="79"/>
                        <a:pt x="124" y="79"/>
                      </a:cubicBezTo>
                      <a:cubicBezTo>
                        <a:pt x="123" y="80"/>
                        <a:pt x="123" y="80"/>
                        <a:pt x="123" y="80"/>
                      </a:cubicBezTo>
                      <a:cubicBezTo>
                        <a:pt x="122" y="80"/>
                        <a:pt x="122" y="80"/>
                        <a:pt x="122" y="80"/>
                      </a:cubicBezTo>
                      <a:cubicBezTo>
                        <a:pt x="121" y="80"/>
                        <a:pt x="121" y="80"/>
                        <a:pt x="121" y="80"/>
                      </a:cubicBezTo>
                      <a:cubicBezTo>
                        <a:pt x="121" y="81"/>
                        <a:pt x="121" y="81"/>
                        <a:pt x="121" y="81"/>
                      </a:cubicBezTo>
                      <a:cubicBezTo>
                        <a:pt x="120" y="83"/>
                        <a:pt x="120" y="83"/>
                        <a:pt x="120" y="83"/>
                      </a:cubicBezTo>
                      <a:cubicBezTo>
                        <a:pt x="120" y="83"/>
                        <a:pt x="120" y="83"/>
                        <a:pt x="120" y="83"/>
                      </a:cubicBezTo>
                      <a:cubicBezTo>
                        <a:pt x="119" y="83"/>
                        <a:pt x="119" y="83"/>
                        <a:pt x="119" y="83"/>
                      </a:cubicBezTo>
                      <a:cubicBezTo>
                        <a:pt x="118" y="82"/>
                        <a:pt x="118" y="82"/>
                        <a:pt x="118" y="82"/>
                      </a:cubicBezTo>
                      <a:cubicBezTo>
                        <a:pt x="117" y="82"/>
                        <a:pt x="117" y="82"/>
                        <a:pt x="117" y="82"/>
                      </a:cubicBezTo>
                      <a:cubicBezTo>
                        <a:pt x="116" y="82"/>
                        <a:pt x="116" y="82"/>
                        <a:pt x="116" y="82"/>
                      </a:cubicBezTo>
                      <a:cubicBezTo>
                        <a:pt x="117" y="82"/>
                        <a:pt x="117" y="82"/>
                        <a:pt x="117" y="82"/>
                      </a:cubicBezTo>
                      <a:cubicBezTo>
                        <a:pt x="117" y="83"/>
                        <a:pt x="117" y="83"/>
                        <a:pt x="117" y="83"/>
                      </a:cubicBezTo>
                      <a:cubicBezTo>
                        <a:pt x="117" y="84"/>
                        <a:pt x="117" y="84"/>
                        <a:pt x="117" y="84"/>
                      </a:cubicBezTo>
                      <a:cubicBezTo>
                        <a:pt x="116" y="84"/>
                        <a:pt x="116" y="84"/>
                        <a:pt x="116" y="84"/>
                      </a:cubicBezTo>
                      <a:cubicBezTo>
                        <a:pt x="116" y="83"/>
                        <a:pt x="116" y="83"/>
                        <a:pt x="116" y="83"/>
                      </a:cubicBezTo>
                      <a:cubicBezTo>
                        <a:pt x="115" y="82"/>
                        <a:pt x="115" y="82"/>
                        <a:pt x="115" y="82"/>
                      </a:cubicBezTo>
                      <a:cubicBezTo>
                        <a:pt x="115" y="82"/>
                        <a:pt x="115" y="82"/>
                        <a:pt x="115" y="82"/>
                      </a:cubicBezTo>
                      <a:cubicBezTo>
                        <a:pt x="113" y="83"/>
                        <a:pt x="113" y="83"/>
                        <a:pt x="113" y="83"/>
                      </a:cubicBezTo>
                      <a:cubicBezTo>
                        <a:pt x="113" y="84"/>
                        <a:pt x="113" y="84"/>
                        <a:pt x="113" y="84"/>
                      </a:cubicBezTo>
                      <a:cubicBezTo>
                        <a:pt x="112" y="85"/>
                        <a:pt x="112" y="85"/>
                        <a:pt x="112" y="85"/>
                      </a:cubicBezTo>
                      <a:cubicBezTo>
                        <a:pt x="112" y="85"/>
                        <a:pt x="112" y="85"/>
                        <a:pt x="112" y="85"/>
                      </a:cubicBezTo>
                      <a:cubicBezTo>
                        <a:pt x="110" y="86"/>
                        <a:pt x="110" y="86"/>
                        <a:pt x="110" y="86"/>
                      </a:cubicBezTo>
                      <a:cubicBezTo>
                        <a:pt x="109" y="88"/>
                        <a:pt x="109" y="88"/>
                        <a:pt x="109" y="88"/>
                      </a:cubicBezTo>
                      <a:cubicBezTo>
                        <a:pt x="109" y="88"/>
                        <a:pt x="109" y="88"/>
                        <a:pt x="109" y="88"/>
                      </a:cubicBezTo>
                      <a:cubicBezTo>
                        <a:pt x="108" y="88"/>
                        <a:pt x="108" y="88"/>
                        <a:pt x="108" y="88"/>
                      </a:cubicBezTo>
                      <a:cubicBezTo>
                        <a:pt x="107" y="88"/>
                        <a:pt x="107" y="88"/>
                        <a:pt x="107" y="88"/>
                      </a:cubicBezTo>
                      <a:cubicBezTo>
                        <a:pt x="107" y="88"/>
                        <a:pt x="107" y="88"/>
                        <a:pt x="107" y="88"/>
                      </a:cubicBezTo>
                      <a:cubicBezTo>
                        <a:pt x="108" y="89"/>
                        <a:pt x="108" y="89"/>
                        <a:pt x="108" y="89"/>
                      </a:cubicBezTo>
                      <a:cubicBezTo>
                        <a:pt x="107" y="90"/>
                        <a:pt x="107" y="90"/>
                        <a:pt x="107" y="90"/>
                      </a:cubicBezTo>
                      <a:cubicBezTo>
                        <a:pt x="107" y="90"/>
                        <a:pt x="107" y="90"/>
                        <a:pt x="107" y="90"/>
                      </a:cubicBezTo>
                      <a:cubicBezTo>
                        <a:pt x="106" y="89"/>
                        <a:pt x="106" y="89"/>
                        <a:pt x="106" y="89"/>
                      </a:cubicBezTo>
                      <a:cubicBezTo>
                        <a:pt x="106" y="89"/>
                        <a:pt x="106" y="89"/>
                        <a:pt x="106" y="89"/>
                      </a:cubicBezTo>
                      <a:cubicBezTo>
                        <a:pt x="105" y="90"/>
                        <a:pt x="105" y="90"/>
                        <a:pt x="105" y="90"/>
                      </a:cubicBezTo>
                      <a:cubicBezTo>
                        <a:pt x="104" y="91"/>
                        <a:pt x="104" y="91"/>
                        <a:pt x="104" y="91"/>
                      </a:cubicBezTo>
                      <a:cubicBezTo>
                        <a:pt x="104" y="92"/>
                        <a:pt x="104" y="92"/>
                        <a:pt x="104" y="92"/>
                      </a:cubicBezTo>
                      <a:cubicBezTo>
                        <a:pt x="105" y="93"/>
                        <a:pt x="105" y="93"/>
                        <a:pt x="105" y="93"/>
                      </a:cubicBezTo>
                      <a:cubicBezTo>
                        <a:pt x="105" y="94"/>
                        <a:pt x="105" y="94"/>
                        <a:pt x="105" y="94"/>
                      </a:cubicBezTo>
                      <a:cubicBezTo>
                        <a:pt x="105" y="94"/>
                        <a:pt x="105" y="94"/>
                        <a:pt x="105" y="94"/>
                      </a:cubicBezTo>
                      <a:cubicBezTo>
                        <a:pt x="105" y="95"/>
                        <a:pt x="105" y="95"/>
                        <a:pt x="105" y="95"/>
                      </a:cubicBezTo>
                      <a:cubicBezTo>
                        <a:pt x="105" y="96"/>
                        <a:pt x="105" y="96"/>
                        <a:pt x="105" y="96"/>
                      </a:cubicBezTo>
                      <a:cubicBezTo>
                        <a:pt x="105" y="96"/>
                        <a:pt x="105" y="96"/>
                        <a:pt x="105" y="96"/>
                      </a:cubicBezTo>
                      <a:cubicBezTo>
                        <a:pt x="106" y="95"/>
                        <a:pt x="106" y="95"/>
                        <a:pt x="106" y="95"/>
                      </a:cubicBezTo>
                      <a:cubicBezTo>
                        <a:pt x="106" y="96"/>
                        <a:pt x="106" y="96"/>
                        <a:pt x="106" y="96"/>
                      </a:cubicBezTo>
                      <a:cubicBezTo>
                        <a:pt x="106" y="97"/>
                        <a:pt x="106" y="97"/>
                        <a:pt x="106" y="97"/>
                      </a:cubicBezTo>
                      <a:cubicBezTo>
                        <a:pt x="106" y="97"/>
                        <a:pt x="106" y="97"/>
                        <a:pt x="106" y="97"/>
                      </a:cubicBezTo>
                      <a:cubicBezTo>
                        <a:pt x="105" y="97"/>
                        <a:pt x="105" y="97"/>
                        <a:pt x="105" y="97"/>
                      </a:cubicBezTo>
                      <a:cubicBezTo>
                        <a:pt x="106" y="98"/>
                        <a:pt x="106" y="98"/>
                        <a:pt x="106" y="98"/>
                      </a:cubicBezTo>
                      <a:cubicBezTo>
                        <a:pt x="106" y="98"/>
                        <a:pt x="106" y="98"/>
                        <a:pt x="106" y="98"/>
                      </a:cubicBezTo>
                      <a:cubicBezTo>
                        <a:pt x="107" y="97"/>
                        <a:pt x="107" y="97"/>
                        <a:pt x="107" y="97"/>
                      </a:cubicBezTo>
                      <a:cubicBezTo>
                        <a:pt x="107" y="97"/>
                        <a:pt x="107" y="97"/>
                        <a:pt x="107" y="97"/>
                      </a:cubicBezTo>
                      <a:cubicBezTo>
                        <a:pt x="108" y="98"/>
                        <a:pt x="108" y="98"/>
                        <a:pt x="108" y="98"/>
                      </a:cubicBezTo>
                      <a:cubicBezTo>
                        <a:pt x="108" y="98"/>
                        <a:pt x="108" y="98"/>
                        <a:pt x="108" y="98"/>
                      </a:cubicBezTo>
                      <a:cubicBezTo>
                        <a:pt x="109" y="98"/>
                        <a:pt x="109" y="98"/>
                        <a:pt x="109" y="98"/>
                      </a:cubicBezTo>
                      <a:cubicBezTo>
                        <a:pt x="110" y="99"/>
                        <a:pt x="110" y="99"/>
                        <a:pt x="110" y="99"/>
                      </a:cubicBezTo>
                      <a:cubicBezTo>
                        <a:pt x="111" y="99"/>
                        <a:pt x="111" y="99"/>
                        <a:pt x="111" y="99"/>
                      </a:cubicBezTo>
                      <a:cubicBezTo>
                        <a:pt x="111" y="98"/>
                        <a:pt x="111" y="98"/>
                        <a:pt x="111" y="98"/>
                      </a:cubicBezTo>
                      <a:cubicBezTo>
                        <a:pt x="112" y="96"/>
                        <a:pt x="112" y="96"/>
                        <a:pt x="112" y="96"/>
                      </a:cubicBezTo>
                      <a:cubicBezTo>
                        <a:pt x="112" y="96"/>
                        <a:pt x="112" y="96"/>
                        <a:pt x="112" y="96"/>
                      </a:cubicBezTo>
                      <a:cubicBezTo>
                        <a:pt x="114" y="96"/>
                        <a:pt x="114" y="96"/>
                        <a:pt x="114" y="96"/>
                      </a:cubicBezTo>
                      <a:cubicBezTo>
                        <a:pt x="115" y="95"/>
                        <a:pt x="115" y="95"/>
                        <a:pt x="115" y="95"/>
                      </a:cubicBezTo>
                      <a:cubicBezTo>
                        <a:pt x="114" y="96"/>
                        <a:pt x="114" y="96"/>
                        <a:pt x="114" y="96"/>
                      </a:cubicBezTo>
                      <a:cubicBezTo>
                        <a:pt x="113" y="96"/>
                        <a:pt x="113" y="96"/>
                        <a:pt x="113" y="96"/>
                      </a:cubicBezTo>
                      <a:cubicBezTo>
                        <a:pt x="112" y="98"/>
                        <a:pt x="112" y="98"/>
                        <a:pt x="112" y="98"/>
                      </a:cubicBezTo>
                      <a:cubicBezTo>
                        <a:pt x="111" y="98"/>
                        <a:pt x="111" y="98"/>
                        <a:pt x="111" y="98"/>
                      </a:cubicBezTo>
                      <a:cubicBezTo>
                        <a:pt x="111" y="99"/>
                        <a:pt x="111" y="99"/>
                        <a:pt x="111" y="99"/>
                      </a:cubicBezTo>
                      <a:cubicBezTo>
                        <a:pt x="112" y="100"/>
                        <a:pt x="112" y="100"/>
                        <a:pt x="112" y="100"/>
                      </a:cubicBezTo>
                      <a:cubicBezTo>
                        <a:pt x="112" y="101"/>
                        <a:pt x="112" y="101"/>
                        <a:pt x="112" y="101"/>
                      </a:cubicBezTo>
                      <a:cubicBezTo>
                        <a:pt x="111" y="101"/>
                        <a:pt x="111" y="101"/>
                        <a:pt x="111" y="101"/>
                      </a:cubicBezTo>
                      <a:cubicBezTo>
                        <a:pt x="110" y="100"/>
                        <a:pt x="110" y="100"/>
                        <a:pt x="110" y="100"/>
                      </a:cubicBezTo>
                      <a:cubicBezTo>
                        <a:pt x="110" y="100"/>
                        <a:pt x="110" y="100"/>
                        <a:pt x="110" y="100"/>
                      </a:cubicBezTo>
                      <a:cubicBezTo>
                        <a:pt x="110" y="100"/>
                        <a:pt x="110" y="100"/>
                        <a:pt x="110" y="100"/>
                      </a:cubicBezTo>
                      <a:cubicBezTo>
                        <a:pt x="109" y="100"/>
                        <a:pt x="109" y="100"/>
                        <a:pt x="109" y="100"/>
                      </a:cubicBezTo>
                      <a:cubicBezTo>
                        <a:pt x="108" y="99"/>
                        <a:pt x="108" y="99"/>
                        <a:pt x="108" y="99"/>
                      </a:cubicBezTo>
                      <a:cubicBezTo>
                        <a:pt x="107" y="99"/>
                        <a:pt x="107" y="99"/>
                        <a:pt x="107" y="99"/>
                      </a:cubicBezTo>
                      <a:cubicBezTo>
                        <a:pt x="107" y="98"/>
                        <a:pt x="107" y="98"/>
                        <a:pt x="107" y="98"/>
                      </a:cubicBezTo>
                      <a:cubicBezTo>
                        <a:pt x="106" y="99"/>
                        <a:pt x="106" y="99"/>
                        <a:pt x="106" y="99"/>
                      </a:cubicBezTo>
                      <a:cubicBezTo>
                        <a:pt x="105" y="99"/>
                        <a:pt x="105" y="99"/>
                        <a:pt x="105" y="99"/>
                      </a:cubicBezTo>
                      <a:cubicBezTo>
                        <a:pt x="105" y="99"/>
                        <a:pt x="105" y="99"/>
                        <a:pt x="105" y="99"/>
                      </a:cubicBezTo>
                      <a:cubicBezTo>
                        <a:pt x="104" y="100"/>
                        <a:pt x="104" y="100"/>
                        <a:pt x="104" y="100"/>
                      </a:cubicBezTo>
                      <a:cubicBezTo>
                        <a:pt x="103" y="100"/>
                        <a:pt x="103" y="100"/>
                        <a:pt x="103" y="100"/>
                      </a:cubicBezTo>
                      <a:cubicBezTo>
                        <a:pt x="103" y="100"/>
                        <a:pt x="103" y="100"/>
                        <a:pt x="103" y="100"/>
                      </a:cubicBezTo>
                      <a:cubicBezTo>
                        <a:pt x="103" y="101"/>
                        <a:pt x="103" y="101"/>
                        <a:pt x="103" y="101"/>
                      </a:cubicBezTo>
                      <a:cubicBezTo>
                        <a:pt x="104" y="101"/>
                        <a:pt x="104" y="101"/>
                        <a:pt x="104" y="101"/>
                      </a:cubicBezTo>
                      <a:cubicBezTo>
                        <a:pt x="103" y="102"/>
                        <a:pt x="103" y="102"/>
                        <a:pt x="103" y="102"/>
                      </a:cubicBezTo>
                      <a:cubicBezTo>
                        <a:pt x="103" y="103"/>
                        <a:pt x="103" y="103"/>
                        <a:pt x="103" y="103"/>
                      </a:cubicBezTo>
                      <a:cubicBezTo>
                        <a:pt x="103" y="104"/>
                        <a:pt x="103" y="104"/>
                        <a:pt x="103" y="104"/>
                      </a:cubicBezTo>
                      <a:cubicBezTo>
                        <a:pt x="104" y="104"/>
                        <a:pt x="104" y="104"/>
                        <a:pt x="104" y="104"/>
                      </a:cubicBezTo>
                      <a:cubicBezTo>
                        <a:pt x="104" y="105"/>
                        <a:pt x="104" y="105"/>
                        <a:pt x="104" y="105"/>
                      </a:cubicBezTo>
                      <a:cubicBezTo>
                        <a:pt x="104" y="106"/>
                        <a:pt x="104" y="106"/>
                        <a:pt x="104" y="106"/>
                      </a:cubicBezTo>
                      <a:cubicBezTo>
                        <a:pt x="104" y="106"/>
                        <a:pt x="104" y="106"/>
                        <a:pt x="104" y="106"/>
                      </a:cubicBezTo>
                      <a:cubicBezTo>
                        <a:pt x="105" y="107"/>
                        <a:pt x="105" y="107"/>
                        <a:pt x="105" y="107"/>
                      </a:cubicBezTo>
                      <a:cubicBezTo>
                        <a:pt x="105" y="107"/>
                        <a:pt x="105" y="107"/>
                        <a:pt x="105" y="107"/>
                      </a:cubicBezTo>
                      <a:cubicBezTo>
                        <a:pt x="104" y="107"/>
                        <a:pt x="104" y="107"/>
                        <a:pt x="104" y="107"/>
                      </a:cubicBezTo>
                      <a:cubicBezTo>
                        <a:pt x="104" y="108"/>
                        <a:pt x="104" y="108"/>
                        <a:pt x="104" y="108"/>
                      </a:cubicBezTo>
                      <a:cubicBezTo>
                        <a:pt x="107" y="109"/>
                        <a:pt x="107" y="109"/>
                        <a:pt x="107" y="109"/>
                      </a:cubicBezTo>
                      <a:cubicBezTo>
                        <a:pt x="108" y="109"/>
                        <a:pt x="108" y="109"/>
                        <a:pt x="108" y="109"/>
                      </a:cubicBezTo>
                      <a:cubicBezTo>
                        <a:pt x="110" y="109"/>
                        <a:pt x="110" y="109"/>
                        <a:pt x="110" y="109"/>
                      </a:cubicBezTo>
                      <a:cubicBezTo>
                        <a:pt x="110" y="108"/>
                        <a:pt x="110" y="108"/>
                        <a:pt x="110" y="108"/>
                      </a:cubicBezTo>
                      <a:cubicBezTo>
                        <a:pt x="111" y="109"/>
                        <a:pt x="111" y="109"/>
                        <a:pt x="111" y="109"/>
                      </a:cubicBezTo>
                      <a:cubicBezTo>
                        <a:pt x="112" y="109"/>
                        <a:pt x="112" y="109"/>
                        <a:pt x="112" y="109"/>
                      </a:cubicBezTo>
                      <a:cubicBezTo>
                        <a:pt x="113" y="107"/>
                        <a:pt x="113" y="107"/>
                        <a:pt x="113" y="107"/>
                      </a:cubicBezTo>
                      <a:cubicBezTo>
                        <a:pt x="113" y="106"/>
                        <a:pt x="113" y="106"/>
                        <a:pt x="113" y="106"/>
                      </a:cubicBezTo>
                      <a:cubicBezTo>
                        <a:pt x="112" y="106"/>
                        <a:pt x="112" y="106"/>
                        <a:pt x="112" y="106"/>
                      </a:cubicBezTo>
                      <a:cubicBezTo>
                        <a:pt x="112" y="105"/>
                        <a:pt x="112" y="105"/>
                        <a:pt x="112" y="105"/>
                      </a:cubicBezTo>
                      <a:cubicBezTo>
                        <a:pt x="114" y="105"/>
                        <a:pt x="114" y="105"/>
                        <a:pt x="114" y="105"/>
                      </a:cubicBezTo>
                      <a:cubicBezTo>
                        <a:pt x="115" y="104"/>
                        <a:pt x="115" y="104"/>
                        <a:pt x="115" y="104"/>
                      </a:cubicBezTo>
                      <a:cubicBezTo>
                        <a:pt x="117" y="102"/>
                        <a:pt x="117" y="102"/>
                        <a:pt x="117" y="102"/>
                      </a:cubicBezTo>
                      <a:cubicBezTo>
                        <a:pt x="118" y="103"/>
                        <a:pt x="118" y="103"/>
                        <a:pt x="118" y="103"/>
                      </a:cubicBezTo>
                      <a:cubicBezTo>
                        <a:pt x="117" y="103"/>
                        <a:pt x="117" y="103"/>
                        <a:pt x="117" y="103"/>
                      </a:cubicBezTo>
                      <a:cubicBezTo>
                        <a:pt x="115" y="105"/>
                        <a:pt x="115" y="105"/>
                        <a:pt x="115" y="105"/>
                      </a:cubicBezTo>
                      <a:cubicBezTo>
                        <a:pt x="114" y="105"/>
                        <a:pt x="114" y="105"/>
                        <a:pt x="114" y="105"/>
                      </a:cubicBezTo>
                      <a:cubicBezTo>
                        <a:pt x="114" y="106"/>
                        <a:pt x="114" y="106"/>
                        <a:pt x="114" y="106"/>
                      </a:cubicBezTo>
                      <a:cubicBezTo>
                        <a:pt x="115" y="106"/>
                        <a:pt x="115" y="106"/>
                        <a:pt x="115" y="106"/>
                      </a:cubicBezTo>
                      <a:cubicBezTo>
                        <a:pt x="115" y="107"/>
                        <a:pt x="115" y="107"/>
                        <a:pt x="115" y="107"/>
                      </a:cubicBezTo>
                      <a:cubicBezTo>
                        <a:pt x="114" y="108"/>
                        <a:pt x="114" y="108"/>
                        <a:pt x="114" y="108"/>
                      </a:cubicBezTo>
                      <a:cubicBezTo>
                        <a:pt x="113" y="109"/>
                        <a:pt x="113" y="109"/>
                        <a:pt x="113" y="109"/>
                      </a:cubicBezTo>
                      <a:cubicBezTo>
                        <a:pt x="113" y="110"/>
                        <a:pt x="113" y="110"/>
                        <a:pt x="113" y="110"/>
                      </a:cubicBezTo>
                      <a:cubicBezTo>
                        <a:pt x="113" y="111"/>
                        <a:pt x="113" y="111"/>
                        <a:pt x="113" y="111"/>
                      </a:cubicBezTo>
                      <a:cubicBezTo>
                        <a:pt x="113" y="111"/>
                        <a:pt x="113" y="111"/>
                        <a:pt x="113" y="111"/>
                      </a:cubicBezTo>
                      <a:cubicBezTo>
                        <a:pt x="113" y="112"/>
                        <a:pt x="113" y="112"/>
                        <a:pt x="113" y="112"/>
                      </a:cubicBezTo>
                      <a:cubicBezTo>
                        <a:pt x="113" y="113"/>
                        <a:pt x="113" y="113"/>
                        <a:pt x="113" y="113"/>
                      </a:cubicBezTo>
                      <a:cubicBezTo>
                        <a:pt x="113" y="114"/>
                        <a:pt x="113" y="114"/>
                        <a:pt x="113" y="114"/>
                      </a:cubicBezTo>
                      <a:cubicBezTo>
                        <a:pt x="111" y="114"/>
                        <a:pt x="111" y="114"/>
                        <a:pt x="111" y="114"/>
                      </a:cubicBezTo>
                      <a:cubicBezTo>
                        <a:pt x="111" y="114"/>
                        <a:pt x="111" y="114"/>
                        <a:pt x="111" y="114"/>
                      </a:cubicBezTo>
                      <a:cubicBezTo>
                        <a:pt x="111" y="115"/>
                        <a:pt x="111" y="115"/>
                        <a:pt x="111" y="115"/>
                      </a:cubicBezTo>
                      <a:cubicBezTo>
                        <a:pt x="110" y="115"/>
                        <a:pt x="110" y="115"/>
                        <a:pt x="110" y="115"/>
                      </a:cubicBezTo>
                      <a:cubicBezTo>
                        <a:pt x="110" y="115"/>
                        <a:pt x="110" y="115"/>
                        <a:pt x="110" y="115"/>
                      </a:cubicBezTo>
                      <a:cubicBezTo>
                        <a:pt x="110" y="116"/>
                        <a:pt x="110" y="116"/>
                        <a:pt x="110" y="116"/>
                      </a:cubicBezTo>
                      <a:cubicBezTo>
                        <a:pt x="110" y="117"/>
                        <a:pt x="110" y="117"/>
                        <a:pt x="110" y="117"/>
                      </a:cubicBezTo>
                      <a:cubicBezTo>
                        <a:pt x="111" y="117"/>
                        <a:pt x="111" y="117"/>
                        <a:pt x="111" y="117"/>
                      </a:cubicBezTo>
                      <a:cubicBezTo>
                        <a:pt x="111" y="117"/>
                        <a:pt x="111" y="117"/>
                        <a:pt x="111" y="117"/>
                      </a:cubicBezTo>
                      <a:cubicBezTo>
                        <a:pt x="112" y="117"/>
                        <a:pt x="112" y="117"/>
                        <a:pt x="112" y="117"/>
                      </a:cubicBezTo>
                      <a:cubicBezTo>
                        <a:pt x="112" y="117"/>
                        <a:pt x="112" y="117"/>
                        <a:pt x="112" y="117"/>
                      </a:cubicBezTo>
                      <a:cubicBezTo>
                        <a:pt x="112" y="118"/>
                        <a:pt x="112" y="118"/>
                        <a:pt x="112" y="118"/>
                      </a:cubicBezTo>
                      <a:cubicBezTo>
                        <a:pt x="111" y="118"/>
                        <a:pt x="111" y="118"/>
                        <a:pt x="111" y="118"/>
                      </a:cubicBezTo>
                      <a:cubicBezTo>
                        <a:pt x="110" y="118"/>
                        <a:pt x="110" y="118"/>
                        <a:pt x="110" y="118"/>
                      </a:cubicBezTo>
                      <a:cubicBezTo>
                        <a:pt x="110" y="119"/>
                        <a:pt x="110" y="119"/>
                        <a:pt x="110" y="119"/>
                      </a:cubicBezTo>
                      <a:cubicBezTo>
                        <a:pt x="110" y="119"/>
                        <a:pt x="110" y="119"/>
                        <a:pt x="110" y="119"/>
                      </a:cubicBezTo>
                      <a:cubicBezTo>
                        <a:pt x="111" y="120"/>
                        <a:pt x="111" y="120"/>
                        <a:pt x="111" y="120"/>
                      </a:cubicBezTo>
                      <a:cubicBezTo>
                        <a:pt x="110" y="120"/>
                        <a:pt x="110" y="120"/>
                        <a:pt x="110" y="120"/>
                      </a:cubicBezTo>
                      <a:cubicBezTo>
                        <a:pt x="109" y="120"/>
                        <a:pt x="109" y="120"/>
                        <a:pt x="109" y="120"/>
                      </a:cubicBezTo>
                      <a:cubicBezTo>
                        <a:pt x="108" y="121"/>
                        <a:pt x="108" y="121"/>
                        <a:pt x="108" y="121"/>
                      </a:cubicBezTo>
                      <a:cubicBezTo>
                        <a:pt x="108" y="120"/>
                        <a:pt x="108" y="120"/>
                        <a:pt x="108" y="120"/>
                      </a:cubicBezTo>
                      <a:cubicBezTo>
                        <a:pt x="107" y="121"/>
                        <a:pt x="107" y="121"/>
                        <a:pt x="107" y="121"/>
                      </a:cubicBezTo>
                      <a:cubicBezTo>
                        <a:pt x="108" y="121"/>
                        <a:pt x="108" y="121"/>
                        <a:pt x="108" y="121"/>
                      </a:cubicBezTo>
                      <a:cubicBezTo>
                        <a:pt x="109" y="121"/>
                        <a:pt x="109" y="121"/>
                        <a:pt x="109" y="121"/>
                      </a:cubicBezTo>
                      <a:cubicBezTo>
                        <a:pt x="109" y="122"/>
                        <a:pt x="109" y="122"/>
                        <a:pt x="109" y="122"/>
                      </a:cubicBezTo>
                      <a:cubicBezTo>
                        <a:pt x="110" y="121"/>
                        <a:pt x="110" y="121"/>
                        <a:pt x="110" y="121"/>
                      </a:cubicBezTo>
                      <a:cubicBezTo>
                        <a:pt x="112" y="120"/>
                        <a:pt x="112" y="120"/>
                        <a:pt x="112" y="120"/>
                      </a:cubicBezTo>
                      <a:cubicBezTo>
                        <a:pt x="113" y="120"/>
                        <a:pt x="113" y="120"/>
                        <a:pt x="113" y="120"/>
                      </a:cubicBezTo>
                      <a:cubicBezTo>
                        <a:pt x="114" y="120"/>
                        <a:pt x="114" y="120"/>
                        <a:pt x="114" y="120"/>
                      </a:cubicBezTo>
                      <a:cubicBezTo>
                        <a:pt x="114" y="119"/>
                        <a:pt x="114" y="119"/>
                        <a:pt x="114" y="119"/>
                      </a:cubicBezTo>
                      <a:cubicBezTo>
                        <a:pt x="116" y="119"/>
                        <a:pt x="116" y="119"/>
                        <a:pt x="116" y="119"/>
                      </a:cubicBezTo>
                      <a:cubicBezTo>
                        <a:pt x="116" y="119"/>
                        <a:pt x="116" y="119"/>
                        <a:pt x="116" y="119"/>
                      </a:cubicBezTo>
                      <a:cubicBezTo>
                        <a:pt x="115" y="119"/>
                        <a:pt x="115" y="119"/>
                        <a:pt x="115" y="119"/>
                      </a:cubicBezTo>
                      <a:cubicBezTo>
                        <a:pt x="115" y="120"/>
                        <a:pt x="115" y="120"/>
                        <a:pt x="115" y="120"/>
                      </a:cubicBezTo>
                      <a:cubicBezTo>
                        <a:pt x="116" y="120"/>
                        <a:pt x="116" y="120"/>
                        <a:pt x="116" y="120"/>
                      </a:cubicBezTo>
                      <a:cubicBezTo>
                        <a:pt x="116" y="121"/>
                        <a:pt x="116" y="121"/>
                        <a:pt x="116" y="121"/>
                      </a:cubicBezTo>
                      <a:cubicBezTo>
                        <a:pt x="116" y="121"/>
                        <a:pt x="116" y="121"/>
                        <a:pt x="116" y="121"/>
                      </a:cubicBezTo>
                      <a:cubicBezTo>
                        <a:pt x="116" y="122"/>
                        <a:pt x="116" y="122"/>
                        <a:pt x="116" y="122"/>
                      </a:cubicBezTo>
                      <a:cubicBezTo>
                        <a:pt x="117" y="121"/>
                        <a:pt x="117" y="121"/>
                        <a:pt x="117" y="121"/>
                      </a:cubicBezTo>
                      <a:cubicBezTo>
                        <a:pt x="118" y="121"/>
                        <a:pt x="118" y="121"/>
                        <a:pt x="118" y="121"/>
                      </a:cubicBezTo>
                      <a:cubicBezTo>
                        <a:pt x="118" y="121"/>
                        <a:pt x="118" y="121"/>
                        <a:pt x="118" y="121"/>
                      </a:cubicBezTo>
                      <a:cubicBezTo>
                        <a:pt x="118" y="121"/>
                        <a:pt x="118" y="121"/>
                        <a:pt x="118" y="121"/>
                      </a:cubicBezTo>
                      <a:cubicBezTo>
                        <a:pt x="118" y="122"/>
                        <a:pt x="118" y="122"/>
                        <a:pt x="118" y="122"/>
                      </a:cubicBezTo>
                      <a:cubicBezTo>
                        <a:pt x="119" y="124"/>
                        <a:pt x="119" y="124"/>
                        <a:pt x="119" y="124"/>
                      </a:cubicBezTo>
                      <a:cubicBezTo>
                        <a:pt x="118" y="124"/>
                        <a:pt x="118" y="124"/>
                        <a:pt x="118" y="124"/>
                      </a:cubicBezTo>
                      <a:cubicBezTo>
                        <a:pt x="119" y="126"/>
                        <a:pt x="119" y="126"/>
                        <a:pt x="119" y="126"/>
                      </a:cubicBezTo>
                      <a:cubicBezTo>
                        <a:pt x="119" y="126"/>
                        <a:pt x="119" y="126"/>
                        <a:pt x="119" y="126"/>
                      </a:cubicBezTo>
                      <a:cubicBezTo>
                        <a:pt x="120" y="125"/>
                        <a:pt x="120" y="125"/>
                        <a:pt x="120" y="125"/>
                      </a:cubicBezTo>
                      <a:cubicBezTo>
                        <a:pt x="120" y="124"/>
                        <a:pt x="120" y="124"/>
                        <a:pt x="120" y="124"/>
                      </a:cubicBezTo>
                      <a:cubicBezTo>
                        <a:pt x="121" y="123"/>
                        <a:pt x="121" y="123"/>
                        <a:pt x="121" y="123"/>
                      </a:cubicBezTo>
                      <a:cubicBezTo>
                        <a:pt x="121" y="122"/>
                        <a:pt x="121" y="122"/>
                        <a:pt x="121" y="122"/>
                      </a:cubicBezTo>
                      <a:cubicBezTo>
                        <a:pt x="122" y="121"/>
                        <a:pt x="122" y="121"/>
                        <a:pt x="122" y="121"/>
                      </a:cubicBezTo>
                      <a:cubicBezTo>
                        <a:pt x="122" y="121"/>
                        <a:pt x="122" y="121"/>
                        <a:pt x="122" y="121"/>
                      </a:cubicBezTo>
                      <a:cubicBezTo>
                        <a:pt x="123" y="120"/>
                        <a:pt x="123" y="120"/>
                        <a:pt x="123" y="120"/>
                      </a:cubicBezTo>
                      <a:cubicBezTo>
                        <a:pt x="124" y="120"/>
                        <a:pt x="124" y="120"/>
                        <a:pt x="124" y="120"/>
                      </a:cubicBezTo>
                      <a:cubicBezTo>
                        <a:pt x="123" y="121"/>
                        <a:pt x="123" y="121"/>
                        <a:pt x="123" y="121"/>
                      </a:cubicBezTo>
                      <a:cubicBezTo>
                        <a:pt x="122" y="122"/>
                        <a:pt x="122" y="122"/>
                        <a:pt x="122" y="122"/>
                      </a:cubicBezTo>
                      <a:cubicBezTo>
                        <a:pt x="122" y="123"/>
                        <a:pt x="122" y="123"/>
                        <a:pt x="122" y="123"/>
                      </a:cubicBezTo>
                      <a:cubicBezTo>
                        <a:pt x="123" y="124"/>
                        <a:pt x="123" y="124"/>
                        <a:pt x="123" y="124"/>
                      </a:cubicBezTo>
                      <a:cubicBezTo>
                        <a:pt x="124" y="124"/>
                        <a:pt x="124" y="124"/>
                        <a:pt x="124" y="124"/>
                      </a:cubicBezTo>
                      <a:cubicBezTo>
                        <a:pt x="125" y="123"/>
                        <a:pt x="125" y="123"/>
                        <a:pt x="125" y="123"/>
                      </a:cubicBezTo>
                      <a:cubicBezTo>
                        <a:pt x="127" y="123"/>
                        <a:pt x="127" y="123"/>
                        <a:pt x="127" y="123"/>
                      </a:cubicBezTo>
                      <a:cubicBezTo>
                        <a:pt x="128" y="122"/>
                        <a:pt x="128" y="122"/>
                        <a:pt x="128" y="122"/>
                      </a:cubicBezTo>
                      <a:cubicBezTo>
                        <a:pt x="128" y="122"/>
                        <a:pt x="128" y="122"/>
                        <a:pt x="128" y="122"/>
                      </a:cubicBezTo>
                      <a:cubicBezTo>
                        <a:pt x="130" y="122"/>
                        <a:pt x="130" y="122"/>
                        <a:pt x="130" y="122"/>
                      </a:cubicBezTo>
                      <a:cubicBezTo>
                        <a:pt x="131" y="122"/>
                        <a:pt x="131" y="122"/>
                        <a:pt x="131" y="122"/>
                      </a:cubicBezTo>
                      <a:cubicBezTo>
                        <a:pt x="130" y="122"/>
                        <a:pt x="130" y="122"/>
                        <a:pt x="130" y="122"/>
                      </a:cubicBezTo>
                      <a:cubicBezTo>
                        <a:pt x="129" y="123"/>
                        <a:pt x="129" y="123"/>
                        <a:pt x="129" y="123"/>
                      </a:cubicBezTo>
                      <a:cubicBezTo>
                        <a:pt x="129" y="124"/>
                        <a:pt x="129" y="124"/>
                        <a:pt x="129" y="124"/>
                      </a:cubicBezTo>
                      <a:cubicBezTo>
                        <a:pt x="128" y="124"/>
                        <a:pt x="128" y="124"/>
                        <a:pt x="128" y="124"/>
                      </a:cubicBezTo>
                      <a:cubicBezTo>
                        <a:pt x="126" y="125"/>
                        <a:pt x="126" y="125"/>
                        <a:pt x="126" y="125"/>
                      </a:cubicBezTo>
                      <a:cubicBezTo>
                        <a:pt x="124" y="126"/>
                        <a:pt x="124" y="126"/>
                        <a:pt x="124" y="126"/>
                      </a:cubicBezTo>
                      <a:cubicBezTo>
                        <a:pt x="124" y="128"/>
                        <a:pt x="124" y="128"/>
                        <a:pt x="124" y="128"/>
                      </a:cubicBezTo>
                      <a:cubicBezTo>
                        <a:pt x="123" y="128"/>
                        <a:pt x="123" y="128"/>
                        <a:pt x="123" y="128"/>
                      </a:cubicBezTo>
                      <a:cubicBezTo>
                        <a:pt x="124" y="129"/>
                        <a:pt x="124" y="129"/>
                        <a:pt x="124" y="129"/>
                      </a:cubicBezTo>
                      <a:cubicBezTo>
                        <a:pt x="125" y="130"/>
                        <a:pt x="125" y="130"/>
                        <a:pt x="125" y="130"/>
                      </a:cubicBezTo>
                      <a:cubicBezTo>
                        <a:pt x="123" y="129"/>
                        <a:pt x="123" y="129"/>
                        <a:pt x="123" y="129"/>
                      </a:cubicBezTo>
                      <a:cubicBezTo>
                        <a:pt x="123" y="130"/>
                        <a:pt x="123" y="130"/>
                        <a:pt x="123" y="130"/>
                      </a:cubicBezTo>
                      <a:cubicBezTo>
                        <a:pt x="122" y="131"/>
                        <a:pt x="122" y="131"/>
                        <a:pt x="122" y="131"/>
                      </a:cubicBezTo>
                      <a:cubicBezTo>
                        <a:pt x="121" y="132"/>
                        <a:pt x="121" y="132"/>
                        <a:pt x="121" y="132"/>
                      </a:cubicBezTo>
                      <a:cubicBezTo>
                        <a:pt x="120" y="133"/>
                        <a:pt x="120" y="133"/>
                        <a:pt x="120" y="133"/>
                      </a:cubicBezTo>
                      <a:cubicBezTo>
                        <a:pt x="120" y="134"/>
                        <a:pt x="120" y="134"/>
                        <a:pt x="120" y="134"/>
                      </a:cubicBezTo>
                      <a:cubicBezTo>
                        <a:pt x="120" y="134"/>
                        <a:pt x="120" y="134"/>
                        <a:pt x="120" y="134"/>
                      </a:cubicBezTo>
                      <a:cubicBezTo>
                        <a:pt x="120" y="135"/>
                        <a:pt x="120" y="135"/>
                        <a:pt x="120" y="135"/>
                      </a:cubicBezTo>
                      <a:cubicBezTo>
                        <a:pt x="120" y="135"/>
                        <a:pt x="120" y="135"/>
                        <a:pt x="120" y="135"/>
                      </a:cubicBezTo>
                      <a:cubicBezTo>
                        <a:pt x="119" y="135"/>
                        <a:pt x="119" y="135"/>
                        <a:pt x="119" y="135"/>
                      </a:cubicBezTo>
                      <a:cubicBezTo>
                        <a:pt x="119" y="134"/>
                        <a:pt x="119" y="134"/>
                        <a:pt x="119" y="134"/>
                      </a:cubicBezTo>
                      <a:cubicBezTo>
                        <a:pt x="119" y="134"/>
                        <a:pt x="119" y="134"/>
                        <a:pt x="119" y="134"/>
                      </a:cubicBezTo>
                      <a:cubicBezTo>
                        <a:pt x="118" y="135"/>
                        <a:pt x="118" y="135"/>
                        <a:pt x="118" y="135"/>
                      </a:cubicBezTo>
                      <a:cubicBezTo>
                        <a:pt x="117" y="136"/>
                        <a:pt x="117" y="136"/>
                        <a:pt x="117" y="136"/>
                      </a:cubicBezTo>
                      <a:cubicBezTo>
                        <a:pt x="117" y="136"/>
                        <a:pt x="117" y="136"/>
                        <a:pt x="117" y="136"/>
                      </a:cubicBezTo>
                      <a:cubicBezTo>
                        <a:pt x="117" y="137"/>
                        <a:pt x="117" y="137"/>
                        <a:pt x="117" y="137"/>
                      </a:cubicBezTo>
                      <a:cubicBezTo>
                        <a:pt x="116" y="137"/>
                        <a:pt x="116" y="137"/>
                        <a:pt x="116" y="137"/>
                      </a:cubicBezTo>
                      <a:cubicBezTo>
                        <a:pt x="116" y="136"/>
                        <a:pt x="116" y="136"/>
                        <a:pt x="116" y="136"/>
                      </a:cubicBezTo>
                      <a:cubicBezTo>
                        <a:pt x="115" y="137"/>
                        <a:pt x="115" y="137"/>
                        <a:pt x="115" y="137"/>
                      </a:cubicBezTo>
                      <a:cubicBezTo>
                        <a:pt x="113" y="138"/>
                        <a:pt x="113" y="138"/>
                        <a:pt x="113" y="138"/>
                      </a:cubicBezTo>
                      <a:cubicBezTo>
                        <a:pt x="112" y="139"/>
                        <a:pt x="112" y="139"/>
                        <a:pt x="112" y="139"/>
                      </a:cubicBezTo>
                      <a:cubicBezTo>
                        <a:pt x="113" y="140"/>
                        <a:pt x="113" y="140"/>
                        <a:pt x="113" y="140"/>
                      </a:cubicBezTo>
                      <a:cubicBezTo>
                        <a:pt x="112" y="140"/>
                        <a:pt x="112" y="140"/>
                        <a:pt x="112" y="140"/>
                      </a:cubicBezTo>
                      <a:cubicBezTo>
                        <a:pt x="112" y="140"/>
                        <a:pt x="112" y="140"/>
                        <a:pt x="112" y="140"/>
                      </a:cubicBezTo>
                      <a:cubicBezTo>
                        <a:pt x="112" y="139"/>
                        <a:pt x="112" y="139"/>
                        <a:pt x="112" y="139"/>
                      </a:cubicBezTo>
                      <a:cubicBezTo>
                        <a:pt x="110" y="139"/>
                        <a:pt x="110" y="139"/>
                        <a:pt x="110" y="139"/>
                      </a:cubicBezTo>
                      <a:cubicBezTo>
                        <a:pt x="109" y="140"/>
                        <a:pt x="109" y="140"/>
                        <a:pt x="109" y="140"/>
                      </a:cubicBezTo>
                      <a:cubicBezTo>
                        <a:pt x="108" y="140"/>
                        <a:pt x="108" y="140"/>
                        <a:pt x="108" y="140"/>
                      </a:cubicBezTo>
                      <a:cubicBezTo>
                        <a:pt x="108" y="141"/>
                        <a:pt x="108" y="141"/>
                        <a:pt x="108" y="141"/>
                      </a:cubicBezTo>
                      <a:cubicBezTo>
                        <a:pt x="107" y="141"/>
                        <a:pt x="107" y="141"/>
                        <a:pt x="107" y="141"/>
                      </a:cubicBezTo>
                      <a:cubicBezTo>
                        <a:pt x="106" y="141"/>
                        <a:pt x="106" y="141"/>
                        <a:pt x="106" y="141"/>
                      </a:cubicBezTo>
                      <a:cubicBezTo>
                        <a:pt x="105" y="142"/>
                        <a:pt x="105" y="142"/>
                        <a:pt x="105" y="142"/>
                      </a:cubicBezTo>
                      <a:cubicBezTo>
                        <a:pt x="102" y="143"/>
                        <a:pt x="102" y="143"/>
                        <a:pt x="102" y="143"/>
                      </a:cubicBezTo>
                      <a:cubicBezTo>
                        <a:pt x="101" y="144"/>
                        <a:pt x="101" y="144"/>
                        <a:pt x="101" y="144"/>
                      </a:cubicBezTo>
                      <a:cubicBezTo>
                        <a:pt x="100" y="145"/>
                        <a:pt x="100" y="145"/>
                        <a:pt x="100" y="145"/>
                      </a:cubicBezTo>
                      <a:cubicBezTo>
                        <a:pt x="100" y="146"/>
                        <a:pt x="100" y="146"/>
                        <a:pt x="100" y="146"/>
                      </a:cubicBezTo>
                      <a:cubicBezTo>
                        <a:pt x="101" y="147"/>
                        <a:pt x="101" y="147"/>
                        <a:pt x="101" y="147"/>
                      </a:cubicBezTo>
                      <a:cubicBezTo>
                        <a:pt x="101" y="147"/>
                        <a:pt x="101" y="147"/>
                        <a:pt x="101" y="147"/>
                      </a:cubicBezTo>
                      <a:cubicBezTo>
                        <a:pt x="100" y="147"/>
                        <a:pt x="100" y="147"/>
                        <a:pt x="100" y="147"/>
                      </a:cubicBezTo>
                      <a:cubicBezTo>
                        <a:pt x="100" y="147"/>
                        <a:pt x="100" y="147"/>
                        <a:pt x="100" y="147"/>
                      </a:cubicBezTo>
                      <a:cubicBezTo>
                        <a:pt x="99" y="147"/>
                        <a:pt x="99" y="147"/>
                        <a:pt x="99" y="147"/>
                      </a:cubicBezTo>
                      <a:cubicBezTo>
                        <a:pt x="99" y="147"/>
                        <a:pt x="99" y="147"/>
                        <a:pt x="99" y="147"/>
                      </a:cubicBezTo>
                      <a:cubicBezTo>
                        <a:pt x="99" y="148"/>
                        <a:pt x="99" y="148"/>
                        <a:pt x="99" y="148"/>
                      </a:cubicBezTo>
                      <a:cubicBezTo>
                        <a:pt x="99" y="148"/>
                        <a:pt x="99" y="148"/>
                        <a:pt x="99" y="148"/>
                      </a:cubicBezTo>
                      <a:cubicBezTo>
                        <a:pt x="98" y="147"/>
                        <a:pt x="98" y="147"/>
                        <a:pt x="98" y="147"/>
                      </a:cubicBezTo>
                      <a:cubicBezTo>
                        <a:pt x="98" y="147"/>
                        <a:pt x="98" y="147"/>
                        <a:pt x="98" y="147"/>
                      </a:cubicBezTo>
                      <a:cubicBezTo>
                        <a:pt x="99" y="146"/>
                        <a:pt x="99" y="146"/>
                        <a:pt x="99" y="146"/>
                      </a:cubicBezTo>
                      <a:cubicBezTo>
                        <a:pt x="98" y="146"/>
                        <a:pt x="98" y="146"/>
                        <a:pt x="98" y="146"/>
                      </a:cubicBezTo>
                      <a:cubicBezTo>
                        <a:pt x="97" y="146"/>
                        <a:pt x="97" y="146"/>
                        <a:pt x="97" y="146"/>
                      </a:cubicBezTo>
                      <a:cubicBezTo>
                        <a:pt x="97" y="146"/>
                        <a:pt x="97" y="146"/>
                        <a:pt x="97" y="146"/>
                      </a:cubicBezTo>
                      <a:cubicBezTo>
                        <a:pt x="96" y="146"/>
                        <a:pt x="96" y="146"/>
                        <a:pt x="96" y="146"/>
                      </a:cubicBezTo>
                      <a:cubicBezTo>
                        <a:pt x="94" y="146"/>
                        <a:pt x="94" y="146"/>
                        <a:pt x="94" y="146"/>
                      </a:cubicBezTo>
                      <a:cubicBezTo>
                        <a:pt x="93" y="146"/>
                        <a:pt x="93" y="146"/>
                        <a:pt x="93" y="146"/>
                      </a:cubicBezTo>
                      <a:cubicBezTo>
                        <a:pt x="93" y="147"/>
                        <a:pt x="93" y="147"/>
                        <a:pt x="93" y="147"/>
                      </a:cubicBezTo>
                      <a:cubicBezTo>
                        <a:pt x="92" y="147"/>
                        <a:pt x="92" y="147"/>
                        <a:pt x="92" y="147"/>
                      </a:cubicBezTo>
                      <a:cubicBezTo>
                        <a:pt x="90" y="148"/>
                        <a:pt x="90" y="148"/>
                        <a:pt x="90" y="148"/>
                      </a:cubicBezTo>
                      <a:cubicBezTo>
                        <a:pt x="89" y="149"/>
                        <a:pt x="89" y="149"/>
                        <a:pt x="89" y="149"/>
                      </a:cubicBezTo>
                      <a:cubicBezTo>
                        <a:pt x="89" y="150"/>
                        <a:pt x="89" y="150"/>
                        <a:pt x="89" y="150"/>
                      </a:cubicBezTo>
                      <a:cubicBezTo>
                        <a:pt x="89" y="150"/>
                        <a:pt x="89" y="150"/>
                        <a:pt x="89" y="150"/>
                      </a:cubicBezTo>
                      <a:cubicBezTo>
                        <a:pt x="89" y="150"/>
                        <a:pt x="89" y="150"/>
                        <a:pt x="89" y="150"/>
                      </a:cubicBezTo>
                      <a:cubicBezTo>
                        <a:pt x="88" y="150"/>
                        <a:pt x="88" y="150"/>
                        <a:pt x="88" y="150"/>
                      </a:cubicBezTo>
                      <a:cubicBezTo>
                        <a:pt x="87" y="151"/>
                        <a:pt x="87" y="151"/>
                        <a:pt x="87" y="151"/>
                      </a:cubicBezTo>
                      <a:cubicBezTo>
                        <a:pt x="87" y="151"/>
                        <a:pt x="87" y="151"/>
                        <a:pt x="87" y="151"/>
                      </a:cubicBezTo>
                      <a:cubicBezTo>
                        <a:pt x="86" y="151"/>
                        <a:pt x="86" y="151"/>
                        <a:pt x="86" y="151"/>
                      </a:cubicBezTo>
                      <a:cubicBezTo>
                        <a:pt x="86" y="151"/>
                        <a:pt x="86" y="151"/>
                        <a:pt x="86" y="151"/>
                      </a:cubicBezTo>
                      <a:cubicBezTo>
                        <a:pt x="85" y="151"/>
                        <a:pt x="85" y="151"/>
                        <a:pt x="85" y="151"/>
                      </a:cubicBezTo>
                      <a:cubicBezTo>
                        <a:pt x="84" y="152"/>
                        <a:pt x="84" y="152"/>
                        <a:pt x="84" y="152"/>
                      </a:cubicBezTo>
                      <a:cubicBezTo>
                        <a:pt x="84" y="153"/>
                        <a:pt x="84" y="153"/>
                        <a:pt x="84" y="153"/>
                      </a:cubicBezTo>
                      <a:cubicBezTo>
                        <a:pt x="84" y="153"/>
                        <a:pt x="84" y="153"/>
                        <a:pt x="84" y="153"/>
                      </a:cubicBezTo>
                      <a:cubicBezTo>
                        <a:pt x="85" y="153"/>
                        <a:pt x="85" y="153"/>
                        <a:pt x="85" y="153"/>
                      </a:cubicBezTo>
                      <a:cubicBezTo>
                        <a:pt x="85" y="153"/>
                        <a:pt x="85" y="153"/>
                        <a:pt x="85" y="153"/>
                      </a:cubicBezTo>
                      <a:cubicBezTo>
                        <a:pt x="85" y="152"/>
                        <a:pt x="85" y="152"/>
                        <a:pt x="85" y="152"/>
                      </a:cubicBezTo>
                      <a:cubicBezTo>
                        <a:pt x="86" y="152"/>
                        <a:pt x="86" y="152"/>
                        <a:pt x="86" y="152"/>
                      </a:cubicBezTo>
                      <a:cubicBezTo>
                        <a:pt x="86" y="152"/>
                        <a:pt x="86" y="152"/>
                        <a:pt x="86" y="152"/>
                      </a:cubicBezTo>
                      <a:cubicBezTo>
                        <a:pt x="86" y="153"/>
                        <a:pt x="86" y="153"/>
                        <a:pt x="86" y="153"/>
                      </a:cubicBezTo>
                      <a:cubicBezTo>
                        <a:pt x="86" y="153"/>
                        <a:pt x="86" y="153"/>
                        <a:pt x="86" y="153"/>
                      </a:cubicBezTo>
                      <a:cubicBezTo>
                        <a:pt x="87" y="153"/>
                        <a:pt x="87" y="153"/>
                        <a:pt x="87" y="153"/>
                      </a:cubicBezTo>
                      <a:cubicBezTo>
                        <a:pt x="88" y="151"/>
                        <a:pt x="88" y="151"/>
                        <a:pt x="88" y="151"/>
                      </a:cubicBezTo>
                      <a:cubicBezTo>
                        <a:pt x="88" y="151"/>
                        <a:pt x="88" y="151"/>
                        <a:pt x="88" y="151"/>
                      </a:cubicBezTo>
                      <a:cubicBezTo>
                        <a:pt x="88" y="152"/>
                        <a:pt x="88" y="152"/>
                        <a:pt x="88" y="152"/>
                      </a:cubicBezTo>
                      <a:cubicBezTo>
                        <a:pt x="88" y="152"/>
                        <a:pt x="88" y="152"/>
                        <a:pt x="88" y="152"/>
                      </a:cubicBezTo>
                      <a:cubicBezTo>
                        <a:pt x="88" y="153"/>
                        <a:pt x="88" y="153"/>
                        <a:pt x="88" y="153"/>
                      </a:cubicBezTo>
                      <a:cubicBezTo>
                        <a:pt x="89" y="153"/>
                        <a:pt x="89" y="153"/>
                        <a:pt x="89" y="153"/>
                      </a:cubicBezTo>
                      <a:cubicBezTo>
                        <a:pt x="90" y="152"/>
                        <a:pt x="90" y="152"/>
                        <a:pt x="90" y="152"/>
                      </a:cubicBezTo>
                      <a:cubicBezTo>
                        <a:pt x="90" y="152"/>
                        <a:pt x="90" y="152"/>
                        <a:pt x="90" y="152"/>
                      </a:cubicBezTo>
                      <a:cubicBezTo>
                        <a:pt x="90" y="152"/>
                        <a:pt x="90" y="152"/>
                        <a:pt x="90" y="152"/>
                      </a:cubicBezTo>
                      <a:cubicBezTo>
                        <a:pt x="90" y="152"/>
                        <a:pt x="90" y="152"/>
                        <a:pt x="90" y="152"/>
                      </a:cubicBezTo>
                      <a:cubicBezTo>
                        <a:pt x="91" y="152"/>
                        <a:pt x="91" y="152"/>
                        <a:pt x="91" y="152"/>
                      </a:cubicBezTo>
                      <a:cubicBezTo>
                        <a:pt x="92" y="152"/>
                        <a:pt x="92" y="152"/>
                        <a:pt x="92" y="152"/>
                      </a:cubicBezTo>
                      <a:cubicBezTo>
                        <a:pt x="93" y="151"/>
                        <a:pt x="93" y="151"/>
                        <a:pt x="93" y="151"/>
                      </a:cubicBezTo>
                      <a:cubicBezTo>
                        <a:pt x="93" y="150"/>
                        <a:pt x="93" y="150"/>
                        <a:pt x="93" y="150"/>
                      </a:cubicBezTo>
                      <a:cubicBezTo>
                        <a:pt x="93" y="149"/>
                        <a:pt x="93" y="149"/>
                        <a:pt x="93" y="149"/>
                      </a:cubicBezTo>
                      <a:cubicBezTo>
                        <a:pt x="94" y="149"/>
                        <a:pt x="94" y="149"/>
                        <a:pt x="94" y="149"/>
                      </a:cubicBezTo>
                      <a:cubicBezTo>
                        <a:pt x="95" y="148"/>
                        <a:pt x="95" y="148"/>
                        <a:pt x="95" y="148"/>
                      </a:cubicBezTo>
                      <a:cubicBezTo>
                        <a:pt x="95" y="148"/>
                        <a:pt x="95" y="148"/>
                        <a:pt x="95" y="148"/>
                      </a:cubicBezTo>
                      <a:cubicBezTo>
                        <a:pt x="96" y="149"/>
                        <a:pt x="96" y="149"/>
                        <a:pt x="96" y="149"/>
                      </a:cubicBezTo>
                      <a:cubicBezTo>
                        <a:pt x="96" y="149"/>
                        <a:pt x="96" y="149"/>
                        <a:pt x="96" y="149"/>
                      </a:cubicBezTo>
                      <a:cubicBezTo>
                        <a:pt x="95" y="149"/>
                        <a:pt x="95" y="149"/>
                        <a:pt x="95" y="149"/>
                      </a:cubicBezTo>
                      <a:cubicBezTo>
                        <a:pt x="95" y="150"/>
                        <a:pt x="95" y="150"/>
                        <a:pt x="95" y="150"/>
                      </a:cubicBezTo>
                      <a:cubicBezTo>
                        <a:pt x="95" y="151"/>
                        <a:pt x="95" y="151"/>
                        <a:pt x="95" y="151"/>
                      </a:cubicBezTo>
                      <a:cubicBezTo>
                        <a:pt x="95" y="151"/>
                        <a:pt x="95" y="151"/>
                        <a:pt x="95" y="151"/>
                      </a:cubicBezTo>
                      <a:cubicBezTo>
                        <a:pt x="96" y="150"/>
                        <a:pt x="96" y="150"/>
                        <a:pt x="96" y="150"/>
                      </a:cubicBezTo>
                      <a:cubicBezTo>
                        <a:pt x="96" y="149"/>
                        <a:pt x="96" y="149"/>
                        <a:pt x="96" y="149"/>
                      </a:cubicBezTo>
                      <a:cubicBezTo>
                        <a:pt x="97" y="149"/>
                        <a:pt x="97" y="149"/>
                        <a:pt x="97" y="149"/>
                      </a:cubicBezTo>
                      <a:cubicBezTo>
                        <a:pt x="97" y="150"/>
                        <a:pt x="97" y="150"/>
                        <a:pt x="97" y="150"/>
                      </a:cubicBezTo>
                      <a:cubicBezTo>
                        <a:pt x="97" y="149"/>
                        <a:pt x="97" y="149"/>
                        <a:pt x="97" y="149"/>
                      </a:cubicBezTo>
                      <a:cubicBezTo>
                        <a:pt x="98" y="149"/>
                        <a:pt x="98" y="149"/>
                        <a:pt x="98" y="149"/>
                      </a:cubicBezTo>
                      <a:cubicBezTo>
                        <a:pt x="98" y="150"/>
                        <a:pt x="98" y="150"/>
                        <a:pt x="98" y="150"/>
                      </a:cubicBezTo>
                      <a:cubicBezTo>
                        <a:pt x="98" y="150"/>
                        <a:pt x="98" y="150"/>
                        <a:pt x="98" y="150"/>
                      </a:cubicBezTo>
                      <a:cubicBezTo>
                        <a:pt x="98" y="150"/>
                        <a:pt x="98" y="150"/>
                        <a:pt x="98" y="150"/>
                      </a:cubicBezTo>
                      <a:cubicBezTo>
                        <a:pt x="99" y="150"/>
                        <a:pt x="99" y="150"/>
                        <a:pt x="99" y="150"/>
                      </a:cubicBezTo>
                      <a:cubicBezTo>
                        <a:pt x="100" y="150"/>
                        <a:pt x="100" y="150"/>
                        <a:pt x="100" y="150"/>
                      </a:cubicBezTo>
                      <a:cubicBezTo>
                        <a:pt x="100" y="149"/>
                        <a:pt x="100" y="149"/>
                        <a:pt x="100" y="149"/>
                      </a:cubicBezTo>
                      <a:cubicBezTo>
                        <a:pt x="101" y="149"/>
                        <a:pt x="101" y="149"/>
                        <a:pt x="101" y="149"/>
                      </a:cubicBezTo>
                      <a:cubicBezTo>
                        <a:pt x="102" y="148"/>
                        <a:pt x="102" y="148"/>
                        <a:pt x="102" y="148"/>
                      </a:cubicBezTo>
                      <a:cubicBezTo>
                        <a:pt x="103" y="147"/>
                        <a:pt x="103" y="147"/>
                        <a:pt x="103" y="147"/>
                      </a:cubicBezTo>
                      <a:cubicBezTo>
                        <a:pt x="104" y="148"/>
                        <a:pt x="104" y="148"/>
                        <a:pt x="104" y="148"/>
                      </a:cubicBezTo>
                      <a:cubicBezTo>
                        <a:pt x="104" y="148"/>
                        <a:pt x="104" y="148"/>
                        <a:pt x="104" y="148"/>
                      </a:cubicBezTo>
                      <a:cubicBezTo>
                        <a:pt x="103" y="149"/>
                        <a:pt x="103" y="149"/>
                        <a:pt x="103" y="149"/>
                      </a:cubicBezTo>
                      <a:cubicBezTo>
                        <a:pt x="102" y="150"/>
                        <a:pt x="102" y="150"/>
                        <a:pt x="102" y="150"/>
                      </a:cubicBezTo>
                      <a:cubicBezTo>
                        <a:pt x="102" y="150"/>
                        <a:pt x="102" y="150"/>
                        <a:pt x="102" y="150"/>
                      </a:cubicBezTo>
                      <a:cubicBezTo>
                        <a:pt x="103" y="150"/>
                        <a:pt x="103" y="150"/>
                        <a:pt x="103" y="150"/>
                      </a:cubicBezTo>
                      <a:cubicBezTo>
                        <a:pt x="104" y="149"/>
                        <a:pt x="104" y="149"/>
                        <a:pt x="104" y="149"/>
                      </a:cubicBezTo>
                      <a:cubicBezTo>
                        <a:pt x="104" y="148"/>
                        <a:pt x="104" y="148"/>
                        <a:pt x="104" y="148"/>
                      </a:cubicBezTo>
                      <a:cubicBezTo>
                        <a:pt x="104" y="147"/>
                        <a:pt x="104" y="147"/>
                        <a:pt x="104" y="147"/>
                      </a:cubicBezTo>
                      <a:cubicBezTo>
                        <a:pt x="105" y="148"/>
                        <a:pt x="105" y="148"/>
                        <a:pt x="105" y="148"/>
                      </a:cubicBezTo>
                      <a:cubicBezTo>
                        <a:pt x="105" y="148"/>
                        <a:pt x="105" y="148"/>
                        <a:pt x="105" y="148"/>
                      </a:cubicBezTo>
                      <a:cubicBezTo>
                        <a:pt x="106" y="148"/>
                        <a:pt x="106" y="148"/>
                        <a:pt x="106" y="148"/>
                      </a:cubicBezTo>
                      <a:cubicBezTo>
                        <a:pt x="107" y="148"/>
                        <a:pt x="107" y="148"/>
                        <a:pt x="107" y="148"/>
                      </a:cubicBezTo>
                      <a:cubicBezTo>
                        <a:pt x="108" y="147"/>
                        <a:pt x="108" y="147"/>
                        <a:pt x="108" y="147"/>
                      </a:cubicBezTo>
                      <a:cubicBezTo>
                        <a:pt x="108" y="147"/>
                        <a:pt x="108" y="147"/>
                        <a:pt x="108" y="147"/>
                      </a:cubicBezTo>
                      <a:cubicBezTo>
                        <a:pt x="108" y="147"/>
                        <a:pt x="108" y="147"/>
                        <a:pt x="108" y="147"/>
                      </a:cubicBezTo>
                      <a:cubicBezTo>
                        <a:pt x="109" y="146"/>
                        <a:pt x="109" y="146"/>
                        <a:pt x="109" y="146"/>
                      </a:cubicBezTo>
                      <a:cubicBezTo>
                        <a:pt x="109" y="146"/>
                        <a:pt x="109" y="146"/>
                        <a:pt x="109" y="146"/>
                      </a:cubicBezTo>
                      <a:cubicBezTo>
                        <a:pt x="110" y="146"/>
                        <a:pt x="110" y="146"/>
                        <a:pt x="110" y="146"/>
                      </a:cubicBezTo>
                      <a:cubicBezTo>
                        <a:pt x="109" y="146"/>
                        <a:pt x="109" y="146"/>
                        <a:pt x="109" y="146"/>
                      </a:cubicBezTo>
                      <a:cubicBezTo>
                        <a:pt x="109" y="147"/>
                        <a:pt x="109" y="147"/>
                        <a:pt x="109" y="147"/>
                      </a:cubicBezTo>
                      <a:cubicBezTo>
                        <a:pt x="110" y="147"/>
                        <a:pt x="110" y="147"/>
                        <a:pt x="110" y="147"/>
                      </a:cubicBezTo>
                      <a:cubicBezTo>
                        <a:pt x="111" y="146"/>
                        <a:pt x="111" y="146"/>
                        <a:pt x="111" y="146"/>
                      </a:cubicBezTo>
                      <a:cubicBezTo>
                        <a:pt x="110" y="146"/>
                        <a:pt x="110" y="146"/>
                        <a:pt x="110" y="146"/>
                      </a:cubicBezTo>
                      <a:cubicBezTo>
                        <a:pt x="111" y="146"/>
                        <a:pt x="111" y="146"/>
                        <a:pt x="111" y="146"/>
                      </a:cubicBezTo>
                      <a:cubicBezTo>
                        <a:pt x="111" y="145"/>
                        <a:pt x="111" y="145"/>
                        <a:pt x="111" y="145"/>
                      </a:cubicBezTo>
                      <a:cubicBezTo>
                        <a:pt x="110" y="145"/>
                        <a:pt x="110" y="145"/>
                        <a:pt x="110" y="145"/>
                      </a:cubicBezTo>
                      <a:cubicBezTo>
                        <a:pt x="109" y="145"/>
                        <a:pt x="109" y="145"/>
                        <a:pt x="109" y="145"/>
                      </a:cubicBezTo>
                      <a:cubicBezTo>
                        <a:pt x="110" y="145"/>
                        <a:pt x="110" y="145"/>
                        <a:pt x="110" y="145"/>
                      </a:cubicBezTo>
                      <a:cubicBezTo>
                        <a:pt x="112" y="144"/>
                        <a:pt x="112" y="144"/>
                        <a:pt x="112" y="144"/>
                      </a:cubicBezTo>
                      <a:cubicBezTo>
                        <a:pt x="114" y="144"/>
                        <a:pt x="114" y="144"/>
                        <a:pt x="114" y="144"/>
                      </a:cubicBezTo>
                      <a:cubicBezTo>
                        <a:pt x="114" y="144"/>
                        <a:pt x="114" y="144"/>
                        <a:pt x="114" y="144"/>
                      </a:cubicBezTo>
                      <a:cubicBezTo>
                        <a:pt x="114" y="143"/>
                        <a:pt x="114" y="143"/>
                        <a:pt x="114" y="143"/>
                      </a:cubicBezTo>
                      <a:cubicBezTo>
                        <a:pt x="114" y="143"/>
                        <a:pt x="114" y="143"/>
                        <a:pt x="114" y="143"/>
                      </a:cubicBezTo>
                      <a:cubicBezTo>
                        <a:pt x="114" y="143"/>
                        <a:pt x="114" y="143"/>
                        <a:pt x="114" y="143"/>
                      </a:cubicBezTo>
                      <a:cubicBezTo>
                        <a:pt x="115" y="142"/>
                        <a:pt x="115" y="142"/>
                        <a:pt x="115" y="142"/>
                      </a:cubicBezTo>
                      <a:cubicBezTo>
                        <a:pt x="116" y="142"/>
                        <a:pt x="116" y="142"/>
                        <a:pt x="116" y="142"/>
                      </a:cubicBezTo>
                      <a:cubicBezTo>
                        <a:pt x="116" y="142"/>
                        <a:pt x="116" y="142"/>
                        <a:pt x="116" y="142"/>
                      </a:cubicBezTo>
                      <a:cubicBezTo>
                        <a:pt x="116" y="143"/>
                        <a:pt x="116" y="143"/>
                        <a:pt x="116" y="143"/>
                      </a:cubicBezTo>
                      <a:cubicBezTo>
                        <a:pt x="117" y="143"/>
                        <a:pt x="117" y="143"/>
                        <a:pt x="117" y="143"/>
                      </a:cubicBezTo>
                      <a:cubicBezTo>
                        <a:pt x="117" y="142"/>
                        <a:pt x="117" y="142"/>
                        <a:pt x="117" y="142"/>
                      </a:cubicBezTo>
                      <a:cubicBezTo>
                        <a:pt x="117" y="142"/>
                        <a:pt x="117" y="142"/>
                        <a:pt x="117" y="142"/>
                      </a:cubicBezTo>
                      <a:cubicBezTo>
                        <a:pt x="118" y="142"/>
                        <a:pt x="118" y="142"/>
                        <a:pt x="118" y="142"/>
                      </a:cubicBezTo>
                      <a:cubicBezTo>
                        <a:pt x="118" y="141"/>
                        <a:pt x="118" y="141"/>
                        <a:pt x="118" y="141"/>
                      </a:cubicBezTo>
                      <a:cubicBezTo>
                        <a:pt x="118" y="140"/>
                        <a:pt x="118" y="140"/>
                        <a:pt x="118" y="140"/>
                      </a:cubicBezTo>
                      <a:cubicBezTo>
                        <a:pt x="118" y="141"/>
                        <a:pt x="118" y="141"/>
                        <a:pt x="118" y="141"/>
                      </a:cubicBezTo>
                      <a:cubicBezTo>
                        <a:pt x="118" y="141"/>
                        <a:pt x="118" y="141"/>
                        <a:pt x="118" y="141"/>
                      </a:cubicBezTo>
                      <a:cubicBezTo>
                        <a:pt x="119" y="142"/>
                        <a:pt x="119" y="142"/>
                        <a:pt x="119" y="142"/>
                      </a:cubicBezTo>
                      <a:cubicBezTo>
                        <a:pt x="120" y="141"/>
                        <a:pt x="120" y="141"/>
                        <a:pt x="120" y="141"/>
                      </a:cubicBezTo>
                      <a:cubicBezTo>
                        <a:pt x="120" y="140"/>
                        <a:pt x="120" y="140"/>
                        <a:pt x="120" y="140"/>
                      </a:cubicBezTo>
                      <a:cubicBezTo>
                        <a:pt x="121" y="140"/>
                        <a:pt x="121" y="140"/>
                        <a:pt x="121" y="140"/>
                      </a:cubicBezTo>
                      <a:cubicBezTo>
                        <a:pt x="122" y="140"/>
                        <a:pt x="122" y="140"/>
                        <a:pt x="122" y="140"/>
                      </a:cubicBezTo>
                      <a:cubicBezTo>
                        <a:pt x="122" y="140"/>
                        <a:pt x="122" y="140"/>
                        <a:pt x="122" y="140"/>
                      </a:cubicBezTo>
                      <a:cubicBezTo>
                        <a:pt x="122" y="140"/>
                        <a:pt x="122" y="140"/>
                        <a:pt x="122" y="140"/>
                      </a:cubicBezTo>
                      <a:cubicBezTo>
                        <a:pt x="123" y="140"/>
                        <a:pt x="123" y="140"/>
                        <a:pt x="123" y="140"/>
                      </a:cubicBezTo>
                      <a:cubicBezTo>
                        <a:pt x="124" y="139"/>
                        <a:pt x="124" y="139"/>
                        <a:pt x="124" y="139"/>
                      </a:cubicBezTo>
                      <a:cubicBezTo>
                        <a:pt x="124" y="138"/>
                        <a:pt x="124" y="138"/>
                        <a:pt x="124" y="138"/>
                      </a:cubicBezTo>
                      <a:cubicBezTo>
                        <a:pt x="124" y="138"/>
                        <a:pt x="124" y="138"/>
                        <a:pt x="124" y="138"/>
                      </a:cubicBezTo>
                      <a:cubicBezTo>
                        <a:pt x="123" y="138"/>
                        <a:pt x="123" y="138"/>
                        <a:pt x="123" y="138"/>
                      </a:cubicBezTo>
                      <a:cubicBezTo>
                        <a:pt x="123" y="138"/>
                        <a:pt x="123" y="138"/>
                        <a:pt x="123" y="138"/>
                      </a:cubicBezTo>
                      <a:cubicBezTo>
                        <a:pt x="124" y="137"/>
                        <a:pt x="124" y="137"/>
                        <a:pt x="124" y="137"/>
                      </a:cubicBezTo>
                      <a:cubicBezTo>
                        <a:pt x="125" y="137"/>
                        <a:pt x="125" y="137"/>
                        <a:pt x="125" y="137"/>
                      </a:cubicBezTo>
                      <a:cubicBezTo>
                        <a:pt x="126" y="136"/>
                        <a:pt x="126" y="136"/>
                        <a:pt x="126" y="136"/>
                      </a:cubicBezTo>
                      <a:cubicBezTo>
                        <a:pt x="126" y="136"/>
                        <a:pt x="126" y="136"/>
                        <a:pt x="126" y="136"/>
                      </a:cubicBezTo>
                      <a:cubicBezTo>
                        <a:pt x="127" y="136"/>
                        <a:pt x="127" y="136"/>
                        <a:pt x="127" y="136"/>
                      </a:cubicBezTo>
                      <a:cubicBezTo>
                        <a:pt x="128" y="135"/>
                        <a:pt x="128" y="135"/>
                        <a:pt x="128" y="135"/>
                      </a:cubicBezTo>
                      <a:cubicBezTo>
                        <a:pt x="128" y="135"/>
                        <a:pt x="128" y="135"/>
                        <a:pt x="128" y="135"/>
                      </a:cubicBezTo>
                      <a:cubicBezTo>
                        <a:pt x="129" y="135"/>
                        <a:pt x="129" y="135"/>
                        <a:pt x="129" y="135"/>
                      </a:cubicBezTo>
                      <a:cubicBezTo>
                        <a:pt x="129" y="134"/>
                        <a:pt x="129" y="134"/>
                        <a:pt x="129" y="134"/>
                      </a:cubicBezTo>
                      <a:cubicBezTo>
                        <a:pt x="130" y="134"/>
                        <a:pt x="130" y="134"/>
                        <a:pt x="130" y="134"/>
                      </a:cubicBezTo>
                      <a:cubicBezTo>
                        <a:pt x="130" y="134"/>
                        <a:pt x="130" y="134"/>
                        <a:pt x="130" y="134"/>
                      </a:cubicBezTo>
                      <a:cubicBezTo>
                        <a:pt x="131" y="134"/>
                        <a:pt x="131" y="134"/>
                        <a:pt x="131" y="134"/>
                      </a:cubicBezTo>
                      <a:cubicBezTo>
                        <a:pt x="131" y="135"/>
                        <a:pt x="131" y="135"/>
                        <a:pt x="131" y="135"/>
                      </a:cubicBezTo>
                      <a:cubicBezTo>
                        <a:pt x="131" y="134"/>
                        <a:pt x="131" y="134"/>
                        <a:pt x="131" y="134"/>
                      </a:cubicBezTo>
                      <a:cubicBezTo>
                        <a:pt x="132" y="134"/>
                        <a:pt x="132" y="134"/>
                        <a:pt x="132" y="134"/>
                      </a:cubicBezTo>
                      <a:cubicBezTo>
                        <a:pt x="132" y="134"/>
                        <a:pt x="132" y="134"/>
                        <a:pt x="132" y="134"/>
                      </a:cubicBezTo>
                      <a:cubicBezTo>
                        <a:pt x="132" y="133"/>
                        <a:pt x="132" y="133"/>
                        <a:pt x="132" y="133"/>
                      </a:cubicBezTo>
                      <a:cubicBezTo>
                        <a:pt x="133" y="133"/>
                        <a:pt x="133" y="133"/>
                        <a:pt x="133" y="133"/>
                      </a:cubicBezTo>
                      <a:cubicBezTo>
                        <a:pt x="133" y="133"/>
                        <a:pt x="133" y="133"/>
                        <a:pt x="133" y="133"/>
                      </a:cubicBezTo>
                      <a:cubicBezTo>
                        <a:pt x="134" y="133"/>
                        <a:pt x="134" y="133"/>
                        <a:pt x="134" y="133"/>
                      </a:cubicBezTo>
                      <a:cubicBezTo>
                        <a:pt x="135" y="133"/>
                        <a:pt x="135" y="133"/>
                        <a:pt x="135" y="133"/>
                      </a:cubicBezTo>
                      <a:cubicBezTo>
                        <a:pt x="135" y="132"/>
                        <a:pt x="135" y="132"/>
                        <a:pt x="135" y="132"/>
                      </a:cubicBezTo>
                      <a:cubicBezTo>
                        <a:pt x="136" y="132"/>
                        <a:pt x="136" y="132"/>
                        <a:pt x="136" y="132"/>
                      </a:cubicBezTo>
                      <a:cubicBezTo>
                        <a:pt x="136" y="133"/>
                        <a:pt x="136" y="133"/>
                        <a:pt x="136" y="133"/>
                      </a:cubicBezTo>
                      <a:cubicBezTo>
                        <a:pt x="136" y="133"/>
                        <a:pt x="136" y="133"/>
                        <a:pt x="136" y="133"/>
                      </a:cubicBezTo>
                      <a:cubicBezTo>
                        <a:pt x="137" y="132"/>
                        <a:pt x="137" y="132"/>
                        <a:pt x="137" y="132"/>
                      </a:cubicBezTo>
                      <a:cubicBezTo>
                        <a:pt x="137" y="133"/>
                        <a:pt x="137" y="133"/>
                        <a:pt x="137" y="133"/>
                      </a:cubicBezTo>
                      <a:cubicBezTo>
                        <a:pt x="137" y="132"/>
                        <a:pt x="137" y="132"/>
                        <a:pt x="137" y="132"/>
                      </a:cubicBezTo>
                      <a:cubicBezTo>
                        <a:pt x="138" y="131"/>
                        <a:pt x="138" y="131"/>
                        <a:pt x="138" y="131"/>
                      </a:cubicBezTo>
                      <a:cubicBezTo>
                        <a:pt x="137" y="131"/>
                        <a:pt x="137" y="131"/>
                        <a:pt x="137" y="131"/>
                      </a:cubicBezTo>
                      <a:cubicBezTo>
                        <a:pt x="137" y="131"/>
                        <a:pt x="137" y="131"/>
                        <a:pt x="137" y="131"/>
                      </a:cubicBezTo>
                      <a:cubicBezTo>
                        <a:pt x="137" y="131"/>
                        <a:pt x="137" y="131"/>
                        <a:pt x="137" y="131"/>
                      </a:cubicBezTo>
                      <a:cubicBezTo>
                        <a:pt x="138" y="130"/>
                        <a:pt x="138" y="130"/>
                        <a:pt x="138" y="130"/>
                      </a:cubicBezTo>
                      <a:cubicBezTo>
                        <a:pt x="139" y="130"/>
                        <a:pt x="139" y="130"/>
                        <a:pt x="139" y="130"/>
                      </a:cubicBezTo>
                      <a:cubicBezTo>
                        <a:pt x="139" y="130"/>
                        <a:pt x="139" y="130"/>
                        <a:pt x="139" y="130"/>
                      </a:cubicBezTo>
                      <a:cubicBezTo>
                        <a:pt x="139" y="130"/>
                        <a:pt x="139" y="130"/>
                        <a:pt x="139" y="130"/>
                      </a:cubicBezTo>
                      <a:cubicBezTo>
                        <a:pt x="139" y="129"/>
                        <a:pt x="139" y="129"/>
                        <a:pt x="139" y="129"/>
                      </a:cubicBezTo>
                      <a:cubicBezTo>
                        <a:pt x="138" y="129"/>
                        <a:pt x="138" y="129"/>
                        <a:pt x="138" y="129"/>
                      </a:cubicBezTo>
                      <a:cubicBezTo>
                        <a:pt x="139" y="129"/>
                        <a:pt x="139" y="129"/>
                        <a:pt x="139" y="129"/>
                      </a:cubicBezTo>
                      <a:cubicBezTo>
                        <a:pt x="140" y="129"/>
                        <a:pt x="140" y="129"/>
                        <a:pt x="140" y="129"/>
                      </a:cubicBezTo>
                      <a:cubicBezTo>
                        <a:pt x="141" y="128"/>
                        <a:pt x="141" y="128"/>
                        <a:pt x="141" y="128"/>
                      </a:cubicBezTo>
                      <a:cubicBezTo>
                        <a:pt x="142" y="128"/>
                        <a:pt x="142" y="128"/>
                        <a:pt x="142" y="128"/>
                      </a:cubicBezTo>
                      <a:cubicBezTo>
                        <a:pt x="143" y="128"/>
                        <a:pt x="143" y="128"/>
                        <a:pt x="143" y="128"/>
                      </a:cubicBezTo>
                      <a:cubicBezTo>
                        <a:pt x="143" y="128"/>
                        <a:pt x="143" y="128"/>
                        <a:pt x="143" y="128"/>
                      </a:cubicBezTo>
                      <a:cubicBezTo>
                        <a:pt x="145" y="127"/>
                        <a:pt x="145" y="127"/>
                        <a:pt x="145" y="127"/>
                      </a:cubicBezTo>
                      <a:cubicBezTo>
                        <a:pt x="145" y="125"/>
                        <a:pt x="145" y="125"/>
                        <a:pt x="145" y="125"/>
                      </a:cubicBezTo>
                      <a:cubicBezTo>
                        <a:pt x="144" y="125"/>
                        <a:pt x="144" y="125"/>
                        <a:pt x="144" y="125"/>
                      </a:cubicBezTo>
                      <a:cubicBezTo>
                        <a:pt x="144" y="125"/>
                        <a:pt x="144" y="125"/>
                        <a:pt x="144" y="125"/>
                      </a:cubicBezTo>
                      <a:cubicBezTo>
                        <a:pt x="144" y="124"/>
                        <a:pt x="144" y="124"/>
                        <a:pt x="144" y="124"/>
                      </a:cubicBezTo>
                      <a:cubicBezTo>
                        <a:pt x="143" y="124"/>
                        <a:pt x="143" y="124"/>
                        <a:pt x="143" y="124"/>
                      </a:cubicBezTo>
                      <a:cubicBezTo>
                        <a:pt x="142" y="124"/>
                        <a:pt x="142" y="124"/>
                        <a:pt x="142" y="124"/>
                      </a:cubicBezTo>
                      <a:cubicBezTo>
                        <a:pt x="142" y="123"/>
                        <a:pt x="142" y="123"/>
                        <a:pt x="142" y="123"/>
                      </a:cubicBezTo>
                      <a:cubicBezTo>
                        <a:pt x="142" y="122"/>
                        <a:pt x="142" y="122"/>
                        <a:pt x="142" y="122"/>
                      </a:cubicBezTo>
                      <a:cubicBezTo>
                        <a:pt x="143" y="122"/>
                        <a:pt x="143" y="122"/>
                        <a:pt x="143" y="122"/>
                      </a:cubicBezTo>
                      <a:cubicBezTo>
                        <a:pt x="143" y="121"/>
                        <a:pt x="143" y="121"/>
                        <a:pt x="143" y="121"/>
                      </a:cubicBezTo>
                      <a:cubicBezTo>
                        <a:pt x="144" y="121"/>
                        <a:pt x="144" y="121"/>
                        <a:pt x="144" y="121"/>
                      </a:cubicBezTo>
                      <a:cubicBezTo>
                        <a:pt x="144" y="121"/>
                        <a:pt x="144" y="121"/>
                        <a:pt x="144" y="121"/>
                      </a:cubicBezTo>
                      <a:cubicBezTo>
                        <a:pt x="144" y="121"/>
                        <a:pt x="144" y="121"/>
                        <a:pt x="144" y="121"/>
                      </a:cubicBezTo>
                      <a:cubicBezTo>
                        <a:pt x="145" y="120"/>
                        <a:pt x="145" y="120"/>
                        <a:pt x="145" y="120"/>
                      </a:cubicBezTo>
                      <a:cubicBezTo>
                        <a:pt x="146" y="120"/>
                        <a:pt x="146" y="120"/>
                        <a:pt x="146" y="120"/>
                      </a:cubicBezTo>
                      <a:cubicBezTo>
                        <a:pt x="147" y="120"/>
                        <a:pt x="147" y="120"/>
                        <a:pt x="147" y="120"/>
                      </a:cubicBezTo>
                      <a:cubicBezTo>
                        <a:pt x="148" y="120"/>
                        <a:pt x="148" y="120"/>
                        <a:pt x="148" y="120"/>
                      </a:cubicBezTo>
                      <a:cubicBezTo>
                        <a:pt x="149" y="120"/>
                        <a:pt x="149" y="120"/>
                        <a:pt x="149" y="120"/>
                      </a:cubicBezTo>
                      <a:cubicBezTo>
                        <a:pt x="149" y="120"/>
                        <a:pt x="149" y="120"/>
                        <a:pt x="149" y="120"/>
                      </a:cubicBezTo>
                      <a:cubicBezTo>
                        <a:pt x="149" y="121"/>
                        <a:pt x="149" y="121"/>
                        <a:pt x="149" y="121"/>
                      </a:cubicBezTo>
                      <a:cubicBezTo>
                        <a:pt x="149" y="121"/>
                        <a:pt x="149" y="121"/>
                        <a:pt x="149" y="121"/>
                      </a:cubicBezTo>
                      <a:cubicBezTo>
                        <a:pt x="150" y="120"/>
                        <a:pt x="150" y="120"/>
                        <a:pt x="150" y="120"/>
                      </a:cubicBezTo>
                      <a:cubicBezTo>
                        <a:pt x="150" y="119"/>
                        <a:pt x="150" y="119"/>
                        <a:pt x="150" y="119"/>
                      </a:cubicBezTo>
                      <a:cubicBezTo>
                        <a:pt x="150" y="119"/>
                        <a:pt x="150" y="119"/>
                        <a:pt x="150" y="119"/>
                      </a:cubicBezTo>
                      <a:cubicBezTo>
                        <a:pt x="150" y="119"/>
                        <a:pt x="150" y="119"/>
                        <a:pt x="150" y="119"/>
                      </a:cubicBezTo>
                      <a:cubicBezTo>
                        <a:pt x="150" y="119"/>
                        <a:pt x="150" y="119"/>
                        <a:pt x="150" y="119"/>
                      </a:cubicBezTo>
                      <a:cubicBezTo>
                        <a:pt x="151" y="119"/>
                        <a:pt x="151" y="119"/>
                        <a:pt x="151" y="119"/>
                      </a:cubicBezTo>
                      <a:cubicBezTo>
                        <a:pt x="153" y="118"/>
                        <a:pt x="153" y="118"/>
                        <a:pt x="153" y="118"/>
                      </a:cubicBezTo>
                      <a:cubicBezTo>
                        <a:pt x="153" y="117"/>
                        <a:pt x="153" y="117"/>
                        <a:pt x="153" y="117"/>
                      </a:cubicBezTo>
                      <a:cubicBezTo>
                        <a:pt x="153" y="116"/>
                        <a:pt x="153" y="116"/>
                        <a:pt x="153" y="116"/>
                      </a:cubicBezTo>
                      <a:cubicBezTo>
                        <a:pt x="151" y="115"/>
                        <a:pt x="151" y="115"/>
                        <a:pt x="151" y="115"/>
                      </a:cubicBezTo>
                      <a:cubicBezTo>
                        <a:pt x="151" y="116"/>
                        <a:pt x="151" y="116"/>
                        <a:pt x="151" y="116"/>
                      </a:cubicBezTo>
                      <a:cubicBezTo>
                        <a:pt x="150" y="116"/>
                        <a:pt x="150" y="116"/>
                        <a:pt x="150" y="116"/>
                      </a:cubicBezTo>
                      <a:cubicBezTo>
                        <a:pt x="150" y="116"/>
                        <a:pt x="150" y="116"/>
                        <a:pt x="150" y="116"/>
                      </a:cubicBezTo>
                      <a:cubicBezTo>
                        <a:pt x="151" y="115"/>
                        <a:pt x="151" y="115"/>
                        <a:pt x="151" y="115"/>
                      </a:cubicBezTo>
                      <a:cubicBezTo>
                        <a:pt x="152" y="115"/>
                        <a:pt x="152" y="115"/>
                        <a:pt x="152" y="115"/>
                      </a:cubicBezTo>
                      <a:cubicBezTo>
                        <a:pt x="153" y="116"/>
                        <a:pt x="153" y="116"/>
                        <a:pt x="153" y="116"/>
                      </a:cubicBezTo>
                      <a:cubicBezTo>
                        <a:pt x="154" y="116"/>
                        <a:pt x="154" y="116"/>
                        <a:pt x="154" y="116"/>
                      </a:cubicBezTo>
                      <a:cubicBezTo>
                        <a:pt x="155" y="115"/>
                        <a:pt x="155" y="115"/>
                        <a:pt x="155" y="115"/>
                      </a:cubicBezTo>
                      <a:cubicBezTo>
                        <a:pt x="155" y="114"/>
                        <a:pt x="155" y="114"/>
                        <a:pt x="155" y="114"/>
                      </a:cubicBezTo>
                      <a:cubicBezTo>
                        <a:pt x="157" y="113"/>
                        <a:pt x="157" y="113"/>
                        <a:pt x="157" y="113"/>
                      </a:cubicBezTo>
                      <a:cubicBezTo>
                        <a:pt x="158" y="112"/>
                        <a:pt x="158" y="112"/>
                        <a:pt x="158" y="112"/>
                      </a:cubicBezTo>
                      <a:cubicBezTo>
                        <a:pt x="159" y="112"/>
                        <a:pt x="159" y="112"/>
                        <a:pt x="159" y="112"/>
                      </a:cubicBezTo>
                      <a:cubicBezTo>
                        <a:pt x="160" y="112"/>
                        <a:pt x="160" y="112"/>
                        <a:pt x="160" y="112"/>
                      </a:cubicBezTo>
                      <a:cubicBezTo>
                        <a:pt x="160" y="111"/>
                        <a:pt x="160" y="111"/>
                        <a:pt x="160" y="111"/>
                      </a:cubicBezTo>
                      <a:cubicBezTo>
                        <a:pt x="162" y="110"/>
                        <a:pt x="162" y="110"/>
                        <a:pt x="162" y="110"/>
                      </a:cubicBezTo>
                      <a:cubicBezTo>
                        <a:pt x="163" y="110"/>
                        <a:pt x="163" y="110"/>
                        <a:pt x="163" y="110"/>
                      </a:cubicBezTo>
                      <a:cubicBezTo>
                        <a:pt x="165" y="108"/>
                        <a:pt x="165" y="108"/>
                        <a:pt x="165" y="108"/>
                      </a:cubicBezTo>
                      <a:cubicBezTo>
                        <a:pt x="167" y="108"/>
                        <a:pt x="167" y="108"/>
                        <a:pt x="167" y="108"/>
                      </a:cubicBezTo>
                      <a:cubicBezTo>
                        <a:pt x="168" y="106"/>
                        <a:pt x="168" y="106"/>
                        <a:pt x="168" y="106"/>
                      </a:cubicBezTo>
                      <a:cubicBezTo>
                        <a:pt x="168" y="108"/>
                        <a:pt x="168" y="108"/>
                        <a:pt x="168" y="108"/>
                      </a:cubicBezTo>
                      <a:cubicBezTo>
                        <a:pt x="168" y="108"/>
                        <a:pt x="168" y="108"/>
                        <a:pt x="168" y="108"/>
                      </a:cubicBezTo>
                      <a:cubicBezTo>
                        <a:pt x="168" y="109"/>
                        <a:pt x="168" y="109"/>
                        <a:pt x="168" y="109"/>
                      </a:cubicBezTo>
                      <a:cubicBezTo>
                        <a:pt x="169" y="109"/>
                        <a:pt x="169" y="109"/>
                        <a:pt x="169" y="109"/>
                      </a:cubicBezTo>
                      <a:cubicBezTo>
                        <a:pt x="169" y="109"/>
                        <a:pt x="169" y="109"/>
                        <a:pt x="169" y="109"/>
                      </a:cubicBezTo>
                      <a:cubicBezTo>
                        <a:pt x="171" y="108"/>
                        <a:pt x="171" y="108"/>
                        <a:pt x="171" y="108"/>
                      </a:cubicBezTo>
                      <a:cubicBezTo>
                        <a:pt x="171" y="108"/>
                        <a:pt x="171" y="108"/>
                        <a:pt x="171" y="108"/>
                      </a:cubicBezTo>
                      <a:cubicBezTo>
                        <a:pt x="173" y="107"/>
                        <a:pt x="173" y="107"/>
                        <a:pt x="173" y="107"/>
                      </a:cubicBezTo>
                      <a:cubicBezTo>
                        <a:pt x="174" y="107"/>
                        <a:pt x="174" y="107"/>
                        <a:pt x="174" y="107"/>
                      </a:cubicBezTo>
                      <a:cubicBezTo>
                        <a:pt x="174" y="107"/>
                        <a:pt x="174" y="107"/>
                        <a:pt x="174" y="107"/>
                      </a:cubicBezTo>
                      <a:cubicBezTo>
                        <a:pt x="172" y="108"/>
                        <a:pt x="172" y="108"/>
                        <a:pt x="172" y="108"/>
                      </a:cubicBezTo>
                      <a:cubicBezTo>
                        <a:pt x="171" y="108"/>
                        <a:pt x="171" y="108"/>
                        <a:pt x="171" y="108"/>
                      </a:cubicBezTo>
                      <a:cubicBezTo>
                        <a:pt x="169" y="110"/>
                        <a:pt x="169" y="110"/>
                        <a:pt x="169" y="110"/>
                      </a:cubicBezTo>
                      <a:cubicBezTo>
                        <a:pt x="169" y="111"/>
                        <a:pt x="169" y="111"/>
                        <a:pt x="169" y="111"/>
                      </a:cubicBezTo>
                      <a:cubicBezTo>
                        <a:pt x="170" y="112"/>
                        <a:pt x="170" y="112"/>
                        <a:pt x="170" y="112"/>
                      </a:cubicBezTo>
                      <a:cubicBezTo>
                        <a:pt x="170" y="113"/>
                        <a:pt x="170" y="113"/>
                        <a:pt x="170" y="113"/>
                      </a:cubicBezTo>
                      <a:cubicBezTo>
                        <a:pt x="169" y="113"/>
                        <a:pt x="169" y="113"/>
                        <a:pt x="169" y="113"/>
                      </a:cubicBezTo>
                      <a:cubicBezTo>
                        <a:pt x="168" y="113"/>
                        <a:pt x="168" y="113"/>
                        <a:pt x="168" y="113"/>
                      </a:cubicBezTo>
                      <a:cubicBezTo>
                        <a:pt x="168" y="113"/>
                        <a:pt x="168" y="113"/>
                        <a:pt x="168" y="113"/>
                      </a:cubicBezTo>
                      <a:cubicBezTo>
                        <a:pt x="167" y="113"/>
                        <a:pt x="167" y="113"/>
                        <a:pt x="167" y="113"/>
                      </a:cubicBezTo>
                      <a:cubicBezTo>
                        <a:pt x="166" y="112"/>
                        <a:pt x="166" y="112"/>
                        <a:pt x="166" y="112"/>
                      </a:cubicBezTo>
                      <a:cubicBezTo>
                        <a:pt x="166" y="111"/>
                        <a:pt x="166" y="111"/>
                        <a:pt x="166" y="111"/>
                      </a:cubicBezTo>
                      <a:cubicBezTo>
                        <a:pt x="164" y="112"/>
                        <a:pt x="164" y="112"/>
                        <a:pt x="164" y="112"/>
                      </a:cubicBezTo>
                      <a:cubicBezTo>
                        <a:pt x="164" y="112"/>
                        <a:pt x="164" y="112"/>
                        <a:pt x="164" y="112"/>
                      </a:cubicBezTo>
                      <a:cubicBezTo>
                        <a:pt x="162" y="113"/>
                        <a:pt x="162" y="113"/>
                        <a:pt x="162" y="113"/>
                      </a:cubicBezTo>
                      <a:cubicBezTo>
                        <a:pt x="161" y="113"/>
                        <a:pt x="161" y="113"/>
                        <a:pt x="161" y="113"/>
                      </a:cubicBezTo>
                      <a:cubicBezTo>
                        <a:pt x="160" y="113"/>
                        <a:pt x="160" y="113"/>
                        <a:pt x="160" y="113"/>
                      </a:cubicBezTo>
                      <a:cubicBezTo>
                        <a:pt x="160" y="114"/>
                        <a:pt x="160" y="114"/>
                        <a:pt x="160" y="114"/>
                      </a:cubicBezTo>
                      <a:cubicBezTo>
                        <a:pt x="160" y="115"/>
                        <a:pt x="160" y="115"/>
                        <a:pt x="160" y="115"/>
                      </a:cubicBezTo>
                      <a:cubicBezTo>
                        <a:pt x="159" y="116"/>
                        <a:pt x="159" y="116"/>
                        <a:pt x="159" y="116"/>
                      </a:cubicBezTo>
                      <a:cubicBezTo>
                        <a:pt x="158" y="117"/>
                        <a:pt x="158" y="117"/>
                        <a:pt x="158" y="117"/>
                      </a:cubicBezTo>
                      <a:cubicBezTo>
                        <a:pt x="158" y="118"/>
                        <a:pt x="158" y="118"/>
                        <a:pt x="158" y="118"/>
                      </a:cubicBezTo>
                      <a:cubicBezTo>
                        <a:pt x="155" y="120"/>
                        <a:pt x="155" y="120"/>
                        <a:pt x="155" y="120"/>
                      </a:cubicBezTo>
                      <a:cubicBezTo>
                        <a:pt x="154" y="121"/>
                        <a:pt x="154" y="121"/>
                        <a:pt x="154" y="121"/>
                      </a:cubicBezTo>
                      <a:cubicBezTo>
                        <a:pt x="155" y="121"/>
                        <a:pt x="155" y="121"/>
                        <a:pt x="155" y="121"/>
                      </a:cubicBezTo>
                      <a:cubicBezTo>
                        <a:pt x="155" y="123"/>
                        <a:pt x="155" y="123"/>
                        <a:pt x="155" y="123"/>
                      </a:cubicBezTo>
                      <a:cubicBezTo>
                        <a:pt x="156" y="122"/>
                        <a:pt x="156" y="122"/>
                        <a:pt x="156" y="122"/>
                      </a:cubicBezTo>
                      <a:cubicBezTo>
                        <a:pt x="156" y="122"/>
                        <a:pt x="156" y="122"/>
                        <a:pt x="156" y="122"/>
                      </a:cubicBezTo>
                      <a:cubicBezTo>
                        <a:pt x="157" y="121"/>
                        <a:pt x="157" y="121"/>
                        <a:pt x="157" y="121"/>
                      </a:cubicBezTo>
                      <a:cubicBezTo>
                        <a:pt x="158" y="122"/>
                        <a:pt x="158" y="122"/>
                        <a:pt x="158" y="122"/>
                      </a:cubicBezTo>
                      <a:cubicBezTo>
                        <a:pt x="158" y="122"/>
                        <a:pt x="158" y="122"/>
                        <a:pt x="158" y="122"/>
                      </a:cubicBezTo>
                      <a:cubicBezTo>
                        <a:pt x="156" y="123"/>
                        <a:pt x="156" y="123"/>
                        <a:pt x="156" y="123"/>
                      </a:cubicBezTo>
                      <a:cubicBezTo>
                        <a:pt x="156" y="123"/>
                        <a:pt x="156" y="123"/>
                        <a:pt x="156" y="123"/>
                      </a:cubicBezTo>
                      <a:cubicBezTo>
                        <a:pt x="155" y="124"/>
                        <a:pt x="155" y="124"/>
                        <a:pt x="155" y="124"/>
                      </a:cubicBezTo>
                      <a:cubicBezTo>
                        <a:pt x="154" y="124"/>
                        <a:pt x="154" y="124"/>
                        <a:pt x="154" y="124"/>
                      </a:cubicBezTo>
                      <a:cubicBezTo>
                        <a:pt x="154" y="124"/>
                        <a:pt x="154" y="124"/>
                        <a:pt x="154" y="124"/>
                      </a:cubicBezTo>
                      <a:cubicBezTo>
                        <a:pt x="153" y="124"/>
                        <a:pt x="153" y="124"/>
                        <a:pt x="153" y="124"/>
                      </a:cubicBezTo>
                      <a:cubicBezTo>
                        <a:pt x="153" y="125"/>
                        <a:pt x="153" y="125"/>
                        <a:pt x="153" y="125"/>
                      </a:cubicBezTo>
                      <a:cubicBezTo>
                        <a:pt x="152" y="125"/>
                        <a:pt x="152" y="125"/>
                        <a:pt x="152" y="125"/>
                      </a:cubicBezTo>
                      <a:cubicBezTo>
                        <a:pt x="151" y="125"/>
                        <a:pt x="151" y="125"/>
                        <a:pt x="151" y="125"/>
                      </a:cubicBezTo>
                      <a:cubicBezTo>
                        <a:pt x="151" y="126"/>
                        <a:pt x="151" y="126"/>
                        <a:pt x="151" y="126"/>
                      </a:cubicBezTo>
                      <a:cubicBezTo>
                        <a:pt x="153" y="127"/>
                        <a:pt x="153" y="127"/>
                        <a:pt x="153" y="127"/>
                      </a:cubicBezTo>
                      <a:cubicBezTo>
                        <a:pt x="153" y="127"/>
                        <a:pt x="153" y="127"/>
                        <a:pt x="153" y="127"/>
                      </a:cubicBezTo>
                      <a:cubicBezTo>
                        <a:pt x="154" y="126"/>
                        <a:pt x="154" y="126"/>
                        <a:pt x="154" y="126"/>
                      </a:cubicBezTo>
                      <a:cubicBezTo>
                        <a:pt x="154" y="127"/>
                        <a:pt x="154" y="127"/>
                        <a:pt x="154" y="127"/>
                      </a:cubicBezTo>
                      <a:cubicBezTo>
                        <a:pt x="155" y="126"/>
                        <a:pt x="155" y="126"/>
                        <a:pt x="155" y="126"/>
                      </a:cubicBezTo>
                      <a:cubicBezTo>
                        <a:pt x="155" y="126"/>
                        <a:pt x="155" y="126"/>
                        <a:pt x="155" y="126"/>
                      </a:cubicBezTo>
                      <a:cubicBezTo>
                        <a:pt x="155" y="127"/>
                        <a:pt x="155" y="127"/>
                        <a:pt x="155" y="127"/>
                      </a:cubicBezTo>
                      <a:cubicBezTo>
                        <a:pt x="156" y="126"/>
                        <a:pt x="156" y="126"/>
                        <a:pt x="156" y="126"/>
                      </a:cubicBezTo>
                      <a:cubicBezTo>
                        <a:pt x="156" y="126"/>
                        <a:pt x="156" y="126"/>
                        <a:pt x="156" y="126"/>
                      </a:cubicBezTo>
                      <a:cubicBezTo>
                        <a:pt x="157" y="125"/>
                        <a:pt x="157" y="125"/>
                        <a:pt x="157" y="125"/>
                      </a:cubicBezTo>
                      <a:cubicBezTo>
                        <a:pt x="158" y="125"/>
                        <a:pt x="158" y="125"/>
                        <a:pt x="158" y="125"/>
                      </a:cubicBezTo>
                      <a:cubicBezTo>
                        <a:pt x="158" y="124"/>
                        <a:pt x="158" y="124"/>
                        <a:pt x="158" y="124"/>
                      </a:cubicBezTo>
                      <a:cubicBezTo>
                        <a:pt x="158" y="123"/>
                        <a:pt x="158" y="123"/>
                        <a:pt x="158" y="123"/>
                      </a:cubicBezTo>
                      <a:cubicBezTo>
                        <a:pt x="158" y="124"/>
                        <a:pt x="158" y="124"/>
                        <a:pt x="158" y="124"/>
                      </a:cubicBezTo>
                      <a:cubicBezTo>
                        <a:pt x="158" y="124"/>
                        <a:pt x="158" y="124"/>
                        <a:pt x="158" y="124"/>
                      </a:cubicBezTo>
                      <a:cubicBezTo>
                        <a:pt x="159" y="125"/>
                        <a:pt x="159" y="125"/>
                        <a:pt x="159" y="125"/>
                      </a:cubicBezTo>
                      <a:cubicBezTo>
                        <a:pt x="160" y="125"/>
                        <a:pt x="160" y="125"/>
                        <a:pt x="160" y="125"/>
                      </a:cubicBezTo>
                      <a:cubicBezTo>
                        <a:pt x="161" y="124"/>
                        <a:pt x="161" y="124"/>
                        <a:pt x="161" y="124"/>
                      </a:cubicBezTo>
                      <a:cubicBezTo>
                        <a:pt x="162" y="124"/>
                        <a:pt x="162" y="124"/>
                        <a:pt x="162" y="124"/>
                      </a:cubicBezTo>
                      <a:cubicBezTo>
                        <a:pt x="162" y="124"/>
                        <a:pt x="162" y="124"/>
                        <a:pt x="162" y="124"/>
                      </a:cubicBezTo>
                      <a:cubicBezTo>
                        <a:pt x="163" y="124"/>
                        <a:pt x="163" y="124"/>
                        <a:pt x="163" y="124"/>
                      </a:cubicBezTo>
                      <a:cubicBezTo>
                        <a:pt x="163" y="122"/>
                        <a:pt x="163" y="122"/>
                        <a:pt x="163" y="122"/>
                      </a:cubicBezTo>
                      <a:cubicBezTo>
                        <a:pt x="164" y="121"/>
                        <a:pt x="164" y="121"/>
                        <a:pt x="164" y="121"/>
                      </a:cubicBezTo>
                      <a:cubicBezTo>
                        <a:pt x="165" y="122"/>
                        <a:pt x="165" y="122"/>
                        <a:pt x="165" y="122"/>
                      </a:cubicBezTo>
                      <a:cubicBezTo>
                        <a:pt x="164" y="123"/>
                        <a:pt x="164" y="123"/>
                        <a:pt x="164" y="123"/>
                      </a:cubicBezTo>
                      <a:cubicBezTo>
                        <a:pt x="164" y="123"/>
                        <a:pt x="164" y="123"/>
                        <a:pt x="164" y="123"/>
                      </a:cubicBezTo>
                      <a:cubicBezTo>
                        <a:pt x="164" y="123"/>
                        <a:pt x="164" y="123"/>
                        <a:pt x="164" y="123"/>
                      </a:cubicBezTo>
                      <a:cubicBezTo>
                        <a:pt x="165" y="122"/>
                        <a:pt x="165" y="122"/>
                        <a:pt x="165" y="122"/>
                      </a:cubicBezTo>
                      <a:cubicBezTo>
                        <a:pt x="166" y="120"/>
                        <a:pt x="166" y="120"/>
                        <a:pt x="166" y="120"/>
                      </a:cubicBezTo>
                      <a:cubicBezTo>
                        <a:pt x="167" y="120"/>
                        <a:pt x="167" y="120"/>
                        <a:pt x="167" y="120"/>
                      </a:cubicBezTo>
                      <a:cubicBezTo>
                        <a:pt x="167" y="121"/>
                        <a:pt x="167" y="121"/>
                        <a:pt x="167" y="121"/>
                      </a:cubicBezTo>
                      <a:cubicBezTo>
                        <a:pt x="166" y="122"/>
                        <a:pt x="166" y="122"/>
                        <a:pt x="166" y="122"/>
                      </a:cubicBezTo>
                      <a:cubicBezTo>
                        <a:pt x="166" y="122"/>
                        <a:pt x="166" y="122"/>
                        <a:pt x="166" y="122"/>
                      </a:cubicBezTo>
                      <a:cubicBezTo>
                        <a:pt x="167" y="121"/>
                        <a:pt x="167" y="121"/>
                        <a:pt x="167" y="121"/>
                      </a:cubicBezTo>
                      <a:cubicBezTo>
                        <a:pt x="168" y="121"/>
                        <a:pt x="168" y="121"/>
                        <a:pt x="168" y="121"/>
                      </a:cubicBezTo>
                      <a:cubicBezTo>
                        <a:pt x="167" y="122"/>
                        <a:pt x="167" y="122"/>
                        <a:pt x="167" y="122"/>
                      </a:cubicBezTo>
                      <a:cubicBezTo>
                        <a:pt x="168" y="122"/>
                        <a:pt x="168" y="122"/>
                        <a:pt x="168" y="122"/>
                      </a:cubicBezTo>
                      <a:cubicBezTo>
                        <a:pt x="169" y="122"/>
                        <a:pt x="169" y="122"/>
                        <a:pt x="169" y="122"/>
                      </a:cubicBezTo>
                      <a:cubicBezTo>
                        <a:pt x="170" y="122"/>
                        <a:pt x="170" y="122"/>
                        <a:pt x="170" y="122"/>
                      </a:cubicBezTo>
                      <a:cubicBezTo>
                        <a:pt x="170" y="121"/>
                        <a:pt x="170" y="121"/>
                        <a:pt x="170" y="121"/>
                      </a:cubicBezTo>
                      <a:cubicBezTo>
                        <a:pt x="171" y="121"/>
                        <a:pt x="171" y="121"/>
                        <a:pt x="171" y="121"/>
                      </a:cubicBezTo>
                      <a:cubicBezTo>
                        <a:pt x="172" y="120"/>
                        <a:pt x="172" y="120"/>
                        <a:pt x="172" y="120"/>
                      </a:cubicBezTo>
                      <a:cubicBezTo>
                        <a:pt x="172" y="120"/>
                        <a:pt x="172" y="120"/>
                        <a:pt x="172" y="120"/>
                      </a:cubicBezTo>
                      <a:cubicBezTo>
                        <a:pt x="172" y="119"/>
                        <a:pt x="172" y="119"/>
                        <a:pt x="172" y="119"/>
                      </a:cubicBezTo>
                      <a:cubicBezTo>
                        <a:pt x="174" y="119"/>
                        <a:pt x="174" y="119"/>
                        <a:pt x="174" y="119"/>
                      </a:cubicBezTo>
                      <a:cubicBezTo>
                        <a:pt x="174" y="118"/>
                        <a:pt x="174" y="118"/>
                        <a:pt x="174" y="118"/>
                      </a:cubicBezTo>
                      <a:cubicBezTo>
                        <a:pt x="174" y="117"/>
                        <a:pt x="174" y="117"/>
                        <a:pt x="174" y="117"/>
                      </a:cubicBezTo>
                      <a:cubicBezTo>
                        <a:pt x="173" y="117"/>
                        <a:pt x="173" y="117"/>
                        <a:pt x="173" y="117"/>
                      </a:cubicBezTo>
                      <a:cubicBezTo>
                        <a:pt x="172" y="117"/>
                        <a:pt x="172" y="117"/>
                        <a:pt x="172" y="117"/>
                      </a:cubicBezTo>
                      <a:cubicBezTo>
                        <a:pt x="171" y="117"/>
                        <a:pt x="171" y="117"/>
                        <a:pt x="171" y="117"/>
                      </a:cubicBezTo>
                      <a:cubicBezTo>
                        <a:pt x="172" y="116"/>
                        <a:pt x="172" y="116"/>
                        <a:pt x="172" y="116"/>
                      </a:cubicBezTo>
                      <a:cubicBezTo>
                        <a:pt x="173" y="116"/>
                        <a:pt x="173" y="116"/>
                        <a:pt x="173" y="116"/>
                      </a:cubicBezTo>
                      <a:cubicBezTo>
                        <a:pt x="173" y="116"/>
                        <a:pt x="173" y="116"/>
                        <a:pt x="173" y="116"/>
                      </a:cubicBezTo>
                      <a:cubicBezTo>
                        <a:pt x="174" y="116"/>
                        <a:pt x="174" y="116"/>
                        <a:pt x="174" y="116"/>
                      </a:cubicBezTo>
                      <a:cubicBezTo>
                        <a:pt x="174" y="115"/>
                        <a:pt x="174" y="115"/>
                        <a:pt x="174" y="115"/>
                      </a:cubicBezTo>
                      <a:cubicBezTo>
                        <a:pt x="173" y="116"/>
                        <a:pt x="173" y="116"/>
                        <a:pt x="173" y="116"/>
                      </a:cubicBezTo>
                      <a:cubicBezTo>
                        <a:pt x="172" y="115"/>
                        <a:pt x="172" y="115"/>
                        <a:pt x="172" y="115"/>
                      </a:cubicBezTo>
                      <a:cubicBezTo>
                        <a:pt x="172" y="114"/>
                        <a:pt x="172" y="114"/>
                        <a:pt x="172" y="114"/>
                      </a:cubicBezTo>
                      <a:cubicBezTo>
                        <a:pt x="173" y="114"/>
                        <a:pt x="173" y="114"/>
                        <a:pt x="173" y="114"/>
                      </a:cubicBezTo>
                      <a:cubicBezTo>
                        <a:pt x="174" y="114"/>
                        <a:pt x="174" y="114"/>
                        <a:pt x="174" y="114"/>
                      </a:cubicBezTo>
                      <a:cubicBezTo>
                        <a:pt x="174" y="114"/>
                        <a:pt x="174" y="114"/>
                        <a:pt x="174" y="114"/>
                      </a:cubicBezTo>
                      <a:cubicBezTo>
                        <a:pt x="174" y="114"/>
                        <a:pt x="174" y="114"/>
                        <a:pt x="174" y="114"/>
                      </a:cubicBezTo>
                      <a:cubicBezTo>
                        <a:pt x="174" y="113"/>
                        <a:pt x="174" y="113"/>
                        <a:pt x="174" y="113"/>
                      </a:cubicBezTo>
                      <a:cubicBezTo>
                        <a:pt x="175" y="112"/>
                        <a:pt x="175" y="112"/>
                        <a:pt x="175" y="112"/>
                      </a:cubicBezTo>
                      <a:cubicBezTo>
                        <a:pt x="176" y="113"/>
                        <a:pt x="176" y="113"/>
                        <a:pt x="176" y="113"/>
                      </a:cubicBezTo>
                      <a:cubicBezTo>
                        <a:pt x="177" y="112"/>
                        <a:pt x="177" y="112"/>
                        <a:pt x="177" y="112"/>
                      </a:cubicBezTo>
                      <a:cubicBezTo>
                        <a:pt x="178" y="112"/>
                        <a:pt x="178" y="112"/>
                        <a:pt x="178" y="112"/>
                      </a:cubicBezTo>
                      <a:cubicBezTo>
                        <a:pt x="176" y="114"/>
                        <a:pt x="176" y="114"/>
                        <a:pt x="176" y="114"/>
                      </a:cubicBezTo>
                      <a:cubicBezTo>
                        <a:pt x="177" y="114"/>
                        <a:pt x="177" y="114"/>
                        <a:pt x="177" y="114"/>
                      </a:cubicBezTo>
                      <a:cubicBezTo>
                        <a:pt x="177" y="116"/>
                        <a:pt x="177" y="116"/>
                        <a:pt x="177" y="116"/>
                      </a:cubicBezTo>
                      <a:cubicBezTo>
                        <a:pt x="177" y="116"/>
                        <a:pt x="177" y="116"/>
                        <a:pt x="177" y="116"/>
                      </a:cubicBezTo>
                      <a:cubicBezTo>
                        <a:pt x="178" y="114"/>
                        <a:pt x="178" y="114"/>
                        <a:pt x="178" y="114"/>
                      </a:cubicBezTo>
                      <a:cubicBezTo>
                        <a:pt x="179" y="114"/>
                        <a:pt x="179" y="114"/>
                        <a:pt x="179" y="114"/>
                      </a:cubicBezTo>
                      <a:cubicBezTo>
                        <a:pt x="179" y="114"/>
                        <a:pt x="179" y="114"/>
                        <a:pt x="179" y="114"/>
                      </a:cubicBezTo>
                      <a:cubicBezTo>
                        <a:pt x="179" y="114"/>
                        <a:pt x="179" y="114"/>
                        <a:pt x="179" y="114"/>
                      </a:cubicBezTo>
                      <a:cubicBezTo>
                        <a:pt x="178" y="115"/>
                        <a:pt x="178" y="115"/>
                        <a:pt x="178" y="115"/>
                      </a:cubicBezTo>
                      <a:cubicBezTo>
                        <a:pt x="178" y="115"/>
                        <a:pt x="178" y="115"/>
                        <a:pt x="178" y="115"/>
                      </a:cubicBezTo>
                      <a:cubicBezTo>
                        <a:pt x="180" y="115"/>
                        <a:pt x="180" y="115"/>
                        <a:pt x="180" y="115"/>
                      </a:cubicBezTo>
                      <a:cubicBezTo>
                        <a:pt x="180" y="114"/>
                        <a:pt x="180" y="114"/>
                        <a:pt x="180" y="114"/>
                      </a:cubicBezTo>
                      <a:cubicBezTo>
                        <a:pt x="181" y="115"/>
                        <a:pt x="181" y="115"/>
                        <a:pt x="181" y="115"/>
                      </a:cubicBezTo>
                      <a:cubicBezTo>
                        <a:pt x="181" y="114"/>
                        <a:pt x="181" y="114"/>
                        <a:pt x="181" y="114"/>
                      </a:cubicBezTo>
                      <a:cubicBezTo>
                        <a:pt x="182" y="114"/>
                        <a:pt x="182" y="114"/>
                        <a:pt x="182" y="114"/>
                      </a:cubicBezTo>
                      <a:cubicBezTo>
                        <a:pt x="183" y="113"/>
                        <a:pt x="183" y="113"/>
                        <a:pt x="183" y="113"/>
                      </a:cubicBezTo>
                      <a:cubicBezTo>
                        <a:pt x="184" y="113"/>
                        <a:pt x="184" y="113"/>
                        <a:pt x="184" y="113"/>
                      </a:cubicBezTo>
                      <a:cubicBezTo>
                        <a:pt x="185" y="113"/>
                        <a:pt x="185" y="113"/>
                        <a:pt x="185" y="113"/>
                      </a:cubicBezTo>
                      <a:cubicBezTo>
                        <a:pt x="184" y="114"/>
                        <a:pt x="184" y="114"/>
                        <a:pt x="184" y="114"/>
                      </a:cubicBezTo>
                      <a:cubicBezTo>
                        <a:pt x="183" y="114"/>
                        <a:pt x="183" y="114"/>
                        <a:pt x="183" y="114"/>
                      </a:cubicBezTo>
                      <a:cubicBezTo>
                        <a:pt x="182" y="115"/>
                        <a:pt x="182" y="115"/>
                        <a:pt x="182" y="115"/>
                      </a:cubicBezTo>
                      <a:cubicBezTo>
                        <a:pt x="182" y="115"/>
                        <a:pt x="182" y="115"/>
                        <a:pt x="182" y="115"/>
                      </a:cubicBezTo>
                      <a:cubicBezTo>
                        <a:pt x="181" y="115"/>
                        <a:pt x="181" y="115"/>
                        <a:pt x="181" y="115"/>
                      </a:cubicBezTo>
                      <a:cubicBezTo>
                        <a:pt x="182" y="116"/>
                        <a:pt x="182" y="116"/>
                        <a:pt x="182" y="116"/>
                      </a:cubicBezTo>
                      <a:cubicBezTo>
                        <a:pt x="183" y="116"/>
                        <a:pt x="183" y="116"/>
                        <a:pt x="183" y="116"/>
                      </a:cubicBezTo>
                      <a:cubicBezTo>
                        <a:pt x="184" y="117"/>
                        <a:pt x="184" y="117"/>
                        <a:pt x="184" y="117"/>
                      </a:cubicBezTo>
                      <a:cubicBezTo>
                        <a:pt x="184" y="117"/>
                        <a:pt x="184" y="117"/>
                        <a:pt x="184" y="117"/>
                      </a:cubicBezTo>
                      <a:cubicBezTo>
                        <a:pt x="183" y="116"/>
                        <a:pt x="183" y="116"/>
                        <a:pt x="183" y="116"/>
                      </a:cubicBezTo>
                      <a:cubicBezTo>
                        <a:pt x="182" y="116"/>
                        <a:pt x="182" y="116"/>
                        <a:pt x="182" y="116"/>
                      </a:cubicBezTo>
                      <a:cubicBezTo>
                        <a:pt x="181" y="116"/>
                        <a:pt x="181" y="116"/>
                        <a:pt x="181" y="116"/>
                      </a:cubicBezTo>
                      <a:cubicBezTo>
                        <a:pt x="181" y="117"/>
                        <a:pt x="181" y="117"/>
                        <a:pt x="181" y="117"/>
                      </a:cubicBezTo>
                      <a:cubicBezTo>
                        <a:pt x="181" y="117"/>
                        <a:pt x="181" y="117"/>
                        <a:pt x="181" y="117"/>
                      </a:cubicBezTo>
                      <a:cubicBezTo>
                        <a:pt x="182" y="117"/>
                        <a:pt x="182" y="117"/>
                        <a:pt x="182" y="117"/>
                      </a:cubicBezTo>
                      <a:cubicBezTo>
                        <a:pt x="183" y="117"/>
                        <a:pt x="183" y="117"/>
                        <a:pt x="183" y="117"/>
                      </a:cubicBezTo>
                      <a:cubicBezTo>
                        <a:pt x="183" y="118"/>
                        <a:pt x="183" y="118"/>
                        <a:pt x="183" y="118"/>
                      </a:cubicBezTo>
                      <a:cubicBezTo>
                        <a:pt x="182" y="118"/>
                        <a:pt x="182" y="118"/>
                        <a:pt x="182" y="118"/>
                      </a:cubicBezTo>
                      <a:cubicBezTo>
                        <a:pt x="182" y="118"/>
                        <a:pt x="182" y="118"/>
                        <a:pt x="182" y="118"/>
                      </a:cubicBezTo>
                      <a:cubicBezTo>
                        <a:pt x="183" y="119"/>
                        <a:pt x="183" y="119"/>
                        <a:pt x="183" y="119"/>
                      </a:cubicBezTo>
                      <a:cubicBezTo>
                        <a:pt x="183" y="119"/>
                        <a:pt x="183" y="119"/>
                        <a:pt x="183" y="119"/>
                      </a:cubicBezTo>
                      <a:cubicBezTo>
                        <a:pt x="183" y="119"/>
                        <a:pt x="183" y="119"/>
                        <a:pt x="183" y="119"/>
                      </a:cubicBezTo>
                      <a:cubicBezTo>
                        <a:pt x="182" y="120"/>
                        <a:pt x="182" y="120"/>
                        <a:pt x="182" y="120"/>
                      </a:cubicBezTo>
                      <a:cubicBezTo>
                        <a:pt x="182" y="120"/>
                        <a:pt x="182" y="120"/>
                        <a:pt x="182" y="120"/>
                      </a:cubicBezTo>
                      <a:cubicBezTo>
                        <a:pt x="183" y="120"/>
                        <a:pt x="183" y="120"/>
                        <a:pt x="183" y="120"/>
                      </a:cubicBezTo>
                      <a:cubicBezTo>
                        <a:pt x="184" y="120"/>
                        <a:pt x="184" y="120"/>
                        <a:pt x="184" y="120"/>
                      </a:cubicBezTo>
                      <a:cubicBezTo>
                        <a:pt x="185" y="120"/>
                        <a:pt x="185" y="120"/>
                        <a:pt x="185" y="120"/>
                      </a:cubicBezTo>
                      <a:cubicBezTo>
                        <a:pt x="186" y="121"/>
                        <a:pt x="186" y="121"/>
                        <a:pt x="186" y="121"/>
                      </a:cubicBezTo>
                      <a:cubicBezTo>
                        <a:pt x="187" y="120"/>
                        <a:pt x="187" y="120"/>
                        <a:pt x="187" y="120"/>
                      </a:cubicBezTo>
                      <a:cubicBezTo>
                        <a:pt x="187" y="121"/>
                        <a:pt x="187" y="121"/>
                        <a:pt x="187" y="121"/>
                      </a:cubicBezTo>
                      <a:cubicBezTo>
                        <a:pt x="187" y="121"/>
                        <a:pt x="187" y="121"/>
                        <a:pt x="187" y="121"/>
                      </a:cubicBezTo>
                      <a:cubicBezTo>
                        <a:pt x="187" y="122"/>
                        <a:pt x="187" y="122"/>
                        <a:pt x="187" y="122"/>
                      </a:cubicBezTo>
                      <a:cubicBezTo>
                        <a:pt x="187" y="122"/>
                        <a:pt x="187" y="122"/>
                        <a:pt x="187" y="122"/>
                      </a:cubicBezTo>
                      <a:cubicBezTo>
                        <a:pt x="187" y="122"/>
                        <a:pt x="187" y="122"/>
                        <a:pt x="187" y="122"/>
                      </a:cubicBezTo>
                      <a:cubicBezTo>
                        <a:pt x="187" y="123"/>
                        <a:pt x="187" y="123"/>
                        <a:pt x="187" y="123"/>
                      </a:cubicBezTo>
                      <a:cubicBezTo>
                        <a:pt x="188" y="123"/>
                        <a:pt x="188" y="123"/>
                        <a:pt x="188" y="123"/>
                      </a:cubicBezTo>
                      <a:cubicBezTo>
                        <a:pt x="189" y="122"/>
                        <a:pt x="189" y="122"/>
                        <a:pt x="189" y="122"/>
                      </a:cubicBezTo>
                      <a:cubicBezTo>
                        <a:pt x="189" y="122"/>
                        <a:pt x="189" y="122"/>
                        <a:pt x="189" y="122"/>
                      </a:cubicBezTo>
                      <a:cubicBezTo>
                        <a:pt x="189" y="121"/>
                        <a:pt x="189" y="121"/>
                        <a:pt x="189" y="121"/>
                      </a:cubicBezTo>
                      <a:cubicBezTo>
                        <a:pt x="190" y="121"/>
                        <a:pt x="190" y="121"/>
                        <a:pt x="190" y="121"/>
                      </a:cubicBezTo>
                      <a:cubicBezTo>
                        <a:pt x="189" y="122"/>
                        <a:pt x="189" y="122"/>
                        <a:pt x="189" y="122"/>
                      </a:cubicBezTo>
                      <a:cubicBezTo>
                        <a:pt x="189" y="123"/>
                        <a:pt x="189" y="123"/>
                        <a:pt x="189" y="123"/>
                      </a:cubicBezTo>
                      <a:cubicBezTo>
                        <a:pt x="188" y="124"/>
                        <a:pt x="188" y="124"/>
                        <a:pt x="188" y="124"/>
                      </a:cubicBezTo>
                      <a:cubicBezTo>
                        <a:pt x="189" y="125"/>
                        <a:pt x="189" y="125"/>
                        <a:pt x="189" y="125"/>
                      </a:cubicBezTo>
                      <a:cubicBezTo>
                        <a:pt x="189" y="125"/>
                        <a:pt x="189" y="125"/>
                        <a:pt x="189" y="125"/>
                      </a:cubicBezTo>
                      <a:cubicBezTo>
                        <a:pt x="188" y="125"/>
                        <a:pt x="188" y="125"/>
                        <a:pt x="188" y="125"/>
                      </a:cubicBezTo>
                      <a:cubicBezTo>
                        <a:pt x="188" y="125"/>
                        <a:pt x="188" y="125"/>
                        <a:pt x="188" y="125"/>
                      </a:cubicBezTo>
                      <a:cubicBezTo>
                        <a:pt x="188" y="125"/>
                        <a:pt x="188" y="125"/>
                        <a:pt x="188" y="125"/>
                      </a:cubicBezTo>
                      <a:cubicBezTo>
                        <a:pt x="190" y="126"/>
                        <a:pt x="190" y="126"/>
                        <a:pt x="190" y="126"/>
                      </a:cubicBezTo>
                      <a:cubicBezTo>
                        <a:pt x="191" y="126"/>
                        <a:pt x="191" y="126"/>
                        <a:pt x="191" y="126"/>
                      </a:cubicBezTo>
                      <a:cubicBezTo>
                        <a:pt x="192" y="126"/>
                        <a:pt x="192" y="126"/>
                        <a:pt x="192" y="126"/>
                      </a:cubicBezTo>
                      <a:cubicBezTo>
                        <a:pt x="193" y="126"/>
                        <a:pt x="193" y="126"/>
                        <a:pt x="193" y="126"/>
                      </a:cubicBezTo>
                      <a:cubicBezTo>
                        <a:pt x="194" y="126"/>
                        <a:pt x="194" y="126"/>
                        <a:pt x="194" y="126"/>
                      </a:cubicBezTo>
                      <a:cubicBezTo>
                        <a:pt x="195" y="126"/>
                        <a:pt x="195" y="126"/>
                        <a:pt x="195" y="126"/>
                      </a:cubicBezTo>
                      <a:cubicBezTo>
                        <a:pt x="195" y="126"/>
                        <a:pt x="195" y="126"/>
                        <a:pt x="195" y="126"/>
                      </a:cubicBezTo>
                      <a:cubicBezTo>
                        <a:pt x="195" y="126"/>
                        <a:pt x="195" y="126"/>
                        <a:pt x="195" y="126"/>
                      </a:cubicBezTo>
                      <a:cubicBezTo>
                        <a:pt x="196" y="126"/>
                        <a:pt x="196" y="126"/>
                        <a:pt x="196" y="126"/>
                      </a:cubicBezTo>
                      <a:cubicBezTo>
                        <a:pt x="196" y="127"/>
                        <a:pt x="196" y="127"/>
                        <a:pt x="196" y="127"/>
                      </a:cubicBezTo>
                      <a:cubicBezTo>
                        <a:pt x="197" y="127"/>
                        <a:pt x="197" y="127"/>
                        <a:pt x="197" y="127"/>
                      </a:cubicBezTo>
                      <a:cubicBezTo>
                        <a:pt x="197" y="128"/>
                        <a:pt x="197" y="128"/>
                        <a:pt x="197" y="128"/>
                      </a:cubicBezTo>
                      <a:cubicBezTo>
                        <a:pt x="198" y="128"/>
                        <a:pt x="198" y="128"/>
                        <a:pt x="198" y="128"/>
                      </a:cubicBezTo>
                      <a:cubicBezTo>
                        <a:pt x="199" y="127"/>
                        <a:pt x="199" y="127"/>
                        <a:pt x="199" y="127"/>
                      </a:cubicBezTo>
                      <a:cubicBezTo>
                        <a:pt x="200" y="127"/>
                        <a:pt x="200" y="127"/>
                        <a:pt x="200" y="127"/>
                      </a:cubicBezTo>
                      <a:cubicBezTo>
                        <a:pt x="200" y="127"/>
                        <a:pt x="200" y="127"/>
                        <a:pt x="200" y="127"/>
                      </a:cubicBezTo>
                      <a:cubicBezTo>
                        <a:pt x="200" y="128"/>
                        <a:pt x="200" y="128"/>
                        <a:pt x="200" y="128"/>
                      </a:cubicBezTo>
                      <a:cubicBezTo>
                        <a:pt x="199" y="128"/>
                        <a:pt x="199" y="128"/>
                        <a:pt x="199" y="128"/>
                      </a:cubicBezTo>
                      <a:cubicBezTo>
                        <a:pt x="199" y="129"/>
                        <a:pt x="199" y="129"/>
                        <a:pt x="199" y="129"/>
                      </a:cubicBezTo>
                      <a:cubicBezTo>
                        <a:pt x="199" y="129"/>
                        <a:pt x="199" y="129"/>
                        <a:pt x="199" y="129"/>
                      </a:cubicBezTo>
                      <a:cubicBezTo>
                        <a:pt x="200" y="129"/>
                        <a:pt x="200" y="129"/>
                        <a:pt x="200" y="129"/>
                      </a:cubicBezTo>
                      <a:cubicBezTo>
                        <a:pt x="200" y="130"/>
                        <a:pt x="200" y="130"/>
                        <a:pt x="200" y="130"/>
                      </a:cubicBezTo>
                      <a:cubicBezTo>
                        <a:pt x="201" y="131"/>
                        <a:pt x="201" y="131"/>
                        <a:pt x="201" y="131"/>
                      </a:cubicBezTo>
                      <a:cubicBezTo>
                        <a:pt x="202" y="131"/>
                        <a:pt x="202" y="131"/>
                        <a:pt x="202" y="131"/>
                      </a:cubicBezTo>
                      <a:cubicBezTo>
                        <a:pt x="204" y="131"/>
                        <a:pt x="204" y="131"/>
                        <a:pt x="204" y="131"/>
                      </a:cubicBezTo>
                      <a:cubicBezTo>
                        <a:pt x="205" y="130"/>
                        <a:pt x="205" y="130"/>
                        <a:pt x="205" y="130"/>
                      </a:cubicBezTo>
                      <a:cubicBezTo>
                        <a:pt x="205" y="131"/>
                        <a:pt x="205" y="131"/>
                        <a:pt x="205" y="131"/>
                      </a:cubicBezTo>
                      <a:cubicBezTo>
                        <a:pt x="206" y="130"/>
                        <a:pt x="206" y="130"/>
                        <a:pt x="206" y="130"/>
                      </a:cubicBezTo>
                      <a:cubicBezTo>
                        <a:pt x="207" y="129"/>
                        <a:pt x="207" y="129"/>
                        <a:pt x="207" y="129"/>
                      </a:cubicBezTo>
                      <a:cubicBezTo>
                        <a:pt x="207" y="129"/>
                        <a:pt x="207" y="129"/>
                        <a:pt x="207" y="129"/>
                      </a:cubicBezTo>
                      <a:cubicBezTo>
                        <a:pt x="207" y="130"/>
                        <a:pt x="207" y="130"/>
                        <a:pt x="207" y="130"/>
                      </a:cubicBezTo>
                      <a:cubicBezTo>
                        <a:pt x="206" y="131"/>
                        <a:pt x="206" y="131"/>
                        <a:pt x="206" y="131"/>
                      </a:cubicBezTo>
                      <a:cubicBezTo>
                        <a:pt x="206" y="132"/>
                        <a:pt x="206" y="132"/>
                        <a:pt x="206" y="132"/>
                      </a:cubicBezTo>
                      <a:cubicBezTo>
                        <a:pt x="206" y="133"/>
                        <a:pt x="206" y="133"/>
                        <a:pt x="206" y="133"/>
                      </a:cubicBezTo>
                      <a:cubicBezTo>
                        <a:pt x="205" y="133"/>
                        <a:pt x="205" y="133"/>
                        <a:pt x="205" y="133"/>
                      </a:cubicBezTo>
                      <a:cubicBezTo>
                        <a:pt x="204" y="133"/>
                        <a:pt x="204" y="133"/>
                        <a:pt x="204" y="133"/>
                      </a:cubicBezTo>
                      <a:cubicBezTo>
                        <a:pt x="204" y="133"/>
                        <a:pt x="204" y="133"/>
                        <a:pt x="204" y="133"/>
                      </a:cubicBezTo>
                      <a:cubicBezTo>
                        <a:pt x="204" y="134"/>
                        <a:pt x="204" y="134"/>
                        <a:pt x="204" y="134"/>
                      </a:cubicBezTo>
                      <a:cubicBezTo>
                        <a:pt x="204" y="135"/>
                        <a:pt x="204" y="135"/>
                        <a:pt x="204" y="135"/>
                      </a:cubicBezTo>
                      <a:cubicBezTo>
                        <a:pt x="205" y="135"/>
                        <a:pt x="205" y="135"/>
                        <a:pt x="205" y="135"/>
                      </a:cubicBezTo>
                      <a:cubicBezTo>
                        <a:pt x="206" y="135"/>
                        <a:pt x="206" y="135"/>
                        <a:pt x="206" y="135"/>
                      </a:cubicBezTo>
                      <a:cubicBezTo>
                        <a:pt x="206" y="135"/>
                        <a:pt x="206" y="135"/>
                        <a:pt x="206" y="135"/>
                      </a:cubicBezTo>
                      <a:cubicBezTo>
                        <a:pt x="206" y="136"/>
                        <a:pt x="206" y="136"/>
                        <a:pt x="206" y="136"/>
                      </a:cubicBezTo>
                      <a:cubicBezTo>
                        <a:pt x="206" y="136"/>
                        <a:pt x="206" y="136"/>
                        <a:pt x="206" y="136"/>
                      </a:cubicBezTo>
                      <a:cubicBezTo>
                        <a:pt x="206" y="136"/>
                        <a:pt x="206" y="136"/>
                        <a:pt x="206" y="136"/>
                      </a:cubicBezTo>
                      <a:cubicBezTo>
                        <a:pt x="207" y="137"/>
                        <a:pt x="207" y="137"/>
                        <a:pt x="207" y="137"/>
                      </a:cubicBezTo>
                      <a:cubicBezTo>
                        <a:pt x="207" y="137"/>
                        <a:pt x="207" y="137"/>
                        <a:pt x="207" y="137"/>
                      </a:cubicBezTo>
                      <a:cubicBezTo>
                        <a:pt x="208" y="137"/>
                        <a:pt x="208" y="137"/>
                        <a:pt x="208" y="137"/>
                      </a:cubicBezTo>
                      <a:cubicBezTo>
                        <a:pt x="209" y="136"/>
                        <a:pt x="209" y="136"/>
                        <a:pt x="209" y="136"/>
                      </a:cubicBezTo>
                      <a:cubicBezTo>
                        <a:pt x="210" y="134"/>
                        <a:pt x="210" y="134"/>
                        <a:pt x="210" y="134"/>
                      </a:cubicBezTo>
                      <a:cubicBezTo>
                        <a:pt x="209" y="136"/>
                        <a:pt x="209" y="136"/>
                        <a:pt x="209" y="136"/>
                      </a:cubicBezTo>
                      <a:cubicBezTo>
                        <a:pt x="209" y="137"/>
                        <a:pt x="209" y="137"/>
                        <a:pt x="209" y="137"/>
                      </a:cubicBezTo>
                      <a:cubicBezTo>
                        <a:pt x="209" y="137"/>
                        <a:pt x="209" y="137"/>
                        <a:pt x="209" y="137"/>
                      </a:cubicBezTo>
                      <a:cubicBezTo>
                        <a:pt x="209" y="138"/>
                        <a:pt x="209" y="138"/>
                        <a:pt x="209" y="138"/>
                      </a:cubicBezTo>
                      <a:cubicBezTo>
                        <a:pt x="208" y="138"/>
                        <a:pt x="208" y="138"/>
                        <a:pt x="208" y="138"/>
                      </a:cubicBezTo>
                      <a:cubicBezTo>
                        <a:pt x="208" y="139"/>
                        <a:pt x="208" y="139"/>
                        <a:pt x="208" y="139"/>
                      </a:cubicBezTo>
                      <a:cubicBezTo>
                        <a:pt x="209" y="139"/>
                        <a:pt x="209" y="139"/>
                        <a:pt x="209" y="139"/>
                      </a:cubicBezTo>
                      <a:cubicBezTo>
                        <a:pt x="209" y="140"/>
                        <a:pt x="209" y="140"/>
                        <a:pt x="209" y="140"/>
                      </a:cubicBezTo>
                      <a:cubicBezTo>
                        <a:pt x="209" y="142"/>
                        <a:pt x="209" y="142"/>
                        <a:pt x="209" y="142"/>
                      </a:cubicBezTo>
                      <a:cubicBezTo>
                        <a:pt x="209" y="142"/>
                        <a:pt x="209" y="142"/>
                        <a:pt x="209" y="142"/>
                      </a:cubicBezTo>
                      <a:cubicBezTo>
                        <a:pt x="210" y="142"/>
                        <a:pt x="210" y="142"/>
                        <a:pt x="210" y="142"/>
                      </a:cubicBezTo>
                      <a:cubicBezTo>
                        <a:pt x="209" y="143"/>
                        <a:pt x="209" y="143"/>
                        <a:pt x="209" y="143"/>
                      </a:cubicBezTo>
                      <a:cubicBezTo>
                        <a:pt x="210" y="144"/>
                        <a:pt x="210" y="144"/>
                        <a:pt x="210" y="144"/>
                      </a:cubicBezTo>
                      <a:cubicBezTo>
                        <a:pt x="211" y="145"/>
                        <a:pt x="211" y="145"/>
                        <a:pt x="211" y="145"/>
                      </a:cubicBezTo>
                      <a:cubicBezTo>
                        <a:pt x="212" y="145"/>
                        <a:pt x="212" y="145"/>
                        <a:pt x="212" y="145"/>
                      </a:cubicBezTo>
                      <a:cubicBezTo>
                        <a:pt x="212" y="146"/>
                        <a:pt x="212" y="146"/>
                        <a:pt x="212" y="146"/>
                      </a:cubicBezTo>
                      <a:cubicBezTo>
                        <a:pt x="212" y="145"/>
                        <a:pt x="212" y="145"/>
                        <a:pt x="212" y="145"/>
                      </a:cubicBezTo>
                      <a:cubicBezTo>
                        <a:pt x="213" y="146"/>
                        <a:pt x="213" y="146"/>
                        <a:pt x="213" y="146"/>
                      </a:cubicBezTo>
                      <a:cubicBezTo>
                        <a:pt x="213" y="146"/>
                        <a:pt x="213" y="146"/>
                        <a:pt x="213" y="146"/>
                      </a:cubicBezTo>
                      <a:cubicBezTo>
                        <a:pt x="213" y="145"/>
                        <a:pt x="213" y="145"/>
                        <a:pt x="213" y="145"/>
                      </a:cubicBezTo>
                      <a:cubicBezTo>
                        <a:pt x="213" y="145"/>
                        <a:pt x="213" y="145"/>
                        <a:pt x="213" y="145"/>
                      </a:cubicBezTo>
                      <a:cubicBezTo>
                        <a:pt x="214" y="145"/>
                        <a:pt x="214" y="145"/>
                        <a:pt x="214" y="145"/>
                      </a:cubicBezTo>
                      <a:cubicBezTo>
                        <a:pt x="214" y="146"/>
                        <a:pt x="214" y="146"/>
                        <a:pt x="214" y="146"/>
                      </a:cubicBezTo>
                      <a:cubicBezTo>
                        <a:pt x="215" y="145"/>
                        <a:pt x="215" y="145"/>
                        <a:pt x="215" y="145"/>
                      </a:cubicBezTo>
                      <a:cubicBezTo>
                        <a:pt x="214" y="144"/>
                        <a:pt x="214" y="144"/>
                        <a:pt x="214" y="144"/>
                      </a:cubicBezTo>
                      <a:cubicBezTo>
                        <a:pt x="214" y="144"/>
                        <a:pt x="214" y="144"/>
                        <a:pt x="214" y="144"/>
                      </a:cubicBezTo>
                      <a:cubicBezTo>
                        <a:pt x="213" y="144"/>
                        <a:pt x="213" y="144"/>
                        <a:pt x="213" y="144"/>
                      </a:cubicBezTo>
                      <a:cubicBezTo>
                        <a:pt x="213" y="144"/>
                        <a:pt x="213" y="144"/>
                        <a:pt x="213" y="144"/>
                      </a:cubicBezTo>
                      <a:cubicBezTo>
                        <a:pt x="214" y="143"/>
                        <a:pt x="214" y="143"/>
                        <a:pt x="214" y="143"/>
                      </a:cubicBezTo>
                      <a:cubicBezTo>
                        <a:pt x="214" y="142"/>
                        <a:pt x="214" y="142"/>
                        <a:pt x="214" y="142"/>
                      </a:cubicBezTo>
                      <a:cubicBezTo>
                        <a:pt x="213" y="142"/>
                        <a:pt x="213" y="142"/>
                        <a:pt x="213" y="142"/>
                      </a:cubicBezTo>
                      <a:cubicBezTo>
                        <a:pt x="213" y="141"/>
                        <a:pt x="213" y="141"/>
                        <a:pt x="213" y="141"/>
                      </a:cubicBezTo>
                      <a:cubicBezTo>
                        <a:pt x="213" y="141"/>
                        <a:pt x="213" y="141"/>
                        <a:pt x="213" y="141"/>
                      </a:cubicBezTo>
                      <a:cubicBezTo>
                        <a:pt x="213" y="141"/>
                        <a:pt x="213" y="141"/>
                        <a:pt x="213" y="141"/>
                      </a:cubicBezTo>
                      <a:cubicBezTo>
                        <a:pt x="213" y="140"/>
                        <a:pt x="213" y="140"/>
                        <a:pt x="213" y="140"/>
                      </a:cubicBezTo>
                      <a:cubicBezTo>
                        <a:pt x="214" y="140"/>
                        <a:pt x="214" y="140"/>
                        <a:pt x="214" y="140"/>
                      </a:cubicBezTo>
                      <a:cubicBezTo>
                        <a:pt x="214" y="141"/>
                        <a:pt x="214" y="141"/>
                        <a:pt x="214" y="141"/>
                      </a:cubicBezTo>
                      <a:cubicBezTo>
                        <a:pt x="214" y="141"/>
                        <a:pt x="214" y="141"/>
                        <a:pt x="214" y="141"/>
                      </a:cubicBezTo>
                      <a:cubicBezTo>
                        <a:pt x="215" y="140"/>
                        <a:pt x="215" y="140"/>
                        <a:pt x="215" y="140"/>
                      </a:cubicBezTo>
                      <a:cubicBezTo>
                        <a:pt x="215" y="141"/>
                        <a:pt x="215" y="141"/>
                        <a:pt x="215" y="141"/>
                      </a:cubicBezTo>
                      <a:cubicBezTo>
                        <a:pt x="215" y="141"/>
                        <a:pt x="215" y="141"/>
                        <a:pt x="215" y="141"/>
                      </a:cubicBezTo>
                      <a:cubicBezTo>
                        <a:pt x="215" y="142"/>
                        <a:pt x="215" y="142"/>
                        <a:pt x="215" y="142"/>
                      </a:cubicBezTo>
                      <a:cubicBezTo>
                        <a:pt x="215" y="143"/>
                        <a:pt x="215" y="143"/>
                        <a:pt x="215" y="143"/>
                      </a:cubicBezTo>
                      <a:cubicBezTo>
                        <a:pt x="216" y="143"/>
                        <a:pt x="216" y="143"/>
                        <a:pt x="216" y="143"/>
                      </a:cubicBezTo>
                      <a:cubicBezTo>
                        <a:pt x="216" y="142"/>
                        <a:pt x="216" y="142"/>
                        <a:pt x="216" y="142"/>
                      </a:cubicBezTo>
                      <a:cubicBezTo>
                        <a:pt x="217" y="142"/>
                        <a:pt x="217" y="142"/>
                        <a:pt x="217" y="142"/>
                      </a:cubicBezTo>
                      <a:cubicBezTo>
                        <a:pt x="217" y="143"/>
                        <a:pt x="217" y="143"/>
                        <a:pt x="217" y="143"/>
                      </a:cubicBezTo>
                      <a:cubicBezTo>
                        <a:pt x="216" y="143"/>
                        <a:pt x="216" y="143"/>
                        <a:pt x="216" y="143"/>
                      </a:cubicBezTo>
                      <a:cubicBezTo>
                        <a:pt x="216" y="144"/>
                        <a:pt x="216" y="144"/>
                        <a:pt x="216" y="144"/>
                      </a:cubicBezTo>
                      <a:cubicBezTo>
                        <a:pt x="216" y="145"/>
                        <a:pt x="216" y="145"/>
                        <a:pt x="216" y="145"/>
                      </a:cubicBezTo>
                      <a:cubicBezTo>
                        <a:pt x="216" y="146"/>
                        <a:pt x="216" y="146"/>
                        <a:pt x="216" y="146"/>
                      </a:cubicBezTo>
                      <a:cubicBezTo>
                        <a:pt x="216" y="146"/>
                        <a:pt x="216" y="146"/>
                        <a:pt x="216" y="146"/>
                      </a:cubicBezTo>
                      <a:cubicBezTo>
                        <a:pt x="217" y="146"/>
                        <a:pt x="217" y="146"/>
                        <a:pt x="217" y="146"/>
                      </a:cubicBezTo>
                      <a:cubicBezTo>
                        <a:pt x="217" y="146"/>
                        <a:pt x="217" y="146"/>
                        <a:pt x="217" y="146"/>
                      </a:cubicBezTo>
                      <a:cubicBezTo>
                        <a:pt x="218" y="145"/>
                        <a:pt x="218" y="145"/>
                        <a:pt x="218" y="145"/>
                      </a:cubicBezTo>
                      <a:cubicBezTo>
                        <a:pt x="218" y="146"/>
                        <a:pt x="218" y="146"/>
                        <a:pt x="218" y="146"/>
                      </a:cubicBezTo>
                      <a:cubicBezTo>
                        <a:pt x="218" y="146"/>
                        <a:pt x="218" y="146"/>
                        <a:pt x="218" y="146"/>
                      </a:cubicBezTo>
                      <a:cubicBezTo>
                        <a:pt x="218" y="147"/>
                        <a:pt x="218" y="147"/>
                        <a:pt x="218" y="147"/>
                      </a:cubicBezTo>
                      <a:cubicBezTo>
                        <a:pt x="218" y="148"/>
                        <a:pt x="218" y="148"/>
                        <a:pt x="218" y="148"/>
                      </a:cubicBezTo>
                      <a:cubicBezTo>
                        <a:pt x="219" y="146"/>
                        <a:pt x="219" y="146"/>
                        <a:pt x="219" y="146"/>
                      </a:cubicBezTo>
                      <a:cubicBezTo>
                        <a:pt x="219" y="145"/>
                        <a:pt x="219" y="145"/>
                        <a:pt x="219" y="145"/>
                      </a:cubicBezTo>
                      <a:cubicBezTo>
                        <a:pt x="220" y="145"/>
                        <a:pt x="220" y="145"/>
                        <a:pt x="220" y="145"/>
                      </a:cubicBezTo>
                      <a:cubicBezTo>
                        <a:pt x="220" y="143"/>
                        <a:pt x="220" y="143"/>
                        <a:pt x="220" y="143"/>
                      </a:cubicBezTo>
                      <a:cubicBezTo>
                        <a:pt x="221" y="141"/>
                        <a:pt x="221" y="141"/>
                        <a:pt x="221" y="141"/>
                      </a:cubicBezTo>
                      <a:cubicBezTo>
                        <a:pt x="221" y="139"/>
                        <a:pt x="221" y="139"/>
                        <a:pt x="221" y="139"/>
                      </a:cubicBezTo>
                      <a:cubicBezTo>
                        <a:pt x="220" y="138"/>
                        <a:pt x="220" y="138"/>
                        <a:pt x="220" y="138"/>
                      </a:cubicBezTo>
                      <a:cubicBezTo>
                        <a:pt x="220" y="137"/>
                        <a:pt x="220" y="137"/>
                        <a:pt x="220" y="137"/>
                      </a:cubicBezTo>
                      <a:cubicBezTo>
                        <a:pt x="220" y="137"/>
                        <a:pt x="220" y="137"/>
                        <a:pt x="220" y="137"/>
                      </a:cubicBezTo>
                      <a:cubicBezTo>
                        <a:pt x="220" y="137"/>
                        <a:pt x="220" y="137"/>
                        <a:pt x="220" y="137"/>
                      </a:cubicBezTo>
                      <a:cubicBezTo>
                        <a:pt x="221" y="138"/>
                        <a:pt x="221" y="138"/>
                        <a:pt x="221" y="138"/>
                      </a:cubicBezTo>
                      <a:cubicBezTo>
                        <a:pt x="221" y="138"/>
                        <a:pt x="221" y="138"/>
                        <a:pt x="221" y="138"/>
                      </a:cubicBezTo>
                      <a:cubicBezTo>
                        <a:pt x="222" y="137"/>
                        <a:pt x="222" y="137"/>
                        <a:pt x="222" y="137"/>
                      </a:cubicBezTo>
                      <a:cubicBezTo>
                        <a:pt x="223" y="137"/>
                        <a:pt x="223" y="137"/>
                        <a:pt x="223" y="137"/>
                      </a:cubicBezTo>
                      <a:cubicBezTo>
                        <a:pt x="222" y="138"/>
                        <a:pt x="222" y="138"/>
                        <a:pt x="222" y="138"/>
                      </a:cubicBezTo>
                      <a:cubicBezTo>
                        <a:pt x="222" y="139"/>
                        <a:pt x="222" y="139"/>
                        <a:pt x="222" y="139"/>
                      </a:cubicBezTo>
                      <a:cubicBezTo>
                        <a:pt x="222" y="141"/>
                        <a:pt x="222" y="141"/>
                        <a:pt x="222" y="141"/>
                      </a:cubicBezTo>
                      <a:cubicBezTo>
                        <a:pt x="221" y="142"/>
                        <a:pt x="221" y="142"/>
                        <a:pt x="221" y="142"/>
                      </a:cubicBezTo>
                      <a:cubicBezTo>
                        <a:pt x="221" y="143"/>
                        <a:pt x="221" y="143"/>
                        <a:pt x="221" y="143"/>
                      </a:cubicBezTo>
                      <a:cubicBezTo>
                        <a:pt x="221" y="144"/>
                        <a:pt x="221" y="144"/>
                        <a:pt x="221" y="144"/>
                      </a:cubicBezTo>
                      <a:cubicBezTo>
                        <a:pt x="221" y="144"/>
                        <a:pt x="221" y="144"/>
                        <a:pt x="221" y="144"/>
                      </a:cubicBezTo>
                      <a:cubicBezTo>
                        <a:pt x="221" y="145"/>
                        <a:pt x="221" y="145"/>
                        <a:pt x="221" y="145"/>
                      </a:cubicBezTo>
                      <a:cubicBezTo>
                        <a:pt x="221" y="146"/>
                        <a:pt x="221" y="146"/>
                        <a:pt x="221" y="146"/>
                      </a:cubicBezTo>
                      <a:cubicBezTo>
                        <a:pt x="221" y="147"/>
                        <a:pt x="221" y="147"/>
                        <a:pt x="221" y="147"/>
                      </a:cubicBezTo>
                      <a:cubicBezTo>
                        <a:pt x="222" y="148"/>
                        <a:pt x="222" y="148"/>
                        <a:pt x="222" y="148"/>
                      </a:cubicBezTo>
                      <a:cubicBezTo>
                        <a:pt x="222" y="149"/>
                        <a:pt x="222" y="149"/>
                        <a:pt x="222" y="149"/>
                      </a:cubicBezTo>
                      <a:cubicBezTo>
                        <a:pt x="223" y="149"/>
                        <a:pt x="223" y="149"/>
                        <a:pt x="223" y="149"/>
                      </a:cubicBezTo>
                      <a:cubicBezTo>
                        <a:pt x="223" y="150"/>
                        <a:pt x="223" y="150"/>
                        <a:pt x="223" y="150"/>
                      </a:cubicBezTo>
                      <a:cubicBezTo>
                        <a:pt x="223" y="150"/>
                        <a:pt x="223" y="150"/>
                        <a:pt x="223" y="150"/>
                      </a:cubicBezTo>
                      <a:cubicBezTo>
                        <a:pt x="224" y="150"/>
                        <a:pt x="224" y="150"/>
                        <a:pt x="224" y="150"/>
                      </a:cubicBezTo>
                      <a:cubicBezTo>
                        <a:pt x="224" y="150"/>
                        <a:pt x="224" y="150"/>
                        <a:pt x="224" y="150"/>
                      </a:cubicBezTo>
                      <a:cubicBezTo>
                        <a:pt x="225" y="150"/>
                        <a:pt x="225" y="150"/>
                        <a:pt x="225" y="150"/>
                      </a:cubicBezTo>
                      <a:cubicBezTo>
                        <a:pt x="226" y="150"/>
                        <a:pt x="226" y="150"/>
                        <a:pt x="226" y="150"/>
                      </a:cubicBezTo>
                      <a:cubicBezTo>
                        <a:pt x="226" y="150"/>
                        <a:pt x="226" y="150"/>
                        <a:pt x="226" y="150"/>
                      </a:cubicBezTo>
                      <a:cubicBezTo>
                        <a:pt x="225" y="151"/>
                        <a:pt x="225" y="151"/>
                        <a:pt x="225" y="151"/>
                      </a:cubicBezTo>
                      <a:cubicBezTo>
                        <a:pt x="224" y="151"/>
                        <a:pt x="224" y="151"/>
                        <a:pt x="224" y="151"/>
                      </a:cubicBezTo>
                      <a:cubicBezTo>
                        <a:pt x="224" y="151"/>
                        <a:pt x="224" y="151"/>
                        <a:pt x="224" y="151"/>
                      </a:cubicBezTo>
                      <a:cubicBezTo>
                        <a:pt x="225" y="152"/>
                        <a:pt x="225" y="152"/>
                        <a:pt x="225" y="152"/>
                      </a:cubicBezTo>
                      <a:cubicBezTo>
                        <a:pt x="225" y="152"/>
                        <a:pt x="225" y="152"/>
                        <a:pt x="225" y="152"/>
                      </a:cubicBezTo>
                      <a:cubicBezTo>
                        <a:pt x="224" y="152"/>
                        <a:pt x="224" y="152"/>
                        <a:pt x="224" y="152"/>
                      </a:cubicBezTo>
                      <a:cubicBezTo>
                        <a:pt x="224" y="153"/>
                        <a:pt x="224" y="153"/>
                        <a:pt x="224" y="153"/>
                      </a:cubicBezTo>
                      <a:cubicBezTo>
                        <a:pt x="225" y="154"/>
                        <a:pt x="225" y="154"/>
                        <a:pt x="225" y="154"/>
                      </a:cubicBezTo>
                      <a:cubicBezTo>
                        <a:pt x="225" y="154"/>
                        <a:pt x="225" y="154"/>
                        <a:pt x="225" y="154"/>
                      </a:cubicBezTo>
                      <a:cubicBezTo>
                        <a:pt x="224" y="155"/>
                        <a:pt x="224" y="155"/>
                        <a:pt x="224" y="155"/>
                      </a:cubicBezTo>
                      <a:cubicBezTo>
                        <a:pt x="224" y="154"/>
                        <a:pt x="224" y="154"/>
                        <a:pt x="224" y="154"/>
                      </a:cubicBezTo>
                      <a:cubicBezTo>
                        <a:pt x="223" y="153"/>
                        <a:pt x="223" y="153"/>
                        <a:pt x="223" y="153"/>
                      </a:cubicBezTo>
                      <a:cubicBezTo>
                        <a:pt x="223" y="154"/>
                        <a:pt x="223" y="154"/>
                        <a:pt x="223" y="154"/>
                      </a:cubicBezTo>
                      <a:cubicBezTo>
                        <a:pt x="223" y="154"/>
                        <a:pt x="223" y="154"/>
                        <a:pt x="223" y="154"/>
                      </a:cubicBezTo>
                      <a:cubicBezTo>
                        <a:pt x="223" y="155"/>
                        <a:pt x="223" y="155"/>
                        <a:pt x="223" y="155"/>
                      </a:cubicBezTo>
                      <a:cubicBezTo>
                        <a:pt x="223" y="156"/>
                        <a:pt x="223" y="156"/>
                        <a:pt x="223" y="156"/>
                      </a:cubicBezTo>
                      <a:cubicBezTo>
                        <a:pt x="223" y="156"/>
                        <a:pt x="223" y="156"/>
                        <a:pt x="223" y="156"/>
                      </a:cubicBezTo>
                      <a:cubicBezTo>
                        <a:pt x="223" y="157"/>
                        <a:pt x="223" y="157"/>
                        <a:pt x="223" y="157"/>
                      </a:cubicBezTo>
                      <a:cubicBezTo>
                        <a:pt x="222" y="157"/>
                        <a:pt x="222" y="157"/>
                        <a:pt x="222" y="157"/>
                      </a:cubicBezTo>
                      <a:cubicBezTo>
                        <a:pt x="222" y="157"/>
                        <a:pt x="222" y="157"/>
                        <a:pt x="222" y="157"/>
                      </a:cubicBezTo>
                      <a:cubicBezTo>
                        <a:pt x="222" y="158"/>
                        <a:pt x="222" y="158"/>
                        <a:pt x="222" y="158"/>
                      </a:cubicBezTo>
                      <a:cubicBezTo>
                        <a:pt x="222" y="158"/>
                        <a:pt x="222" y="158"/>
                        <a:pt x="222" y="158"/>
                      </a:cubicBezTo>
                      <a:cubicBezTo>
                        <a:pt x="223" y="158"/>
                        <a:pt x="223" y="158"/>
                        <a:pt x="223" y="158"/>
                      </a:cubicBezTo>
                      <a:cubicBezTo>
                        <a:pt x="223" y="158"/>
                        <a:pt x="223" y="158"/>
                        <a:pt x="223" y="158"/>
                      </a:cubicBezTo>
                      <a:cubicBezTo>
                        <a:pt x="224" y="159"/>
                        <a:pt x="224" y="159"/>
                        <a:pt x="224" y="159"/>
                      </a:cubicBezTo>
                      <a:cubicBezTo>
                        <a:pt x="224" y="159"/>
                        <a:pt x="224" y="159"/>
                        <a:pt x="224" y="159"/>
                      </a:cubicBezTo>
                      <a:cubicBezTo>
                        <a:pt x="225" y="159"/>
                        <a:pt x="225" y="159"/>
                        <a:pt x="225" y="159"/>
                      </a:cubicBezTo>
                      <a:cubicBezTo>
                        <a:pt x="225" y="159"/>
                        <a:pt x="225" y="159"/>
                        <a:pt x="225" y="159"/>
                      </a:cubicBezTo>
                      <a:cubicBezTo>
                        <a:pt x="224" y="159"/>
                        <a:pt x="224" y="159"/>
                        <a:pt x="224" y="159"/>
                      </a:cubicBezTo>
                      <a:cubicBezTo>
                        <a:pt x="224" y="160"/>
                        <a:pt x="224" y="160"/>
                        <a:pt x="224" y="160"/>
                      </a:cubicBezTo>
                      <a:cubicBezTo>
                        <a:pt x="224" y="160"/>
                        <a:pt x="224" y="160"/>
                        <a:pt x="224" y="160"/>
                      </a:cubicBezTo>
                      <a:cubicBezTo>
                        <a:pt x="225" y="161"/>
                        <a:pt x="225" y="161"/>
                        <a:pt x="225" y="161"/>
                      </a:cubicBezTo>
                      <a:cubicBezTo>
                        <a:pt x="225" y="161"/>
                        <a:pt x="225" y="161"/>
                        <a:pt x="225" y="161"/>
                      </a:cubicBezTo>
                      <a:cubicBezTo>
                        <a:pt x="226" y="162"/>
                        <a:pt x="226" y="162"/>
                        <a:pt x="226" y="162"/>
                      </a:cubicBezTo>
                      <a:cubicBezTo>
                        <a:pt x="226" y="162"/>
                        <a:pt x="226" y="162"/>
                        <a:pt x="226" y="162"/>
                      </a:cubicBezTo>
                      <a:cubicBezTo>
                        <a:pt x="226" y="162"/>
                        <a:pt x="226" y="162"/>
                        <a:pt x="226" y="162"/>
                      </a:cubicBezTo>
                      <a:cubicBezTo>
                        <a:pt x="225" y="162"/>
                        <a:pt x="225" y="162"/>
                        <a:pt x="225" y="162"/>
                      </a:cubicBezTo>
                      <a:cubicBezTo>
                        <a:pt x="224" y="163"/>
                        <a:pt x="224" y="163"/>
                        <a:pt x="224" y="163"/>
                      </a:cubicBezTo>
                      <a:cubicBezTo>
                        <a:pt x="225" y="164"/>
                        <a:pt x="225" y="164"/>
                        <a:pt x="225" y="164"/>
                      </a:cubicBezTo>
                      <a:cubicBezTo>
                        <a:pt x="225" y="165"/>
                        <a:pt x="225" y="165"/>
                        <a:pt x="225" y="165"/>
                      </a:cubicBezTo>
                      <a:cubicBezTo>
                        <a:pt x="226" y="165"/>
                        <a:pt x="226" y="165"/>
                        <a:pt x="226" y="165"/>
                      </a:cubicBezTo>
                      <a:cubicBezTo>
                        <a:pt x="227" y="165"/>
                        <a:pt x="227" y="165"/>
                        <a:pt x="227" y="165"/>
                      </a:cubicBezTo>
                      <a:cubicBezTo>
                        <a:pt x="228" y="166"/>
                        <a:pt x="228" y="166"/>
                        <a:pt x="228" y="166"/>
                      </a:cubicBezTo>
                      <a:cubicBezTo>
                        <a:pt x="227" y="166"/>
                        <a:pt x="227" y="166"/>
                        <a:pt x="227" y="166"/>
                      </a:cubicBezTo>
                      <a:cubicBezTo>
                        <a:pt x="226" y="166"/>
                        <a:pt x="226" y="166"/>
                        <a:pt x="226" y="166"/>
                      </a:cubicBezTo>
                      <a:cubicBezTo>
                        <a:pt x="225" y="166"/>
                        <a:pt x="225" y="166"/>
                        <a:pt x="225" y="166"/>
                      </a:cubicBezTo>
                      <a:cubicBezTo>
                        <a:pt x="224" y="167"/>
                        <a:pt x="224" y="167"/>
                        <a:pt x="224" y="167"/>
                      </a:cubicBezTo>
                      <a:cubicBezTo>
                        <a:pt x="223" y="169"/>
                        <a:pt x="223" y="169"/>
                        <a:pt x="223" y="169"/>
                      </a:cubicBezTo>
                      <a:cubicBezTo>
                        <a:pt x="222" y="169"/>
                        <a:pt x="222" y="169"/>
                        <a:pt x="222" y="169"/>
                      </a:cubicBezTo>
                      <a:cubicBezTo>
                        <a:pt x="222" y="170"/>
                        <a:pt x="222" y="170"/>
                        <a:pt x="222" y="170"/>
                      </a:cubicBezTo>
                      <a:cubicBezTo>
                        <a:pt x="222" y="171"/>
                        <a:pt x="222" y="171"/>
                        <a:pt x="222" y="171"/>
                      </a:cubicBezTo>
                      <a:cubicBezTo>
                        <a:pt x="223" y="170"/>
                        <a:pt x="223" y="170"/>
                        <a:pt x="223" y="170"/>
                      </a:cubicBezTo>
                      <a:cubicBezTo>
                        <a:pt x="224" y="169"/>
                        <a:pt x="224" y="169"/>
                        <a:pt x="224" y="169"/>
                      </a:cubicBezTo>
                      <a:cubicBezTo>
                        <a:pt x="224" y="169"/>
                        <a:pt x="224" y="169"/>
                        <a:pt x="224" y="169"/>
                      </a:cubicBezTo>
                      <a:cubicBezTo>
                        <a:pt x="225" y="169"/>
                        <a:pt x="225" y="169"/>
                        <a:pt x="225" y="169"/>
                      </a:cubicBezTo>
                      <a:cubicBezTo>
                        <a:pt x="226" y="168"/>
                        <a:pt x="226" y="168"/>
                        <a:pt x="226" y="168"/>
                      </a:cubicBezTo>
                      <a:cubicBezTo>
                        <a:pt x="226" y="168"/>
                        <a:pt x="226" y="168"/>
                        <a:pt x="226" y="168"/>
                      </a:cubicBezTo>
                      <a:cubicBezTo>
                        <a:pt x="227" y="168"/>
                        <a:pt x="227" y="168"/>
                        <a:pt x="227" y="168"/>
                      </a:cubicBezTo>
                      <a:cubicBezTo>
                        <a:pt x="228" y="168"/>
                        <a:pt x="228" y="168"/>
                        <a:pt x="228" y="168"/>
                      </a:cubicBezTo>
                      <a:cubicBezTo>
                        <a:pt x="227" y="168"/>
                        <a:pt x="227" y="168"/>
                        <a:pt x="227" y="168"/>
                      </a:cubicBezTo>
                      <a:cubicBezTo>
                        <a:pt x="227" y="169"/>
                        <a:pt x="227" y="169"/>
                        <a:pt x="227" y="169"/>
                      </a:cubicBezTo>
                      <a:cubicBezTo>
                        <a:pt x="228" y="169"/>
                        <a:pt x="228" y="169"/>
                        <a:pt x="228" y="169"/>
                      </a:cubicBezTo>
                      <a:cubicBezTo>
                        <a:pt x="228" y="169"/>
                        <a:pt x="228" y="169"/>
                        <a:pt x="228" y="169"/>
                      </a:cubicBezTo>
                      <a:cubicBezTo>
                        <a:pt x="227" y="170"/>
                        <a:pt x="227" y="170"/>
                        <a:pt x="227" y="170"/>
                      </a:cubicBezTo>
                      <a:cubicBezTo>
                        <a:pt x="227" y="171"/>
                        <a:pt x="227" y="171"/>
                        <a:pt x="227" y="171"/>
                      </a:cubicBezTo>
                      <a:cubicBezTo>
                        <a:pt x="228" y="171"/>
                        <a:pt x="228" y="171"/>
                        <a:pt x="228" y="171"/>
                      </a:cubicBezTo>
                      <a:cubicBezTo>
                        <a:pt x="227" y="172"/>
                        <a:pt x="227" y="172"/>
                        <a:pt x="227" y="172"/>
                      </a:cubicBezTo>
                      <a:cubicBezTo>
                        <a:pt x="227" y="173"/>
                        <a:pt x="227" y="173"/>
                        <a:pt x="227" y="173"/>
                      </a:cubicBezTo>
                      <a:cubicBezTo>
                        <a:pt x="227" y="173"/>
                        <a:pt x="227" y="173"/>
                        <a:pt x="227" y="173"/>
                      </a:cubicBezTo>
                      <a:cubicBezTo>
                        <a:pt x="227" y="174"/>
                        <a:pt x="227" y="174"/>
                        <a:pt x="227" y="174"/>
                      </a:cubicBezTo>
                      <a:cubicBezTo>
                        <a:pt x="226" y="174"/>
                        <a:pt x="226" y="174"/>
                        <a:pt x="226" y="174"/>
                      </a:cubicBezTo>
                      <a:cubicBezTo>
                        <a:pt x="226" y="174"/>
                        <a:pt x="226" y="174"/>
                        <a:pt x="226" y="174"/>
                      </a:cubicBezTo>
                      <a:cubicBezTo>
                        <a:pt x="225" y="174"/>
                        <a:pt x="225" y="174"/>
                        <a:pt x="225" y="174"/>
                      </a:cubicBezTo>
                      <a:cubicBezTo>
                        <a:pt x="225" y="175"/>
                        <a:pt x="225" y="175"/>
                        <a:pt x="225" y="175"/>
                      </a:cubicBezTo>
                      <a:cubicBezTo>
                        <a:pt x="226" y="175"/>
                        <a:pt x="226" y="175"/>
                        <a:pt x="226" y="175"/>
                      </a:cubicBezTo>
                      <a:cubicBezTo>
                        <a:pt x="226" y="175"/>
                        <a:pt x="226" y="175"/>
                        <a:pt x="226" y="175"/>
                      </a:cubicBezTo>
                      <a:cubicBezTo>
                        <a:pt x="227" y="175"/>
                        <a:pt x="227" y="175"/>
                        <a:pt x="227" y="175"/>
                      </a:cubicBezTo>
                      <a:cubicBezTo>
                        <a:pt x="227" y="175"/>
                        <a:pt x="227" y="175"/>
                        <a:pt x="227" y="175"/>
                      </a:cubicBezTo>
                      <a:cubicBezTo>
                        <a:pt x="226" y="175"/>
                        <a:pt x="226" y="175"/>
                        <a:pt x="226" y="175"/>
                      </a:cubicBezTo>
                      <a:cubicBezTo>
                        <a:pt x="226" y="175"/>
                        <a:pt x="226" y="175"/>
                        <a:pt x="226" y="175"/>
                      </a:cubicBezTo>
                      <a:cubicBezTo>
                        <a:pt x="225" y="175"/>
                        <a:pt x="225" y="175"/>
                        <a:pt x="225" y="175"/>
                      </a:cubicBezTo>
                      <a:cubicBezTo>
                        <a:pt x="225" y="176"/>
                        <a:pt x="225" y="176"/>
                        <a:pt x="225" y="176"/>
                      </a:cubicBezTo>
                      <a:cubicBezTo>
                        <a:pt x="225" y="177"/>
                        <a:pt x="225" y="177"/>
                        <a:pt x="225" y="177"/>
                      </a:cubicBezTo>
                      <a:cubicBezTo>
                        <a:pt x="225" y="178"/>
                        <a:pt x="225" y="178"/>
                        <a:pt x="225" y="178"/>
                      </a:cubicBezTo>
                      <a:cubicBezTo>
                        <a:pt x="226" y="177"/>
                        <a:pt x="226" y="177"/>
                        <a:pt x="226" y="177"/>
                      </a:cubicBezTo>
                      <a:cubicBezTo>
                        <a:pt x="226" y="177"/>
                        <a:pt x="226" y="177"/>
                        <a:pt x="226" y="177"/>
                      </a:cubicBezTo>
                      <a:cubicBezTo>
                        <a:pt x="226" y="177"/>
                        <a:pt x="226" y="177"/>
                        <a:pt x="226" y="177"/>
                      </a:cubicBezTo>
                      <a:cubicBezTo>
                        <a:pt x="227" y="177"/>
                        <a:pt x="227" y="177"/>
                        <a:pt x="227" y="177"/>
                      </a:cubicBezTo>
                      <a:cubicBezTo>
                        <a:pt x="228" y="175"/>
                        <a:pt x="228" y="175"/>
                        <a:pt x="228" y="175"/>
                      </a:cubicBezTo>
                      <a:cubicBezTo>
                        <a:pt x="229" y="174"/>
                        <a:pt x="229" y="174"/>
                        <a:pt x="229" y="174"/>
                      </a:cubicBezTo>
                      <a:cubicBezTo>
                        <a:pt x="230" y="172"/>
                        <a:pt x="230" y="172"/>
                        <a:pt x="230" y="172"/>
                      </a:cubicBezTo>
                      <a:cubicBezTo>
                        <a:pt x="231" y="170"/>
                        <a:pt x="231" y="170"/>
                        <a:pt x="231" y="170"/>
                      </a:cubicBezTo>
                      <a:cubicBezTo>
                        <a:pt x="231" y="170"/>
                        <a:pt x="231" y="170"/>
                        <a:pt x="231" y="170"/>
                      </a:cubicBezTo>
                      <a:cubicBezTo>
                        <a:pt x="231" y="170"/>
                        <a:pt x="231" y="170"/>
                        <a:pt x="231" y="170"/>
                      </a:cubicBezTo>
                      <a:close/>
                      <a:moveTo>
                        <a:pt x="217" y="175"/>
                      </a:moveTo>
                      <a:cubicBezTo>
                        <a:pt x="217" y="174"/>
                        <a:pt x="217" y="174"/>
                        <a:pt x="217" y="174"/>
                      </a:cubicBezTo>
                      <a:cubicBezTo>
                        <a:pt x="217" y="174"/>
                        <a:pt x="217" y="174"/>
                        <a:pt x="217" y="174"/>
                      </a:cubicBezTo>
                      <a:cubicBezTo>
                        <a:pt x="217" y="174"/>
                        <a:pt x="217" y="174"/>
                        <a:pt x="217" y="174"/>
                      </a:cubicBezTo>
                      <a:cubicBezTo>
                        <a:pt x="217" y="175"/>
                        <a:pt x="217" y="175"/>
                        <a:pt x="217" y="175"/>
                      </a:cubicBezTo>
                      <a:close/>
                      <a:moveTo>
                        <a:pt x="222" y="176"/>
                      </a:moveTo>
                      <a:cubicBezTo>
                        <a:pt x="223" y="176"/>
                        <a:pt x="223" y="176"/>
                        <a:pt x="223" y="176"/>
                      </a:cubicBezTo>
                      <a:cubicBezTo>
                        <a:pt x="224" y="176"/>
                        <a:pt x="224" y="176"/>
                        <a:pt x="224" y="176"/>
                      </a:cubicBezTo>
                      <a:cubicBezTo>
                        <a:pt x="223" y="177"/>
                        <a:pt x="223" y="177"/>
                        <a:pt x="223" y="177"/>
                      </a:cubicBezTo>
                      <a:cubicBezTo>
                        <a:pt x="222" y="176"/>
                        <a:pt x="222" y="176"/>
                        <a:pt x="222" y="176"/>
                      </a:cubicBezTo>
                      <a:close/>
                      <a:moveTo>
                        <a:pt x="223" y="174"/>
                      </a:moveTo>
                      <a:cubicBezTo>
                        <a:pt x="223" y="174"/>
                        <a:pt x="223" y="174"/>
                        <a:pt x="223" y="174"/>
                      </a:cubicBezTo>
                      <a:cubicBezTo>
                        <a:pt x="224" y="175"/>
                        <a:pt x="224" y="175"/>
                        <a:pt x="224" y="175"/>
                      </a:cubicBezTo>
                      <a:cubicBezTo>
                        <a:pt x="223" y="175"/>
                        <a:pt x="223" y="175"/>
                        <a:pt x="223" y="175"/>
                      </a:cubicBezTo>
                      <a:cubicBezTo>
                        <a:pt x="222" y="175"/>
                        <a:pt x="222" y="175"/>
                        <a:pt x="222" y="175"/>
                      </a:cubicBezTo>
                      <a:cubicBezTo>
                        <a:pt x="223" y="174"/>
                        <a:pt x="223" y="174"/>
                        <a:pt x="223" y="174"/>
                      </a:cubicBezTo>
                      <a:cubicBezTo>
                        <a:pt x="223" y="174"/>
                        <a:pt x="223" y="174"/>
                        <a:pt x="223" y="174"/>
                      </a:cubicBezTo>
                      <a:close/>
                      <a:moveTo>
                        <a:pt x="222" y="172"/>
                      </a:moveTo>
                      <a:cubicBezTo>
                        <a:pt x="223" y="173"/>
                        <a:pt x="223" y="173"/>
                        <a:pt x="223" y="173"/>
                      </a:cubicBezTo>
                      <a:cubicBezTo>
                        <a:pt x="222" y="174"/>
                        <a:pt x="222" y="174"/>
                        <a:pt x="222" y="174"/>
                      </a:cubicBezTo>
                      <a:cubicBezTo>
                        <a:pt x="222" y="173"/>
                        <a:pt x="222" y="173"/>
                        <a:pt x="222" y="173"/>
                      </a:cubicBezTo>
                      <a:cubicBezTo>
                        <a:pt x="222" y="172"/>
                        <a:pt x="222" y="172"/>
                        <a:pt x="222" y="172"/>
                      </a:cubicBezTo>
                      <a:cubicBezTo>
                        <a:pt x="222" y="172"/>
                        <a:pt x="222" y="172"/>
                        <a:pt x="222" y="172"/>
                      </a:cubicBezTo>
                      <a:close/>
                      <a:moveTo>
                        <a:pt x="223" y="172"/>
                      </a:moveTo>
                      <a:cubicBezTo>
                        <a:pt x="224" y="171"/>
                        <a:pt x="224" y="171"/>
                        <a:pt x="224" y="171"/>
                      </a:cubicBezTo>
                      <a:cubicBezTo>
                        <a:pt x="224" y="171"/>
                        <a:pt x="224" y="171"/>
                        <a:pt x="224" y="171"/>
                      </a:cubicBezTo>
                      <a:cubicBezTo>
                        <a:pt x="225" y="169"/>
                        <a:pt x="225" y="169"/>
                        <a:pt x="225" y="169"/>
                      </a:cubicBezTo>
                      <a:cubicBezTo>
                        <a:pt x="226" y="169"/>
                        <a:pt x="226" y="169"/>
                        <a:pt x="226" y="169"/>
                      </a:cubicBezTo>
                      <a:cubicBezTo>
                        <a:pt x="226" y="169"/>
                        <a:pt x="226" y="169"/>
                        <a:pt x="226" y="169"/>
                      </a:cubicBezTo>
                      <a:cubicBezTo>
                        <a:pt x="227" y="169"/>
                        <a:pt x="227" y="169"/>
                        <a:pt x="227" y="169"/>
                      </a:cubicBezTo>
                      <a:cubicBezTo>
                        <a:pt x="227" y="170"/>
                        <a:pt x="227" y="170"/>
                        <a:pt x="227" y="170"/>
                      </a:cubicBezTo>
                      <a:cubicBezTo>
                        <a:pt x="227" y="171"/>
                        <a:pt x="227" y="171"/>
                        <a:pt x="227" y="171"/>
                      </a:cubicBezTo>
                      <a:cubicBezTo>
                        <a:pt x="227" y="171"/>
                        <a:pt x="227" y="171"/>
                        <a:pt x="227" y="171"/>
                      </a:cubicBezTo>
                      <a:cubicBezTo>
                        <a:pt x="226" y="173"/>
                        <a:pt x="226" y="173"/>
                        <a:pt x="226" y="173"/>
                      </a:cubicBezTo>
                      <a:cubicBezTo>
                        <a:pt x="224" y="174"/>
                        <a:pt x="224" y="174"/>
                        <a:pt x="224" y="174"/>
                      </a:cubicBezTo>
                      <a:cubicBezTo>
                        <a:pt x="224" y="173"/>
                        <a:pt x="224" y="173"/>
                        <a:pt x="224" y="173"/>
                      </a:cubicBezTo>
                      <a:cubicBezTo>
                        <a:pt x="224" y="172"/>
                        <a:pt x="224" y="172"/>
                        <a:pt x="224" y="172"/>
                      </a:cubicBezTo>
                      <a:cubicBezTo>
                        <a:pt x="225" y="172"/>
                        <a:pt x="225" y="172"/>
                        <a:pt x="225" y="172"/>
                      </a:cubicBezTo>
                      <a:cubicBezTo>
                        <a:pt x="225" y="172"/>
                        <a:pt x="225" y="172"/>
                        <a:pt x="225" y="172"/>
                      </a:cubicBezTo>
                      <a:cubicBezTo>
                        <a:pt x="224" y="172"/>
                        <a:pt x="224" y="172"/>
                        <a:pt x="224" y="172"/>
                      </a:cubicBezTo>
                      <a:cubicBezTo>
                        <a:pt x="223" y="172"/>
                        <a:pt x="223" y="172"/>
                        <a:pt x="223" y="172"/>
                      </a:cubicBezTo>
                      <a:close/>
                      <a:moveTo>
                        <a:pt x="215" y="174"/>
                      </a:moveTo>
                      <a:cubicBezTo>
                        <a:pt x="215" y="174"/>
                        <a:pt x="215" y="174"/>
                        <a:pt x="215" y="174"/>
                      </a:cubicBezTo>
                      <a:cubicBezTo>
                        <a:pt x="216" y="175"/>
                        <a:pt x="216" y="175"/>
                        <a:pt x="216" y="175"/>
                      </a:cubicBezTo>
                      <a:cubicBezTo>
                        <a:pt x="216" y="175"/>
                        <a:pt x="216" y="175"/>
                        <a:pt x="216" y="175"/>
                      </a:cubicBezTo>
                      <a:cubicBezTo>
                        <a:pt x="216" y="176"/>
                        <a:pt x="216" y="176"/>
                        <a:pt x="216" y="176"/>
                      </a:cubicBezTo>
                      <a:cubicBezTo>
                        <a:pt x="216" y="177"/>
                        <a:pt x="216" y="177"/>
                        <a:pt x="216" y="177"/>
                      </a:cubicBezTo>
                      <a:cubicBezTo>
                        <a:pt x="215" y="177"/>
                        <a:pt x="215" y="177"/>
                        <a:pt x="215" y="177"/>
                      </a:cubicBezTo>
                      <a:cubicBezTo>
                        <a:pt x="215" y="176"/>
                        <a:pt x="215" y="176"/>
                        <a:pt x="215" y="176"/>
                      </a:cubicBezTo>
                      <a:cubicBezTo>
                        <a:pt x="215" y="175"/>
                        <a:pt x="215" y="175"/>
                        <a:pt x="215" y="175"/>
                      </a:cubicBezTo>
                      <a:cubicBezTo>
                        <a:pt x="215" y="174"/>
                        <a:pt x="215" y="174"/>
                        <a:pt x="215" y="174"/>
                      </a:cubicBezTo>
                      <a:close/>
                      <a:moveTo>
                        <a:pt x="215" y="173"/>
                      </a:moveTo>
                      <a:cubicBezTo>
                        <a:pt x="215" y="173"/>
                        <a:pt x="215" y="173"/>
                        <a:pt x="215" y="173"/>
                      </a:cubicBezTo>
                      <a:cubicBezTo>
                        <a:pt x="216" y="173"/>
                        <a:pt x="216" y="173"/>
                        <a:pt x="216" y="173"/>
                      </a:cubicBezTo>
                      <a:cubicBezTo>
                        <a:pt x="216" y="174"/>
                        <a:pt x="216" y="174"/>
                        <a:pt x="216" y="174"/>
                      </a:cubicBezTo>
                      <a:cubicBezTo>
                        <a:pt x="215" y="174"/>
                        <a:pt x="215" y="174"/>
                        <a:pt x="215" y="174"/>
                      </a:cubicBezTo>
                      <a:cubicBezTo>
                        <a:pt x="215" y="173"/>
                        <a:pt x="215" y="173"/>
                        <a:pt x="215" y="173"/>
                      </a:cubicBezTo>
                      <a:close/>
                      <a:moveTo>
                        <a:pt x="215" y="172"/>
                      </a:moveTo>
                      <a:cubicBezTo>
                        <a:pt x="215" y="172"/>
                        <a:pt x="215" y="172"/>
                        <a:pt x="215" y="172"/>
                      </a:cubicBezTo>
                      <a:cubicBezTo>
                        <a:pt x="215" y="173"/>
                        <a:pt x="215" y="173"/>
                        <a:pt x="215" y="173"/>
                      </a:cubicBezTo>
                      <a:cubicBezTo>
                        <a:pt x="215" y="172"/>
                        <a:pt x="215" y="172"/>
                        <a:pt x="215" y="172"/>
                      </a:cubicBezTo>
                      <a:close/>
                      <a:moveTo>
                        <a:pt x="214" y="171"/>
                      </a:moveTo>
                      <a:cubicBezTo>
                        <a:pt x="215" y="171"/>
                        <a:pt x="215" y="171"/>
                        <a:pt x="215" y="171"/>
                      </a:cubicBezTo>
                      <a:cubicBezTo>
                        <a:pt x="214" y="172"/>
                        <a:pt x="214" y="172"/>
                        <a:pt x="214" y="172"/>
                      </a:cubicBezTo>
                      <a:cubicBezTo>
                        <a:pt x="214" y="171"/>
                        <a:pt x="214" y="171"/>
                        <a:pt x="214" y="171"/>
                      </a:cubicBezTo>
                      <a:close/>
                      <a:moveTo>
                        <a:pt x="214" y="167"/>
                      </a:moveTo>
                      <a:cubicBezTo>
                        <a:pt x="213" y="166"/>
                        <a:pt x="213" y="166"/>
                        <a:pt x="213" y="166"/>
                      </a:cubicBezTo>
                      <a:cubicBezTo>
                        <a:pt x="214" y="167"/>
                        <a:pt x="214" y="167"/>
                        <a:pt x="214" y="167"/>
                      </a:cubicBezTo>
                      <a:cubicBezTo>
                        <a:pt x="214" y="167"/>
                        <a:pt x="214" y="167"/>
                        <a:pt x="214" y="167"/>
                      </a:cubicBezTo>
                      <a:close/>
                      <a:moveTo>
                        <a:pt x="216" y="168"/>
                      </a:moveTo>
                      <a:cubicBezTo>
                        <a:pt x="217" y="168"/>
                        <a:pt x="217" y="168"/>
                        <a:pt x="217" y="168"/>
                      </a:cubicBezTo>
                      <a:cubicBezTo>
                        <a:pt x="217" y="168"/>
                        <a:pt x="217" y="168"/>
                        <a:pt x="217" y="168"/>
                      </a:cubicBezTo>
                      <a:cubicBezTo>
                        <a:pt x="216" y="169"/>
                        <a:pt x="216" y="169"/>
                        <a:pt x="216" y="169"/>
                      </a:cubicBezTo>
                      <a:cubicBezTo>
                        <a:pt x="216" y="168"/>
                        <a:pt x="216" y="168"/>
                        <a:pt x="216" y="168"/>
                      </a:cubicBezTo>
                      <a:close/>
                      <a:moveTo>
                        <a:pt x="216" y="167"/>
                      </a:moveTo>
                      <a:cubicBezTo>
                        <a:pt x="217" y="166"/>
                        <a:pt x="217" y="166"/>
                        <a:pt x="217" y="166"/>
                      </a:cubicBezTo>
                      <a:cubicBezTo>
                        <a:pt x="218" y="166"/>
                        <a:pt x="218" y="166"/>
                        <a:pt x="218" y="166"/>
                      </a:cubicBezTo>
                      <a:cubicBezTo>
                        <a:pt x="218" y="166"/>
                        <a:pt x="218" y="166"/>
                        <a:pt x="218" y="166"/>
                      </a:cubicBezTo>
                      <a:cubicBezTo>
                        <a:pt x="218" y="167"/>
                        <a:pt x="218" y="167"/>
                        <a:pt x="218" y="167"/>
                      </a:cubicBezTo>
                      <a:cubicBezTo>
                        <a:pt x="217" y="167"/>
                        <a:pt x="217" y="167"/>
                        <a:pt x="217" y="167"/>
                      </a:cubicBezTo>
                      <a:cubicBezTo>
                        <a:pt x="217" y="167"/>
                        <a:pt x="217" y="167"/>
                        <a:pt x="217" y="167"/>
                      </a:cubicBezTo>
                      <a:cubicBezTo>
                        <a:pt x="216" y="167"/>
                        <a:pt x="216" y="167"/>
                        <a:pt x="216" y="167"/>
                      </a:cubicBezTo>
                      <a:close/>
                      <a:moveTo>
                        <a:pt x="218" y="167"/>
                      </a:moveTo>
                      <a:cubicBezTo>
                        <a:pt x="219" y="166"/>
                        <a:pt x="219" y="166"/>
                        <a:pt x="219" y="166"/>
                      </a:cubicBezTo>
                      <a:cubicBezTo>
                        <a:pt x="219" y="165"/>
                        <a:pt x="219" y="165"/>
                        <a:pt x="219" y="165"/>
                      </a:cubicBezTo>
                      <a:cubicBezTo>
                        <a:pt x="218" y="165"/>
                        <a:pt x="218" y="165"/>
                        <a:pt x="218" y="165"/>
                      </a:cubicBezTo>
                      <a:cubicBezTo>
                        <a:pt x="218" y="164"/>
                        <a:pt x="218" y="164"/>
                        <a:pt x="218" y="164"/>
                      </a:cubicBezTo>
                      <a:cubicBezTo>
                        <a:pt x="219" y="164"/>
                        <a:pt x="219" y="164"/>
                        <a:pt x="219" y="164"/>
                      </a:cubicBezTo>
                      <a:cubicBezTo>
                        <a:pt x="220" y="165"/>
                        <a:pt x="220" y="165"/>
                        <a:pt x="220" y="165"/>
                      </a:cubicBezTo>
                      <a:cubicBezTo>
                        <a:pt x="219" y="166"/>
                        <a:pt x="219" y="166"/>
                        <a:pt x="219" y="166"/>
                      </a:cubicBezTo>
                      <a:cubicBezTo>
                        <a:pt x="219" y="167"/>
                        <a:pt x="219" y="167"/>
                        <a:pt x="219" y="167"/>
                      </a:cubicBezTo>
                      <a:cubicBezTo>
                        <a:pt x="220" y="167"/>
                        <a:pt x="220" y="167"/>
                        <a:pt x="220" y="167"/>
                      </a:cubicBezTo>
                      <a:cubicBezTo>
                        <a:pt x="220" y="167"/>
                        <a:pt x="220" y="167"/>
                        <a:pt x="220" y="167"/>
                      </a:cubicBezTo>
                      <a:cubicBezTo>
                        <a:pt x="221" y="168"/>
                        <a:pt x="221" y="168"/>
                        <a:pt x="221" y="168"/>
                      </a:cubicBezTo>
                      <a:cubicBezTo>
                        <a:pt x="221" y="169"/>
                        <a:pt x="221" y="169"/>
                        <a:pt x="221" y="169"/>
                      </a:cubicBezTo>
                      <a:cubicBezTo>
                        <a:pt x="220" y="169"/>
                        <a:pt x="220" y="169"/>
                        <a:pt x="220" y="169"/>
                      </a:cubicBezTo>
                      <a:cubicBezTo>
                        <a:pt x="221" y="170"/>
                        <a:pt x="221" y="170"/>
                        <a:pt x="221" y="170"/>
                      </a:cubicBezTo>
                      <a:cubicBezTo>
                        <a:pt x="221" y="170"/>
                        <a:pt x="221" y="170"/>
                        <a:pt x="221" y="170"/>
                      </a:cubicBezTo>
                      <a:cubicBezTo>
                        <a:pt x="220" y="170"/>
                        <a:pt x="220" y="170"/>
                        <a:pt x="220" y="170"/>
                      </a:cubicBezTo>
                      <a:cubicBezTo>
                        <a:pt x="220" y="170"/>
                        <a:pt x="220" y="170"/>
                        <a:pt x="220" y="170"/>
                      </a:cubicBezTo>
                      <a:cubicBezTo>
                        <a:pt x="220" y="171"/>
                        <a:pt x="220" y="171"/>
                        <a:pt x="220" y="171"/>
                      </a:cubicBezTo>
                      <a:cubicBezTo>
                        <a:pt x="221" y="172"/>
                        <a:pt x="221" y="172"/>
                        <a:pt x="221" y="172"/>
                      </a:cubicBezTo>
                      <a:cubicBezTo>
                        <a:pt x="221" y="172"/>
                        <a:pt x="221" y="172"/>
                        <a:pt x="221" y="172"/>
                      </a:cubicBezTo>
                      <a:cubicBezTo>
                        <a:pt x="220" y="173"/>
                        <a:pt x="220" y="173"/>
                        <a:pt x="220" y="173"/>
                      </a:cubicBezTo>
                      <a:cubicBezTo>
                        <a:pt x="220" y="173"/>
                        <a:pt x="220" y="173"/>
                        <a:pt x="220" y="173"/>
                      </a:cubicBezTo>
                      <a:cubicBezTo>
                        <a:pt x="221" y="173"/>
                        <a:pt x="221" y="173"/>
                        <a:pt x="221" y="173"/>
                      </a:cubicBezTo>
                      <a:cubicBezTo>
                        <a:pt x="221" y="173"/>
                        <a:pt x="221" y="173"/>
                        <a:pt x="221" y="173"/>
                      </a:cubicBezTo>
                      <a:cubicBezTo>
                        <a:pt x="221" y="174"/>
                        <a:pt x="221" y="174"/>
                        <a:pt x="221" y="174"/>
                      </a:cubicBezTo>
                      <a:cubicBezTo>
                        <a:pt x="220" y="174"/>
                        <a:pt x="220" y="174"/>
                        <a:pt x="220" y="174"/>
                      </a:cubicBezTo>
                      <a:cubicBezTo>
                        <a:pt x="220" y="175"/>
                        <a:pt x="220" y="175"/>
                        <a:pt x="220" y="175"/>
                      </a:cubicBezTo>
                      <a:cubicBezTo>
                        <a:pt x="219" y="175"/>
                        <a:pt x="219" y="175"/>
                        <a:pt x="219" y="175"/>
                      </a:cubicBezTo>
                      <a:cubicBezTo>
                        <a:pt x="220" y="175"/>
                        <a:pt x="220" y="175"/>
                        <a:pt x="220" y="175"/>
                      </a:cubicBezTo>
                      <a:cubicBezTo>
                        <a:pt x="220" y="176"/>
                        <a:pt x="220" y="176"/>
                        <a:pt x="220" y="176"/>
                      </a:cubicBezTo>
                      <a:cubicBezTo>
                        <a:pt x="220" y="176"/>
                        <a:pt x="220" y="176"/>
                        <a:pt x="220" y="176"/>
                      </a:cubicBezTo>
                      <a:cubicBezTo>
                        <a:pt x="220" y="177"/>
                        <a:pt x="220" y="177"/>
                        <a:pt x="220" y="177"/>
                      </a:cubicBezTo>
                      <a:cubicBezTo>
                        <a:pt x="220" y="177"/>
                        <a:pt x="220" y="177"/>
                        <a:pt x="220" y="177"/>
                      </a:cubicBezTo>
                      <a:cubicBezTo>
                        <a:pt x="219" y="177"/>
                        <a:pt x="219" y="177"/>
                        <a:pt x="219" y="177"/>
                      </a:cubicBezTo>
                      <a:cubicBezTo>
                        <a:pt x="218" y="177"/>
                        <a:pt x="218" y="177"/>
                        <a:pt x="218" y="177"/>
                      </a:cubicBezTo>
                      <a:cubicBezTo>
                        <a:pt x="219" y="176"/>
                        <a:pt x="219" y="176"/>
                        <a:pt x="219" y="176"/>
                      </a:cubicBezTo>
                      <a:cubicBezTo>
                        <a:pt x="218" y="175"/>
                        <a:pt x="218" y="175"/>
                        <a:pt x="218" y="175"/>
                      </a:cubicBezTo>
                      <a:cubicBezTo>
                        <a:pt x="218" y="175"/>
                        <a:pt x="218" y="175"/>
                        <a:pt x="218" y="175"/>
                      </a:cubicBezTo>
                      <a:cubicBezTo>
                        <a:pt x="219" y="174"/>
                        <a:pt x="219" y="174"/>
                        <a:pt x="219" y="174"/>
                      </a:cubicBezTo>
                      <a:cubicBezTo>
                        <a:pt x="218" y="174"/>
                        <a:pt x="218" y="174"/>
                        <a:pt x="218" y="174"/>
                      </a:cubicBezTo>
                      <a:cubicBezTo>
                        <a:pt x="218" y="173"/>
                        <a:pt x="218" y="173"/>
                        <a:pt x="218" y="173"/>
                      </a:cubicBezTo>
                      <a:cubicBezTo>
                        <a:pt x="219" y="173"/>
                        <a:pt x="219" y="173"/>
                        <a:pt x="219" y="173"/>
                      </a:cubicBezTo>
                      <a:cubicBezTo>
                        <a:pt x="219" y="173"/>
                        <a:pt x="219" y="173"/>
                        <a:pt x="219" y="173"/>
                      </a:cubicBezTo>
                      <a:cubicBezTo>
                        <a:pt x="218" y="173"/>
                        <a:pt x="218" y="173"/>
                        <a:pt x="218" y="173"/>
                      </a:cubicBezTo>
                      <a:cubicBezTo>
                        <a:pt x="218" y="173"/>
                        <a:pt x="218" y="173"/>
                        <a:pt x="218" y="173"/>
                      </a:cubicBezTo>
                      <a:cubicBezTo>
                        <a:pt x="217" y="173"/>
                        <a:pt x="217" y="173"/>
                        <a:pt x="217" y="173"/>
                      </a:cubicBezTo>
                      <a:cubicBezTo>
                        <a:pt x="217" y="173"/>
                        <a:pt x="217" y="173"/>
                        <a:pt x="217" y="173"/>
                      </a:cubicBezTo>
                      <a:cubicBezTo>
                        <a:pt x="216" y="172"/>
                        <a:pt x="216" y="172"/>
                        <a:pt x="216" y="172"/>
                      </a:cubicBezTo>
                      <a:cubicBezTo>
                        <a:pt x="217" y="172"/>
                        <a:pt x="217" y="172"/>
                        <a:pt x="217" y="172"/>
                      </a:cubicBezTo>
                      <a:cubicBezTo>
                        <a:pt x="217" y="172"/>
                        <a:pt x="217" y="172"/>
                        <a:pt x="217" y="172"/>
                      </a:cubicBezTo>
                      <a:cubicBezTo>
                        <a:pt x="217" y="171"/>
                        <a:pt x="217" y="171"/>
                        <a:pt x="217" y="171"/>
                      </a:cubicBezTo>
                      <a:cubicBezTo>
                        <a:pt x="217" y="171"/>
                        <a:pt x="217" y="171"/>
                        <a:pt x="217" y="171"/>
                      </a:cubicBezTo>
                      <a:cubicBezTo>
                        <a:pt x="218" y="170"/>
                        <a:pt x="218" y="170"/>
                        <a:pt x="218" y="170"/>
                      </a:cubicBezTo>
                      <a:cubicBezTo>
                        <a:pt x="218" y="170"/>
                        <a:pt x="218" y="170"/>
                        <a:pt x="218" y="170"/>
                      </a:cubicBezTo>
                      <a:cubicBezTo>
                        <a:pt x="218" y="170"/>
                        <a:pt x="218" y="170"/>
                        <a:pt x="218" y="170"/>
                      </a:cubicBezTo>
                      <a:cubicBezTo>
                        <a:pt x="217" y="170"/>
                        <a:pt x="217" y="170"/>
                        <a:pt x="217" y="170"/>
                      </a:cubicBezTo>
                      <a:cubicBezTo>
                        <a:pt x="217" y="169"/>
                        <a:pt x="217" y="169"/>
                        <a:pt x="217" y="169"/>
                      </a:cubicBezTo>
                      <a:cubicBezTo>
                        <a:pt x="217" y="169"/>
                        <a:pt x="217" y="169"/>
                        <a:pt x="217" y="169"/>
                      </a:cubicBezTo>
                      <a:cubicBezTo>
                        <a:pt x="218" y="169"/>
                        <a:pt x="218" y="169"/>
                        <a:pt x="218" y="169"/>
                      </a:cubicBezTo>
                      <a:cubicBezTo>
                        <a:pt x="218" y="168"/>
                        <a:pt x="218" y="168"/>
                        <a:pt x="218" y="168"/>
                      </a:cubicBezTo>
                      <a:cubicBezTo>
                        <a:pt x="218" y="167"/>
                        <a:pt x="218" y="167"/>
                        <a:pt x="218" y="167"/>
                      </a:cubicBezTo>
                      <a:close/>
                      <a:moveTo>
                        <a:pt x="224" y="167"/>
                      </a:moveTo>
                      <a:cubicBezTo>
                        <a:pt x="224" y="166"/>
                        <a:pt x="224" y="166"/>
                        <a:pt x="224" y="166"/>
                      </a:cubicBezTo>
                      <a:cubicBezTo>
                        <a:pt x="224" y="166"/>
                        <a:pt x="224" y="166"/>
                        <a:pt x="224" y="166"/>
                      </a:cubicBezTo>
                      <a:cubicBezTo>
                        <a:pt x="224" y="165"/>
                        <a:pt x="224" y="165"/>
                        <a:pt x="224" y="165"/>
                      </a:cubicBezTo>
                      <a:cubicBezTo>
                        <a:pt x="225" y="165"/>
                        <a:pt x="225" y="165"/>
                        <a:pt x="225" y="165"/>
                      </a:cubicBezTo>
                      <a:cubicBezTo>
                        <a:pt x="225" y="166"/>
                        <a:pt x="225" y="166"/>
                        <a:pt x="225" y="166"/>
                      </a:cubicBezTo>
                      <a:cubicBezTo>
                        <a:pt x="224" y="167"/>
                        <a:pt x="224" y="167"/>
                        <a:pt x="224" y="167"/>
                      </a:cubicBezTo>
                      <a:close/>
                      <a:moveTo>
                        <a:pt x="222" y="168"/>
                      </a:moveTo>
                      <a:cubicBezTo>
                        <a:pt x="223" y="166"/>
                        <a:pt x="223" y="166"/>
                        <a:pt x="223" y="166"/>
                      </a:cubicBezTo>
                      <a:cubicBezTo>
                        <a:pt x="223" y="166"/>
                        <a:pt x="223" y="166"/>
                        <a:pt x="223" y="166"/>
                      </a:cubicBezTo>
                      <a:cubicBezTo>
                        <a:pt x="223" y="167"/>
                        <a:pt x="223" y="167"/>
                        <a:pt x="223" y="167"/>
                      </a:cubicBezTo>
                      <a:cubicBezTo>
                        <a:pt x="223" y="168"/>
                        <a:pt x="223" y="168"/>
                        <a:pt x="223" y="168"/>
                      </a:cubicBezTo>
                      <a:cubicBezTo>
                        <a:pt x="222" y="168"/>
                        <a:pt x="222" y="168"/>
                        <a:pt x="222" y="168"/>
                      </a:cubicBezTo>
                      <a:close/>
                      <a:moveTo>
                        <a:pt x="222" y="167"/>
                      </a:moveTo>
                      <a:cubicBezTo>
                        <a:pt x="222" y="166"/>
                        <a:pt x="222" y="166"/>
                        <a:pt x="222" y="166"/>
                      </a:cubicBezTo>
                      <a:cubicBezTo>
                        <a:pt x="223" y="165"/>
                        <a:pt x="223" y="165"/>
                        <a:pt x="223" y="165"/>
                      </a:cubicBezTo>
                      <a:cubicBezTo>
                        <a:pt x="223" y="166"/>
                        <a:pt x="223" y="166"/>
                        <a:pt x="223" y="166"/>
                      </a:cubicBezTo>
                      <a:cubicBezTo>
                        <a:pt x="223" y="166"/>
                        <a:pt x="223" y="166"/>
                        <a:pt x="223" y="166"/>
                      </a:cubicBezTo>
                      <a:cubicBezTo>
                        <a:pt x="222" y="167"/>
                        <a:pt x="222" y="167"/>
                        <a:pt x="222" y="167"/>
                      </a:cubicBezTo>
                      <a:cubicBezTo>
                        <a:pt x="222" y="167"/>
                        <a:pt x="222" y="167"/>
                        <a:pt x="222" y="167"/>
                      </a:cubicBezTo>
                      <a:close/>
                      <a:moveTo>
                        <a:pt x="221" y="165"/>
                      </a:moveTo>
                      <a:cubicBezTo>
                        <a:pt x="221" y="164"/>
                        <a:pt x="221" y="164"/>
                        <a:pt x="221" y="164"/>
                      </a:cubicBezTo>
                      <a:cubicBezTo>
                        <a:pt x="223" y="164"/>
                        <a:pt x="223" y="164"/>
                        <a:pt x="223" y="164"/>
                      </a:cubicBezTo>
                      <a:cubicBezTo>
                        <a:pt x="223" y="165"/>
                        <a:pt x="223" y="165"/>
                        <a:pt x="223" y="165"/>
                      </a:cubicBezTo>
                      <a:cubicBezTo>
                        <a:pt x="222" y="166"/>
                        <a:pt x="222" y="166"/>
                        <a:pt x="222" y="166"/>
                      </a:cubicBezTo>
                      <a:cubicBezTo>
                        <a:pt x="221" y="165"/>
                        <a:pt x="221" y="165"/>
                        <a:pt x="221" y="165"/>
                      </a:cubicBezTo>
                      <a:cubicBezTo>
                        <a:pt x="221" y="165"/>
                        <a:pt x="221" y="165"/>
                        <a:pt x="221" y="165"/>
                      </a:cubicBezTo>
                      <a:close/>
                      <a:moveTo>
                        <a:pt x="222" y="162"/>
                      </a:moveTo>
                      <a:cubicBezTo>
                        <a:pt x="223" y="161"/>
                        <a:pt x="223" y="161"/>
                        <a:pt x="223" y="161"/>
                      </a:cubicBezTo>
                      <a:cubicBezTo>
                        <a:pt x="223" y="161"/>
                        <a:pt x="223" y="161"/>
                        <a:pt x="223" y="161"/>
                      </a:cubicBezTo>
                      <a:cubicBezTo>
                        <a:pt x="224" y="162"/>
                        <a:pt x="224" y="162"/>
                        <a:pt x="224" y="162"/>
                      </a:cubicBezTo>
                      <a:cubicBezTo>
                        <a:pt x="223" y="163"/>
                        <a:pt x="223" y="163"/>
                        <a:pt x="223" y="163"/>
                      </a:cubicBezTo>
                      <a:cubicBezTo>
                        <a:pt x="222" y="163"/>
                        <a:pt x="222" y="163"/>
                        <a:pt x="222" y="163"/>
                      </a:cubicBezTo>
                      <a:cubicBezTo>
                        <a:pt x="222" y="163"/>
                        <a:pt x="222" y="163"/>
                        <a:pt x="222" y="163"/>
                      </a:cubicBezTo>
                      <a:cubicBezTo>
                        <a:pt x="222" y="162"/>
                        <a:pt x="222" y="162"/>
                        <a:pt x="222" y="162"/>
                      </a:cubicBezTo>
                      <a:close/>
                      <a:moveTo>
                        <a:pt x="219" y="164"/>
                      </a:moveTo>
                      <a:cubicBezTo>
                        <a:pt x="219" y="163"/>
                        <a:pt x="219" y="163"/>
                        <a:pt x="219" y="163"/>
                      </a:cubicBezTo>
                      <a:cubicBezTo>
                        <a:pt x="219" y="161"/>
                        <a:pt x="219" y="161"/>
                        <a:pt x="219" y="161"/>
                      </a:cubicBezTo>
                      <a:cubicBezTo>
                        <a:pt x="220" y="160"/>
                        <a:pt x="220" y="160"/>
                        <a:pt x="220" y="160"/>
                      </a:cubicBezTo>
                      <a:cubicBezTo>
                        <a:pt x="219" y="160"/>
                        <a:pt x="219" y="160"/>
                        <a:pt x="219" y="160"/>
                      </a:cubicBezTo>
                      <a:cubicBezTo>
                        <a:pt x="219" y="159"/>
                        <a:pt x="219" y="159"/>
                        <a:pt x="219" y="159"/>
                      </a:cubicBezTo>
                      <a:cubicBezTo>
                        <a:pt x="219" y="158"/>
                        <a:pt x="219" y="158"/>
                        <a:pt x="219" y="158"/>
                      </a:cubicBezTo>
                      <a:cubicBezTo>
                        <a:pt x="219" y="158"/>
                        <a:pt x="219" y="158"/>
                        <a:pt x="219" y="158"/>
                      </a:cubicBezTo>
                      <a:cubicBezTo>
                        <a:pt x="220" y="158"/>
                        <a:pt x="220" y="158"/>
                        <a:pt x="220" y="158"/>
                      </a:cubicBezTo>
                      <a:cubicBezTo>
                        <a:pt x="221" y="159"/>
                        <a:pt x="221" y="159"/>
                        <a:pt x="221" y="159"/>
                      </a:cubicBezTo>
                      <a:cubicBezTo>
                        <a:pt x="222" y="159"/>
                        <a:pt x="222" y="159"/>
                        <a:pt x="222" y="159"/>
                      </a:cubicBezTo>
                      <a:cubicBezTo>
                        <a:pt x="223" y="160"/>
                        <a:pt x="223" y="160"/>
                        <a:pt x="223" y="160"/>
                      </a:cubicBezTo>
                      <a:cubicBezTo>
                        <a:pt x="223" y="161"/>
                        <a:pt x="223" y="161"/>
                        <a:pt x="223" y="161"/>
                      </a:cubicBezTo>
                      <a:cubicBezTo>
                        <a:pt x="222" y="162"/>
                        <a:pt x="222" y="162"/>
                        <a:pt x="222" y="162"/>
                      </a:cubicBezTo>
                      <a:cubicBezTo>
                        <a:pt x="221" y="162"/>
                        <a:pt x="221" y="162"/>
                        <a:pt x="221" y="162"/>
                      </a:cubicBezTo>
                      <a:cubicBezTo>
                        <a:pt x="221" y="161"/>
                        <a:pt x="221" y="161"/>
                        <a:pt x="221" y="161"/>
                      </a:cubicBezTo>
                      <a:cubicBezTo>
                        <a:pt x="221" y="161"/>
                        <a:pt x="221" y="161"/>
                        <a:pt x="221" y="161"/>
                      </a:cubicBezTo>
                      <a:cubicBezTo>
                        <a:pt x="221" y="162"/>
                        <a:pt x="221" y="162"/>
                        <a:pt x="221" y="162"/>
                      </a:cubicBezTo>
                      <a:cubicBezTo>
                        <a:pt x="220" y="162"/>
                        <a:pt x="220" y="162"/>
                        <a:pt x="220" y="162"/>
                      </a:cubicBezTo>
                      <a:cubicBezTo>
                        <a:pt x="221" y="163"/>
                        <a:pt x="221" y="163"/>
                        <a:pt x="221" y="163"/>
                      </a:cubicBezTo>
                      <a:cubicBezTo>
                        <a:pt x="220" y="163"/>
                        <a:pt x="220" y="163"/>
                        <a:pt x="220" y="163"/>
                      </a:cubicBezTo>
                      <a:cubicBezTo>
                        <a:pt x="220" y="163"/>
                        <a:pt x="220" y="163"/>
                        <a:pt x="220" y="163"/>
                      </a:cubicBezTo>
                      <a:cubicBezTo>
                        <a:pt x="219" y="164"/>
                        <a:pt x="219" y="164"/>
                        <a:pt x="219" y="164"/>
                      </a:cubicBezTo>
                      <a:cubicBezTo>
                        <a:pt x="219" y="164"/>
                        <a:pt x="219" y="164"/>
                        <a:pt x="219" y="164"/>
                      </a:cubicBezTo>
                      <a:close/>
                      <a:moveTo>
                        <a:pt x="216" y="162"/>
                      </a:moveTo>
                      <a:cubicBezTo>
                        <a:pt x="216" y="162"/>
                        <a:pt x="216" y="162"/>
                        <a:pt x="216" y="162"/>
                      </a:cubicBezTo>
                      <a:cubicBezTo>
                        <a:pt x="216" y="161"/>
                        <a:pt x="216" y="161"/>
                        <a:pt x="216" y="161"/>
                      </a:cubicBezTo>
                      <a:cubicBezTo>
                        <a:pt x="216" y="161"/>
                        <a:pt x="216" y="161"/>
                        <a:pt x="216" y="161"/>
                      </a:cubicBezTo>
                      <a:cubicBezTo>
                        <a:pt x="216" y="160"/>
                        <a:pt x="216" y="160"/>
                        <a:pt x="216" y="160"/>
                      </a:cubicBezTo>
                      <a:cubicBezTo>
                        <a:pt x="216" y="159"/>
                        <a:pt x="216" y="159"/>
                        <a:pt x="216" y="159"/>
                      </a:cubicBezTo>
                      <a:cubicBezTo>
                        <a:pt x="217" y="160"/>
                        <a:pt x="217" y="160"/>
                        <a:pt x="217" y="160"/>
                      </a:cubicBezTo>
                      <a:cubicBezTo>
                        <a:pt x="217" y="159"/>
                        <a:pt x="217" y="159"/>
                        <a:pt x="217" y="159"/>
                      </a:cubicBezTo>
                      <a:cubicBezTo>
                        <a:pt x="217" y="159"/>
                        <a:pt x="217" y="159"/>
                        <a:pt x="217" y="159"/>
                      </a:cubicBezTo>
                      <a:cubicBezTo>
                        <a:pt x="218" y="160"/>
                        <a:pt x="218" y="160"/>
                        <a:pt x="218" y="160"/>
                      </a:cubicBezTo>
                      <a:cubicBezTo>
                        <a:pt x="218" y="160"/>
                        <a:pt x="218" y="160"/>
                        <a:pt x="218" y="160"/>
                      </a:cubicBezTo>
                      <a:cubicBezTo>
                        <a:pt x="218" y="161"/>
                        <a:pt x="218" y="161"/>
                        <a:pt x="218" y="161"/>
                      </a:cubicBezTo>
                      <a:cubicBezTo>
                        <a:pt x="219" y="160"/>
                        <a:pt x="219" y="160"/>
                        <a:pt x="219" y="160"/>
                      </a:cubicBezTo>
                      <a:cubicBezTo>
                        <a:pt x="219" y="161"/>
                        <a:pt x="219" y="161"/>
                        <a:pt x="219" y="161"/>
                      </a:cubicBezTo>
                      <a:cubicBezTo>
                        <a:pt x="218" y="163"/>
                        <a:pt x="218" y="163"/>
                        <a:pt x="218" y="163"/>
                      </a:cubicBezTo>
                      <a:cubicBezTo>
                        <a:pt x="217" y="164"/>
                        <a:pt x="217" y="164"/>
                        <a:pt x="217" y="164"/>
                      </a:cubicBezTo>
                      <a:cubicBezTo>
                        <a:pt x="217" y="165"/>
                        <a:pt x="217" y="165"/>
                        <a:pt x="217" y="165"/>
                      </a:cubicBezTo>
                      <a:cubicBezTo>
                        <a:pt x="216" y="165"/>
                        <a:pt x="216" y="165"/>
                        <a:pt x="216" y="165"/>
                      </a:cubicBezTo>
                      <a:cubicBezTo>
                        <a:pt x="215" y="166"/>
                        <a:pt x="215" y="166"/>
                        <a:pt x="215" y="166"/>
                      </a:cubicBezTo>
                      <a:cubicBezTo>
                        <a:pt x="216" y="165"/>
                        <a:pt x="216" y="165"/>
                        <a:pt x="216" y="165"/>
                      </a:cubicBezTo>
                      <a:cubicBezTo>
                        <a:pt x="215" y="164"/>
                        <a:pt x="215" y="164"/>
                        <a:pt x="215" y="164"/>
                      </a:cubicBezTo>
                      <a:cubicBezTo>
                        <a:pt x="215" y="166"/>
                        <a:pt x="215" y="166"/>
                        <a:pt x="215" y="166"/>
                      </a:cubicBezTo>
                      <a:cubicBezTo>
                        <a:pt x="214" y="165"/>
                        <a:pt x="214" y="165"/>
                        <a:pt x="214" y="165"/>
                      </a:cubicBezTo>
                      <a:cubicBezTo>
                        <a:pt x="215" y="165"/>
                        <a:pt x="215" y="165"/>
                        <a:pt x="215" y="165"/>
                      </a:cubicBezTo>
                      <a:cubicBezTo>
                        <a:pt x="215" y="164"/>
                        <a:pt x="215" y="164"/>
                        <a:pt x="215" y="164"/>
                      </a:cubicBezTo>
                      <a:cubicBezTo>
                        <a:pt x="215" y="164"/>
                        <a:pt x="215" y="164"/>
                        <a:pt x="215" y="164"/>
                      </a:cubicBezTo>
                      <a:cubicBezTo>
                        <a:pt x="215" y="163"/>
                        <a:pt x="215" y="163"/>
                        <a:pt x="215" y="163"/>
                      </a:cubicBezTo>
                      <a:cubicBezTo>
                        <a:pt x="216" y="163"/>
                        <a:pt x="216" y="163"/>
                        <a:pt x="216" y="163"/>
                      </a:cubicBezTo>
                      <a:cubicBezTo>
                        <a:pt x="216" y="163"/>
                        <a:pt x="216" y="163"/>
                        <a:pt x="216" y="163"/>
                      </a:cubicBezTo>
                      <a:cubicBezTo>
                        <a:pt x="216" y="162"/>
                        <a:pt x="216" y="162"/>
                        <a:pt x="216" y="162"/>
                      </a:cubicBezTo>
                      <a:close/>
                      <a:moveTo>
                        <a:pt x="216" y="155"/>
                      </a:moveTo>
                      <a:cubicBezTo>
                        <a:pt x="216" y="155"/>
                        <a:pt x="216" y="155"/>
                        <a:pt x="216" y="155"/>
                      </a:cubicBezTo>
                      <a:cubicBezTo>
                        <a:pt x="216" y="156"/>
                        <a:pt x="216" y="156"/>
                        <a:pt x="216" y="156"/>
                      </a:cubicBezTo>
                      <a:cubicBezTo>
                        <a:pt x="216" y="155"/>
                        <a:pt x="216" y="155"/>
                        <a:pt x="216" y="155"/>
                      </a:cubicBezTo>
                      <a:close/>
                      <a:moveTo>
                        <a:pt x="213" y="155"/>
                      </a:moveTo>
                      <a:cubicBezTo>
                        <a:pt x="214" y="155"/>
                        <a:pt x="214" y="155"/>
                        <a:pt x="214" y="155"/>
                      </a:cubicBezTo>
                      <a:cubicBezTo>
                        <a:pt x="215" y="154"/>
                        <a:pt x="215" y="154"/>
                        <a:pt x="215" y="154"/>
                      </a:cubicBezTo>
                      <a:cubicBezTo>
                        <a:pt x="215" y="155"/>
                        <a:pt x="215" y="155"/>
                        <a:pt x="215" y="155"/>
                      </a:cubicBezTo>
                      <a:cubicBezTo>
                        <a:pt x="216" y="156"/>
                        <a:pt x="216" y="156"/>
                        <a:pt x="216" y="156"/>
                      </a:cubicBezTo>
                      <a:cubicBezTo>
                        <a:pt x="216" y="157"/>
                        <a:pt x="216" y="157"/>
                        <a:pt x="216" y="157"/>
                      </a:cubicBezTo>
                      <a:cubicBezTo>
                        <a:pt x="215" y="159"/>
                        <a:pt x="215" y="159"/>
                        <a:pt x="215" y="159"/>
                      </a:cubicBezTo>
                      <a:cubicBezTo>
                        <a:pt x="215" y="159"/>
                        <a:pt x="215" y="159"/>
                        <a:pt x="215" y="159"/>
                      </a:cubicBezTo>
                      <a:cubicBezTo>
                        <a:pt x="215" y="160"/>
                        <a:pt x="215" y="160"/>
                        <a:pt x="215" y="160"/>
                      </a:cubicBezTo>
                      <a:cubicBezTo>
                        <a:pt x="214" y="161"/>
                        <a:pt x="214" y="161"/>
                        <a:pt x="214" y="161"/>
                      </a:cubicBezTo>
                      <a:cubicBezTo>
                        <a:pt x="214" y="162"/>
                        <a:pt x="214" y="162"/>
                        <a:pt x="214" y="162"/>
                      </a:cubicBezTo>
                      <a:cubicBezTo>
                        <a:pt x="214" y="163"/>
                        <a:pt x="214" y="163"/>
                        <a:pt x="214" y="163"/>
                      </a:cubicBezTo>
                      <a:cubicBezTo>
                        <a:pt x="213" y="164"/>
                        <a:pt x="213" y="164"/>
                        <a:pt x="213" y="164"/>
                      </a:cubicBezTo>
                      <a:cubicBezTo>
                        <a:pt x="213" y="164"/>
                        <a:pt x="213" y="164"/>
                        <a:pt x="213" y="164"/>
                      </a:cubicBezTo>
                      <a:cubicBezTo>
                        <a:pt x="213" y="163"/>
                        <a:pt x="213" y="163"/>
                        <a:pt x="213" y="163"/>
                      </a:cubicBezTo>
                      <a:cubicBezTo>
                        <a:pt x="213" y="163"/>
                        <a:pt x="213" y="163"/>
                        <a:pt x="213" y="163"/>
                      </a:cubicBezTo>
                      <a:cubicBezTo>
                        <a:pt x="213" y="162"/>
                        <a:pt x="213" y="162"/>
                        <a:pt x="213" y="162"/>
                      </a:cubicBezTo>
                      <a:cubicBezTo>
                        <a:pt x="212" y="161"/>
                        <a:pt x="212" y="161"/>
                        <a:pt x="212" y="161"/>
                      </a:cubicBezTo>
                      <a:cubicBezTo>
                        <a:pt x="213" y="161"/>
                        <a:pt x="213" y="161"/>
                        <a:pt x="213" y="161"/>
                      </a:cubicBezTo>
                      <a:cubicBezTo>
                        <a:pt x="213" y="161"/>
                        <a:pt x="213" y="161"/>
                        <a:pt x="213" y="161"/>
                      </a:cubicBezTo>
                      <a:cubicBezTo>
                        <a:pt x="214" y="160"/>
                        <a:pt x="214" y="160"/>
                        <a:pt x="214" y="160"/>
                      </a:cubicBezTo>
                      <a:cubicBezTo>
                        <a:pt x="214" y="160"/>
                        <a:pt x="214" y="160"/>
                        <a:pt x="214" y="160"/>
                      </a:cubicBezTo>
                      <a:cubicBezTo>
                        <a:pt x="213" y="160"/>
                        <a:pt x="213" y="160"/>
                        <a:pt x="213" y="160"/>
                      </a:cubicBezTo>
                      <a:cubicBezTo>
                        <a:pt x="213" y="160"/>
                        <a:pt x="213" y="160"/>
                        <a:pt x="213" y="160"/>
                      </a:cubicBezTo>
                      <a:cubicBezTo>
                        <a:pt x="213" y="160"/>
                        <a:pt x="213" y="160"/>
                        <a:pt x="213" y="160"/>
                      </a:cubicBezTo>
                      <a:cubicBezTo>
                        <a:pt x="213" y="159"/>
                        <a:pt x="213" y="159"/>
                        <a:pt x="213" y="159"/>
                      </a:cubicBezTo>
                      <a:cubicBezTo>
                        <a:pt x="213" y="159"/>
                        <a:pt x="213" y="159"/>
                        <a:pt x="213" y="159"/>
                      </a:cubicBezTo>
                      <a:cubicBezTo>
                        <a:pt x="212" y="159"/>
                        <a:pt x="212" y="159"/>
                        <a:pt x="212" y="159"/>
                      </a:cubicBezTo>
                      <a:cubicBezTo>
                        <a:pt x="212" y="158"/>
                        <a:pt x="212" y="158"/>
                        <a:pt x="212" y="158"/>
                      </a:cubicBezTo>
                      <a:cubicBezTo>
                        <a:pt x="213" y="158"/>
                        <a:pt x="213" y="158"/>
                        <a:pt x="213" y="158"/>
                      </a:cubicBezTo>
                      <a:cubicBezTo>
                        <a:pt x="214" y="158"/>
                        <a:pt x="214" y="158"/>
                        <a:pt x="214" y="158"/>
                      </a:cubicBezTo>
                      <a:cubicBezTo>
                        <a:pt x="214" y="157"/>
                        <a:pt x="214" y="157"/>
                        <a:pt x="214" y="157"/>
                      </a:cubicBezTo>
                      <a:cubicBezTo>
                        <a:pt x="214" y="156"/>
                        <a:pt x="214" y="156"/>
                        <a:pt x="214" y="156"/>
                      </a:cubicBezTo>
                      <a:cubicBezTo>
                        <a:pt x="214" y="156"/>
                        <a:pt x="214" y="156"/>
                        <a:pt x="214" y="156"/>
                      </a:cubicBezTo>
                      <a:cubicBezTo>
                        <a:pt x="213" y="155"/>
                        <a:pt x="213" y="155"/>
                        <a:pt x="213" y="155"/>
                      </a:cubicBezTo>
                      <a:close/>
                      <a:moveTo>
                        <a:pt x="212" y="155"/>
                      </a:moveTo>
                      <a:cubicBezTo>
                        <a:pt x="212" y="155"/>
                        <a:pt x="212" y="155"/>
                        <a:pt x="212" y="155"/>
                      </a:cubicBezTo>
                      <a:cubicBezTo>
                        <a:pt x="213" y="155"/>
                        <a:pt x="213" y="155"/>
                        <a:pt x="213" y="155"/>
                      </a:cubicBezTo>
                      <a:cubicBezTo>
                        <a:pt x="212" y="156"/>
                        <a:pt x="212" y="156"/>
                        <a:pt x="212" y="156"/>
                      </a:cubicBezTo>
                      <a:cubicBezTo>
                        <a:pt x="212" y="157"/>
                        <a:pt x="212" y="157"/>
                        <a:pt x="212" y="157"/>
                      </a:cubicBezTo>
                      <a:cubicBezTo>
                        <a:pt x="211" y="157"/>
                        <a:pt x="211" y="157"/>
                        <a:pt x="211" y="157"/>
                      </a:cubicBezTo>
                      <a:cubicBezTo>
                        <a:pt x="211" y="157"/>
                        <a:pt x="211" y="157"/>
                        <a:pt x="211" y="157"/>
                      </a:cubicBezTo>
                      <a:cubicBezTo>
                        <a:pt x="212" y="156"/>
                        <a:pt x="212" y="156"/>
                        <a:pt x="212" y="156"/>
                      </a:cubicBezTo>
                      <a:cubicBezTo>
                        <a:pt x="212" y="156"/>
                        <a:pt x="212" y="156"/>
                        <a:pt x="212" y="156"/>
                      </a:cubicBezTo>
                      <a:cubicBezTo>
                        <a:pt x="212" y="155"/>
                        <a:pt x="212" y="155"/>
                        <a:pt x="212" y="155"/>
                      </a:cubicBezTo>
                      <a:close/>
                      <a:moveTo>
                        <a:pt x="216" y="157"/>
                      </a:moveTo>
                      <a:cubicBezTo>
                        <a:pt x="217" y="156"/>
                        <a:pt x="217" y="156"/>
                        <a:pt x="217" y="156"/>
                      </a:cubicBezTo>
                      <a:cubicBezTo>
                        <a:pt x="217" y="155"/>
                        <a:pt x="217" y="155"/>
                        <a:pt x="217" y="155"/>
                      </a:cubicBezTo>
                      <a:cubicBezTo>
                        <a:pt x="217" y="155"/>
                        <a:pt x="217" y="155"/>
                        <a:pt x="217" y="155"/>
                      </a:cubicBezTo>
                      <a:cubicBezTo>
                        <a:pt x="218" y="155"/>
                        <a:pt x="218" y="155"/>
                        <a:pt x="218" y="155"/>
                      </a:cubicBezTo>
                      <a:cubicBezTo>
                        <a:pt x="218" y="154"/>
                        <a:pt x="218" y="154"/>
                        <a:pt x="218" y="154"/>
                      </a:cubicBezTo>
                      <a:cubicBezTo>
                        <a:pt x="219" y="154"/>
                        <a:pt x="219" y="154"/>
                        <a:pt x="219" y="154"/>
                      </a:cubicBezTo>
                      <a:cubicBezTo>
                        <a:pt x="218" y="153"/>
                        <a:pt x="218" y="153"/>
                        <a:pt x="218" y="153"/>
                      </a:cubicBezTo>
                      <a:cubicBezTo>
                        <a:pt x="218" y="152"/>
                        <a:pt x="218" y="152"/>
                        <a:pt x="218" y="152"/>
                      </a:cubicBezTo>
                      <a:cubicBezTo>
                        <a:pt x="219" y="151"/>
                        <a:pt x="219" y="151"/>
                        <a:pt x="219" y="151"/>
                      </a:cubicBezTo>
                      <a:cubicBezTo>
                        <a:pt x="219" y="148"/>
                        <a:pt x="219" y="148"/>
                        <a:pt x="219" y="148"/>
                      </a:cubicBezTo>
                      <a:cubicBezTo>
                        <a:pt x="220" y="147"/>
                        <a:pt x="220" y="147"/>
                        <a:pt x="220" y="147"/>
                      </a:cubicBezTo>
                      <a:cubicBezTo>
                        <a:pt x="220" y="148"/>
                        <a:pt x="220" y="148"/>
                        <a:pt x="220" y="148"/>
                      </a:cubicBezTo>
                      <a:cubicBezTo>
                        <a:pt x="220" y="148"/>
                        <a:pt x="220" y="148"/>
                        <a:pt x="220" y="148"/>
                      </a:cubicBezTo>
                      <a:cubicBezTo>
                        <a:pt x="221" y="149"/>
                        <a:pt x="221" y="149"/>
                        <a:pt x="221" y="149"/>
                      </a:cubicBezTo>
                      <a:cubicBezTo>
                        <a:pt x="222" y="150"/>
                        <a:pt x="222" y="150"/>
                        <a:pt x="222" y="150"/>
                      </a:cubicBezTo>
                      <a:cubicBezTo>
                        <a:pt x="222" y="153"/>
                        <a:pt x="222" y="153"/>
                        <a:pt x="222" y="153"/>
                      </a:cubicBezTo>
                      <a:cubicBezTo>
                        <a:pt x="222" y="154"/>
                        <a:pt x="222" y="154"/>
                        <a:pt x="222" y="154"/>
                      </a:cubicBezTo>
                      <a:cubicBezTo>
                        <a:pt x="221" y="154"/>
                        <a:pt x="221" y="154"/>
                        <a:pt x="221" y="154"/>
                      </a:cubicBezTo>
                      <a:cubicBezTo>
                        <a:pt x="221" y="152"/>
                        <a:pt x="221" y="152"/>
                        <a:pt x="221" y="152"/>
                      </a:cubicBezTo>
                      <a:cubicBezTo>
                        <a:pt x="221" y="150"/>
                        <a:pt x="221" y="150"/>
                        <a:pt x="221" y="150"/>
                      </a:cubicBezTo>
                      <a:cubicBezTo>
                        <a:pt x="221" y="151"/>
                        <a:pt x="221" y="151"/>
                        <a:pt x="221" y="151"/>
                      </a:cubicBezTo>
                      <a:cubicBezTo>
                        <a:pt x="221" y="154"/>
                        <a:pt x="221" y="154"/>
                        <a:pt x="221" y="154"/>
                      </a:cubicBezTo>
                      <a:cubicBezTo>
                        <a:pt x="220" y="154"/>
                        <a:pt x="220" y="154"/>
                        <a:pt x="220" y="154"/>
                      </a:cubicBezTo>
                      <a:cubicBezTo>
                        <a:pt x="220" y="155"/>
                        <a:pt x="220" y="155"/>
                        <a:pt x="220" y="155"/>
                      </a:cubicBezTo>
                      <a:cubicBezTo>
                        <a:pt x="220" y="156"/>
                        <a:pt x="220" y="156"/>
                        <a:pt x="220" y="156"/>
                      </a:cubicBezTo>
                      <a:cubicBezTo>
                        <a:pt x="219" y="155"/>
                        <a:pt x="219" y="155"/>
                        <a:pt x="219" y="155"/>
                      </a:cubicBezTo>
                      <a:cubicBezTo>
                        <a:pt x="219" y="157"/>
                        <a:pt x="219" y="157"/>
                        <a:pt x="219" y="157"/>
                      </a:cubicBezTo>
                      <a:cubicBezTo>
                        <a:pt x="217" y="157"/>
                        <a:pt x="217" y="157"/>
                        <a:pt x="217" y="157"/>
                      </a:cubicBezTo>
                      <a:cubicBezTo>
                        <a:pt x="217" y="158"/>
                        <a:pt x="217" y="158"/>
                        <a:pt x="217" y="158"/>
                      </a:cubicBezTo>
                      <a:cubicBezTo>
                        <a:pt x="216" y="157"/>
                        <a:pt x="216" y="157"/>
                        <a:pt x="216" y="157"/>
                      </a:cubicBezTo>
                      <a:close/>
                      <a:moveTo>
                        <a:pt x="214" y="147"/>
                      </a:moveTo>
                      <a:cubicBezTo>
                        <a:pt x="215" y="147"/>
                        <a:pt x="215" y="147"/>
                        <a:pt x="215" y="147"/>
                      </a:cubicBezTo>
                      <a:cubicBezTo>
                        <a:pt x="216" y="148"/>
                        <a:pt x="216" y="148"/>
                        <a:pt x="216" y="148"/>
                      </a:cubicBezTo>
                      <a:cubicBezTo>
                        <a:pt x="216" y="148"/>
                        <a:pt x="216" y="148"/>
                        <a:pt x="216" y="148"/>
                      </a:cubicBezTo>
                      <a:cubicBezTo>
                        <a:pt x="216" y="149"/>
                        <a:pt x="216" y="149"/>
                        <a:pt x="216" y="149"/>
                      </a:cubicBezTo>
                      <a:cubicBezTo>
                        <a:pt x="216" y="149"/>
                        <a:pt x="216" y="149"/>
                        <a:pt x="216" y="149"/>
                      </a:cubicBezTo>
                      <a:cubicBezTo>
                        <a:pt x="216" y="149"/>
                        <a:pt x="216" y="149"/>
                        <a:pt x="216" y="149"/>
                      </a:cubicBezTo>
                      <a:cubicBezTo>
                        <a:pt x="217" y="149"/>
                        <a:pt x="217" y="149"/>
                        <a:pt x="217" y="149"/>
                      </a:cubicBezTo>
                      <a:cubicBezTo>
                        <a:pt x="218" y="149"/>
                        <a:pt x="218" y="149"/>
                        <a:pt x="218" y="149"/>
                      </a:cubicBezTo>
                      <a:cubicBezTo>
                        <a:pt x="218" y="150"/>
                        <a:pt x="218" y="150"/>
                        <a:pt x="218" y="150"/>
                      </a:cubicBezTo>
                      <a:cubicBezTo>
                        <a:pt x="217" y="150"/>
                        <a:pt x="217" y="150"/>
                        <a:pt x="217" y="150"/>
                      </a:cubicBezTo>
                      <a:cubicBezTo>
                        <a:pt x="217" y="151"/>
                        <a:pt x="217" y="151"/>
                        <a:pt x="217" y="151"/>
                      </a:cubicBezTo>
                      <a:cubicBezTo>
                        <a:pt x="217" y="151"/>
                        <a:pt x="217" y="151"/>
                        <a:pt x="217" y="151"/>
                      </a:cubicBezTo>
                      <a:cubicBezTo>
                        <a:pt x="216" y="151"/>
                        <a:pt x="216" y="151"/>
                        <a:pt x="216" y="151"/>
                      </a:cubicBezTo>
                      <a:cubicBezTo>
                        <a:pt x="216" y="150"/>
                        <a:pt x="216" y="150"/>
                        <a:pt x="216" y="150"/>
                      </a:cubicBezTo>
                      <a:cubicBezTo>
                        <a:pt x="214" y="149"/>
                        <a:pt x="214" y="149"/>
                        <a:pt x="214" y="149"/>
                      </a:cubicBezTo>
                      <a:cubicBezTo>
                        <a:pt x="214" y="149"/>
                        <a:pt x="214" y="149"/>
                        <a:pt x="214" y="149"/>
                      </a:cubicBezTo>
                      <a:cubicBezTo>
                        <a:pt x="216" y="151"/>
                        <a:pt x="216" y="151"/>
                        <a:pt x="216" y="151"/>
                      </a:cubicBezTo>
                      <a:cubicBezTo>
                        <a:pt x="216" y="152"/>
                        <a:pt x="216" y="152"/>
                        <a:pt x="216" y="152"/>
                      </a:cubicBezTo>
                      <a:cubicBezTo>
                        <a:pt x="217" y="152"/>
                        <a:pt x="217" y="152"/>
                        <a:pt x="217" y="152"/>
                      </a:cubicBezTo>
                      <a:cubicBezTo>
                        <a:pt x="217" y="153"/>
                        <a:pt x="217" y="153"/>
                        <a:pt x="217" y="153"/>
                      </a:cubicBezTo>
                      <a:cubicBezTo>
                        <a:pt x="217" y="153"/>
                        <a:pt x="217" y="153"/>
                        <a:pt x="217" y="153"/>
                      </a:cubicBezTo>
                      <a:cubicBezTo>
                        <a:pt x="217" y="154"/>
                        <a:pt x="217" y="154"/>
                        <a:pt x="217" y="154"/>
                      </a:cubicBezTo>
                      <a:cubicBezTo>
                        <a:pt x="216" y="154"/>
                        <a:pt x="216" y="154"/>
                        <a:pt x="216" y="154"/>
                      </a:cubicBezTo>
                      <a:cubicBezTo>
                        <a:pt x="215" y="153"/>
                        <a:pt x="215" y="153"/>
                        <a:pt x="215" y="153"/>
                      </a:cubicBezTo>
                      <a:cubicBezTo>
                        <a:pt x="215" y="153"/>
                        <a:pt x="215" y="153"/>
                        <a:pt x="215" y="153"/>
                      </a:cubicBezTo>
                      <a:cubicBezTo>
                        <a:pt x="214" y="151"/>
                        <a:pt x="214" y="151"/>
                        <a:pt x="214" y="151"/>
                      </a:cubicBezTo>
                      <a:cubicBezTo>
                        <a:pt x="214" y="152"/>
                        <a:pt x="214" y="152"/>
                        <a:pt x="214" y="152"/>
                      </a:cubicBezTo>
                      <a:cubicBezTo>
                        <a:pt x="214" y="153"/>
                        <a:pt x="214" y="153"/>
                        <a:pt x="214" y="153"/>
                      </a:cubicBezTo>
                      <a:cubicBezTo>
                        <a:pt x="214" y="154"/>
                        <a:pt x="214" y="154"/>
                        <a:pt x="214" y="154"/>
                      </a:cubicBezTo>
                      <a:cubicBezTo>
                        <a:pt x="214" y="154"/>
                        <a:pt x="214" y="154"/>
                        <a:pt x="214" y="154"/>
                      </a:cubicBezTo>
                      <a:cubicBezTo>
                        <a:pt x="213" y="154"/>
                        <a:pt x="213" y="154"/>
                        <a:pt x="213" y="154"/>
                      </a:cubicBezTo>
                      <a:cubicBezTo>
                        <a:pt x="212" y="153"/>
                        <a:pt x="212" y="153"/>
                        <a:pt x="212" y="153"/>
                      </a:cubicBezTo>
                      <a:cubicBezTo>
                        <a:pt x="213" y="153"/>
                        <a:pt x="213" y="153"/>
                        <a:pt x="213" y="153"/>
                      </a:cubicBezTo>
                      <a:cubicBezTo>
                        <a:pt x="212" y="152"/>
                        <a:pt x="212" y="152"/>
                        <a:pt x="212" y="152"/>
                      </a:cubicBezTo>
                      <a:cubicBezTo>
                        <a:pt x="212" y="152"/>
                        <a:pt x="212" y="152"/>
                        <a:pt x="212" y="152"/>
                      </a:cubicBezTo>
                      <a:cubicBezTo>
                        <a:pt x="212" y="150"/>
                        <a:pt x="212" y="150"/>
                        <a:pt x="212" y="150"/>
                      </a:cubicBezTo>
                      <a:cubicBezTo>
                        <a:pt x="212" y="150"/>
                        <a:pt x="212" y="150"/>
                        <a:pt x="212" y="150"/>
                      </a:cubicBezTo>
                      <a:cubicBezTo>
                        <a:pt x="213" y="150"/>
                        <a:pt x="213" y="150"/>
                        <a:pt x="213" y="150"/>
                      </a:cubicBezTo>
                      <a:cubicBezTo>
                        <a:pt x="213" y="149"/>
                        <a:pt x="213" y="149"/>
                        <a:pt x="213" y="149"/>
                      </a:cubicBezTo>
                      <a:cubicBezTo>
                        <a:pt x="212" y="149"/>
                        <a:pt x="212" y="149"/>
                        <a:pt x="212" y="149"/>
                      </a:cubicBezTo>
                      <a:cubicBezTo>
                        <a:pt x="212" y="148"/>
                        <a:pt x="212" y="148"/>
                        <a:pt x="212" y="148"/>
                      </a:cubicBezTo>
                      <a:cubicBezTo>
                        <a:pt x="213" y="147"/>
                        <a:pt x="213" y="147"/>
                        <a:pt x="213" y="147"/>
                      </a:cubicBezTo>
                      <a:cubicBezTo>
                        <a:pt x="213" y="148"/>
                        <a:pt x="213" y="148"/>
                        <a:pt x="213" y="148"/>
                      </a:cubicBezTo>
                      <a:cubicBezTo>
                        <a:pt x="214" y="148"/>
                        <a:pt x="214" y="148"/>
                        <a:pt x="214" y="148"/>
                      </a:cubicBezTo>
                      <a:cubicBezTo>
                        <a:pt x="214" y="147"/>
                        <a:pt x="214" y="147"/>
                        <a:pt x="214" y="147"/>
                      </a:cubicBezTo>
                      <a:close/>
                      <a:moveTo>
                        <a:pt x="214" y="147"/>
                      </a:moveTo>
                      <a:cubicBezTo>
                        <a:pt x="215" y="146"/>
                        <a:pt x="215" y="146"/>
                        <a:pt x="215" y="146"/>
                      </a:cubicBezTo>
                      <a:cubicBezTo>
                        <a:pt x="215" y="146"/>
                        <a:pt x="215" y="146"/>
                        <a:pt x="215" y="146"/>
                      </a:cubicBezTo>
                      <a:cubicBezTo>
                        <a:pt x="215" y="147"/>
                        <a:pt x="215" y="147"/>
                        <a:pt x="215" y="147"/>
                      </a:cubicBezTo>
                      <a:cubicBezTo>
                        <a:pt x="214" y="147"/>
                        <a:pt x="214" y="147"/>
                        <a:pt x="214" y="147"/>
                      </a:cubicBezTo>
                      <a:close/>
                      <a:moveTo>
                        <a:pt x="71" y="93"/>
                      </a:moveTo>
                      <a:cubicBezTo>
                        <a:pt x="71" y="93"/>
                        <a:pt x="71" y="93"/>
                        <a:pt x="71" y="93"/>
                      </a:cubicBezTo>
                      <a:cubicBezTo>
                        <a:pt x="71" y="92"/>
                        <a:pt x="71" y="92"/>
                        <a:pt x="71" y="92"/>
                      </a:cubicBezTo>
                      <a:cubicBezTo>
                        <a:pt x="72" y="93"/>
                        <a:pt x="72" y="93"/>
                        <a:pt x="72" y="93"/>
                      </a:cubicBezTo>
                      <a:cubicBezTo>
                        <a:pt x="71" y="93"/>
                        <a:pt x="71" y="93"/>
                        <a:pt x="71" y="93"/>
                      </a:cubicBezTo>
                      <a:close/>
                      <a:moveTo>
                        <a:pt x="71" y="94"/>
                      </a:moveTo>
                      <a:cubicBezTo>
                        <a:pt x="72" y="94"/>
                        <a:pt x="72" y="94"/>
                        <a:pt x="72" y="94"/>
                      </a:cubicBezTo>
                      <a:cubicBezTo>
                        <a:pt x="72" y="95"/>
                        <a:pt x="72" y="95"/>
                        <a:pt x="72" y="95"/>
                      </a:cubicBezTo>
                      <a:cubicBezTo>
                        <a:pt x="73" y="96"/>
                        <a:pt x="73" y="96"/>
                        <a:pt x="73" y="96"/>
                      </a:cubicBezTo>
                      <a:cubicBezTo>
                        <a:pt x="73" y="97"/>
                        <a:pt x="73" y="97"/>
                        <a:pt x="73" y="97"/>
                      </a:cubicBezTo>
                      <a:cubicBezTo>
                        <a:pt x="71" y="96"/>
                        <a:pt x="71" y="96"/>
                        <a:pt x="71" y="96"/>
                      </a:cubicBezTo>
                      <a:cubicBezTo>
                        <a:pt x="71" y="95"/>
                        <a:pt x="71" y="95"/>
                        <a:pt x="71" y="95"/>
                      </a:cubicBezTo>
                      <a:cubicBezTo>
                        <a:pt x="70" y="94"/>
                        <a:pt x="70" y="94"/>
                        <a:pt x="70" y="94"/>
                      </a:cubicBezTo>
                      <a:cubicBezTo>
                        <a:pt x="70" y="94"/>
                        <a:pt x="71" y="94"/>
                        <a:pt x="71" y="94"/>
                      </a:cubicBezTo>
                      <a:close/>
                      <a:moveTo>
                        <a:pt x="121" y="79"/>
                      </a:moveTo>
                      <a:cubicBezTo>
                        <a:pt x="120" y="80"/>
                        <a:pt x="120" y="80"/>
                        <a:pt x="120" y="80"/>
                      </a:cubicBezTo>
                      <a:cubicBezTo>
                        <a:pt x="120" y="82"/>
                        <a:pt x="120" y="82"/>
                        <a:pt x="120" y="82"/>
                      </a:cubicBezTo>
                      <a:cubicBezTo>
                        <a:pt x="119" y="82"/>
                        <a:pt x="119" y="82"/>
                        <a:pt x="119" y="82"/>
                      </a:cubicBezTo>
                      <a:cubicBezTo>
                        <a:pt x="119" y="81"/>
                        <a:pt x="119" y="81"/>
                        <a:pt x="119" y="81"/>
                      </a:cubicBezTo>
                      <a:cubicBezTo>
                        <a:pt x="119" y="81"/>
                        <a:pt x="119" y="81"/>
                        <a:pt x="119" y="81"/>
                      </a:cubicBezTo>
                      <a:cubicBezTo>
                        <a:pt x="117" y="81"/>
                        <a:pt x="117" y="81"/>
                        <a:pt x="117" y="81"/>
                      </a:cubicBezTo>
                      <a:cubicBezTo>
                        <a:pt x="117" y="80"/>
                        <a:pt x="117" y="80"/>
                        <a:pt x="117" y="80"/>
                      </a:cubicBezTo>
                      <a:cubicBezTo>
                        <a:pt x="117" y="80"/>
                        <a:pt x="117" y="80"/>
                        <a:pt x="117" y="80"/>
                      </a:cubicBezTo>
                      <a:cubicBezTo>
                        <a:pt x="119" y="78"/>
                        <a:pt x="119" y="78"/>
                        <a:pt x="119" y="78"/>
                      </a:cubicBezTo>
                      <a:cubicBezTo>
                        <a:pt x="120" y="77"/>
                        <a:pt x="120" y="77"/>
                        <a:pt x="120" y="77"/>
                      </a:cubicBezTo>
                      <a:cubicBezTo>
                        <a:pt x="121" y="77"/>
                        <a:pt x="121" y="77"/>
                        <a:pt x="121" y="77"/>
                      </a:cubicBezTo>
                      <a:cubicBezTo>
                        <a:pt x="121" y="79"/>
                        <a:pt x="121" y="79"/>
                        <a:pt x="121" y="79"/>
                      </a:cubicBezTo>
                      <a:close/>
                      <a:moveTo>
                        <a:pt x="121" y="79"/>
                      </a:moveTo>
                      <a:cubicBezTo>
                        <a:pt x="121" y="79"/>
                        <a:pt x="122" y="79"/>
                        <a:pt x="122" y="79"/>
                      </a:cubicBezTo>
                      <a:cubicBezTo>
                        <a:pt x="122" y="78"/>
                        <a:pt x="122" y="78"/>
                        <a:pt x="122" y="78"/>
                      </a:cubicBezTo>
                      <a:cubicBezTo>
                        <a:pt x="121" y="78"/>
                        <a:pt x="121" y="78"/>
                        <a:pt x="121" y="78"/>
                      </a:cubicBezTo>
                      <a:cubicBezTo>
                        <a:pt x="121" y="77"/>
                        <a:pt x="121" y="77"/>
                        <a:pt x="121" y="77"/>
                      </a:cubicBezTo>
                      <a:cubicBezTo>
                        <a:pt x="121" y="76"/>
                        <a:pt x="121" y="76"/>
                        <a:pt x="121" y="76"/>
                      </a:cubicBezTo>
                      <a:cubicBezTo>
                        <a:pt x="121" y="76"/>
                        <a:pt x="121" y="76"/>
                        <a:pt x="121" y="76"/>
                      </a:cubicBezTo>
                      <a:cubicBezTo>
                        <a:pt x="123" y="76"/>
                        <a:pt x="123" y="76"/>
                        <a:pt x="123" y="76"/>
                      </a:cubicBezTo>
                      <a:cubicBezTo>
                        <a:pt x="125" y="77"/>
                        <a:pt x="125" y="77"/>
                        <a:pt x="125" y="77"/>
                      </a:cubicBezTo>
                      <a:cubicBezTo>
                        <a:pt x="125" y="77"/>
                        <a:pt x="125" y="77"/>
                        <a:pt x="125" y="77"/>
                      </a:cubicBezTo>
                      <a:cubicBezTo>
                        <a:pt x="124" y="78"/>
                        <a:pt x="124" y="78"/>
                        <a:pt x="124" y="78"/>
                      </a:cubicBezTo>
                      <a:cubicBezTo>
                        <a:pt x="122" y="79"/>
                        <a:pt x="122" y="79"/>
                        <a:pt x="122" y="79"/>
                      </a:cubicBezTo>
                      <a:cubicBezTo>
                        <a:pt x="121" y="79"/>
                        <a:pt x="121" y="79"/>
                        <a:pt x="121" y="79"/>
                      </a:cubicBezTo>
                      <a:close/>
                      <a:moveTo>
                        <a:pt x="131" y="74"/>
                      </a:moveTo>
                      <a:cubicBezTo>
                        <a:pt x="131" y="73"/>
                        <a:pt x="131" y="73"/>
                        <a:pt x="131" y="73"/>
                      </a:cubicBezTo>
                      <a:cubicBezTo>
                        <a:pt x="132" y="73"/>
                        <a:pt x="132" y="73"/>
                        <a:pt x="132" y="73"/>
                      </a:cubicBezTo>
                      <a:cubicBezTo>
                        <a:pt x="133" y="74"/>
                        <a:pt x="133" y="74"/>
                        <a:pt x="133" y="74"/>
                      </a:cubicBezTo>
                      <a:cubicBezTo>
                        <a:pt x="132" y="75"/>
                        <a:pt x="132" y="75"/>
                        <a:pt x="132" y="75"/>
                      </a:cubicBezTo>
                      <a:cubicBezTo>
                        <a:pt x="132" y="75"/>
                        <a:pt x="132" y="75"/>
                        <a:pt x="132" y="75"/>
                      </a:cubicBezTo>
                      <a:cubicBezTo>
                        <a:pt x="131" y="74"/>
                        <a:pt x="131" y="74"/>
                        <a:pt x="131" y="74"/>
                      </a:cubicBezTo>
                      <a:close/>
                      <a:moveTo>
                        <a:pt x="179" y="115"/>
                      </a:moveTo>
                      <a:cubicBezTo>
                        <a:pt x="180" y="115"/>
                        <a:pt x="180" y="115"/>
                        <a:pt x="180" y="115"/>
                      </a:cubicBezTo>
                      <a:cubicBezTo>
                        <a:pt x="180" y="115"/>
                        <a:pt x="180" y="115"/>
                        <a:pt x="180" y="115"/>
                      </a:cubicBezTo>
                      <a:cubicBezTo>
                        <a:pt x="180" y="116"/>
                        <a:pt x="180" y="116"/>
                        <a:pt x="180" y="116"/>
                      </a:cubicBezTo>
                      <a:cubicBezTo>
                        <a:pt x="179" y="115"/>
                        <a:pt x="179" y="115"/>
                        <a:pt x="179" y="115"/>
                      </a:cubicBezTo>
                      <a:close/>
                      <a:moveTo>
                        <a:pt x="175" y="128"/>
                      </a:moveTo>
                      <a:cubicBezTo>
                        <a:pt x="176" y="128"/>
                        <a:pt x="176" y="128"/>
                        <a:pt x="176" y="128"/>
                      </a:cubicBezTo>
                      <a:cubicBezTo>
                        <a:pt x="176" y="128"/>
                        <a:pt x="176" y="128"/>
                        <a:pt x="176" y="128"/>
                      </a:cubicBezTo>
                      <a:cubicBezTo>
                        <a:pt x="175" y="128"/>
                        <a:pt x="175" y="128"/>
                        <a:pt x="175" y="128"/>
                      </a:cubicBezTo>
                      <a:close/>
                      <a:moveTo>
                        <a:pt x="185" y="126"/>
                      </a:moveTo>
                      <a:cubicBezTo>
                        <a:pt x="186" y="126"/>
                        <a:pt x="186" y="126"/>
                        <a:pt x="186" y="126"/>
                      </a:cubicBezTo>
                      <a:cubicBezTo>
                        <a:pt x="187" y="126"/>
                        <a:pt x="187" y="126"/>
                        <a:pt x="187" y="126"/>
                      </a:cubicBezTo>
                      <a:cubicBezTo>
                        <a:pt x="186" y="126"/>
                        <a:pt x="186" y="126"/>
                        <a:pt x="186" y="126"/>
                      </a:cubicBezTo>
                      <a:cubicBezTo>
                        <a:pt x="185" y="127"/>
                        <a:pt x="185" y="127"/>
                        <a:pt x="185" y="127"/>
                      </a:cubicBezTo>
                      <a:cubicBezTo>
                        <a:pt x="185" y="126"/>
                        <a:pt x="185" y="126"/>
                        <a:pt x="185" y="126"/>
                      </a:cubicBezTo>
                      <a:close/>
                      <a:moveTo>
                        <a:pt x="178" y="117"/>
                      </a:moveTo>
                      <a:cubicBezTo>
                        <a:pt x="178" y="117"/>
                        <a:pt x="178" y="117"/>
                        <a:pt x="178" y="117"/>
                      </a:cubicBezTo>
                      <a:cubicBezTo>
                        <a:pt x="178" y="117"/>
                        <a:pt x="178" y="117"/>
                        <a:pt x="178" y="117"/>
                      </a:cubicBezTo>
                      <a:cubicBezTo>
                        <a:pt x="178" y="117"/>
                        <a:pt x="178" y="117"/>
                        <a:pt x="178" y="117"/>
                      </a:cubicBezTo>
                      <a:cubicBezTo>
                        <a:pt x="178" y="117"/>
                        <a:pt x="178" y="117"/>
                        <a:pt x="178" y="117"/>
                      </a:cubicBezTo>
                      <a:close/>
                      <a:moveTo>
                        <a:pt x="179" y="121"/>
                      </a:moveTo>
                      <a:cubicBezTo>
                        <a:pt x="179" y="119"/>
                        <a:pt x="179" y="119"/>
                        <a:pt x="179" y="119"/>
                      </a:cubicBezTo>
                      <a:cubicBezTo>
                        <a:pt x="179" y="119"/>
                        <a:pt x="179" y="119"/>
                        <a:pt x="179" y="119"/>
                      </a:cubicBezTo>
                      <a:cubicBezTo>
                        <a:pt x="180" y="119"/>
                        <a:pt x="180" y="119"/>
                        <a:pt x="180" y="119"/>
                      </a:cubicBezTo>
                      <a:cubicBezTo>
                        <a:pt x="180" y="120"/>
                        <a:pt x="180" y="120"/>
                        <a:pt x="180" y="120"/>
                      </a:cubicBezTo>
                      <a:cubicBezTo>
                        <a:pt x="181" y="120"/>
                        <a:pt x="181" y="120"/>
                        <a:pt x="181" y="120"/>
                      </a:cubicBezTo>
                      <a:cubicBezTo>
                        <a:pt x="181" y="120"/>
                        <a:pt x="181" y="120"/>
                        <a:pt x="181" y="120"/>
                      </a:cubicBezTo>
                      <a:cubicBezTo>
                        <a:pt x="180" y="121"/>
                        <a:pt x="180" y="121"/>
                        <a:pt x="180" y="121"/>
                      </a:cubicBezTo>
                      <a:cubicBezTo>
                        <a:pt x="179" y="121"/>
                        <a:pt x="179" y="121"/>
                        <a:pt x="179" y="121"/>
                      </a:cubicBezTo>
                      <a:close/>
                      <a:moveTo>
                        <a:pt x="171" y="124"/>
                      </a:moveTo>
                      <a:cubicBezTo>
                        <a:pt x="172" y="124"/>
                        <a:pt x="172" y="124"/>
                        <a:pt x="172" y="124"/>
                      </a:cubicBezTo>
                      <a:cubicBezTo>
                        <a:pt x="172" y="124"/>
                        <a:pt x="172" y="124"/>
                        <a:pt x="172" y="124"/>
                      </a:cubicBezTo>
                      <a:cubicBezTo>
                        <a:pt x="172" y="123"/>
                        <a:pt x="172" y="123"/>
                        <a:pt x="172" y="123"/>
                      </a:cubicBezTo>
                      <a:cubicBezTo>
                        <a:pt x="174" y="122"/>
                        <a:pt x="174" y="122"/>
                        <a:pt x="174" y="122"/>
                      </a:cubicBezTo>
                      <a:cubicBezTo>
                        <a:pt x="175" y="122"/>
                        <a:pt x="175" y="122"/>
                        <a:pt x="175" y="122"/>
                      </a:cubicBezTo>
                      <a:cubicBezTo>
                        <a:pt x="176" y="121"/>
                        <a:pt x="176" y="121"/>
                        <a:pt x="176" y="121"/>
                      </a:cubicBezTo>
                      <a:cubicBezTo>
                        <a:pt x="176" y="121"/>
                        <a:pt x="176" y="121"/>
                        <a:pt x="176" y="121"/>
                      </a:cubicBezTo>
                      <a:cubicBezTo>
                        <a:pt x="177" y="119"/>
                        <a:pt x="177" y="119"/>
                        <a:pt x="177" y="119"/>
                      </a:cubicBezTo>
                      <a:cubicBezTo>
                        <a:pt x="177" y="120"/>
                        <a:pt x="177" y="120"/>
                        <a:pt x="177" y="120"/>
                      </a:cubicBezTo>
                      <a:cubicBezTo>
                        <a:pt x="177" y="120"/>
                        <a:pt x="177" y="120"/>
                        <a:pt x="177" y="120"/>
                      </a:cubicBezTo>
                      <a:cubicBezTo>
                        <a:pt x="178" y="121"/>
                        <a:pt x="178" y="121"/>
                        <a:pt x="178" y="121"/>
                      </a:cubicBezTo>
                      <a:cubicBezTo>
                        <a:pt x="177" y="121"/>
                        <a:pt x="177" y="121"/>
                        <a:pt x="177" y="121"/>
                      </a:cubicBezTo>
                      <a:cubicBezTo>
                        <a:pt x="176" y="122"/>
                        <a:pt x="176" y="122"/>
                        <a:pt x="176" y="122"/>
                      </a:cubicBezTo>
                      <a:cubicBezTo>
                        <a:pt x="175" y="123"/>
                        <a:pt x="175" y="123"/>
                        <a:pt x="175" y="123"/>
                      </a:cubicBezTo>
                      <a:cubicBezTo>
                        <a:pt x="174" y="123"/>
                        <a:pt x="174" y="123"/>
                        <a:pt x="174" y="123"/>
                      </a:cubicBezTo>
                      <a:cubicBezTo>
                        <a:pt x="174" y="124"/>
                        <a:pt x="174" y="124"/>
                        <a:pt x="174" y="124"/>
                      </a:cubicBezTo>
                      <a:cubicBezTo>
                        <a:pt x="174" y="124"/>
                        <a:pt x="174" y="124"/>
                        <a:pt x="174" y="124"/>
                      </a:cubicBezTo>
                      <a:cubicBezTo>
                        <a:pt x="173" y="124"/>
                        <a:pt x="173" y="124"/>
                        <a:pt x="173" y="124"/>
                      </a:cubicBezTo>
                      <a:cubicBezTo>
                        <a:pt x="172" y="124"/>
                        <a:pt x="172" y="124"/>
                        <a:pt x="172" y="124"/>
                      </a:cubicBezTo>
                      <a:cubicBezTo>
                        <a:pt x="171" y="124"/>
                        <a:pt x="171" y="124"/>
                        <a:pt x="171" y="124"/>
                      </a:cubicBezTo>
                      <a:cubicBezTo>
                        <a:pt x="171" y="124"/>
                        <a:pt x="171" y="124"/>
                        <a:pt x="171" y="124"/>
                      </a:cubicBezTo>
                      <a:close/>
                      <a:moveTo>
                        <a:pt x="171" y="122"/>
                      </a:moveTo>
                      <a:cubicBezTo>
                        <a:pt x="172" y="121"/>
                        <a:pt x="172" y="121"/>
                        <a:pt x="172" y="121"/>
                      </a:cubicBezTo>
                      <a:cubicBezTo>
                        <a:pt x="172" y="122"/>
                        <a:pt x="172" y="122"/>
                        <a:pt x="172" y="122"/>
                      </a:cubicBezTo>
                      <a:cubicBezTo>
                        <a:pt x="171" y="123"/>
                        <a:pt x="171" y="123"/>
                        <a:pt x="171" y="123"/>
                      </a:cubicBezTo>
                      <a:cubicBezTo>
                        <a:pt x="171" y="123"/>
                        <a:pt x="171" y="122"/>
                        <a:pt x="171" y="122"/>
                      </a:cubicBezTo>
                      <a:close/>
                      <a:moveTo>
                        <a:pt x="173" y="120"/>
                      </a:moveTo>
                      <a:cubicBezTo>
                        <a:pt x="175" y="119"/>
                        <a:pt x="175" y="119"/>
                        <a:pt x="175" y="119"/>
                      </a:cubicBezTo>
                      <a:cubicBezTo>
                        <a:pt x="175" y="119"/>
                        <a:pt x="175" y="119"/>
                        <a:pt x="175" y="119"/>
                      </a:cubicBezTo>
                      <a:cubicBezTo>
                        <a:pt x="175" y="118"/>
                        <a:pt x="175" y="118"/>
                        <a:pt x="175" y="118"/>
                      </a:cubicBezTo>
                      <a:cubicBezTo>
                        <a:pt x="176" y="118"/>
                        <a:pt x="176" y="118"/>
                        <a:pt x="176" y="118"/>
                      </a:cubicBezTo>
                      <a:cubicBezTo>
                        <a:pt x="176" y="118"/>
                        <a:pt x="176" y="118"/>
                        <a:pt x="176" y="118"/>
                      </a:cubicBezTo>
                      <a:cubicBezTo>
                        <a:pt x="175" y="119"/>
                        <a:pt x="175" y="119"/>
                        <a:pt x="175" y="119"/>
                      </a:cubicBezTo>
                      <a:cubicBezTo>
                        <a:pt x="175" y="120"/>
                        <a:pt x="175" y="120"/>
                        <a:pt x="175" y="120"/>
                      </a:cubicBezTo>
                      <a:cubicBezTo>
                        <a:pt x="174" y="120"/>
                        <a:pt x="174" y="120"/>
                        <a:pt x="174" y="120"/>
                      </a:cubicBezTo>
                      <a:cubicBezTo>
                        <a:pt x="174" y="121"/>
                        <a:pt x="174" y="121"/>
                        <a:pt x="174" y="121"/>
                      </a:cubicBezTo>
                      <a:cubicBezTo>
                        <a:pt x="174" y="121"/>
                        <a:pt x="174" y="121"/>
                        <a:pt x="174" y="121"/>
                      </a:cubicBezTo>
                      <a:cubicBezTo>
                        <a:pt x="173" y="120"/>
                        <a:pt x="173" y="120"/>
                        <a:pt x="173" y="120"/>
                      </a:cubicBezTo>
                      <a:close/>
                      <a:moveTo>
                        <a:pt x="175" y="115"/>
                      </a:moveTo>
                      <a:cubicBezTo>
                        <a:pt x="175" y="114"/>
                        <a:pt x="175" y="114"/>
                        <a:pt x="175" y="114"/>
                      </a:cubicBezTo>
                      <a:cubicBezTo>
                        <a:pt x="176" y="114"/>
                        <a:pt x="176" y="114"/>
                        <a:pt x="176" y="114"/>
                      </a:cubicBezTo>
                      <a:cubicBezTo>
                        <a:pt x="176" y="115"/>
                        <a:pt x="176" y="115"/>
                        <a:pt x="176" y="115"/>
                      </a:cubicBezTo>
                      <a:cubicBezTo>
                        <a:pt x="176" y="115"/>
                        <a:pt x="176" y="115"/>
                        <a:pt x="176" y="115"/>
                      </a:cubicBezTo>
                      <a:cubicBezTo>
                        <a:pt x="176" y="116"/>
                        <a:pt x="176" y="116"/>
                        <a:pt x="176" y="116"/>
                      </a:cubicBezTo>
                      <a:cubicBezTo>
                        <a:pt x="175" y="115"/>
                        <a:pt x="175" y="115"/>
                        <a:pt x="175" y="115"/>
                      </a:cubicBezTo>
                      <a:close/>
                      <a:moveTo>
                        <a:pt x="117" y="55"/>
                      </a:moveTo>
                      <a:cubicBezTo>
                        <a:pt x="117" y="55"/>
                        <a:pt x="118" y="55"/>
                        <a:pt x="118" y="55"/>
                      </a:cubicBezTo>
                      <a:cubicBezTo>
                        <a:pt x="119" y="55"/>
                        <a:pt x="119" y="55"/>
                        <a:pt x="119" y="55"/>
                      </a:cubicBezTo>
                      <a:cubicBezTo>
                        <a:pt x="118" y="55"/>
                        <a:pt x="118" y="55"/>
                        <a:pt x="118" y="55"/>
                      </a:cubicBezTo>
                      <a:cubicBezTo>
                        <a:pt x="117" y="55"/>
                        <a:pt x="117" y="55"/>
                        <a:pt x="117" y="55"/>
                      </a:cubicBezTo>
                      <a:close/>
                      <a:moveTo>
                        <a:pt x="99" y="73"/>
                      </a:moveTo>
                      <a:cubicBezTo>
                        <a:pt x="99" y="72"/>
                        <a:pt x="99" y="72"/>
                        <a:pt x="99" y="72"/>
                      </a:cubicBezTo>
                      <a:cubicBezTo>
                        <a:pt x="99" y="71"/>
                        <a:pt x="99" y="71"/>
                        <a:pt x="99" y="71"/>
                      </a:cubicBezTo>
                      <a:cubicBezTo>
                        <a:pt x="98" y="70"/>
                        <a:pt x="98" y="70"/>
                        <a:pt x="98" y="70"/>
                      </a:cubicBezTo>
                      <a:cubicBezTo>
                        <a:pt x="98" y="69"/>
                        <a:pt x="98" y="69"/>
                        <a:pt x="98" y="69"/>
                      </a:cubicBezTo>
                      <a:cubicBezTo>
                        <a:pt x="98" y="68"/>
                        <a:pt x="98" y="68"/>
                        <a:pt x="98" y="68"/>
                      </a:cubicBezTo>
                      <a:cubicBezTo>
                        <a:pt x="97" y="67"/>
                        <a:pt x="97" y="67"/>
                        <a:pt x="97" y="67"/>
                      </a:cubicBezTo>
                      <a:cubicBezTo>
                        <a:pt x="95" y="67"/>
                        <a:pt x="95" y="67"/>
                        <a:pt x="95" y="67"/>
                      </a:cubicBezTo>
                      <a:cubicBezTo>
                        <a:pt x="95" y="68"/>
                        <a:pt x="95" y="68"/>
                        <a:pt x="95" y="68"/>
                      </a:cubicBezTo>
                      <a:cubicBezTo>
                        <a:pt x="94" y="68"/>
                        <a:pt x="94" y="68"/>
                        <a:pt x="94" y="68"/>
                      </a:cubicBezTo>
                      <a:cubicBezTo>
                        <a:pt x="93" y="67"/>
                        <a:pt x="93" y="67"/>
                        <a:pt x="93" y="67"/>
                      </a:cubicBezTo>
                      <a:cubicBezTo>
                        <a:pt x="93" y="65"/>
                        <a:pt x="93" y="65"/>
                        <a:pt x="93" y="65"/>
                      </a:cubicBezTo>
                      <a:cubicBezTo>
                        <a:pt x="95" y="64"/>
                        <a:pt x="95" y="64"/>
                        <a:pt x="95" y="64"/>
                      </a:cubicBezTo>
                      <a:cubicBezTo>
                        <a:pt x="96" y="62"/>
                        <a:pt x="96" y="62"/>
                        <a:pt x="96" y="62"/>
                      </a:cubicBezTo>
                      <a:cubicBezTo>
                        <a:pt x="97" y="62"/>
                        <a:pt x="97" y="62"/>
                        <a:pt x="97" y="62"/>
                      </a:cubicBezTo>
                      <a:cubicBezTo>
                        <a:pt x="97" y="64"/>
                        <a:pt x="97" y="64"/>
                        <a:pt x="97" y="64"/>
                      </a:cubicBezTo>
                      <a:cubicBezTo>
                        <a:pt x="96" y="64"/>
                        <a:pt x="96" y="64"/>
                        <a:pt x="96" y="64"/>
                      </a:cubicBezTo>
                      <a:cubicBezTo>
                        <a:pt x="97" y="65"/>
                        <a:pt x="97" y="65"/>
                        <a:pt x="97" y="65"/>
                      </a:cubicBezTo>
                      <a:cubicBezTo>
                        <a:pt x="98" y="65"/>
                        <a:pt x="98" y="65"/>
                        <a:pt x="98" y="65"/>
                      </a:cubicBezTo>
                      <a:cubicBezTo>
                        <a:pt x="99" y="65"/>
                        <a:pt x="99" y="65"/>
                        <a:pt x="99" y="65"/>
                      </a:cubicBezTo>
                      <a:cubicBezTo>
                        <a:pt x="99" y="65"/>
                        <a:pt x="99" y="65"/>
                        <a:pt x="99" y="65"/>
                      </a:cubicBezTo>
                      <a:cubicBezTo>
                        <a:pt x="101" y="65"/>
                        <a:pt x="101" y="65"/>
                        <a:pt x="101" y="65"/>
                      </a:cubicBezTo>
                      <a:cubicBezTo>
                        <a:pt x="102" y="66"/>
                        <a:pt x="102" y="66"/>
                        <a:pt x="102" y="66"/>
                      </a:cubicBezTo>
                      <a:cubicBezTo>
                        <a:pt x="102" y="66"/>
                        <a:pt x="102" y="66"/>
                        <a:pt x="102" y="66"/>
                      </a:cubicBezTo>
                      <a:cubicBezTo>
                        <a:pt x="101" y="67"/>
                        <a:pt x="101" y="67"/>
                        <a:pt x="101" y="67"/>
                      </a:cubicBezTo>
                      <a:cubicBezTo>
                        <a:pt x="102" y="68"/>
                        <a:pt x="102" y="68"/>
                        <a:pt x="102" y="68"/>
                      </a:cubicBezTo>
                      <a:cubicBezTo>
                        <a:pt x="103" y="68"/>
                        <a:pt x="103" y="68"/>
                        <a:pt x="103" y="68"/>
                      </a:cubicBezTo>
                      <a:cubicBezTo>
                        <a:pt x="103" y="69"/>
                        <a:pt x="103" y="69"/>
                        <a:pt x="103" y="69"/>
                      </a:cubicBezTo>
                      <a:cubicBezTo>
                        <a:pt x="104" y="71"/>
                        <a:pt x="104" y="71"/>
                        <a:pt x="104" y="71"/>
                      </a:cubicBezTo>
                      <a:cubicBezTo>
                        <a:pt x="105" y="72"/>
                        <a:pt x="105" y="72"/>
                        <a:pt x="105" y="72"/>
                      </a:cubicBezTo>
                      <a:cubicBezTo>
                        <a:pt x="104" y="72"/>
                        <a:pt x="104" y="72"/>
                        <a:pt x="104" y="72"/>
                      </a:cubicBezTo>
                      <a:cubicBezTo>
                        <a:pt x="103" y="71"/>
                        <a:pt x="103" y="71"/>
                        <a:pt x="103" y="71"/>
                      </a:cubicBezTo>
                      <a:cubicBezTo>
                        <a:pt x="102" y="72"/>
                        <a:pt x="102" y="72"/>
                        <a:pt x="102" y="72"/>
                      </a:cubicBezTo>
                      <a:cubicBezTo>
                        <a:pt x="102" y="72"/>
                        <a:pt x="102" y="72"/>
                        <a:pt x="102" y="72"/>
                      </a:cubicBezTo>
                      <a:cubicBezTo>
                        <a:pt x="101" y="72"/>
                        <a:pt x="101" y="72"/>
                        <a:pt x="101" y="72"/>
                      </a:cubicBezTo>
                      <a:cubicBezTo>
                        <a:pt x="99" y="73"/>
                        <a:pt x="99" y="73"/>
                        <a:pt x="99" y="73"/>
                      </a:cubicBezTo>
                      <a:cubicBezTo>
                        <a:pt x="99" y="73"/>
                        <a:pt x="99" y="73"/>
                        <a:pt x="99" y="73"/>
                      </a:cubicBezTo>
                      <a:close/>
                      <a:moveTo>
                        <a:pt x="92" y="102"/>
                      </a:moveTo>
                      <a:cubicBezTo>
                        <a:pt x="93" y="102"/>
                        <a:pt x="93" y="102"/>
                        <a:pt x="93" y="102"/>
                      </a:cubicBezTo>
                      <a:cubicBezTo>
                        <a:pt x="94" y="102"/>
                        <a:pt x="94" y="102"/>
                        <a:pt x="94" y="102"/>
                      </a:cubicBezTo>
                      <a:cubicBezTo>
                        <a:pt x="95" y="102"/>
                        <a:pt x="95" y="102"/>
                        <a:pt x="95" y="102"/>
                      </a:cubicBezTo>
                      <a:cubicBezTo>
                        <a:pt x="96" y="103"/>
                        <a:pt x="96" y="103"/>
                        <a:pt x="96" y="103"/>
                      </a:cubicBezTo>
                      <a:cubicBezTo>
                        <a:pt x="97" y="102"/>
                        <a:pt x="97" y="102"/>
                        <a:pt x="97" y="102"/>
                      </a:cubicBezTo>
                      <a:cubicBezTo>
                        <a:pt x="99" y="101"/>
                        <a:pt x="99" y="101"/>
                        <a:pt x="99" y="101"/>
                      </a:cubicBezTo>
                      <a:cubicBezTo>
                        <a:pt x="99" y="102"/>
                        <a:pt x="99" y="102"/>
                        <a:pt x="99" y="102"/>
                      </a:cubicBezTo>
                      <a:cubicBezTo>
                        <a:pt x="100" y="103"/>
                        <a:pt x="100" y="103"/>
                        <a:pt x="100" y="103"/>
                      </a:cubicBezTo>
                      <a:cubicBezTo>
                        <a:pt x="100" y="104"/>
                        <a:pt x="100" y="104"/>
                        <a:pt x="100" y="104"/>
                      </a:cubicBezTo>
                      <a:cubicBezTo>
                        <a:pt x="99" y="105"/>
                        <a:pt x="99" y="105"/>
                        <a:pt x="99" y="105"/>
                      </a:cubicBezTo>
                      <a:cubicBezTo>
                        <a:pt x="98" y="106"/>
                        <a:pt x="98" y="106"/>
                        <a:pt x="98" y="106"/>
                      </a:cubicBezTo>
                      <a:cubicBezTo>
                        <a:pt x="97" y="106"/>
                        <a:pt x="97" y="106"/>
                        <a:pt x="97" y="106"/>
                      </a:cubicBezTo>
                      <a:cubicBezTo>
                        <a:pt x="96" y="105"/>
                        <a:pt x="96" y="105"/>
                        <a:pt x="96" y="105"/>
                      </a:cubicBezTo>
                      <a:cubicBezTo>
                        <a:pt x="95" y="106"/>
                        <a:pt x="95" y="106"/>
                        <a:pt x="95" y="106"/>
                      </a:cubicBezTo>
                      <a:cubicBezTo>
                        <a:pt x="95" y="105"/>
                        <a:pt x="95" y="105"/>
                        <a:pt x="95" y="105"/>
                      </a:cubicBezTo>
                      <a:cubicBezTo>
                        <a:pt x="94" y="105"/>
                        <a:pt x="94" y="105"/>
                        <a:pt x="94" y="105"/>
                      </a:cubicBezTo>
                      <a:cubicBezTo>
                        <a:pt x="93" y="104"/>
                        <a:pt x="93" y="104"/>
                        <a:pt x="93" y="104"/>
                      </a:cubicBezTo>
                      <a:cubicBezTo>
                        <a:pt x="92" y="102"/>
                        <a:pt x="92" y="102"/>
                        <a:pt x="92" y="102"/>
                      </a:cubicBezTo>
                      <a:close/>
                      <a:moveTo>
                        <a:pt x="156" y="115"/>
                      </a:moveTo>
                      <a:cubicBezTo>
                        <a:pt x="157" y="114"/>
                        <a:pt x="157" y="114"/>
                        <a:pt x="157" y="114"/>
                      </a:cubicBezTo>
                      <a:cubicBezTo>
                        <a:pt x="158" y="114"/>
                        <a:pt x="158" y="114"/>
                        <a:pt x="158" y="114"/>
                      </a:cubicBezTo>
                      <a:cubicBezTo>
                        <a:pt x="158" y="115"/>
                        <a:pt x="158" y="115"/>
                        <a:pt x="158" y="115"/>
                      </a:cubicBezTo>
                      <a:cubicBezTo>
                        <a:pt x="156" y="115"/>
                        <a:pt x="156" y="115"/>
                        <a:pt x="156" y="115"/>
                      </a:cubicBezTo>
                      <a:cubicBezTo>
                        <a:pt x="156" y="115"/>
                        <a:pt x="156" y="115"/>
                        <a:pt x="156" y="115"/>
                      </a:cubicBezTo>
                      <a:close/>
                      <a:moveTo>
                        <a:pt x="146" y="121"/>
                      </a:moveTo>
                      <a:cubicBezTo>
                        <a:pt x="146" y="121"/>
                        <a:pt x="146" y="121"/>
                        <a:pt x="146" y="121"/>
                      </a:cubicBezTo>
                      <a:cubicBezTo>
                        <a:pt x="147" y="122"/>
                        <a:pt x="147" y="122"/>
                        <a:pt x="147" y="122"/>
                      </a:cubicBezTo>
                      <a:cubicBezTo>
                        <a:pt x="146" y="122"/>
                        <a:pt x="146" y="122"/>
                        <a:pt x="146" y="122"/>
                      </a:cubicBezTo>
                      <a:cubicBezTo>
                        <a:pt x="146" y="121"/>
                        <a:pt x="146" y="121"/>
                        <a:pt x="146" y="121"/>
                      </a:cubicBezTo>
                      <a:close/>
                      <a:moveTo>
                        <a:pt x="146" y="129"/>
                      </a:moveTo>
                      <a:cubicBezTo>
                        <a:pt x="146" y="129"/>
                        <a:pt x="146" y="129"/>
                        <a:pt x="146" y="129"/>
                      </a:cubicBezTo>
                      <a:cubicBezTo>
                        <a:pt x="147" y="129"/>
                        <a:pt x="147" y="129"/>
                        <a:pt x="147" y="129"/>
                      </a:cubicBezTo>
                      <a:cubicBezTo>
                        <a:pt x="147" y="129"/>
                        <a:pt x="147" y="129"/>
                        <a:pt x="147" y="129"/>
                      </a:cubicBezTo>
                      <a:cubicBezTo>
                        <a:pt x="146" y="130"/>
                        <a:pt x="146" y="130"/>
                        <a:pt x="146" y="130"/>
                      </a:cubicBezTo>
                      <a:cubicBezTo>
                        <a:pt x="145" y="130"/>
                        <a:pt x="145" y="130"/>
                        <a:pt x="145" y="130"/>
                      </a:cubicBezTo>
                      <a:cubicBezTo>
                        <a:pt x="146" y="129"/>
                        <a:pt x="146" y="129"/>
                        <a:pt x="146" y="129"/>
                      </a:cubicBezTo>
                      <a:close/>
                      <a:moveTo>
                        <a:pt x="142" y="133"/>
                      </a:moveTo>
                      <a:cubicBezTo>
                        <a:pt x="142" y="133"/>
                        <a:pt x="142" y="133"/>
                        <a:pt x="142" y="133"/>
                      </a:cubicBezTo>
                      <a:cubicBezTo>
                        <a:pt x="142" y="132"/>
                        <a:pt x="142" y="132"/>
                        <a:pt x="142" y="132"/>
                      </a:cubicBezTo>
                      <a:cubicBezTo>
                        <a:pt x="143" y="132"/>
                        <a:pt x="143" y="132"/>
                        <a:pt x="143" y="132"/>
                      </a:cubicBezTo>
                      <a:cubicBezTo>
                        <a:pt x="143" y="132"/>
                        <a:pt x="143" y="132"/>
                        <a:pt x="143" y="132"/>
                      </a:cubicBezTo>
                      <a:cubicBezTo>
                        <a:pt x="144" y="132"/>
                        <a:pt x="144" y="132"/>
                        <a:pt x="144" y="132"/>
                      </a:cubicBezTo>
                      <a:cubicBezTo>
                        <a:pt x="144" y="132"/>
                        <a:pt x="144" y="132"/>
                        <a:pt x="144" y="132"/>
                      </a:cubicBezTo>
                      <a:cubicBezTo>
                        <a:pt x="144" y="131"/>
                        <a:pt x="144" y="131"/>
                        <a:pt x="144" y="131"/>
                      </a:cubicBezTo>
                      <a:cubicBezTo>
                        <a:pt x="144" y="131"/>
                        <a:pt x="144" y="131"/>
                        <a:pt x="144" y="131"/>
                      </a:cubicBezTo>
                      <a:cubicBezTo>
                        <a:pt x="145" y="130"/>
                        <a:pt x="145" y="130"/>
                        <a:pt x="145" y="130"/>
                      </a:cubicBezTo>
                      <a:cubicBezTo>
                        <a:pt x="146" y="131"/>
                        <a:pt x="146" y="131"/>
                        <a:pt x="146" y="131"/>
                      </a:cubicBezTo>
                      <a:cubicBezTo>
                        <a:pt x="145" y="131"/>
                        <a:pt x="145" y="131"/>
                        <a:pt x="145" y="131"/>
                      </a:cubicBezTo>
                      <a:cubicBezTo>
                        <a:pt x="146" y="131"/>
                        <a:pt x="146" y="131"/>
                        <a:pt x="146" y="131"/>
                      </a:cubicBezTo>
                      <a:cubicBezTo>
                        <a:pt x="146" y="131"/>
                        <a:pt x="146" y="131"/>
                        <a:pt x="146" y="131"/>
                      </a:cubicBezTo>
                      <a:cubicBezTo>
                        <a:pt x="147" y="131"/>
                        <a:pt x="147" y="131"/>
                        <a:pt x="147" y="131"/>
                      </a:cubicBezTo>
                      <a:cubicBezTo>
                        <a:pt x="147" y="132"/>
                        <a:pt x="147" y="132"/>
                        <a:pt x="147" y="132"/>
                      </a:cubicBezTo>
                      <a:cubicBezTo>
                        <a:pt x="147" y="132"/>
                        <a:pt x="147" y="132"/>
                        <a:pt x="147" y="132"/>
                      </a:cubicBezTo>
                      <a:cubicBezTo>
                        <a:pt x="146" y="133"/>
                        <a:pt x="146" y="133"/>
                        <a:pt x="146" y="133"/>
                      </a:cubicBezTo>
                      <a:cubicBezTo>
                        <a:pt x="147" y="133"/>
                        <a:pt x="147" y="133"/>
                        <a:pt x="147" y="133"/>
                      </a:cubicBezTo>
                      <a:cubicBezTo>
                        <a:pt x="147" y="133"/>
                        <a:pt x="147" y="133"/>
                        <a:pt x="147" y="133"/>
                      </a:cubicBezTo>
                      <a:cubicBezTo>
                        <a:pt x="146" y="133"/>
                        <a:pt x="146" y="133"/>
                        <a:pt x="146" y="133"/>
                      </a:cubicBezTo>
                      <a:cubicBezTo>
                        <a:pt x="146" y="133"/>
                        <a:pt x="146" y="133"/>
                        <a:pt x="146" y="133"/>
                      </a:cubicBezTo>
                      <a:cubicBezTo>
                        <a:pt x="145" y="134"/>
                        <a:pt x="145" y="134"/>
                        <a:pt x="145" y="134"/>
                      </a:cubicBezTo>
                      <a:cubicBezTo>
                        <a:pt x="145" y="134"/>
                        <a:pt x="145" y="134"/>
                        <a:pt x="145" y="134"/>
                      </a:cubicBezTo>
                      <a:cubicBezTo>
                        <a:pt x="144" y="133"/>
                        <a:pt x="144" y="133"/>
                        <a:pt x="144" y="133"/>
                      </a:cubicBezTo>
                      <a:cubicBezTo>
                        <a:pt x="143" y="134"/>
                        <a:pt x="143" y="134"/>
                        <a:pt x="143" y="134"/>
                      </a:cubicBezTo>
                      <a:cubicBezTo>
                        <a:pt x="143" y="134"/>
                        <a:pt x="143" y="134"/>
                        <a:pt x="143" y="134"/>
                      </a:cubicBezTo>
                      <a:cubicBezTo>
                        <a:pt x="142" y="133"/>
                        <a:pt x="142" y="133"/>
                        <a:pt x="142" y="133"/>
                      </a:cubicBezTo>
                      <a:close/>
                      <a:moveTo>
                        <a:pt x="132" y="142"/>
                      </a:moveTo>
                      <a:cubicBezTo>
                        <a:pt x="132" y="142"/>
                        <a:pt x="132" y="142"/>
                        <a:pt x="132" y="142"/>
                      </a:cubicBezTo>
                      <a:cubicBezTo>
                        <a:pt x="131" y="143"/>
                        <a:pt x="131" y="143"/>
                        <a:pt x="131" y="143"/>
                      </a:cubicBezTo>
                      <a:cubicBezTo>
                        <a:pt x="130" y="142"/>
                        <a:pt x="130" y="142"/>
                        <a:pt x="130" y="142"/>
                      </a:cubicBezTo>
                      <a:cubicBezTo>
                        <a:pt x="130" y="141"/>
                        <a:pt x="130" y="141"/>
                        <a:pt x="130" y="141"/>
                      </a:cubicBezTo>
                      <a:cubicBezTo>
                        <a:pt x="131" y="141"/>
                        <a:pt x="131" y="141"/>
                        <a:pt x="131" y="141"/>
                      </a:cubicBezTo>
                      <a:cubicBezTo>
                        <a:pt x="131" y="140"/>
                        <a:pt x="131" y="140"/>
                        <a:pt x="131" y="140"/>
                      </a:cubicBezTo>
                      <a:cubicBezTo>
                        <a:pt x="131" y="139"/>
                        <a:pt x="131" y="139"/>
                        <a:pt x="131" y="139"/>
                      </a:cubicBezTo>
                      <a:cubicBezTo>
                        <a:pt x="131" y="139"/>
                        <a:pt x="131" y="139"/>
                        <a:pt x="131" y="139"/>
                      </a:cubicBezTo>
                      <a:cubicBezTo>
                        <a:pt x="131" y="138"/>
                        <a:pt x="131" y="138"/>
                        <a:pt x="131" y="138"/>
                      </a:cubicBezTo>
                      <a:cubicBezTo>
                        <a:pt x="132" y="137"/>
                        <a:pt x="132" y="137"/>
                        <a:pt x="132" y="137"/>
                      </a:cubicBezTo>
                      <a:cubicBezTo>
                        <a:pt x="134" y="136"/>
                        <a:pt x="134" y="136"/>
                        <a:pt x="134" y="136"/>
                      </a:cubicBezTo>
                      <a:cubicBezTo>
                        <a:pt x="135" y="136"/>
                        <a:pt x="135" y="136"/>
                        <a:pt x="135" y="136"/>
                      </a:cubicBezTo>
                      <a:cubicBezTo>
                        <a:pt x="136" y="136"/>
                        <a:pt x="136" y="136"/>
                        <a:pt x="136" y="136"/>
                      </a:cubicBezTo>
                      <a:cubicBezTo>
                        <a:pt x="136" y="138"/>
                        <a:pt x="136" y="138"/>
                        <a:pt x="136" y="138"/>
                      </a:cubicBezTo>
                      <a:cubicBezTo>
                        <a:pt x="136" y="138"/>
                        <a:pt x="136" y="138"/>
                        <a:pt x="136" y="138"/>
                      </a:cubicBezTo>
                      <a:cubicBezTo>
                        <a:pt x="137" y="137"/>
                        <a:pt x="137" y="137"/>
                        <a:pt x="137" y="137"/>
                      </a:cubicBezTo>
                      <a:cubicBezTo>
                        <a:pt x="137" y="136"/>
                        <a:pt x="137" y="136"/>
                        <a:pt x="137" y="136"/>
                      </a:cubicBezTo>
                      <a:cubicBezTo>
                        <a:pt x="137" y="136"/>
                        <a:pt x="137" y="136"/>
                        <a:pt x="137" y="136"/>
                      </a:cubicBezTo>
                      <a:cubicBezTo>
                        <a:pt x="138" y="137"/>
                        <a:pt x="138" y="137"/>
                        <a:pt x="138" y="137"/>
                      </a:cubicBezTo>
                      <a:cubicBezTo>
                        <a:pt x="138" y="136"/>
                        <a:pt x="138" y="136"/>
                        <a:pt x="138" y="136"/>
                      </a:cubicBezTo>
                      <a:cubicBezTo>
                        <a:pt x="137" y="135"/>
                        <a:pt x="137" y="135"/>
                        <a:pt x="137" y="135"/>
                      </a:cubicBezTo>
                      <a:cubicBezTo>
                        <a:pt x="137" y="135"/>
                        <a:pt x="137" y="135"/>
                        <a:pt x="137" y="135"/>
                      </a:cubicBezTo>
                      <a:cubicBezTo>
                        <a:pt x="138" y="134"/>
                        <a:pt x="138" y="134"/>
                        <a:pt x="138" y="134"/>
                      </a:cubicBezTo>
                      <a:cubicBezTo>
                        <a:pt x="138" y="134"/>
                        <a:pt x="138" y="134"/>
                        <a:pt x="138" y="134"/>
                      </a:cubicBezTo>
                      <a:cubicBezTo>
                        <a:pt x="139" y="135"/>
                        <a:pt x="139" y="135"/>
                        <a:pt x="139" y="135"/>
                      </a:cubicBezTo>
                      <a:cubicBezTo>
                        <a:pt x="139" y="135"/>
                        <a:pt x="139" y="135"/>
                        <a:pt x="139" y="135"/>
                      </a:cubicBezTo>
                      <a:cubicBezTo>
                        <a:pt x="139" y="136"/>
                        <a:pt x="139" y="136"/>
                        <a:pt x="139" y="136"/>
                      </a:cubicBezTo>
                      <a:cubicBezTo>
                        <a:pt x="139" y="136"/>
                        <a:pt x="139" y="136"/>
                        <a:pt x="139" y="136"/>
                      </a:cubicBezTo>
                      <a:cubicBezTo>
                        <a:pt x="139" y="136"/>
                        <a:pt x="139" y="136"/>
                        <a:pt x="139" y="136"/>
                      </a:cubicBezTo>
                      <a:cubicBezTo>
                        <a:pt x="139" y="136"/>
                        <a:pt x="139" y="136"/>
                        <a:pt x="139" y="136"/>
                      </a:cubicBezTo>
                      <a:cubicBezTo>
                        <a:pt x="140" y="135"/>
                        <a:pt x="140" y="135"/>
                        <a:pt x="140" y="135"/>
                      </a:cubicBezTo>
                      <a:cubicBezTo>
                        <a:pt x="140" y="136"/>
                        <a:pt x="140" y="136"/>
                        <a:pt x="140" y="136"/>
                      </a:cubicBezTo>
                      <a:cubicBezTo>
                        <a:pt x="141" y="135"/>
                        <a:pt x="141" y="135"/>
                        <a:pt x="141" y="135"/>
                      </a:cubicBezTo>
                      <a:cubicBezTo>
                        <a:pt x="140" y="134"/>
                        <a:pt x="140" y="134"/>
                        <a:pt x="140" y="134"/>
                      </a:cubicBezTo>
                      <a:cubicBezTo>
                        <a:pt x="141" y="134"/>
                        <a:pt x="141" y="134"/>
                        <a:pt x="141" y="134"/>
                      </a:cubicBezTo>
                      <a:cubicBezTo>
                        <a:pt x="142" y="135"/>
                        <a:pt x="142" y="135"/>
                        <a:pt x="142" y="135"/>
                      </a:cubicBezTo>
                      <a:cubicBezTo>
                        <a:pt x="142" y="135"/>
                        <a:pt x="142" y="135"/>
                        <a:pt x="142" y="135"/>
                      </a:cubicBezTo>
                      <a:cubicBezTo>
                        <a:pt x="141" y="136"/>
                        <a:pt x="141" y="136"/>
                        <a:pt x="141" y="136"/>
                      </a:cubicBezTo>
                      <a:cubicBezTo>
                        <a:pt x="141" y="136"/>
                        <a:pt x="141" y="136"/>
                        <a:pt x="141" y="136"/>
                      </a:cubicBezTo>
                      <a:cubicBezTo>
                        <a:pt x="142" y="136"/>
                        <a:pt x="142" y="136"/>
                        <a:pt x="142" y="136"/>
                      </a:cubicBezTo>
                      <a:cubicBezTo>
                        <a:pt x="143" y="135"/>
                        <a:pt x="143" y="135"/>
                        <a:pt x="143" y="135"/>
                      </a:cubicBezTo>
                      <a:cubicBezTo>
                        <a:pt x="143" y="135"/>
                        <a:pt x="143" y="135"/>
                        <a:pt x="143" y="135"/>
                      </a:cubicBezTo>
                      <a:cubicBezTo>
                        <a:pt x="144" y="135"/>
                        <a:pt x="144" y="135"/>
                        <a:pt x="144" y="135"/>
                      </a:cubicBezTo>
                      <a:cubicBezTo>
                        <a:pt x="144" y="136"/>
                        <a:pt x="144" y="136"/>
                        <a:pt x="144" y="136"/>
                      </a:cubicBezTo>
                      <a:cubicBezTo>
                        <a:pt x="144" y="136"/>
                        <a:pt x="144" y="136"/>
                        <a:pt x="144" y="136"/>
                      </a:cubicBezTo>
                      <a:cubicBezTo>
                        <a:pt x="143" y="136"/>
                        <a:pt x="143" y="136"/>
                        <a:pt x="143" y="136"/>
                      </a:cubicBezTo>
                      <a:cubicBezTo>
                        <a:pt x="143" y="137"/>
                        <a:pt x="143" y="137"/>
                        <a:pt x="143" y="137"/>
                      </a:cubicBezTo>
                      <a:cubicBezTo>
                        <a:pt x="143" y="137"/>
                        <a:pt x="143" y="137"/>
                        <a:pt x="143" y="137"/>
                      </a:cubicBezTo>
                      <a:cubicBezTo>
                        <a:pt x="143" y="138"/>
                        <a:pt x="143" y="138"/>
                        <a:pt x="143" y="138"/>
                      </a:cubicBezTo>
                      <a:cubicBezTo>
                        <a:pt x="143" y="138"/>
                        <a:pt x="143" y="138"/>
                        <a:pt x="143" y="138"/>
                      </a:cubicBezTo>
                      <a:cubicBezTo>
                        <a:pt x="142" y="138"/>
                        <a:pt x="142" y="138"/>
                        <a:pt x="142" y="138"/>
                      </a:cubicBezTo>
                      <a:cubicBezTo>
                        <a:pt x="142" y="138"/>
                        <a:pt x="142" y="138"/>
                        <a:pt x="142" y="138"/>
                      </a:cubicBezTo>
                      <a:cubicBezTo>
                        <a:pt x="141" y="138"/>
                        <a:pt x="141" y="138"/>
                        <a:pt x="141" y="138"/>
                      </a:cubicBezTo>
                      <a:cubicBezTo>
                        <a:pt x="141" y="138"/>
                        <a:pt x="141" y="138"/>
                        <a:pt x="141" y="138"/>
                      </a:cubicBezTo>
                      <a:cubicBezTo>
                        <a:pt x="140" y="138"/>
                        <a:pt x="140" y="138"/>
                        <a:pt x="140" y="138"/>
                      </a:cubicBezTo>
                      <a:cubicBezTo>
                        <a:pt x="139" y="138"/>
                        <a:pt x="139" y="138"/>
                        <a:pt x="139" y="138"/>
                      </a:cubicBezTo>
                      <a:cubicBezTo>
                        <a:pt x="140" y="139"/>
                        <a:pt x="140" y="139"/>
                        <a:pt x="140" y="139"/>
                      </a:cubicBezTo>
                      <a:cubicBezTo>
                        <a:pt x="141" y="139"/>
                        <a:pt x="141" y="139"/>
                        <a:pt x="141" y="139"/>
                      </a:cubicBezTo>
                      <a:cubicBezTo>
                        <a:pt x="140" y="140"/>
                        <a:pt x="140" y="140"/>
                        <a:pt x="140" y="140"/>
                      </a:cubicBezTo>
                      <a:cubicBezTo>
                        <a:pt x="140" y="140"/>
                        <a:pt x="140" y="140"/>
                        <a:pt x="140" y="140"/>
                      </a:cubicBezTo>
                      <a:cubicBezTo>
                        <a:pt x="139" y="139"/>
                        <a:pt x="139" y="139"/>
                        <a:pt x="139" y="139"/>
                      </a:cubicBezTo>
                      <a:cubicBezTo>
                        <a:pt x="138" y="139"/>
                        <a:pt x="138" y="139"/>
                        <a:pt x="138" y="139"/>
                      </a:cubicBezTo>
                      <a:cubicBezTo>
                        <a:pt x="137" y="139"/>
                        <a:pt x="137" y="139"/>
                        <a:pt x="137" y="139"/>
                      </a:cubicBezTo>
                      <a:cubicBezTo>
                        <a:pt x="138" y="140"/>
                        <a:pt x="138" y="140"/>
                        <a:pt x="138" y="140"/>
                      </a:cubicBezTo>
                      <a:cubicBezTo>
                        <a:pt x="138" y="140"/>
                        <a:pt x="138" y="140"/>
                        <a:pt x="138" y="140"/>
                      </a:cubicBezTo>
                      <a:cubicBezTo>
                        <a:pt x="138" y="141"/>
                        <a:pt x="138" y="141"/>
                        <a:pt x="138" y="141"/>
                      </a:cubicBezTo>
                      <a:cubicBezTo>
                        <a:pt x="137" y="141"/>
                        <a:pt x="137" y="141"/>
                        <a:pt x="137" y="141"/>
                      </a:cubicBezTo>
                      <a:cubicBezTo>
                        <a:pt x="136" y="141"/>
                        <a:pt x="136" y="141"/>
                        <a:pt x="136" y="141"/>
                      </a:cubicBezTo>
                      <a:cubicBezTo>
                        <a:pt x="136" y="141"/>
                        <a:pt x="136" y="141"/>
                        <a:pt x="136" y="141"/>
                      </a:cubicBezTo>
                      <a:cubicBezTo>
                        <a:pt x="135" y="142"/>
                        <a:pt x="135" y="142"/>
                        <a:pt x="135" y="142"/>
                      </a:cubicBezTo>
                      <a:cubicBezTo>
                        <a:pt x="135" y="142"/>
                        <a:pt x="135" y="142"/>
                        <a:pt x="135" y="142"/>
                      </a:cubicBezTo>
                      <a:cubicBezTo>
                        <a:pt x="134" y="142"/>
                        <a:pt x="134" y="142"/>
                        <a:pt x="134" y="142"/>
                      </a:cubicBezTo>
                      <a:cubicBezTo>
                        <a:pt x="134" y="142"/>
                        <a:pt x="134" y="142"/>
                        <a:pt x="134" y="142"/>
                      </a:cubicBezTo>
                      <a:cubicBezTo>
                        <a:pt x="133" y="143"/>
                        <a:pt x="133" y="143"/>
                        <a:pt x="133" y="143"/>
                      </a:cubicBezTo>
                      <a:cubicBezTo>
                        <a:pt x="133" y="144"/>
                        <a:pt x="133" y="144"/>
                        <a:pt x="133" y="144"/>
                      </a:cubicBezTo>
                      <a:cubicBezTo>
                        <a:pt x="133" y="144"/>
                        <a:pt x="133" y="144"/>
                        <a:pt x="133" y="144"/>
                      </a:cubicBezTo>
                      <a:cubicBezTo>
                        <a:pt x="132" y="144"/>
                        <a:pt x="132" y="144"/>
                        <a:pt x="132" y="144"/>
                      </a:cubicBezTo>
                      <a:cubicBezTo>
                        <a:pt x="131" y="144"/>
                        <a:pt x="131" y="144"/>
                        <a:pt x="131" y="144"/>
                      </a:cubicBezTo>
                      <a:cubicBezTo>
                        <a:pt x="132" y="144"/>
                        <a:pt x="132" y="144"/>
                        <a:pt x="132" y="144"/>
                      </a:cubicBezTo>
                      <a:cubicBezTo>
                        <a:pt x="133" y="143"/>
                        <a:pt x="133" y="143"/>
                        <a:pt x="133" y="143"/>
                      </a:cubicBezTo>
                      <a:cubicBezTo>
                        <a:pt x="133" y="142"/>
                        <a:pt x="133" y="142"/>
                        <a:pt x="133" y="142"/>
                      </a:cubicBezTo>
                      <a:cubicBezTo>
                        <a:pt x="134" y="141"/>
                        <a:pt x="134" y="141"/>
                        <a:pt x="134" y="141"/>
                      </a:cubicBezTo>
                      <a:cubicBezTo>
                        <a:pt x="133" y="141"/>
                        <a:pt x="133" y="141"/>
                        <a:pt x="133" y="141"/>
                      </a:cubicBezTo>
                      <a:cubicBezTo>
                        <a:pt x="133" y="142"/>
                        <a:pt x="133" y="142"/>
                        <a:pt x="133" y="142"/>
                      </a:cubicBezTo>
                      <a:cubicBezTo>
                        <a:pt x="132" y="142"/>
                        <a:pt x="132" y="142"/>
                        <a:pt x="132" y="142"/>
                      </a:cubicBezTo>
                      <a:cubicBezTo>
                        <a:pt x="133" y="141"/>
                        <a:pt x="133" y="141"/>
                        <a:pt x="133" y="141"/>
                      </a:cubicBezTo>
                      <a:cubicBezTo>
                        <a:pt x="132" y="141"/>
                        <a:pt x="132" y="141"/>
                        <a:pt x="132" y="141"/>
                      </a:cubicBezTo>
                      <a:cubicBezTo>
                        <a:pt x="131" y="142"/>
                        <a:pt x="131" y="142"/>
                        <a:pt x="131" y="142"/>
                      </a:cubicBezTo>
                      <a:cubicBezTo>
                        <a:pt x="132" y="142"/>
                        <a:pt x="132" y="142"/>
                        <a:pt x="132" y="142"/>
                      </a:cubicBezTo>
                      <a:cubicBezTo>
                        <a:pt x="132" y="142"/>
                        <a:pt x="132" y="142"/>
                        <a:pt x="132" y="142"/>
                      </a:cubicBezTo>
                      <a:close/>
                      <a:moveTo>
                        <a:pt x="130" y="145"/>
                      </a:moveTo>
                      <a:cubicBezTo>
                        <a:pt x="131" y="145"/>
                        <a:pt x="131" y="145"/>
                        <a:pt x="131" y="145"/>
                      </a:cubicBezTo>
                      <a:cubicBezTo>
                        <a:pt x="130" y="146"/>
                        <a:pt x="130" y="146"/>
                        <a:pt x="130" y="146"/>
                      </a:cubicBezTo>
                      <a:cubicBezTo>
                        <a:pt x="130" y="145"/>
                        <a:pt x="130" y="145"/>
                        <a:pt x="130" y="145"/>
                      </a:cubicBezTo>
                      <a:close/>
                      <a:moveTo>
                        <a:pt x="127" y="146"/>
                      </a:moveTo>
                      <a:cubicBezTo>
                        <a:pt x="128" y="145"/>
                        <a:pt x="128" y="145"/>
                        <a:pt x="128" y="145"/>
                      </a:cubicBezTo>
                      <a:cubicBezTo>
                        <a:pt x="130" y="145"/>
                        <a:pt x="130" y="145"/>
                        <a:pt x="130" y="145"/>
                      </a:cubicBezTo>
                      <a:cubicBezTo>
                        <a:pt x="128" y="146"/>
                        <a:pt x="128" y="146"/>
                        <a:pt x="128" y="146"/>
                      </a:cubicBezTo>
                      <a:cubicBezTo>
                        <a:pt x="127" y="146"/>
                        <a:pt x="127" y="146"/>
                        <a:pt x="127" y="146"/>
                      </a:cubicBezTo>
                      <a:close/>
                      <a:moveTo>
                        <a:pt x="121" y="151"/>
                      </a:moveTo>
                      <a:cubicBezTo>
                        <a:pt x="120" y="151"/>
                        <a:pt x="120" y="151"/>
                        <a:pt x="120" y="151"/>
                      </a:cubicBezTo>
                      <a:cubicBezTo>
                        <a:pt x="120" y="151"/>
                        <a:pt x="120" y="151"/>
                        <a:pt x="120" y="151"/>
                      </a:cubicBezTo>
                      <a:cubicBezTo>
                        <a:pt x="121" y="150"/>
                        <a:pt x="121" y="150"/>
                        <a:pt x="121" y="150"/>
                      </a:cubicBezTo>
                      <a:cubicBezTo>
                        <a:pt x="121" y="151"/>
                        <a:pt x="121" y="151"/>
                        <a:pt x="121" y="151"/>
                      </a:cubicBezTo>
                      <a:cubicBezTo>
                        <a:pt x="121" y="151"/>
                        <a:pt x="121" y="151"/>
                        <a:pt x="121" y="151"/>
                      </a:cubicBezTo>
                      <a:close/>
                      <a:moveTo>
                        <a:pt x="117" y="143"/>
                      </a:moveTo>
                      <a:cubicBezTo>
                        <a:pt x="118" y="143"/>
                        <a:pt x="118" y="143"/>
                        <a:pt x="118" y="143"/>
                      </a:cubicBezTo>
                      <a:cubicBezTo>
                        <a:pt x="119" y="144"/>
                        <a:pt x="119" y="144"/>
                        <a:pt x="119" y="144"/>
                      </a:cubicBezTo>
                      <a:cubicBezTo>
                        <a:pt x="118" y="144"/>
                        <a:pt x="118" y="144"/>
                        <a:pt x="118" y="144"/>
                      </a:cubicBezTo>
                      <a:cubicBezTo>
                        <a:pt x="117" y="143"/>
                        <a:pt x="117" y="143"/>
                        <a:pt x="117" y="143"/>
                      </a:cubicBezTo>
                      <a:close/>
                      <a:moveTo>
                        <a:pt x="99" y="151"/>
                      </a:moveTo>
                      <a:cubicBezTo>
                        <a:pt x="99" y="151"/>
                        <a:pt x="99" y="151"/>
                        <a:pt x="99" y="151"/>
                      </a:cubicBezTo>
                      <a:cubicBezTo>
                        <a:pt x="99" y="151"/>
                        <a:pt x="99" y="151"/>
                        <a:pt x="99" y="151"/>
                      </a:cubicBezTo>
                      <a:cubicBezTo>
                        <a:pt x="99" y="151"/>
                        <a:pt x="99" y="151"/>
                        <a:pt x="99" y="151"/>
                      </a:cubicBezTo>
                      <a:close/>
                      <a:moveTo>
                        <a:pt x="98" y="151"/>
                      </a:moveTo>
                      <a:cubicBezTo>
                        <a:pt x="98" y="152"/>
                        <a:pt x="98" y="152"/>
                        <a:pt x="98" y="152"/>
                      </a:cubicBezTo>
                      <a:cubicBezTo>
                        <a:pt x="98" y="152"/>
                        <a:pt x="98" y="152"/>
                        <a:pt x="98" y="152"/>
                      </a:cubicBezTo>
                      <a:cubicBezTo>
                        <a:pt x="98" y="151"/>
                        <a:pt x="98" y="151"/>
                        <a:pt x="98" y="151"/>
                      </a:cubicBezTo>
                      <a:close/>
                      <a:moveTo>
                        <a:pt x="102" y="155"/>
                      </a:moveTo>
                      <a:cubicBezTo>
                        <a:pt x="102" y="155"/>
                        <a:pt x="102" y="155"/>
                        <a:pt x="102" y="155"/>
                      </a:cubicBezTo>
                      <a:cubicBezTo>
                        <a:pt x="101" y="156"/>
                        <a:pt x="101" y="156"/>
                        <a:pt x="101" y="156"/>
                      </a:cubicBezTo>
                      <a:cubicBezTo>
                        <a:pt x="101" y="155"/>
                        <a:pt x="101" y="155"/>
                        <a:pt x="101" y="155"/>
                      </a:cubicBezTo>
                      <a:cubicBezTo>
                        <a:pt x="102" y="155"/>
                        <a:pt x="102" y="155"/>
                        <a:pt x="102" y="155"/>
                      </a:cubicBezTo>
                      <a:close/>
                      <a:moveTo>
                        <a:pt x="101" y="154"/>
                      </a:moveTo>
                      <a:cubicBezTo>
                        <a:pt x="102" y="153"/>
                        <a:pt x="102" y="153"/>
                        <a:pt x="102" y="153"/>
                      </a:cubicBezTo>
                      <a:cubicBezTo>
                        <a:pt x="101" y="154"/>
                        <a:pt x="101" y="154"/>
                        <a:pt x="101" y="154"/>
                      </a:cubicBezTo>
                      <a:cubicBezTo>
                        <a:pt x="101" y="154"/>
                        <a:pt x="101" y="154"/>
                        <a:pt x="101" y="154"/>
                      </a:cubicBezTo>
                      <a:close/>
                      <a:moveTo>
                        <a:pt x="97" y="155"/>
                      </a:moveTo>
                      <a:cubicBezTo>
                        <a:pt x="98" y="154"/>
                        <a:pt x="98" y="154"/>
                        <a:pt x="98" y="154"/>
                      </a:cubicBezTo>
                      <a:cubicBezTo>
                        <a:pt x="99" y="153"/>
                        <a:pt x="99" y="153"/>
                        <a:pt x="99" y="153"/>
                      </a:cubicBezTo>
                      <a:cubicBezTo>
                        <a:pt x="99" y="153"/>
                        <a:pt x="99" y="153"/>
                        <a:pt x="99" y="153"/>
                      </a:cubicBezTo>
                      <a:cubicBezTo>
                        <a:pt x="100" y="153"/>
                        <a:pt x="100" y="153"/>
                        <a:pt x="100" y="153"/>
                      </a:cubicBezTo>
                      <a:cubicBezTo>
                        <a:pt x="99" y="154"/>
                        <a:pt x="99" y="154"/>
                        <a:pt x="99" y="154"/>
                      </a:cubicBezTo>
                      <a:cubicBezTo>
                        <a:pt x="99" y="154"/>
                        <a:pt x="99" y="154"/>
                        <a:pt x="99" y="154"/>
                      </a:cubicBezTo>
                      <a:cubicBezTo>
                        <a:pt x="98" y="155"/>
                        <a:pt x="98" y="155"/>
                        <a:pt x="98" y="155"/>
                      </a:cubicBezTo>
                      <a:cubicBezTo>
                        <a:pt x="97" y="155"/>
                        <a:pt x="97" y="155"/>
                        <a:pt x="97" y="155"/>
                      </a:cubicBezTo>
                      <a:close/>
                      <a:moveTo>
                        <a:pt x="96" y="153"/>
                      </a:moveTo>
                      <a:cubicBezTo>
                        <a:pt x="95" y="152"/>
                        <a:pt x="95" y="152"/>
                        <a:pt x="95" y="152"/>
                      </a:cubicBezTo>
                      <a:cubicBezTo>
                        <a:pt x="96" y="151"/>
                        <a:pt x="96" y="151"/>
                        <a:pt x="96" y="151"/>
                      </a:cubicBezTo>
                      <a:cubicBezTo>
                        <a:pt x="96" y="151"/>
                        <a:pt x="96" y="151"/>
                        <a:pt x="96" y="151"/>
                      </a:cubicBezTo>
                      <a:cubicBezTo>
                        <a:pt x="97" y="151"/>
                        <a:pt x="97" y="151"/>
                        <a:pt x="97" y="151"/>
                      </a:cubicBezTo>
                      <a:cubicBezTo>
                        <a:pt x="97" y="152"/>
                        <a:pt x="97" y="152"/>
                        <a:pt x="97" y="152"/>
                      </a:cubicBezTo>
                      <a:cubicBezTo>
                        <a:pt x="96" y="153"/>
                        <a:pt x="96" y="153"/>
                        <a:pt x="96" y="153"/>
                      </a:cubicBezTo>
                      <a:cubicBezTo>
                        <a:pt x="96" y="153"/>
                        <a:pt x="96" y="153"/>
                        <a:pt x="96" y="153"/>
                      </a:cubicBezTo>
                      <a:close/>
                      <a:moveTo>
                        <a:pt x="91" y="152"/>
                      </a:moveTo>
                      <a:cubicBezTo>
                        <a:pt x="92" y="152"/>
                        <a:pt x="92" y="152"/>
                        <a:pt x="92" y="152"/>
                      </a:cubicBezTo>
                      <a:cubicBezTo>
                        <a:pt x="92" y="153"/>
                        <a:pt x="92" y="153"/>
                        <a:pt x="92" y="153"/>
                      </a:cubicBezTo>
                      <a:cubicBezTo>
                        <a:pt x="91" y="153"/>
                        <a:pt x="91" y="153"/>
                        <a:pt x="91" y="153"/>
                      </a:cubicBezTo>
                      <a:cubicBezTo>
                        <a:pt x="91" y="152"/>
                        <a:pt x="91" y="152"/>
                        <a:pt x="91" y="152"/>
                      </a:cubicBezTo>
                      <a:close/>
                      <a:moveTo>
                        <a:pt x="88" y="154"/>
                      </a:moveTo>
                      <a:cubicBezTo>
                        <a:pt x="88" y="154"/>
                        <a:pt x="88" y="154"/>
                        <a:pt x="88" y="154"/>
                      </a:cubicBezTo>
                      <a:cubicBezTo>
                        <a:pt x="88" y="153"/>
                        <a:pt x="88" y="153"/>
                        <a:pt x="88" y="153"/>
                      </a:cubicBezTo>
                      <a:cubicBezTo>
                        <a:pt x="89" y="154"/>
                        <a:pt x="89" y="154"/>
                        <a:pt x="89" y="154"/>
                      </a:cubicBezTo>
                      <a:cubicBezTo>
                        <a:pt x="88" y="154"/>
                        <a:pt x="88" y="154"/>
                        <a:pt x="88" y="154"/>
                      </a:cubicBezTo>
                      <a:close/>
                      <a:moveTo>
                        <a:pt x="85" y="156"/>
                      </a:moveTo>
                      <a:cubicBezTo>
                        <a:pt x="85" y="157"/>
                        <a:pt x="85" y="157"/>
                        <a:pt x="85" y="157"/>
                      </a:cubicBezTo>
                      <a:cubicBezTo>
                        <a:pt x="85" y="158"/>
                        <a:pt x="85" y="158"/>
                        <a:pt x="85" y="158"/>
                      </a:cubicBezTo>
                      <a:cubicBezTo>
                        <a:pt x="84" y="157"/>
                        <a:pt x="84" y="157"/>
                        <a:pt x="84" y="157"/>
                      </a:cubicBezTo>
                      <a:cubicBezTo>
                        <a:pt x="85" y="156"/>
                        <a:pt x="85" y="156"/>
                        <a:pt x="85" y="156"/>
                      </a:cubicBezTo>
                      <a:close/>
                      <a:moveTo>
                        <a:pt x="0" y="171"/>
                      </a:moveTo>
                      <a:cubicBezTo>
                        <a:pt x="0" y="172"/>
                        <a:pt x="0" y="172"/>
                        <a:pt x="0" y="172"/>
                      </a:cubicBezTo>
                      <a:cubicBezTo>
                        <a:pt x="1" y="172"/>
                        <a:pt x="1" y="172"/>
                        <a:pt x="1" y="172"/>
                      </a:cubicBezTo>
                      <a:cubicBezTo>
                        <a:pt x="0" y="171"/>
                        <a:pt x="0" y="171"/>
                        <a:pt x="0" y="171"/>
                      </a:cubicBezTo>
                      <a:close/>
                      <a:moveTo>
                        <a:pt x="1" y="169"/>
                      </a:moveTo>
                      <a:cubicBezTo>
                        <a:pt x="0" y="170"/>
                        <a:pt x="0" y="170"/>
                        <a:pt x="0" y="170"/>
                      </a:cubicBezTo>
                      <a:cubicBezTo>
                        <a:pt x="1" y="170"/>
                        <a:pt x="1" y="170"/>
                        <a:pt x="1" y="170"/>
                      </a:cubicBezTo>
                      <a:cubicBezTo>
                        <a:pt x="2" y="170"/>
                        <a:pt x="2" y="170"/>
                        <a:pt x="2" y="170"/>
                      </a:cubicBezTo>
                      <a:cubicBezTo>
                        <a:pt x="1" y="169"/>
                        <a:pt x="1" y="169"/>
                        <a:pt x="1" y="169"/>
                      </a:cubicBezTo>
                      <a:close/>
                      <a:moveTo>
                        <a:pt x="2" y="167"/>
                      </a:moveTo>
                      <a:cubicBezTo>
                        <a:pt x="3" y="168"/>
                        <a:pt x="3" y="168"/>
                        <a:pt x="3" y="168"/>
                      </a:cubicBezTo>
                      <a:cubicBezTo>
                        <a:pt x="3" y="167"/>
                        <a:pt x="3" y="167"/>
                        <a:pt x="3" y="167"/>
                      </a:cubicBezTo>
                      <a:cubicBezTo>
                        <a:pt x="2" y="167"/>
                        <a:pt x="2" y="167"/>
                        <a:pt x="2" y="167"/>
                      </a:cubicBezTo>
                      <a:close/>
                      <a:moveTo>
                        <a:pt x="8" y="168"/>
                      </a:moveTo>
                      <a:cubicBezTo>
                        <a:pt x="7" y="167"/>
                        <a:pt x="7" y="167"/>
                        <a:pt x="7" y="167"/>
                      </a:cubicBezTo>
                      <a:cubicBezTo>
                        <a:pt x="6" y="167"/>
                        <a:pt x="6" y="167"/>
                        <a:pt x="6" y="167"/>
                      </a:cubicBezTo>
                      <a:cubicBezTo>
                        <a:pt x="6" y="167"/>
                        <a:pt x="6" y="167"/>
                        <a:pt x="6" y="167"/>
                      </a:cubicBezTo>
                      <a:cubicBezTo>
                        <a:pt x="6" y="168"/>
                        <a:pt x="6" y="168"/>
                        <a:pt x="6" y="168"/>
                      </a:cubicBezTo>
                      <a:cubicBezTo>
                        <a:pt x="7" y="168"/>
                        <a:pt x="7" y="168"/>
                        <a:pt x="7" y="168"/>
                      </a:cubicBezTo>
                      <a:cubicBezTo>
                        <a:pt x="6" y="168"/>
                        <a:pt x="6" y="168"/>
                        <a:pt x="6" y="168"/>
                      </a:cubicBezTo>
                      <a:cubicBezTo>
                        <a:pt x="6" y="169"/>
                        <a:pt x="6" y="169"/>
                        <a:pt x="6" y="169"/>
                      </a:cubicBezTo>
                      <a:cubicBezTo>
                        <a:pt x="7" y="169"/>
                        <a:pt x="7" y="169"/>
                        <a:pt x="7" y="169"/>
                      </a:cubicBezTo>
                      <a:cubicBezTo>
                        <a:pt x="8" y="168"/>
                        <a:pt x="8" y="168"/>
                        <a:pt x="8" y="168"/>
                      </a:cubicBezTo>
                      <a:cubicBezTo>
                        <a:pt x="8" y="168"/>
                        <a:pt x="8" y="168"/>
                        <a:pt x="8" y="168"/>
                      </a:cubicBezTo>
                      <a:close/>
                      <a:moveTo>
                        <a:pt x="9" y="170"/>
                      </a:moveTo>
                      <a:cubicBezTo>
                        <a:pt x="9" y="170"/>
                        <a:pt x="9" y="170"/>
                        <a:pt x="9" y="170"/>
                      </a:cubicBezTo>
                      <a:cubicBezTo>
                        <a:pt x="10" y="169"/>
                        <a:pt x="10" y="169"/>
                        <a:pt x="10" y="169"/>
                      </a:cubicBezTo>
                      <a:cubicBezTo>
                        <a:pt x="11" y="168"/>
                        <a:pt x="11" y="168"/>
                        <a:pt x="11" y="168"/>
                      </a:cubicBezTo>
                      <a:cubicBezTo>
                        <a:pt x="11" y="168"/>
                        <a:pt x="11" y="168"/>
                        <a:pt x="11" y="168"/>
                      </a:cubicBezTo>
                      <a:cubicBezTo>
                        <a:pt x="11" y="168"/>
                        <a:pt x="11" y="168"/>
                        <a:pt x="11" y="168"/>
                      </a:cubicBezTo>
                      <a:cubicBezTo>
                        <a:pt x="10" y="168"/>
                        <a:pt x="10" y="168"/>
                        <a:pt x="10" y="168"/>
                      </a:cubicBezTo>
                      <a:cubicBezTo>
                        <a:pt x="9" y="169"/>
                        <a:pt x="9" y="169"/>
                        <a:pt x="9" y="169"/>
                      </a:cubicBezTo>
                      <a:cubicBezTo>
                        <a:pt x="9" y="170"/>
                        <a:pt x="9" y="170"/>
                        <a:pt x="9" y="170"/>
                      </a:cubicBezTo>
                      <a:close/>
                      <a:moveTo>
                        <a:pt x="14" y="169"/>
                      </a:moveTo>
                      <a:cubicBezTo>
                        <a:pt x="13" y="168"/>
                        <a:pt x="13" y="168"/>
                        <a:pt x="13" y="168"/>
                      </a:cubicBezTo>
                      <a:cubicBezTo>
                        <a:pt x="13" y="168"/>
                        <a:pt x="13" y="168"/>
                        <a:pt x="13" y="168"/>
                      </a:cubicBezTo>
                      <a:cubicBezTo>
                        <a:pt x="13" y="169"/>
                        <a:pt x="13" y="169"/>
                        <a:pt x="13" y="169"/>
                      </a:cubicBezTo>
                      <a:cubicBezTo>
                        <a:pt x="12" y="169"/>
                        <a:pt x="12" y="169"/>
                        <a:pt x="12" y="169"/>
                      </a:cubicBezTo>
                      <a:cubicBezTo>
                        <a:pt x="12" y="170"/>
                        <a:pt x="12" y="170"/>
                        <a:pt x="12" y="170"/>
                      </a:cubicBezTo>
                      <a:cubicBezTo>
                        <a:pt x="13" y="170"/>
                        <a:pt x="13" y="170"/>
                        <a:pt x="13" y="170"/>
                      </a:cubicBezTo>
                      <a:cubicBezTo>
                        <a:pt x="14" y="169"/>
                        <a:pt x="14" y="169"/>
                        <a:pt x="14" y="169"/>
                      </a:cubicBezTo>
                      <a:close/>
                      <a:moveTo>
                        <a:pt x="25" y="169"/>
                      </a:moveTo>
                      <a:cubicBezTo>
                        <a:pt x="25" y="168"/>
                        <a:pt x="25" y="168"/>
                        <a:pt x="25" y="168"/>
                      </a:cubicBezTo>
                      <a:cubicBezTo>
                        <a:pt x="26" y="168"/>
                        <a:pt x="26" y="168"/>
                        <a:pt x="26" y="168"/>
                      </a:cubicBezTo>
                      <a:cubicBezTo>
                        <a:pt x="26" y="167"/>
                        <a:pt x="26" y="167"/>
                        <a:pt x="26" y="167"/>
                      </a:cubicBezTo>
                      <a:cubicBezTo>
                        <a:pt x="25" y="166"/>
                        <a:pt x="25" y="166"/>
                        <a:pt x="25" y="166"/>
                      </a:cubicBezTo>
                      <a:cubicBezTo>
                        <a:pt x="24" y="167"/>
                        <a:pt x="24" y="167"/>
                        <a:pt x="24" y="167"/>
                      </a:cubicBezTo>
                      <a:cubicBezTo>
                        <a:pt x="24" y="168"/>
                        <a:pt x="24" y="168"/>
                        <a:pt x="24" y="168"/>
                      </a:cubicBezTo>
                      <a:cubicBezTo>
                        <a:pt x="24" y="168"/>
                        <a:pt x="24" y="168"/>
                        <a:pt x="24" y="168"/>
                      </a:cubicBezTo>
                      <a:cubicBezTo>
                        <a:pt x="23" y="168"/>
                        <a:pt x="23" y="168"/>
                        <a:pt x="23" y="168"/>
                      </a:cubicBezTo>
                      <a:cubicBezTo>
                        <a:pt x="22" y="168"/>
                        <a:pt x="22" y="168"/>
                        <a:pt x="22" y="168"/>
                      </a:cubicBezTo>
                      <a:cubicBezTo>
                        <a:pt x="22" y="168"/>
                        <a:pt x="22" y="168"/>
                        <a:pt x="22" y="168"/>
                      </a:cubicBezTo>
                      <a:cubicBezTo>
                        <a:pt x="21" y="168"/>
                        <a:pt x="21" y="168"/>
                        <a:pt x="21" y="168"/>
                      </a:cubicBezTo>
                      <a:cubicBezTo>
                        <a:pt x="21" y="169"/>
                        <a:pt x="21" y="169"/>
                        <a:pt x="21" y="169"/>
                      </a:cubicBezTo>
                      <a:cubicBezTo>
                        <a:pt x="21" y="169"/>
                        <a:pt x="21" y="169"/>
                        <a:pt x="21" y="169"/>
                      </a:cubicBezTo>
                      <a:cubicBezTo>
                        <a:pt x="22" y="169"/>
                        <a:pt x="22" y="169"/>
                        <a:pt x="22" y="169"/>
                      </a:cubicBezTo>
                      <a:cubicBezTo>
                        <a:pt x="23" y="169"/>
                        <a:pt x="23" y="169"/>
                        <a:pt x="23" y="169"/>
                      </a:cubicBezTo>
                      <a:cubicBezTo>
                        <a:pt x="24" y="169"/>
                        <a:pt x="24" y="169"/>
                        <a:pt x="24" y="169"/>
                      </a:cubicBezTo>
                      <a:cubicBezTo>
                        <a:pt x="25" y="169"/>
                        <a:pt x="25" y="169"/>
                        <a:pt x="25" y="169"/>
                      </a:cubicBezTo>
                      <a:close/>
                      <a:moveTo>
                        <a:pt x="27" y="169"/>
                      </a:moveTo>
                      <a:cubicBezTo>
                        <a:pt x="29" y="169"/>
                        <a:pt x="29" y="169"/>
                        <a:pt x="29" y="169"/>
                      </a:cubicBezTo>
                      <a:cubicBezTo>
                        <a:pt x="30" y="169"/>
                        <a:pt x="30" y="169"/>
                        <a:pt x="30" y="169"/>
                      </a:cubicBezTo>
                      <a:cubicBezTo>
                        <a:pt x="30" y="170"/>
                        <a:pt x="30" y="170"/>
                        <a:pt x="30" y="170"/>
                      </a:cubicBezTo>
                      <a:cubicBezTo>
                        <a:pt x="29" y="170"/>
                        <a:pt x="29" y="170"/>
                        <a:pt x="29" y="170"/>
                      </a:cubicBezTo>
                      <a:cubicBezTo>
                        <a:pt x="27" y="170"/>
                        <a:pt x="27" y="170"/>
                        <a:pt x="27" y="170"/>
                      </a:cubicBezTo>
                      <a:cubicBezTo>
                        <a:pt x="26" y="170"/>
                        <a:pt x="26" y="170"/>
                        <a:pt x="26" y="170"/>
                      </a:cubicBezTo>
                      <a:cubicBezTo>
                        <a:pt x="26" y="169"/>
                        <a:pt x="26" y="169"/>
                        <a:pt x="26" y="169"/>
                      </a:cubicBezTo>
                      <a:cubicBezTo>
                        <a:pt x="26" y="169"/>
                        <a:pt x="27" y="169"/>
                        <a:pt x="27" y="169"/>
                      </a:cubicBezTo>
                      <a:close/>
                      <a:moveTo>
                        <a:pt x="35" y="168"/>
                      </a:moveTo>
                      <a:cubicBezTo>
                        <a:pt x="34" y="167"/>
                        <a:pt x="34" y="167"/>
                        <a:pt x="34" y="167"/>
                      </a:cubicBezTo>
                      <a:cubicBezTo>
                        <a:pt x="33" y="168"/>
                        <a:pt x="33" y="168"/>
                        <a:pt x="33" y="168"/>
                      </a:cubicBezTo>
                      <a:cubicBezTo>
                        <a:pt x="32" y="168"/>
                        <a:pt x="32" y="168"/>
                        <a:pt x="32" y="168"/>
                      </a:cubicBezTo>
                      <a:cubicBezTo>
                        <a:pt x="34" y="168"/>
                        <a:pt x="34" y="168"/>
                        <a:pt x="34" y="168"/>
                      </a:cubicBezTo>
                      <a:cubicBezTo>
                        <a:pt x="35" y="168"/>
                        <a:pt x="35" y="168"/>
                        <a:pt x="35" y="168"/>
                      </a:cubicBezTo>
                      <a:close/>
                      <a:moveTo>
                        <a:pt x="40" y="168"/>
                      </a:moveTo>
                      <a:cubicBezTo>
                        <a:pt x="39" y="167"/>
                        <a:pt x="39" y="167"/>
                        <a:pt x="39" y="167"/>
                      </a:cubicBezTo>
                      <a:cubicBezTo>
                        <a:pt x="39" y="167"/>
                        <a:pt x="39" y="167"/>
                        <a:pt x="39" y="167"/>
                      </a:cubicBezTo>
                      <a:cubicBezTo>
                        <a:pt x="40" y="168"/>
                        <a:pt x="40" y="168"/>
                        <a:pt x="40" y="168"/>
                      </a:cubicBezTo>
                      <a:close/>
                      <a:moveTo>
                        <a:pt x="43" y="166"/>
                      </a:moveTo>
                      <a:cubicBezTo>
                        <a:pt x="43" y="165"/>
                        <a:pt x="43" y="165"/>
                        <a:pt x="43" y="165"/>
                      </a:cubicBezTo>
                      <a:cubicBezTo>
                        <a:pt x="42" y="166"/>
                        <a:pt x="42" y="166"/>
                        <a:pt x="42" y="166"/>
                      </a:cubicBezTo>
                      <a:cubicBezTo>
                        <a:pt x="42" y="167"/>
                        <a:pt x="42" y="167"/>
                        <a:pt x="42" y="167"/>
                      </a:cubicBezTo>
                      <a:cubicBezTo>
                        <a:pt x="43" y="166"/>
                        <a:pt x="43" y="166"/>
                        <a:pt x="43" y="166"/>
                      </a:cubicBezTo>
                      <a:cubicBezTo>
                        <a:pt x="43" y="166"/>
                        <a:pt x="43" y="166"/>
                        <a:pt x="43" y="166"/>
                      </a:cubicBezTo>
                      <a:close/>
                      <a:moveTo>
                        <a:pt x="46" y="166"/>
                      </a:moveTo>
                      <a:cubicBezTo>
                        <a:pt x="45" y="166"/>
                        <a:pt x="45" y="166"/>
                        <a:pt x="45" y="166"/>
                      </a:cubicBezTo>
                      <a:cubicBezTo>
                        <a:pt x="45" y="166"/>
                        <a:pt x="45" y="166"/>
                        <a:pt x="45" y="166"/>
                      </a:cubicBezTo>
                      <a:cubicBezTo>
                        <a:pt x="45" y="166"/>
                        <a:pt x="45" y="166"/>
                        <a:pt x="45" y="166"/>
                      </a:cubicBezTo>
                      <a:cubicBezTo>
                        <a:pt x="46" y="166"/>
                        <a:pt x="46" y="166"/>
                        <a:pt x="46" y="166"/>
                      </a:cubicBezTo>
                      <a:close/>
                      <a:moveTo>
                        <a:pt x="46" y="165"/>
                      </a:moveTo>
                      <a:cubicBezTo>
                        <a:pt x="46" y="164"/>
                        <a:pt x="46" y="164"/>
                        <a:pt x="46" y="164"/>
                      </a:cubicBezTo>
                      <a:cubicBezTo>
                        <a:pt x="45" y="165"/>
                        <a:pt x="45" y="165"/>
                        <a:pt x="45" y="165"/>
                      </a:cubicBezTo>
                      <a:cubicBezTo>
                        <a:pt x="46" y="165"/>
                        <a:pt x="46" y="165"/>
                        <a:pt x="46" y="165"/>
                      </a:cubicBezTo>
                      <a:close/>
                      <a:moveTo>
                        <a:pt x="46" y="165"/>
                      </a:moveTo>
                      <a:cubicBezTo>
                        <a:pt x="47" y="166"/>
                        <a:pt x="47" y="166"/>
                        <a:pt x="47" y="166"/>
                      </a:cubicBezTo>
                      <a:cubicBezTo>
                        <a:pt x="48" y="165"/>
                        <a:pt x="48" y="165"/>
                        <a:pt x="48" y="165"/>
                      </a:cubicBezTo>
                      <a:cubicBezTo>
                        <a:pt x="47" y="165"/>
                        <a:pt x="47" y="165"/>
                        <a:pt x="47" y="165"/>
                      </a:cubicBezTo>
                      <a:cubicBezTo>
                        <a:pt x="46" y="165"/>
                        <a:pt x="46" y="165"/>
                        <a:pt x="46" y="165"/>
                      </a:cubicBezTo>
                      <a:close/>
                      <a:moveTo>
                        <a:pt x="57" y="161"/>
                      </a:moveTo>
                      <a:cubicBezTo>
                        <a:pt x="58" y="162"/>
                        <a:pt x="58" y="162"/>
                        <a:pt x="58" y="162"/>
                      </a:cubicBezTo>
                      <a:cubicBezTo>
                        <a:pt x="58" y="162"/>
                        <a:pt x="58" y="162"/>
                        <a:pt x="58" y="162"/>
                      </a:cubicBezTo>
                      <a:cubicBezTo>
                        <a:pt x="57" y="162"/>
                        <a:pt x="57" y="162"/>
                        <a:pt x="57" y="162"/>
                      </a:cubicBezTo>
                      <a:cubicBezTo>
                        <a:pt x="57" y="163"/>
                        <a:pt x="57" y="163"/>
                        <a:pt x="57" y="163"/>
                      </a:cubicBezTo>
                      <a:cubicBezTo>
                        <a:pt x="56" y="163"/>
                        <a:pt x="56" y="163"/>
                        <a:pt x="56" y="163"/>
                      </a:cubicBezTo>
                      <a:cubicBezTo>
                        <a:pt x="54" y="165"/>
                        <a:pt x="54" y="165"/>
                        <a:pt x="54" y="165"/>
                      </a:cubicBezTo>
                      <a:cubicBezTo>
                        <a:pt x="53" y="165"/>
                        <a:pt x="53" y="165"/>
                        <a:pt x="53" y="165"/>
                      </a:cubicBezTo>
                      <a:cubicBezTo>
                        <a:pt x="52" y="166"/>
                        <a:pt x="52" y="166"/>
                        <a:pt x="52" y="166"/>
                      </a:cubicBezTo>
                      <a:cubicBezTo>
                        <a:pt x="50" y="166"/>
                        <a:pt x="50" y="166"/>
                        <a:pt x="50" y="166"/>
                      </a:cubicBezTo>
                      <a:cubicBezTo>
                        <a:pt x="51" y="165"/>
                        <a:pt x="51" y="165"/>
                        <a:pt x="51" y="165"/>
                      </a:cubicBezTo>
                      <a:cubicBezTo>
                        <a:pt x="52" y="165"/>
                        <a:pt x="52" y="165"/>
                        <a:pt x="52" y="165"/>
                      </a:cubicBezTo>
                      <a:cubicBezTo>
                        <a:pt x="52" y="164"/>
                        <a:pt x="52" y="164"/>
                        <a:pt x="52" y="164"/>
                      </a:cubicBezTo>
                      <a:cubicBezTo>
                        <a:pt x="53" y="164"/>
                        <a:pt x="53" y="164"/>
                        <a:pt x="53" y="164"/>
                      </a:cubicBezTo>
                      <a:cubicBezTo>
                        <a:pt x="53" y="164"/>
                        <a:pt x="53" y="164"/>
                        <a:pt x="53" y="164"/>
                      </a:cubicBezTo>
                      <a:cubicBezTo>
                        <a:pt x="54" y="163"/>
                        <a:pt x="54" y="163"/>
                        <a:pt x="54" y="163"/>
                      </a:cubicBezTo>
                      <a:cubicBezTo>
                        <a:pt x="55" y="162"/>
                        <a:pt x="55" y="162"/>
                        <a:pt x="55" y="162"/>
                      </a:cubicBezTo>
                      <a:cubicBezTo>
                        <a:pt x="55" y="162"/>
                        <a:pt x="55" y="162"/>
                        <a:pt x="55" y="162"/>
                      </a:cubicBezTo>
                      <a:cubicBezTo>
                        <a:pt x="55" y="161"/>
                        <a:pt x="55" y="161"/>
                        <a:pt x="55" y="161"/>
                      </a:cubicBezTo>
                      <a:cubicBezTo>
                        <a:pt x="57" y="161"/>
                        <a:pt x="57" y="161"/>
                        <a:pt x="57" y="161"/>
                      </a:cubicBezTo>
                      <a:cubicBezTo>
                        <a:pt x="57" y="161"/>
                        <a:pt x="57" y="161"/>
                        <a:pt x="57" y="161"/>
                      </a:cubicBezTo>
                      <a:close/>
                      <a:moveTo>
                        <a:pt x="65" y="158"/>
                      </a:moveTo>
                      <a:cubicBezTo>
                        <a:pt x="65" y="158"/>
                        <a:pt x="65" y="158"/>
                        <a:pt x="65" y="158"/>
                      </a:cubicBezTo>
                      <a:cubicBezTo>
                        <a:pt x="64" y="159"/>
                        <a:pt x="64" y="159"/>
                        <a:pt x="64" y="159"/>
                      </a:cubicBezTo>
                      <a:cubicBezTo>
                        <a:pt x="64" y="159"/>
                        <a:pt x="64" y="159"/>
                        <a:pt x="64" y="159"/>
                      </a:cubicBezTo>
                      <a:cubicBezTo>
                        <a:pt x="64" y="160"/>
                        <a:pt x="64" y="160"/>
                        <a:pt x="64" y="160"/>
                      </a:cubicBezTo>
                      <a:cubicBezTo>
                        <a:pt x="64" y="160"/>
                        <a:pt x="64" y="160"/>
                        <a:pt x="64" y="160"/>
                      </a:cubicBezTo>
                      <a:cubicBezTo>
                        <a:pt x="63" y="160"/>
                        <a:pt x="63" y="160"/>
                        <a:pt x="63" y="160"/>
                      </a:cubicBezTo>
                      <a:cubicBezTo>
                        <a:pt x="62" y="160"/>
                        <a:pt x="62" y="160"/>
                        <a:pt x="62" y="160"/>
                      </a:cubicBezTo>
                      <a:cubicBezTo>
                        <a:pt x="62" y="161"/>
                        <a:pt x="62" y="161"/>
                        <a:pt x="62" y="161"/>
                      </a:cubicBezTo>
                      <a:cubicBezTo>
                        <a:pt x="62" y="161"/>
                        <a:pt x="62" y="161"/>
                        <a:pt x="62" y="161"/>
                      </a:cubicBezTo>
                      <a:cubicBezTo>
                        <a:pt x="61" y="162"/>
                        <a:pt x="61" y="162"/>
                        <a:pt x="61" y="162"/>
                      </a:cubicBezTo>
                      <a:cubicBezTo>
                        <a:pt x="60" y="162"/>
                        <a:pt x="60" y="162"/>
                        <a:pt x="60" y="162"/>
                      </a:cubicBezTo>
                      <a:cubicBezTo>
                        <a:pt x="59" y="163"/>
                        <a:pt x="59" y="163"/>
                        <a:pt x="59" y="163"/>
                      </a:cubicBezTo>
                      <a:cubicBezTo>
                        <a:pt x="58" y="163"/>
                        <a:pt x="58" y="163"/>
                        <a:pt x="58" y="163"/>
                      </a:cubicBezTo>
                      <a:cubicBezTo>
                        <a:pt x="58" y="163"/>
                        <a:pt x="58" y="163"/>
                        <a:pt x="58" y="163"/>
                      </a:cubicBezTo>
                      <a:cubicBezTo>
                        <a:pt x="59" y="163"/>
                        <a:pt x="59" y="163"/>
                        <a:pt x="59" y="163"/>
                      </a:cubicBezTo>
                      <a:cubicBezTo>
                        <a:pt x="60" y="163"/>
                        <a:pt x="60" y="163"/>
                        <a:pt x="60" y="163"/>
                      </a:cubicBezTo>
                      <a:cubicBezTo>
                        <a:pt x="61" y="163"/>
                        <a:pt x="61" y="163"/>
                        <a:pt x="61" y="163"/>
                      </a:cubicBezTo>
                      <a:cubicBezTo>
                        <a:pt x="62" y="162"/>
                        <a:pt x="62" y="162"/>
                        <a:pt x="62" y="162"/>
                      </a:cubicBezTo>
                      <a:cubicBezTo>
                        <a:pt x="63" y="163"/>
                        <a:pt x="63" y="163"/>
                        <a:pt x="63" y="163"/>
                      </a:cubicBezTo>
                      <a:cubicBezTo>
                        <a:pt x="63" y="163"/>
                        <a:pt x="63" y="163"/>
                        <a:pt x="63" y="163"/>
                      </a:cubicBezTo>
                      <a:cubicBezTo>
                        <a:pt x="63" y="162"/>
                        <a:pt x="63" y="162"/>
                        <a:pt x="63" y="162"/>
                      </a:cubicBezTo>
                      <a:cubicBezTo>
                        <a:pt x="64" y="161"/>
                        <a:pt x="64" y="161"/>
                        <a:pt x="64" y="161"/>
                      </a:cubicBezTo>
                      <a:cubicBezTo>
                        <a:pt x="64" y="162"/>
                        <a:pt x="64" y="162"/>
                        <a:pt x="64" y="162"/>
                      </a:cubicBezTo>
                      <a:cubicBezTo>
                        <a:pt x="64" y="162"/>
                        <a:pt x="64" y="162"/>
                        <a:pt x="64" y="162"/>
                      </a:cubicBezTo>
                      <a:cubicBezTo>
                        <a:pt x="65" y="162"/>
                        <a:pt x="65" y="162"/>
                        <a:pt x="65" y="162"/>
                      </a:cubicBezTo>
                      <a:cubicBezTo>
                        <a:pt x="66" y="161"/>
                        <a:pt x="66" y="161"/>
                        <a:pt x="66" y="161"/>
                      </a:cubicBezTo>
                      <a:cubicBezTo>
                        <a:pt x="67" y="161"/>
                        <a:pt x="67" y="161"/>
                        <a:pt x="67" y="161"/>
                      </a:cubicBezTo>
                      <a:cubicBezTo>
                        <a:pt x="67" y="160"/>
                        <a:pt x="67" y="160"/>
                        <a:pt x="67" y="160"/>
                      </a:cubicBezTo>
                      <a:cubicBezTo>
                        <a:pt x="66" y="160"/>
                        <a:pt x="66" y="160"/>
                        <a:pt x="66" y="160"/>
                      </a:cubicBezTo>
                      <a:cubicBezTo>
                        <a:pt x="67" y="159"/>
                        <a:pt x="67" y="159"/>
                        <a:pt x="67" y="159"/>
                      </a:cubicBezTo>
                      <a:cubicBezTo>
                        <a:pt x="67" y="159"/>
                        <a:pt x="67" y="159"/>
                        <a:pt x="67" y="159"/>
                      </a:cubicBezTo>
                      <a:cubicBezTo>
                        <a:pt x="66" y="158"/>
                        <a:pt x="66" y="158"/>
                        <a:pt x="66" y="158"/>
                      </a:cubicBezTo>
                      <a:cubicBezTo>
                        <a:pt x="65" y="158"/>
                        <a:pt x="65" y="158"/>
                        <a:pt x="65" y="158"/>
                      </a:cubicBezTo>
                      <a:close/>
                      <a:moveTo>
                        <a:pt x="68" y="159"/>
                      </a:moveTo>
                      <a:cubicBezTo>
                        <a:pt x="68" y="158"/>
                        <a:pt x="68" y="158"/>
                        <a:pt x="68" y="158"/>
                      </a:cubicBezTo>
                      <a:cubicBezTo>
                        <a:pt x="68" y="158"/>
                        <a:pt x="68" y="158"/>
                        <a:pt x="68" y="158"/>
                      </a:cubicBezTo>
                      <a:cubicBezTo>
                        <a:pt x="68" y="159"/>
                        <a:pt x="68" y="159"/>
                        <a:pt x="68" y="159"/>
                      </a:cubicBezTo>
                      <a:cubicBezTo>
                        <a:pt x="68" y="159"/>
                        <a:pt x="68" y="159"/>
                        <a:pt x="68" y="159"/>
                      </a:cubicBezTo>
                      <a:close/>
                      <a:moveTo>
                        <a:pt x="73" y="158"/>
                      </a:moveTo>
                      <a:cubicBezTo>
                        <a:pt x="73" y="158"/>
                        <a:pt x="73" y="158"/>
                        <a:pt x="73" y="158"/>
                      </a:cubicBezTo>
                      <a:cubicBezTo>
                        <a:pt x="74" y="158"/>
                        <a:pt x="74" y="158"/>
                        <a:pt x="74" y="158"/>
                      </a:cubicBezTo>
                      <a:cubicBezTo>
                        <a:pt x="74" y="158"/>
                        <a:pt x="74" y="158"/>
                        <a:pt x="74" y="158"/>
                      </a:cubicBezTo>
                      <a:cubicBezTo>
                        <a:pt x="73" y="158"/>
                        <a:pt x="73" y="158"/>
                        <a:pt x="73" y="158"/>
                      </a:cubicBezTo>
                      <a:cubicBezTo>
                        <a:pt x="73" y="158"/>
                        <a:pt x="73" y="158"/>
                        <a:pt x="73" y="158"/>
                      </a:cubicBezTo>
                      <a:close/>
                      <a:moveTo>
                        <a:pt x="72" y="158"/>
                      </a:moveTo>
                      <a:cubicBezTo>
                        <a:pt x="72" y="158"/>
                        <a:pt x="72" y="158"/>
                        <a:pt x="72" y="158"/>
                      </a:cubicBezTo>
                      <a:cubicBezTo>
                        <a:pt x="73" y="158"/>
                        <a:pt x="73" y="158"/>
                        <a:pt x="73" y="158"/>
                      </a:cubicBezTo>
                      <a:cubicBezTo>
                        <a:pt x="72" y="158"/>
                        <a:pt x="72" y="158"/>
                        <a:pt x="72" y="158"/>
                      </a:cubicBezTo>
                      <a:close/>
                      <a:moveTo>
                        <a:pt x="71" y="158"/>
                      </a:moveTo>
                      <a:cubicBezTo>
                        <a:pt x="71" y="157"/>
                        <a:pt x="71" y="157"/>
                        <a:pt x="71" y="157"/>
                      </a:cubicBezTo>
                      <a:cubicBezTo>
                        <a:pt x="71" y="156"/>
                        <a:pt x="71" y="156"/>
                        <a:pt x="71" y="156"/>
                      </a:cubicBezTo>
                      <a:cubicBezTo>
                        <a:pt x="72" y="156"/>
                        <a:pt x="72" y="156"/>
                        <a:pt x="72" y="156"/>
                      </a:cubicBezTo>
                      <a:cubicBezTo>
                        <a:pt x="72" y="157"/>
                        <a:pt x="72" y="157"/>
                        <a:pt x="72" y="157"/>
                      </a:cubicBezTo>
                      <a:cubicBezTo>
                        <a:pt x="71" y="158"/>
                        <a:pt x="71" y="158"/>
                        <a:pt x="71" y="158"/>
                      </a:cubicBezTo>
                      <a:close/>
                      <a:moveTo>
                        <a:pt x="70" y="157"/>
                      </a:moveTo>
                      <a:cubicBezTo>
                        <a:pt x="69" y="157"/>
                        <a:pt x="69" y="157"/>
                        <a:pt x="69" y="157"/>
                      </a:cubicBezTo>
                      <a:cubicBezTo>
                        <a:pt x="69" y="158"/>
                        <a:pt x="69" y="158"/>
                        <a:pt x="69" y="158"/>
                      </a:cubicBezTo>
                      <a:cubicBezTo>
                        <a:pt x="70" y="158"/>
                        <a:pt x="70" y="158"/>
                        <a:pt x="70" y="158"/>
                      </a:cubicBezTo>
                      <a:cubicBezTo>
                        <a:pt x="70" y="158"/>
                        <a:pt x="70" y="158"/>
                        <a:pt x="70" y="158"/>
                      </a:cubicBezTo>
                      <a:cubicBezTo>
                        <a:pt x="70" y="158"/>
                        <a:pt x="70" y="158"/>
                        <a:pt x="70" y="158"/>
                      </a:cubicBezTo>
                      <a:cubicBezTo>
                        <a:pt x="70" y="157"/>
                        <a:pt x="70" y="157"/>
                        <a:pt x="70" y="157"/>
                      </a:cubicBezTo>
                      <a:cubicBezTo>
                        <a:pt x="70" y="157"/>
                        <a:pt x="70" y="157"/>
                        <a:pt x="70" y="157"/>
                      </a:cubicBezTo>
                      <a:close/>
                      <a:moveTo>
                        <a:pt x="114" y="122"/>
                      </a:moveTo>
                      <a:cubicBezTo>
                        <a:pt x="113" y="121"/>
                        <a:pt x="113" y="121"/>
                        <a:pt x="113" y="121"/>
                      </a:cubicBezTo>
                      <a:cubicBezTo>
                        <a:pt x="114" y="121"/>
                        <a:pt x="114" y="121"/>
                        <a:pt x="114" y="121"/>
                      </a:cubicBezTo>
                      <a:cubicBezTo>
                        <a:pt x="114" y="122"/>
                        <a:pt x="114" y="122"/>
                        <a:pt x="114" y="122"/>
                      </a:cubicBezTo>
                      <a:cubicBezTo>
                        <a:pt x="114" y="122"/>
                        <a:pt x="114" y="122"/>
                        <a:pt x="114" y="122"/>
                      </a:cubicBezTo>
                      <a:close/>
                      <a:moveTo>
                        <a:pt x="112" y="122"/>
                      </a:moveTo>
                      <a:cubicBezTo>
                        <a:pt x="111" y="122"/>
                        <a:pt x="111" y="122"/>
                        <a:pt x="111" y="122"/>
                      </a:cubicBezTo>
                      <a:cubicBezTo>
                        <a:pt x="111" y="121"/>
                        <a:pt x="111" y="121"/>
                        <a:pt x="111" y="121"/>
                      </a:cubicBezTo>
                      <a:cubicBezTo>
                        <a:pt x="112" y="121"/>
                        <a:pt x="112" y="121"/>
                        <a:pt x="112" y="121"/>
                      </a:cubicBezTo>
                      <a:cubicBezTo>
                        <a:pt x="113" y="120"/>
                        <a:pt x="113" y="120"/>
                        <a:pt x="113" y="120"/>
                      </a:cubicBezTo>
                      <a:cubicBezTo>
                        <a:pt x="113" y="121"/>
                        <a:pt x="113" y="121"/>
                        <a:pt x="113" y="121"/>
                      </a:cubicBezTo>
                      <a:cubicBezTo>
                        <a:pt x="112" y="122"/>
                        <a:pt x="112" y="122"/>
                        <a:pt x="112" y="122"/>
                      </a:cubicBezTo>
                      <a:cubicBezTo>
                        <a:pt x="112" y="122"/>
                        <a:pt x="112" y="122"/>
                        <a:pt x="112" y="122"/>
                      </a:cubicBezTo>
                      <a:close/>
                      <a:moveTo>
                        <a:pt x="75" y="155"/>
                      </a:moveTo>
                      <a:cubicBezTo>
                        <a:pt x="75" y="154"/>
                        <a:pt x="75" y="154"/>
                        <a:pt x="75" y="154"/>
                      </a:cubicBezTo>
                      <a:cubicBezTo>
                        <a:pt x="76" y="154"/>
                        <a:pt x="76" y="154"/>
                        <a:pt x="76" y="154"/>
                      </a:cubicBezTo>
                      <a:cubicBezTo>
                        <a:pt x="76" y="154"/>
                        <a:pt x="76" y="154"/>
                        <a:pt x="76" y="154"/>
                      </a:cubicBezTo>
                      <a:cubicBezTo>
                        <a:pt x="77" y="153"/>
                        <a:pt x="77" y="153"/>
                        <a:pt x="77" y="153"/>
                      </a:cubicBezTo>
                      <a:cubicBezTo>
                        <a:pt x="77" y="153"/>
                        <a:pt x="77" y="153"/>
                        <a:pt x="77" y="153"/>
                      </a:cubicBezTo>
                      <a:cubicBezTo>
                        <a:pt x="78" y="152"/>
                        <a:pt x="78" y="152"/>
                        <a:pt x="78" y="152"/>
                      </a:cubicBezTo>
                      <a:cubicBezTo>
                        <a:pt x="79" y="152"/>
                        <a:pt x="79" y="152"/>
                        <a:pt x="79" y="152"/>
                      </a:cubicBezTo>
                      <a:cubicBezTo>
                        <a:pt x="79" y="152"/>
                        <a:pt x="79" y="152"/>
                        <a:pt x="79" y="152"/>
                      </a:cubicBezTo>
                      <a:cubicBezTo>
                        <a:pt x="80" y="152"/>
                        <a:pt x="80" y="152"/>
                        <a:pt x="80" y="152"/>
                      </a:cubicBezTo>
                      <a:cubicBezTo>
                        <a:pt x="81" y="152"/>
                        <a:pt x="81" y="152"/>
                        <a:pt x="81" y="152"/>
                      </a:cubicBezTo>
                      <a:cubicBezTo>
                        <a:pt x="82" y="152"/>
                        <a:pt x="82" y="152"/>
                        <a:pt x="82" y="152"/>
                      </a:cubicBezTo>
                      <a:cubicBezTo>
                        <a:pt x="82" y="151"/>
                        <a:pt x="82" y="151"/>
                        <a:pt x="82" y="151"/>
                      </a:cubicBezTo>
                      <a:cubicBezTo>
                        <a:pt x="83" y="152"/>
                        <a:pt x="83" y="152"/>
                        <a:pt x="83" y="152"/>
                      </a:cubicBezTo>
                      <a:cubicBezTo>
                        <a:pt x="84" y="152"/>
                        <a:pt x="84" y="152"/>
                        <a:pt x="84" y="152"/>
                      </a:cubicBezTo>
                      <a:cubicBezTo>
                        <a:pt x="83" y="153"/>
                        <a:pt x="83" y="153"/>
                        <a:pt x="83" y="153"/>
                      </a:cubicBezTo>
                      <a:cubicBezTo>
                        <a:pt x="85" y="154"/>
                        <a:pt x="85" y="154"/>
                        <a:pt x="85" y="154"/>
                      </a:cubicBezTo>
                      <a:cubicBezTo>
                        <a:pt x="85" y="155"/>
                        <a:pt x="85" y="155"/>
                        <a:pt x="85" y="155"/>
                      </a:cubicBezTo>
                      <a:cubicBezTo>
                        <a:pt x="83" y="154"/>
                        <a:pt x="83" y="154"/>
                        <a:pt x="83" y="154"/>
                      </a:cubicBezTo>
                      <a:cubicBezTo>
                        <a:pt x="83" y="155"/>
                        <a:pt x="83" y="155"/>
                        <a:pt x="83" y="155"/>
                      </a:cubicBezTo>
                      <a:cubicBezTo>
                        <a:pt x="81" y="155"/>
                        <a:pt x="81" y="155"/>
                        <a:pt x="81" y="155"/>
                      </a:cubicBezTo>
                      <a:cubicBezTo>
                        <a:pt x="80" y="155"/>
                        <a:pt x="80" y="155"/>
                        <a:pt x="80" y="155"/>
                      </a:cubicBezTo>
                      <a:cubicBezTo>
                        <a:pt x="78" y="155"/>
                        <a:pt x="78" y="155"/>
                        <a:pt x="78" y="155"/>
                      </a:cubicBezTo>
                      <a:cubicBezTo>
                        <a:pt x="77" y="156"/>
                        <a:pt x="77" y="156"/>
                        <a:pt x="77" y="156"/>
                      </a:cubicBezTo>
                      <a:cubicBezTo>
                        <a:pt x="77" y="156"/>
                        <a:pt x="77" y="156"/>
                        <a:pt x="77" y="156"/>
                      </a:cubicBezTo>
                      <a:cubicBezTo>
                        <a:pt x="76" y="156"/>
                        <a:pt x="76" y="156"/>
                        <a:pt x="76" y="156"/>
                      </a:cubicBezTo>
                      <a:cubicBezTo>
                        <a:pt x="75" y="156"/>
                        <a:pt x="75" y="156"/>
                        <a:pt x="75" y="156"/>
                      </a:cubicBezTo>
                      <a:lnTo>
                        <a:pt x="75" y="155"/>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6" name="Freeform 171">
                  <a:extLst>
                    <a:ext uri="{FF2B5EF4-FFF2-40B4-BE49-F238E27FC236}">
                      <a16:creationId xmlns:a16="http://schemas.microsoft.com/office/drawing/2014/main" id="{0E86A3B9-7D57-9BB3-9E85-8BA6C0A0AE5B}"/>
                    </a:ext>
                  </a:extLst>
                </p:cNvPr>
                <p:cNvSpPr>
                  <a:spLocks/>
                </p:cNvSpPr>
                <p:nvPr/>
              </p:nvSpPr>
              <p:spPr bwMode="auto">
                <a:xfrm>
                  <a:off x="1748" y="2398"/>
                  <a:ext cx="2" cy="3"/>
                </a:xfrm>
                <a:custGeom>
                  <a:avLst/>
                  <a:gdLst>
                    <a:gd name="T0" fmla="*/ 2 w 2"/>
                    <a:gd name="T1" fmla="*/ 0 h 3"/>
                    <a:gd name="T2" fmla="*/ 0 w 2"/>
                    <a:gd name="T3" fmla="*/ 0 h 3"/>
                    <a:gd name="T4" fmla="*/ 0 w 2"/>
                    <a:gd name="T5" fmla="*/ 3 h 3"/>
                    <a:gd name="T6" fmla="*/ 2 w 2"/>
                    <a:gd name="T7" fmla="*/ 0 h 3"/>
                    <a:gd name="T8" fmla="*/ 2 w 2"/>
                    <a:gd name="T9" fmla="*/ 0 h 3"/>
                  </a:gdLst>
                  <a:ahLst/>
                  <a:cxnLst>
                    <a:cxn ang="0">
                      <a:pos x="T0" y="T1"/>
                    </a:cxn>
                    <a:cxn ang="0">
                      <a:pos x="T2" y="T3"/>
                    </a:cxn>
                    <a:cxn ang="0">
                      <a:pos x="T4" y="T5"/>
                    </a:cxn>
                    <a:cxn ang="0">
                      <a:pos x="T6" y="T7"/>
                    </a:cxn>
                    <a:cxn ang="0">
                      <a:pos x="T8" y="T9"/>
                    </a:cxn>
                  </a:cxnLst>
                  <a:rect l="0" t="0" r="r" b="b"/>
                  <a:pathLst>
                    <a:path w="2" h="3">
                      <a:moveTo>
                        <a:pt x="2" y="0"/>
                      </a:moveTo>
                      <a:lnTo>
                        <a:pt x="0" y="0"/>
                      </a:lnTo>
                      <a:lnTo>
                        <a:pt x="0" y="3"/>
                      </a:lnTo>
                      <a:lnTo>
                        <a:pt x="2" y="0"/>
                      </a:lnTo>
                      <a:lnTo>
                        <a:pt x="2" y="0"/>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7" name="Freeform 172">
                  <a:extLst>
                    <a:ext uri="{FF2B5EF4-FFF2-40B4-BE49-F238E27FC236}">
                      <a16:creationId xmlns:a16="http://schemas.microsoft.com/office/drawing/2014/main" id="{030227EF-11F3-A12D-46F3-DF451642AD79}"/>
                    </a:ext>
                  </a:extLst>
                </p:cNvPr>
                <p:cNvSpPr>
                  <a:spLocks/>
                </p:cNvSpPr>
                <p:nvPr/>
              </p:nvSpPr>
              <p:spPr bwMode="auto">
                <a:xfrm>
                  <a:off x="1781" y="2408"/>
                  <a:ext cx="26" cy="9"/>
                </a:xfrm>
                <a:custGeom>
                  <a:avLst/>
                  <a:gdLst>
                    <a:gd name="T0" fmla="*/ 2 w 26"/>
                    <a:gd name="T1" fmla="*/ 0 h 9"/>
                    <a:gd name="T2" fmla="*/ 7 w 26"/>
                    <a:gd name="T3" fmla="*/ 0 h 9"/>
                    <a:gd name="T4" fmla="*/ 9 w 26"/>
                    <a:gd name="T5" fmla="*/ 0 h 9"/>
                    <a:gd name="T6" fmla="*/ 19 w 26"/>
                    <a:gd name="T7" fmla="*/ 0 h 9"/>
                    <a:gd name="T8" fmla="*/ 21 w 26"/>
                    <a:gd name="T9" fmla="*/ 2 h 9"/>
                    <a:gd name="T10" fmla="*/ 24 w 26"/>
                    <a:gd name="T11" fmla="*/ 2 h 9"/>
                    <a:gd name="T12" fmla="*/ 26 w 26"/>
                    <a:gd name="T13" fmla="*/ 4 h 9"/>
                    <a:gd name="T14" fmla="*/ 26 w 26"/>
                    <a:gd name="T15" fmla="*/ 7 h 9"/>
                    <a:gd name="T16" fmla="*/ 21 w 26"/>
                    <a:gd name="T17" fmla="*/ 7 h 9"/>
                    <a:gd name="T18" fmla="*/ 21 w 26"/>
                    <a:gd name="T19" fmla="*/ 4 h 9"/>
                    <a:gd name="T20" fmla="*/ 19 w 26"/>
                    <a:gd name="T21" fmla="*/ 7 h 9"/>
                    <a:gd name="T22" fmla="*/ 19 w 26"/>
                    <a:gd name="T23" fmla="*/ 7 h 9"/>
                    <a:gd name="T24" fmla="*/ 17 w 26"/>
                    <a:gd name="T25" fmla="*/ 7 h 9"/>
                    <a:gd name="T26" fmla="*/ 14 w 26"/>
                    <a:gd name="T27" fmla="*/ 7 h 9"/>
                    <a:gd name="T28" fmla="*/ 14 w 26"/>
                    <a:gd name="T29" fmla="*/ 9 h 9"/>
                    <a:gd name="T30" fmla="*/ 12 w 26"/>
                    <a:gd name="T31" fmla="*/ 9 h 9"/>
                    <a:gd name="T32" fmla="*/ 12 w 26"/>
                    <a:gd name="T33" fmla="*/ 7 h 9"/>
                    <a:gd name="T34" fmla="*/ 7 w 26"/>
                    <a:gd name="T35" fmla="*/ 7 h 9"/>
                    <a:gd name="T36" fmla="*/ 7 w 26"/>
                    <a:gd name="T37" fmla="*/ 7 h 9"/>
                    <a:gd name="T38" fmla="*/ 5 w 26"/>
                    <a:gd name="T39" fmla="*/ 2 h 9"/>
                    <a:gd name="T40" fmla="*/ 5 w 26"/>
                    <a:gd name="T41" fmla="*/ 2 h 9"/>
                    <a:gd name="T42" fmla="*/ 2 w 26"/>
                    <a:gd name="T43" fmla="*/ 2 h 9"/>
                    <a:gd name="T44" fmla="*/ 0 w 26"/>
                    <a:gd name="T45" fmla="*/ 2 h 9"/>
                    <a:gd name="T46" fmla="*/ 2 w 26"/>
                    <a:gd name="T47" fmla="*/ 0 h 9"/>
                    <a:gd name="T48" fmla="*/ 2 w 26"/>
                    <a:gd name="T49"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6" h="9">
                      <a:moveTo>
                        <a:pt x="2" y="0"/>
                      </a:moveTo>
                      <a:lnTo>
                        <a:pt x="7" y="0"/>
                      </a:lnTo>
                      <a:lnTo>
                        <a:pt x="9" y="0"/>
                      </a:lnTo>
                      <a:lnTo>
                        <a:pt x="19" y="0"/>
                      </a:lnTo>
                      <a:lnTo>
                        <a:pt x="21" y="2"/>
                      </a:lnTo>
                      <a:lnTo>
                        <a:pt x="24" y="2"/>
                      </a:lnTo>
                      <a:lnTo>
                        <a:pt x="26" y="4"/>
                      </a:lnTo>
                      <a:lnTo>
                        <a:pt x="26" y="7"/>
                      </a:lnTo>
                      <a:lnTo>
                        <a:pt x="21" y="7"/>
                      </a:lnTo>
                      <a:lnTo>
                        <a:pt x="21" y="4"/>
                      </a:lnTo>
                      <a:lnTo>
                        <a:pt x="19" y="7"/>
                      </a:lnTo>
                      <a:lnTo>
                        <a:pt x="19" y="7"/>
                      </a:lnTo>
                      <a:lnTo>
                        <a:pt x="17" y="7"/>
                      </a:lnTo>
                      <a:lnTo>
                        <a:pt x="14" y="7"/>
                      </a:lnTo>
                      <a:lnTo>
                        <a:pt x="14" y="9"/>
                      </a:lnTo>
                      <a:lnTo>
                        <a:pt x="12" y="9"/>
                      </a:lnTo>
                      <a:lnTo>
                        <a:pt x="12" y="7"/>
                      </a:lnTo>
                      <a:lnTo>
                        <a:pt x="7" y="7"/>
                      </a:lnTo>
                      <a:lnTo>
                        <a:pt x="7" y="7"/>
                      </a:lnTo>
                      <a:lnTo>
                        <a:pt x="5" y="2"/>
                      </a:lnTo>
                      <a:lnTo>
                        <a:pt x="5" y="2"/>
                      </a:lnTo>
                      <a:lnTo>
                        <a:pt x="2" y="2"/>
                      </a:lnTo>
                      <a:lnTo>
                        <a:pt x="0" y="2"/>
                      </a:lnTo>
                      <a:lnTo>
                        <a:pt x="2" y="0"/>
                      </a:lnTo>
                      <a:lnTo>
                        <a:pt x="2" y="0"/>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8" name="Freeform 173">
                  <a:extLst>
                    <a:ext uri="{FF2B5EF4-FFF2-40B4-BE49-F238E27FC236}">
                      <a16:creationId xmlns:a16="http://schemas.microsoft.com/office/drawing/2014/main" id="{AE36C650-F7D6-94BC-5564-FCFCEB4AC5AD}"/>
                    </a:ext>
                  </a:extLst>
                </p:cNvPr>
                <p:cNvSpPr>
                  <a:spLocks noEditPoints="1"/>
                </p:cNvSpPr>
                <p:nvPr/>
              </p:nvSpPr>
              <p:spPr bwMode="auto">
                <a:xfrm>
                  <a:off x="1826" y="2389"/>
                  <a:ext cx="31" cy="23"/>
                </a:xfrm>
                <a:custGeom>
                  <a:avLst/>
                  <a:gdLst>
                    <a:gd name="T0" fmla="*/ 11 w 13"/>
                    <a:gd name="T1" fmla="*/ 9 h 10"/>
                    <a:gd name="T2" fmla="*/ 13 w 13"/>
                    <a:gd name="T3" fmla="*/ 7 h 10"/>
                    <a:gd name="T4" fmla="*/ 12 w 13"/>
                    <a:gd name="T5" fmla="*/ 6 h 10"/>
                    <a:gd name="T6" fmla="*/ 13 w 13"/>
                    <a:gd name="T7" fmla="*/ 5 h 10"/>
                    <a:gd name="T8" fmla="*/ 13 w 13"/>
                    <a:gd name="T9" fmla="*/ 3 h 10"/>
                    <a:gd name="T10" fmla="*/ 13 w 13"/>
                    <a:gd name="T11" fmla="*/ 2 h 10"/>
                    <a:gd name="T12" fmla="*/ 12 w 13"/>
                    <a:gd name="T13" fmla="*/ 2 h 10"/>
                    <a:gd name="T14" fmla="*/ 11 w 13"/>
                    <a:gd name="T15" fmla="*/ 1 h 10"/>
                    <a:gd name="T16" fmla="*/ 8 w 13"/>
                    <a:gd name="T17" fmla="*/ 2 h 10"/>
                    <a:gd name="T18" fmla="*/ 5 w 13"/>
                    <a:gd name="T19" fmla="*/ 1 h 10"/>
                    <a:gd name="T20" fmla="*/ 6 w 13"/>
                    <a:gd name="T21" fmla="*/ 2 h 10"/>
                    <a:gd name="T22" fmla="*/ 8 w 13"/>
                    <a:gd name="T23" fmla="*/ 3 h 10"/>
                    <a:gd name="T24" fmla="*/ 8 w 13"/>
                    <a:gd name="T25" fmla="*/ 5 h 10"/>
                    <a:gd name="T26" fmla="*/ 10 w 13"/>
                    <a:gd name="T27" fmla="*/ 6 h 10"/>
                    <a:gd name="T28" fmla="*/ 11 w 13"/>
                    <a:gd name="T29" fmla="*/ 8 h 10"/>
                    <a:gd name="T30" fmla="*/ 8 w 13"/>
                    <a:gd name="T31" fmla="*/ 8 h 10"/>
                    <a:gd name="T32" fmla="*/ 6 w 13"/>
                    <a:gd name="T33" fmla="*/ 8 h 10"/>
                    <a:gd name="T34" fmla="*/ 4 w 13"/>
                    <a:gd name="T35" fmla="*/ 8 h 10"/>
                    <a:gd name="T36" fmla="*/ 4 w 13"/>
                    <a:gd name="T37" fmla="*/ 7 h 10"/>
                    <a:gd name="T38" fmla="*/ 1 w 13"/>
                    <a:gd name="T39" fmla="*/ 7 h 10"/>
                    <a:gd name="T40" fmla="*/ 0 w 13"/>
                    <a:gd name="T41" fmla="*/ 8 h 10"/>
                    <a:gd name="T42" fmla="*/ 1 w 13"/>
                    <a:gd name="T43" fmla="*/ 9 h 10"/>
                    <a:gd name="T44" fmla="*/ 3 w 13"/>
                    <a:gd name="T45" fmla="*/ 10 h 10"/>
                    <a:gd name="T46" fmla="*/ 4 w 13"/>
                    <a:gd name="T47" fmla="*/ 9 h 10"/>
                    <a:gd name="T48" fmla="*/ 7 w 13"/>
                    <a:gd name="T49" fmla="*/ 9 h 10"/>
                    <a:gd name="T50" fmla="*/ 10 w 13"/>
                    <a:gd name="T51" fmla="*/ 9 h 10"/>
                    <a:gd name="T52" fmla="*/ 11 w 13"/>
                    <a:gd name="T53" fmla="*/ 9 h 10"/>
                    <a:gd name="T54" fmla="*/ 9 w 13"/>
                    <a:gd name="T55" fmla="*/ 0 h 10"/>
                    <a:gd name="T56" fmla="*/ 8 w 13"/>
                    <a:gd name="T57" fmla="*/ 1 h 10"/>
                    <a:gd name="T58" fmla="*/ 6 w 13"/>
                    <a:gd name="T59" fmla="*/ 6 h 10"/>
                    <a:gd name="T60" fmla="*/ 8 w 13"/>
                    <a:gd name="T61" fmla="*/ 6 h 10"/>
                    <a:gd name="T62" fmla="*/ 6 w 13"/>
                    <a:gd name="T63"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 h="10">
                      <a:moveTo>
                        <a:pt x="11" y="9"/>
                      </a:moveTo>
                      <a:cubicBezTo>
                        <a:pt x="11" y="9"/>
                        <a:pt x="11" y="9"/>
                        <a:pt x="11" y="9"/>
                      </a:cubicBezTo>
                      <a:cubicBezTo>
                        <a:pt x="12" y="8"/>
                        <a:pt x="12" y="8"/>
                        <a:pt x="12" y="8"/>
                      </a:cubicBezTo>
                      <a:cubicBezTo>
                        <a:pt x="13" y="7"/>
                        <a:pt x="13" y="7"/>
                        <a:pt x="13" y="7"/>
                      </a:cubicBezTo>
                      <a:cubicBezTo>
                        <a:pt x="13" y="7"/>
                        <a:pt x="13" y="7"/>
                        <a:pt x="13" y="7"/>
                      </a:cubicBezTo>
                      <a:cubicBezTo>
                        <a:pt x="12" y="6"/>
                        <a:pt x="12" y="6"/>
                        <a:pt x="12" y="6"/>
                      </a:cubicBezTo>
                      <a:cubicBezTo>
                        <a:pt x="12" y="5"/>
                        <a:pt x="12" y="5"/>
                        <a:pt x="12" y="5"/>
                      </a:cubicBezTo>
                      <a:cubicBezTo>
                        <a:pt x="13" y="5"/>
                        <a:pt x="13" y="5"/>
                        <a:pt x="13" y="5"/>
                      </a:cubicBezTo>
                      <a:cubicBezTo>
                        <a:pt x="13" y="4"/>
                        <a:pt x="13" y="4"/>
                        <a:pt x="13" y="4"/>
                      </a:cubicBezTo>
                      <a:cubicBezTo>
                        <a:pt x="13" y="3"/>
                        <a:pt x="13" y="3"/>
                        <a:pt x="13" y="3"/>
                      </a:cubicBezTo>
                      <a:cubicBezTo>
                        <a:pt x="13" y="3"/>
                        <a:pt x="13" y="3"/>
                        <a:pt x="13" y="3"/>
                      </a:cubicBezTo>
                      <a:cubicBezTo>
                        <a:pt x="13" y="2"/>
                        <a:pt x="13" y="2"/>
                        <a:pt x="13" y="2"/>
                      </a:cubicBezTo>
                      <a:cubicBezTo>
                        <a:pt x="13" y="2"/>
                        <a:pt x="13" y="2"/>
                        <a:pt x="13" y="2"/>
                      </a:cubicBezTo>
                      <a:cubicBezTo>
                        <a:pt x="12" y="2"/>
                        <a:pt x="12" y="2"/>
                        <a:pt x="12" y="2"/>
                      </a:cubicBezTo>
                      <a:cubicBezTo>
                        <a:pt x="12" y="2"/>
                        <a:pt x="12" y="2"/>
                        <a:pt x="12" y="2"/>
                      </a:cubicBezTo>
                      <a:cubicBezTo>
                        <a:pt x="11" y="1"/>
                        <a:pt x="11" y="1"/>
                        <a:pt x="11" y="1"/>
                      </a:cubicBezTo>
                      <a:cubicBezTo>
                        <a:pt x="9" y="1"/>
                        <a:pt x="9" y="1"/>
                        <a:pt x="9" y="1"/>
                      </a:cubicBezTo>
                      <a:cubicBezTo>
                        <a:pt x="8" y="2"/>
                        <a:pt x="8" y="2"/>
                        <a:pt x="8" y="2"/>
                      </a:cubicBezTo>
                      <a:cubicBezTo>
                        <a:pt x="7" y="1"/>
                        <a:pt x="7" y="1"/>
                        <a:pt x="7" y="1"/>
                      </a:cubicBezTo>
                      <a:cubicBezTo>
                        <a:pt x="5" y="1"/>
                        <a:pt x="5" y="1"/>
                        <a:pt x="5" y="1"/>
                      </a:cubicBezTo>
                      <a:cubicBezTo>
                        <a:pt x="5" y="2"/>
                        <a:pt x="5" y="2"/>
                        <a:pt x="5" y="2"/>
                      </a:cubicBezTo>
                      <a:cubicBezTo>
                        <a:pt x="5" y="2"/>
                        <a:pt x="6" y="2"/>
                        <a:pt x="6" y="2"/>
                      </a:cubicBezTo>
                      <a:cubicBezTo>
                        <a:pt x="9" y="3"/>
                        <a:pt x="9" y="3"/>
                        <a:pt x="9" y="3"/>
                      </a:cubicBezTo>
                      <a:cubicBezTo>
                        <a:pt x="8" y="3"/>
                        <a:pt x="8" y="3"/>
                        <a:pt x="8" y="3"/>
                      </a:cubicBezTo>
                      <a:cubicBezTo>
                        <a:pt x="9" y="4"/>
                        <a:pt x="9" y="4"/>
                        <a:pt x="9" y="4"/>
                      </a:cubicBezTo>
                      <a:cubicBezTo>
                        <a:pt x="8" y="5"/>
                        <a:pt x="8" y="5"/>
                        <a:pt x="8" y="5"/>
                      </a:cubicBezTo>
                      <a:cubicBezTo>
                        <a:pt x="9" y="6"/>
                        <a:pt x="9" y="6"/>
                        <a:pt x="9" y="6"/>
                      </a:cubicBezTo>
                      <a:cubicBezTo>
                        <a:pt x="10" y="6"/>
                        <a:pt x="10" y="6"/>
                        <a:pt x="10" y="6"/>
                      </a:cubicBezTo>
                      <a:cubicBezTo>
                        <a:pt x="11" y="7"/>
                        <a:pt x="11" y="7"/>
                        <a:pt x="11" y="7"/>
                      </a:cubicBezTo>
                      <a:cubicBezTo>
                        <a:pt x="11" y="8"/>
                        <a:pt x="11" y="8"/>
                        <a:pt x="11" y="8"/>
                      </a:cubicBezTo>
                      <a:cubicBezTo>
                        <a:pt x="9" y="8"/>
                        <a:pt x="9" y="8"/>
                        <a:pt x="9" y="8"/>
                      </a:cubicBezTo>
                      <a:cubicBezTo>
                        <a:pt x="8" y="8"/>
                        <a:pt x="8" y="8"/>
                        <a:pt x="8" y="8"/>
                      </a:cubicBezTo>
                      <a:cubicBezTo>
                        <a:pt x="7" y="8"/>
                        <a:pt x="7" y="8"/>
                        <a:pt x="7" y="8"/>
                      </a:cubicBezTo>
                      <a:cubicBezTo>
                        <a:pt x="6" y="8"/>
                        <a:pt x="6" y="8"/>
                        <a:pt x="6" y="8"/>
                      </a:cubicBezTo>
                      <a:cubicBezTo>
                        <a:pt x="5" y="7"/>
                        <a:pt x="5" y="7"/>
                        <a:pt x="5" y="7"/>
                      </a:cubicBezTo>
                      <a:cubicBezTo>
                        <a:pt x="4" y="8"/>
                        <a:pt x="4" y="8"/>
                        <a:pt x="4" y="8"/>
                      </a:cubicBezTo>
                      <a:cubicBezTo>
                        <a:pt x="4" y="7"/>
                        <a:pt x="4" y="7"/>
                        <a:pt x="4" y="7"/>
                      </a:cubicBezTo>
                      <a:cubicBezTo>
                        <a:pt x="4" y="7"/>
                        <a:pt x="4" y="7"/>
                        <a:pt x="4" y="7"/>
                      </a:cubicBezTo>
                      <a:cubicBezTo>
                        <a:pt x="2" y="7"/>
                        <a:pt x="2" y="7"/>
                        <a:pt x="2" y="7"/>
                      </a:cubicBezTo>
                      <a:cubicBezTo>
                        <a:pt x="1" y="7"/>
                        <a:pt x="1" y="7"/>
                        <a:pt x="1" y="7"/>
                      </a:cubicBezTo>
                      <a:cubicBezTo>
                        <a:pt x="0" y="7"/>
                        <a:pt x="0" y="7"/>
                        <a:pt x="0" y="7"/>
                      </a:cubicBezTo>
                      <a:cubicBezTo>
                        <a:pt x="0" y="8"/>
                        <a:pt x="0" y="8"/>
                        <a:pt x="0" y="8"/>
                      </a:cubicBezTo>
                      <a:cubicBezTo>
                        <a:pt x="0" y="9"/>
                        <a:pt x="0" y="9"/>
                        <a:pt x="0" y="9"/>
                      </a:cubicBezTo>
                      <a:cubicBezTo>
                        <a:pt x="1" y="9"/>
                        <a:pt x="1" y="9"/>
                        <a:pt x="1" y="9"/>
                      </a:cubicBezTo>
                      <a:cubicBezTo>
                        <a:pt x="3" y="10"/>
                        <a:pt x="3" y="10"/>
                        <a:pt x="3" y="10"/>
                      </a:cubicBezTo>
                      <a:cubicBezTo>
                        <a:pt x="3" y="10"/>
                        <a:pt x="3" y="10"/>
                        <a:pt x="3" y="10"/>
                      </a:cubicBezTo>
                      <a:cubicBezTo>
                        <a:pt x="3" y="9"/>
                        <a:pt x="3" y="9"/>
                        <a:pt x="3" y="9"/>
                      </a:cubicBezTo>
                      <a:cubicBezTo>
                        <a:pt x="4" y="9"/>
                        <a:pt x="4" y="9"/>
                        <a:pt x="4" y="9"/>
                      </a:cubicBezTo>
                      <a:cubicBezTo>
                        <a:pt x="6" y="9"/>
                        <a:pt x="6" y="9"/>
                        <a:pt x="6" y="9"/>
                      </a:cubicBezTo>
                      <a:cubicBezTo>
                        <a:pt x="7" y="9"/>
                        <a:pt x="7" y="9"/>
                        <a:pt x="7" y="9"/>
                      </a:cubicBezTo>
                      <a:cubicBezTo>
                        <a:pt x="9" y="9"/>
                        <a:pt x="9" y="9"/>
                        <a:pt x="9" y="9"/>
                      </a:cubicBezTo>
                      <a:cubicBezTo>
                        <a:pt x="10" y="9"/>
                        <a:pt x="10" y="9"/>
                        <a:pt x="10" y="9"/>
                      </a:cubicBezTo>
                      <a:cubicBezTo>
                        <a:pt x="11" y="9"/>
                        <a:pt x="11" y="9"/>
                        <a:pt x="11" y="9"/>
                      </a:cubicBezTo>
                      <a:cubicBezTo>
                        <a:pt x="11" y="9"/>
                        <a:pt x="11" y="9"/>
                        <a:pt x="11" y="9"/>
                      </a:cubicBezTo>
                      <a:close/>
                      <a:moveTo>
                        <a:pt x="8" y="0"/>
                      </a:moveTo>
                      <a:cubicBezTo>
                        <a:pt x="9" y="0"/>
                        <a:pt x="9" y="0"/>
                        <a:pt x="9" y="0"/>
                      </a:cubicBezTo>
                      <a:cubicBezTo>
                        <a:pt x="10" y="1"/>
                        <a:pt x="10" y="1"/>
                        <a:pt x="10" y="1"/>
                      </a:cubicBezTo>
                      <a:cubicBezTo>
                        <a:pt x="8" y="1"/>
                        <a:pt x="8" y="1"/>
                        <a:pt x="8" y="1"/>
                      </a:cubicBezTo>
                      <a:cubicBezTo>
                        <a:pt x="8" y="0"/>
                        <a:pt x="8" y="0"/>
                        <a:pt x="8" y="0"/>
                      </a:cubicBezTo>
                      <a:close/>
                      <a:moveTo>
                        <a:pt x="6" y="6"/>
                      </a:moveTo>
                      <a:cubicBezTo>
                        <a:pt x="7" y="5"/>
                        <a:pt x="7" y="5"/>
                        <a:pt x="7" y="5"/>
                      </a:cubicBezTo>
                      <a:cubicBezTo>
                        <a:pt x="8" y="6"/>
                        <a:pt x="8" y="6"/>
                        <a:pt x="8" y="6"/>
                      </a:cubicBezTo>
                      <a:cubicBezTo>
                        <a:pt x="8" y="7"/>
                        <a:pt x="8" y="7"/>
                        <a:pt x="8" y="7"/>
                      </a:cubicBezTo>
                      <a:cubicBezTo>
                        <a:pt x="6" y="6"/>
                        <a:pt x="6" y="6"/>
                        <a:pt x="6" y="6"/>
                      </a:cubicBez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9" name="Freeform 174">
                  <a:extLst>
                    <a:ext uri="{FF2B5EF4-FFF2-40B4-BE49-F238E27FC236}">
                      <a16:creationId xmlns:a16="http://schemas.microsoft.com/office/drawing/2014/main" id="{0E611DB8-C744-9422-B510-65FFEABF10AA}"/>
                    </a:ext>
                  </a:extLst>
                </p:cNvPr>
                <p:cNvSpPr>
                  <a:spLocks noEditPoints="1"/>
                </p:cNvSpPr>
                <p:nvPr/>
              </p:nvSpPr>
              <p:spPr bwMode="auto">
                <a:xfrm>
                  <a:off x="1710" y="2353"/>
                  <a:ext cx="121" cy="40"/>
                </a:xfrm>
                <a:custGeom>
                  <a:avLst/>
                  <a:gdLst>
                    <a:gd name="T0" fmla="*/ 26 w 121"/>
                    <a:gd name="T1" fmla="*/ 17 h 40"/>
                    <a:gd name="T2" fmla="*/ 24 w 121"/>
                    <a:gd name="T3" fmla="*/ 22 h 40"/>
                    <a:gd name="T4" fmla="*/ 21 w 121"/>
                    <a:gd name="T5" fmla="*/ 19 h 40"/>
                    <a:gd name="T6" fmla="*/ 24 w 121"/>
                    <a:gd name="T7" fmla="*/ 19 h 40"/>
                    <a:gd name="T8" fmla="*/ 7 w 121"/>
                    <a:gd name="T9" fmla="*/ 12 h 40"/>
                    <a:gd name="T10" fmla="*/ 5 w 121"/>
                    <a:gd name="T11" fmla="*/ 14 h 40"/>
                    <a:gd name="T12" fmla="*/ 0 w 121"/>
                    <a:gd name="T13" fmla="*/ 17 h 40"/>
                    <a:gd name="T14" fmla="*/ 5 w 121"/>
                    <a:gd name="T15" fmla="*/ 17 h 40"/>
                    <a:gd name="T16" fmla="*/ 9 w 121"/>
                    <a:gd name="T17" fmla="*/ 17 h 40"/>
                    <a:gd name="T18" fmla="*/ 17 w 121"/>
                    <a:gd name="T19" fmla="*/ 12 h 40"/>
                    <a:gd name="T20" fmla="*/ 24 w 121"/>
                    <a:gd name="T21" fmla="*/ 10 h 40"/>
                    <a:gd name="T22" fmla="*/ 31 w 121"/>
                    <a:gd name="T23" fmla="*/ 7 h 40"/>
                    <a:gd name="T24" fmla="*/ 38 w 121"/>
                    <a:gd name="T25" fmla="*/ 10 h 40"/>
                    <a:gd name="T26" fmla="*/ 33 w 121"/>
                    <a:gd name="T27" fmla="*/ 12 h 40"/>
                    <a:gd name="T28" fmla="*/ 43 w 121"/>
                    <a:gd name="T29" fmla="*/ 12 h 40"/>
                    <a:gd name="T30" fmla="*/ 50 w 121"/>
                    <a:gd name="T31" fmla="*/ 14 h 40"/>
                    <a:gd name="T32" fmla="*/ 52 w 121"/>
                    <a:gd name="T33" fmla="*/ 14 h 40"/>
                    <a:gd name="T34" fmla="*/ 59 w 121"/>
                    <a:gd name="T35" fmla="*/ 19 h 40"/>
                    <a:gd name="T36" fmla="*/ 66 w 121"/>
                    <a:gd name="T37" fmla="*/ 19 h 40"/>
                    <a:gd name="T38" fmla="*/ 71 w 121"/>
                    <a:gd name="T39" fmla="*/ 19 h 40"/>
                    <a:gd name="T40" fmla="*/ 78 w 121"/>
                    <a:gd name="T41" fmla="*/ 29 h 40"/>
                    <a:gd name="T42" fmla="*/ 85 w 121"/>
                    <a:gd name="T43" fmla="*/ 31 h 40"/>
                    <a:gd name="T44" fmla="*/ 88 w 121"/>
                    <a:gd name="T45" fmla="*/ 33 h 40"/>
                    <a:gd name="T46" fmla="*/ 83 w 121"/>
                    <a:gd name="T47" fmla="*/ 40 h 40"/>
                    <a:gd name="T48" fmla="*/ 90 w 121"/>
                    <a:gd name="T49" fmla="*/ 40 h 40"/>
                    <a:gd name="T50" fmla="*/ 102 w 121"/>
                    <a:gd name="T51" fmla="*/ 40 h 40"/>
                    <a:gd name="T52" fmla="*/ 111 w 121"/>
                    <a:gd name="T53" fmla="*/ 38 h 40"/>
                    <a:gd name="T54" fmla="*/ 118 w 121"/>
                    <a:gd name="T55" fmla="*/ 36 h 40"/>
                    <a:gd name="T56" fmla="*/ 118 w 121"/>
                    <a:gd name="T57" fmla="*/ 33 h 40"/>
                    <a:gd name="T58" fmla="*/ 104 w 121"/>
                    <a:gd name="T59" fmla="*/ 29 h 40"/>
                    <a:gd name="T60" fmla="*/ 106 w 121"/>
                    <a:gd name="T61" fmla="*/ 24 h 40"/>
                    <a:gd name="T62" fmla="*/ 99 w 121"/>
                    <a:gd name="T63" fmla="*/ 24 h 40"/>
                    <a:gd name="T64" fmla="*/ 92 w 121"/>
                    <a:gd name="T65" fmla="*/ 22 h 40"/>
                    <a:gd name="T66" fmla="*/ 88 w 121"/>
                    <a:gd name="T67" fmla="*/ 19 h 40"/>
                    <a:gd name="T68" fmla="*/ 85 w 121"/>
                    <a:gd name="T69" fmla="*/ 19 h 40"/>
                    <a:gd name="T70" fmla="*/ 78 w 121"/>
                    <a:gd name="T71" fmla="*/ 14 h 40"/>
                    <a:gd name="T72" fmla="*/ 66 w 121"/>
                    <a:gd name="T73" fmla="*/ 12 h 40"/>
                    <a:gd name="T74" fmla="*/ 59 w 121"/>
                    <a:gd name="T75" fmla="*/ 5 h 40"/>
                    <a:gd name="T76" fmla="*/ 47 w 121"/>
                    <a:gd name="T77" fmla="*/ 5 h 40"/>
                    <a:gd name="T78" fmla="*/ 40 w 121"/>
                    <a:gd name="T79" fmla="*/ 3 h 40"/>
                    <a:gd name="T80" fmla="*/ 28 w 121"/>
                    <a:gd name="T81" fmla="*/ 3 h 40"/>
                    <a:gd name="T82" fmla="*/ 17 w 121"/>
                    <a:gd name="T83" fmla="*/ 5 h 40"/>
                    <a:gd name="T84" fmla="*/ 7 w 121"/>
                    <a:gd name="T85" fmla="*/ 1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1" h="40">
                      <a:moveTo>
                        <a:pt x="24" y="17"/>
                      </a:moveTo>
                      <a:lnTo>
                        <a:pt x="24" y="17"/>
                      </a:lnTo>
                      <a:lnTo>
                        <a:pt x="26" y="17"/>
                      </a:lnTo>
                      <a:lnTo>
                        <a:pt x="28" y="19"/>
                      </a:lnTo>
                      <a:lnTo>
                        <a:pt x="26" y="19"/>
                      </a:lnTo>
                      <a:lnTo>
                        <a:pt x="24" y="22"/>
                      </a:lnTo>
                      <a:lnTo>
                        <a:pt x="21" y="19"/>
                      </a:lnTo>
                      <a:lnTo>
                        <a:pt x="21" y="19"/>
                      </a:lnTo>
                      <a:lnTo>
                        <a:pt x="21" y="19"/>
                      </a:lnTo>
                      <a:lnTo>
                        <a:pt x="24" y="19"/>
                      </a:lnTo>
                      <a:lnTo>
                        <a:pt x="24" y="19"/>
                      </a:lnTo>
                      <a:lnTo>
                        <a:pt x="24" y="19"/>
                      </a:lnTo>
                      <a:lnTo>
                        <a:pt x="24" y="17"/>
                      </a:lnTo>
                      <a:lnTo>
                        <a:pt x="24" y="17"/>
                      </a:lnTo>
                      <a:close/>
                      <a:moveTo>
                        <a:pt x="7" y="12"/>
                      </a:moveTo>
                      <a:lnTo>
                        <a:pt x="7" y="14"/>
                      </a:lnTo>
                      <a:lnTo>
                        <a:pt x="7" y="14"/>
                      </a:lnTo>
                      <a:lnTo>
                        <a:pt x="5" y="14"/>
                      </a:lnTo>
                      <a:lnTo>
                        <a:pt x="2" y="17"/>
                      </a:lnTo>
                      <a:lnTo>
                        <a:pt x="0" y="14"/>
                      </a:lnTo>
                      <a:lnTo>
                        <a:pt x="0" y="17"/>
                      </a:lnTo>
                      <a:lnTo>
                        <a:pt x="2" y="17"/>
                      </a:lnTo>
                      <a:lnTo>
                        <a:pt x="5" y="14"/>
                      </a:lnTo>
                      <a:lnTo>
                        <a:pt x="5" y="17"/>
                      </a:lnTo>
                      <a:lnTo>
                        <a:pt x="5" y="17"/>
                      </a:lnTo>
                      <a:lnTo>
                        <a:pt x="7" y="17"/>
                      </a:lnTo>
                      <a:lnTo>
                        <a:pt x="9" y="17"/>
                      </a:lnTo>
                      <a:lnTo>
                        <a:pt x="12" y="12"/>
                      </a:lnTo>
                      <a:lnTo>
                        <a:pt x="14" y="12"/>
                      </a:lnTo>
                      <a:lnTo>
                        <a:pt x="17" y="12"/>
                      </a:lnTo>
                      <a:lnTo>
                        <a:pt x="17" y="14"/>
                      </a:lnTo>
                      <a:lnTo>
                        <a:pt x="19" y="12"/>
                      </a:lnTo>
                      <a:lnTo>
                        <a:pt x="24" y="10"/>
                      </a:lnTo>
                      <a:lnTo>
                        <a:pt x="26" y="10"/>
                      </a:lnTo>
                      <a:lnTo>
                        <a:pt x="26" y="7"/>
                      </a:lnTo>
                      <a:lnTo>
                        <a:pt x="31" y="7"/>
                      </a:lnTo>
                      <a:lnTo>
                        <a:pt x="31" y="7"/>
                      </a:lnTo>
                      <a:lnTo>
                        <a:pt x="38" y="7"/>
                      </a:lnTo>
                      <a:lnTo>
                        <a:pt x="38" y="10"/>
                      </a:lnTo>
                      <a:lnTo>
                        <a:pt x="38" y="10"/>
                      </a:lnTo>
                      <a:lnTo>
                        <a:pt x="35" y="10"/>
                      </a:lnTo>
                      <a:lnTo>
                        <a:pt x="33" y="12"/>
                      </a:lnTo>
                      <a:lnTo>
                        <a:pt x="35" y="12"/>
                      </a:lnTo>
                      <a:lnTo>
                        <a:pt x="40" y="14"/>
                      </a:lnTo>
                      <a:lnTo>
                        <a:pt x="43" y="12"/>
                      </a:lnTo>
                      <a:lnTo>
                        <a:pt x="45" y="12"/>
                      </a:lnTo>
                      <a:lnTo>
                        <a:pt x="47" y="14"/>
                      </a:lnTo>
                      <a:lnTo>
                        <a:pt x="50" y="14"/>
                      </a:lnTo>
                      <a:lnTo>
                        <a:pt x="52" y="14"/>
                      </a:lnTo>
                      <a:lnTo>
                        <a:pt x="52" y="14"/>
                      </a:lnTo>
                      <a:lnTo>
                        <a:pt x="52" y="14"/>
                      </a:lnTo>
                      <a:lnTo>
                        <a:pt x="54" y="17"/>
                      </a:lnTo>
                      <a:lnTo>
                        <a:pt x="57" y="19"/>
                      </a:lnTo>
                      <a:lnTo>
                        <a:pt x="59" y="19"/>
                      </a:lnTo>
                      <a:lnTo>
                        <a:pt x="62" y="17"/>
                      </a:lnTo>
                      <a:lnTo>
                        <a:pt x="64" y="19"/>
                      </a:lnTo>
                      <a:lnTo>
                        <a:pt x="66" y="19"/>
                      </a:lnTo>
                      <a:lnTo>
                        <a:pt x="66" y="19"/>
                      </a:lnTo>
                      <a:lnTo>
                        <a:pt x="71" y="19"/>
                      </a:lnTo>
                      <a:lnTo>
                        <a:pt x="71" y="19"/>
                      </a:lnTo>
                      <a:lnTo>
                        <a:pt x="73" y="26"/>
                      </a:lnTo>
                      <a:lnTo>
                        <a:pt x="78" y="29"/>
                      </a:lnTo>
                      <a:lnTo>
                        <a:pt x="78" y="29"/>
                      </a:lnTo>
                      <a:lnTo>
                        <a:pt x="80" y="29"/>
                      </a:lnTo>
                      <a:lnTo>
                        <a:pt x="83" y="31"/>
                      </a:lnTo>
                      <a:lnTo>
                        <a:pt x="85" y="31"/>
                      </a:lnTo>
                      <a:lnTo>
                        <a:pt x="88" y="31"/>
                      </a:lnTo>
                      <a:lnTo>
                        <a:pt x="88" y="31"/>
                      </a:lnTo>
                      <a:lnTo>
                        <a:pt x="88" y="33"/>
                      </a:lnTo>
                      <a:lnTo>
                        <a:pt x="85" y="33"/>
                      </a:lnTo>
                      <a:lnTo>
                        <a:pt x="83" y="38"/>
                      </a:lnTo>
                      <a:lnTo>
                        <a:pt x="83" y="40"/>
                      </a:lnTo>
                      <a:lnTo>
                        <a:pt x="85" y="40"/>
                      </a:lnTo>
                      <a:lnTo>
                        <a:pt x="88" y="38"/>
                      </a:lnTo>
                      <a:lnTo>
                        <a:pt x="90" y="40"/>
                      </a:lnTo>
                      <a:lnTo>
                        <a:pt x="95" y="38"/>
                      </a:lnTo>
                      <a:lnTo>
                        <a:pt x="99" y="38"/>
                      </a:lnTo>
                      <a:lnTo>
                        <a:pt x="102" y="40"/>
                      </a:lnTo>
                      <a:lnTo>
                        <a:pt x="109" y="38"/>
                      </a:lnTo>
                      <a:lnTo>
                        <a:pt x="109" y="38"/>
                      </a:lnTo>
                      <a:lnTo>
                        <a:pt x="111" y="38"/>
                      </a:lnTo>
                      <a:lnTo>
                        <a:pt x="111" y="38"/>
                      </a:lnTo>
                      <a:lnTo>
                        <a:pt x="116" y="38"/>
                      </a:lnTo>
                      <a:lnTo>
                        <a:pt x="118" y="36"/>
                      </a:lnTo>
                      <a:lnTo>
                        <a:pt x="121" y="36"/>
                      </a:lnTo>
                      <a:lnTo>
                        <a:pt x="118" y="33"/>
                      </a:lnTo>
                      <a:lnTo>
                        <a:pt x="118" y="33"/>
                      </a:lnTo>
                      <a:lnTo>
                        <a:pt x="116" y="31"/>
                      </a:lnTo>
                      <a:lnTo>
                        <a:pt x="111" y="29"/>
                      </a:lnTo>
                      <a:lnTo>
                        <a:pt x="104" y="29"/>
                      </a:lnTo>
                      <a:lnTo>
                        <a:pt x="104" y="29"/>
                      </a:lnTo>
                      <a:lnTo>
                        <a:pt x="104" y="26"/>
                      </a:lnTo>
                      <a:lnTo>
                        <a:pt x="106" y="24"/>
                      </a:lnTo>
                      <a:lnTo>
                        <a:pt x="104" y="24"/>
                      </a:lnTo>
                      <a:lnTo>
                        <a:pt x="102" y="24"/>
                      </a:lnTo>
                      <a:lnTo>
                        <a:pt x="99" y="24"/>
                      </a:lnTo>
                      <a:lnTo>
                        <a:pt x="97" y="22"/>
                      </a:lnTo>
                      <a:lnTo>
                        <a:pt x="95" y="24"/>
                      </a:lnTo>
                      <a:lnTo>
                        <a:pt x="92" y="22"/>
                      </a:lnTo>
                      <a:lnTo>
                        <a:pt x="90" y="19"/>
                      </a:lnTo>
                      <a:lnTo>
                        <a:pt x="88" y="22"/>
                      </a:lnTo>
                      <a:lnTo>
                        <a:pt x="88" y="19"/>
                      </a:lnTo>
                      <a:lnTo>
                        <a:pt x="88" y="19"/>
                      </a:lnTo>
                      <a:lnTo>
                        <a:pt x="88" y="19"/>
                      </a:lnTo>
                      <a:lnTo>
                        <a:pt x="85" y="19"/>
                      </a:lnTo>
                      <a:lnTo>
                        <a:pt x="85" y="19"/>
                      </a:lnTo>
                      <a:lnTo>
                        <a:pt x="80" y="17"/>
                      </a:lnTo>
                      <a:lnTo>
                        <a:pt x="78" y="14"/>
                      </a:lnTo>
                      <a:lnTo>
                        <a:pt x="76" y="14"/>
                      </a:lnTo>
                      <a:lnTo>
                        <a:pt x="71" y="12"/>
                      </a:lnTo>
                      <a:lnTo>
                        <a:pt x="66" y="12"/>
                      </a:lnTo>
                      <a:lnTo>
                        <a:pt x="64" y="10"/>
                      </a:lnTo>
                      <a:lnTo>
                        <a:pt x="62" y="7"/>
                      </a:lnTo>
                      <a:lnTo>
                        <a:pt x="59" y="5"/>
                      </a:lnTo>
                      <a:lnTo>
                        <a:pt x="57" y="7"/>
                      </a:lnTo>
                      <a:lnTo>
                        <a:pt x="57" y="5"/>
                      </a:lnTo>
                      <a:lnTo>
                        <a:pt x="47" y="5"/>
                      </a:lnTo>
                      <a:lnTo>
                        <a:pt x="45" y="5"/>
                      </a:lnTo>
                      <a:lnTo>
                        <a:pt x="43" y="5"/>
                      </a:lnTo>
                      <a:lnTo>
                        <a:pt x="40" y="3"/>
                      </a:lnTo>
                      <a:lnTo>
                        <a:pt x="35" y="0"/>
                      </a:lnTo>
                      <a:lnTo>
                        <a:pt x="31" y="0"/>
                      </a:lnTo>
                      <a:lnTo>
                        <a:pt x="28" y="3"/>
                      </a:lnTo>
                      <a:lnTo>
                        <a:pt x="21" y="3"/>
                      </a:lnTo>
                      <a:lnTo>
                        <a:pt x="17" y="5"/>
                      </a:lnTo>
                      <a:lnTo>
                        <a:pt x="17" y="5"/>
                      </a:lnTo>
                      <a:lnTo>
                        <a:pt x="9" y="7"/>
                      </a:lnTo>
                      <a:lnTo>
                        <a:pt x="9" y="10"/>
                      </a:lnTo>
                      <a:lnTo>
                        <a:pt x="7" y="10"/>
                      </a:lnTo>
                      <a:lnTo>
                        <a:pt x="7" y="12"/>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0" name="Freeform 175">
                  <a:extLst>
                    <a:ext uri="{FF2B5EF4-FFF2-40B4-BE49-F238E27FC236}">
                      <a16:creationId xmlns:a16="http://schemas.microsoft.com/office/drawing/2014/main" id="{3C6E9F41-E79D-F3A5-DBEF-9D16F3087255}"/>
                    </a:ext>
                  </a:extLst>
                </p:cNvPr>
                <p:cNvSpPr>
                  <a:spLocks noEditPoints="1"/>
                </p:cNvSpPr>
                <p:nvPr/>
              </p:nvSpPr>
              <p:spPr bwMode="auto">
                <a:xfrm>
                  <a:off x="1783" y="2313"/>
                  <a:ext cx="64" cy="69"/>
                </a:xfrm>
                <a:custGeom>
                  <a:avLst/>
                  <a:gdLst>
                    <a:gd name="T0" fmla="*/ 62 w 64"/>
                    <a:gd name="T1" fmla="*/ 59 h 69"/>
                    <a:gd name="T2" fmla="*/ 52 w 64"/>
                    <a:gd name="T3" fmla="*/ 69 h 69"/>
                    <a:gd name="T4" fmla="*/ 62 w 64"/>
                    <a:gd name="T5" fmla="*/ 64 h 69"/>
                    <a:gd name="T6" fmla="*/ 57 w 64"/>
                    <a:gd name="T7" fmla="*/ 64 h 69"/>
                    <a:gd name="T8" fmla="*/ 52 w 64"/>
                    <a:gd name="T9" fmla="*/ 69 h 69"/>
                    <a:gd name="T10" fmla="*/ 64 w 64"/>
                    <a:gd name="T11" fmla="*/ 52 h 69"/>
                    <a:gd name="T12" fmla="*/ 60 w 64"/>
                    <a:gd name="T13" fmla="*/ 52 h 69"/>
                    <a:gd name="T14" fmla="*/ 52 w 64"/>
                    <a:gd name="T15" fmla="*/ 47 h 69"/>
                    <a:gd name="T16" fmla="*/ 50 w 64"/>
                    <a:gd name="T17" fmla="*/ 50 h 69"/>
                    <a:gd name="T18" fmla="*/ 50 w 64"/>
                    <a:gd name="T19" fmla="*/ 52 h 69"/>
                    <a:gd name="T20" fmla="*/ 52 w 64"/>
                    <a:gd name="T21" fmla="*/ 47 h 69"/>
                    <a:gd name="T22" fmla="*/ 50 w 64"/>
                    <a:gd name="T23" fmla="*/ 45 h 69"/>
                    <a:gd name="T24" fmla="*/ 48 w 64"/>
                    <a:gd name="T25" fmla="*/ 45 h 69"/>
                    <a:gd name="T26" fmla="*/ 38 w 64"/>
                    <a:gd name="T27" fmla="*/ 35 h 69"/>
                    <a:gd name="T28" fmla="*/ 43 w 64"/>
                    <a:gd name="T29" fmla="*/ 45 h 69"/>
                    <a:gd name="T30" fmla="*/ 38 w 64"/>
                    <a:gd name="T31" fmla="*/ 40 h 69"/>
                    <a:gd name="T32" fmla="*/ 38 w 64"/>
                    <a:gd name="T33" fmla="*/ 35 h 69"/>
                    <a:gd name="T34" fmla="*/ 29 w 64"/>
                    <a:gd name="T35" fmla="*/ 38 h 69"/>
                    <a:gd name="T36" fmla="*/ 31 w 64"/>
                    <a:gd name="T37" fmla="*/ 35 h 69"/>
                    <a:gd name="T38" fmla="*/ 48 w 64"/>
                    <a:gd name="T39" fmla="*/ 35 h 69"/>
                    <a:gd name="T40" fmla="*/ 48 w 64"/>
                    <a:gd name="T41" fmla="*/ 31 h 69"/>
                    <a:gd name="T42" fmla="*/ 36 w 64"/>
                    <a:gd name="T43" fmla="*/ 28 h 69"/>
                    <a:gd name="T44" fmla="*/ 38 w 64"/>
                    <a:gd name="T45" fmla="*/ 33 h 69"/>
                    <a:gd name="T46" fmla="*/ 38 w 64"/>
                    <a:gd name="T47" fmla="*/ 28 h 69"/>
                    <a:gd name="T48" fmla="*/ 36 w 64"/>
                    <a:gd name="T49" fmla="*/ 26 h 69"/>
                    <a:gd name="T50" fmla="*/ 31 w 64"/>
                    <a:gd name="T51" fmla="*/ 21 h 69"/>
                    <a:gd name="T52" fmla="*/ 29 w 64"/>
                    <a:gd name="T53" fmla="*/ 24 h 69"/>
                    <a:gd name="T54" fmla="*/ 29 w 64"/>
                    <a:gd name="T55" fmla="*/ 19 h 69"/>
                    <a:gd name="T56" fmla="*/ 26 w 64"/>
                    <a:gd name="T57" fmla="*/ 16 h 69"/>
                    <a:gd name="T58" fmla="*/ 22 w 64"/>
                    <a:gd name="T59" fmla="*/ 2 h 69"/>
                    <a:gd name="T60" fmla="*/ 24 w 64"/>
                    <a:gd name="T61" fmla="*/ 7 h 69"/>
                    <a:gd name="T62" fmla="*/ 19 w 64"/>
                    <a:gd name="T63" fmla="*/ 12 h 69"/>
                    <a:gd name="T64" fmla="*/ 22 w 64"/>
                    <a:gd name="T65" fmla="*/ 5 h 69"/>
                    <a:gd name="T66" fmla="*/ 15 w 64"/>
                    <a:gd name="T67" fmla="*/ 0 h 69"/>
                    <a:gd name="T68" fmla="*/ 3 w 64"/>
                    <a:gd name="T69" fmla="*/ 2 h 69"/>
                    <a:gd name="T70" fmla="*/ 12 w 64"/>
                    <a:gd name="T71" fmla="*/ 0 h 69"/>
                    <a:gd name="T72" fmla="*/ 10 w 64"/>
                    <a:gd name="T73" fmla="*/ 2 h 69"/>
                    <a:gd name="T74" fmla="*/ 0 w 64"/>
                    <a:gd name="T75" fmla="*/ 2 h 69"/>
                    <a:gd name="T76" fmla="*/ 17 w 64"/>
                    <a:gd name="T77" fmla="*/ 19 h 69"/>
                    <a:gd name="T78" fmla="*/ 17 w 64"/>
                    <a:gd name="T79" fmla="*/ 21 h 69"/>
                    <a:gd name="T80" fmla="*/ 12 w 64"/>
                    <a:gd name="T81" fmla="*/ 31 h 69"/>
                    <a:gd name="T82" fmla="*/ 12 w 64"/>
                    <a:gd name="T83" fmla="*/ 31 h 69"/>
                    <a:gd name="T84" fmla="*/ 10 w 64"/>
                    <a:gd name="T85" fmla="*/ 31 h 69"/>
                    <a:gd name="T86" fmla="*/ 10 w 64"/>
                    <a:gd name="T87" fmla="*/ 31 h 69"/>
                    <a:gd name="T88" fmla="*/ 10 w 64"/>
                    <a:gd name="T89" fmla="*/ 24 h 69"/>
                    <a:gd name="T90" fmla="*/ 7 w 64"/>
                    <a:gd name="T91" fmla="*/ 24 h 69"/>
                    <a:gd name="T92" fmla="*/ 10 w 64"/>
                    <a:gd name="T93" fmla="*/ 26 h 69"/>
                    <a:gd name="T94" fmla="*/ 12 w 64"/>
                    <a:gd name="T95" fmla="*/ 31 h 69"/>
                    <a:gd name="T96" fmla="*/ 12 w 64"/>
                    <a:gd name="T97" fmla="*/ 38 h 69"/>
                    <a:gd name="T98" fmla="*/ 15 w 64"/>
                    <a:gd name="T99" fmla="*/ 3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4" h="69">
                      <a:moveTo>
                        <a:pt x="62" y="62"/>
                      </a:moveTo>
                      <a:lnTo>
                        <a:pt x="62" y="62"/>
                      </a:lnTo>
                      <a:lnTo>
                        <a:pt x="62" y="59"/>
                      </a:lnTo>
                      <a:lnTo>
                        <a:pt x="62" y="62"/>
                      </a:lnTo>
                      <a:lnTo>
                        <a:pt x="62" y="62"/>
                      </a:lnTo>
                      <a:close/>
                      <a:moveTo>
                        <a:pt x="52" y="69"/>
                      </a:moveTo>
                      <a:lnTo>
                        <a:pt x="60" y="69"/>
                      </a:lnTo>
                      <a:lnTo>
                        <a:pt x="62" y="66"/>
                      </a:lnTo>
                      <a:lnTo>
                        <a:pt x="62" y="64"/>
                      </a:lnTo>
                      <a:lnTo>
                        <a:pt x="60" y="64"/>
                      </a:lnTo>
                      <a:lnTo>
                        <a:pt x="60" y="64"/>
                      </a:lnTo>
                      <a:lnTo>
                        <a:pt x="57" y="64"/>
                      </a:lnTo>
                      <a:lnTo>
                        <a:pt x="55" y="66"/>
                      </a:lnTo>
                      <a:lnTo>
                        <a:pt x="52" y="69"/>
                      </a:lnTo>
                      <a:lnTo>
                        <a:pt x="52" y="69"/>
                      </a:lnTo>
                      <a:close/>
                      <a:moveTo>
                        <a:pt x="60" y="52"/>
                      </a:moveTo>
                      <a:lnTo>
                        <a:pt x="62" y="50"/>
                      </a:lnTo>
                      <a:lnTo>
                        <a:pt x="64" y="52"/>
                      </a:lnTo>
                      <a:lnTo>
                        <a:pt x="64" y="52"/>
                      </a:lnTo>
                      <a:lnTo>
                        <a:pt x="62" y="52"/>
                      </a:lnTo>
                      <a:lnTo>
                        <a:pt x="60" y="52"/>
                      </a:lnTo>
                      <a:lnTo>
                        <a:pt x="60" y="52"/>
                      </a:lnTo>
                      <a:lnTo>
                        <a:pt x="60" y="52"/>
                      </a:lnTo>
                      <a:close/>
                      <a:moveTo>
                        <a:pt x="52" y="47"/>
                      </a:moveTo>
                      <a:lnTo>
                        <a:pt x="52" y="47"/>
                      </a:lnTo>
                      <a:lnTo>
                        <a:pt x="52" y="47"/>
                      </a:lnTo>
                      <a:lnTo>
                        <a:pt x="50" y="50"/>
                      </a:lnTo>
                      <a:lnTo>
                        <a:pt x="48" y="52"/>
                      </a:lnTo>
                      <a:lnTo>
                        <a:pt x="48" y="52"/>
                      </a:lnTo>
                      <a:lnTo>
                        <a:pt x="50" y="52"/>
                      </a:lnTo>
                      <a:lnTo>
                        <a:pt x="55" y="50"/>
                      </a:lnTo>
                      <a:lnTo>
                        <a:pt x="55" y="47"/>
                      </a:lnTo>
                      <a:lnTo>
                        <a:pt x="52" y="47"/>
                      </a:lnTo>
                      <a:lnTo>
                        <a:pt x="52" y="47"/>
                      </a:lnTo>
                      <a:close/>
                      <a:moveTo>
                        <a:pt x="48" y="45"/>
                      </a:moveTo>
                      <a:lnTo>
                        <a:pt x="50" y="45"/>
                      </a:lnTo>
                      <a:lnTo>
                        <a:pt x="50" y="47"/>
                      </a:lnTo>
                      <a:lnTo>
                        <a:pt x="48" y="47"/>
                      </a:lnTo>
                      <a:lnTo>
                        <a:pt x="48" y="45"/>
                      </a:lnTo>
                      <a:lnTo>
                        <a:pt x="48" y="45"/>
                      </a:lnTo>
                      <a:lnTo>
                        <a:pt x="48" y="45"/>
                      </a:lnTo>
                      <a:close/>
                      <a:moveTo>
                        <a:pt x="38" y="35"/>
                      </a:moveTo>
                      <a:lnTo>
                        <a:pt x="41" y="40"/>
                      </a:lnTo>
                      <a:lnTo>
                        <a:pt x="41" y="43"/>
                      </a:lnTo>
                      <a:lnTo>
                        <a:pt x="43" y="45"/>
                      </a:lnTo>
                      <a:lnTo>
                        <a:pt x="41" y="45"/>
                      </a:lnTo>
                      <a:lnTo>
                        <a:pt x="41" y="45"/>
                      </a:lnTo>
                      <a:lnTo>
                        <a:pt x="38" y="40"/>
                      </a:lnTo>
                      <a:lnTo>
                        <a:pt x="38" y="40"/>
                      </a:lnTo>
                      <a:lnTo>
                        <a:pt x="38" y="38"/>
                      </a:lnTo>
                      <a:lnTo>
                        <a:pt x="38" y="35"/>
                      </a:lnTo>
                      <a:lnTo>
                        <a:pt x="38" y="35"/>
                      </a:lnTo>
                      <a:close/>
                      <a:moveTo>
                        <a:pt x="31" y="35"/>
                      </a:moveTo>
                      <a:lnTo>
                        <a:pt x="29" y="38"/>
                      </a:lnTo>
                      <a:lnTo>
                        <a:pt x="31" y="38"/>
                      </a:lnTo>
                      <a:lnTo>
                        <a:pt x="31" y="35"/>
                      </a:lnTo>
                      <a:lnTo>
                        <a:pt x="31" y="35"/>
                      </a:lnTo>
                      <a:close/>
                      <a:moveTo>
                        <a:pt x="48" y="31"/>
                      </a:moveTo>
                      <a:lnTo>
                        <a:pt x="45" y="33"/>
                      </a:lnTo>
                      <a:lnTo>
                        <a:pt x="48" y="35"/>
                      </a:lnTo>
                      <a:lnTo>
                        <a:pt x="48" y="33"/>
                      </a:lnTo>
                      <a:lnTo>
                        <a:pt x="48" y="31"/>
                      </a:lnTo>
                      <a:lnTo>
                        <a:pt x="48" y="31"/>
                      </a:lnTo>
                      <a:close/>
                      <a:moveTo>
                        <a:pt x="36" y="26"/>
                      </a:moveTo>
                      <a:lnTo>
                        <a:pt x="36" y="26"/>
                      </a:lnTo>
                      <a:lnTo>
                        <a:pt x="36" y="28"/>
                      </a:lnTo>
                      <a:lnTo>
                        <a:pt x="38" y="31"/>
                      </a:lnTo>
                      <a:lnTo>
                        <a:pt x="36" y="33"/>
                      </a:lnTo>
                      <a:lnTo>
                        <a:pt x="38" y="33"/>
                      </a:lnTo>
                      <a:lnTo>
                        <a:pt x="41" y="33"/>
                      </a:lnTo>
                      <a:lnTo>
                        <a:pt x="41" y="33"/>
                      </a:lnTo>
                      <a:lnTo>
                        <a:pt x="38" y="28"/>
                      </a:lnTo>
                      <a:lnTo>
                        <a:pt x="38" y="26"/>
                      </a:lnTo>
                      <a:lnTo>
                        <a:pt x="36" y="26"/>
                      </a:lnTo>
                      <a:lnTo>
                        <a:pt x="36" y="26"/>
                      </a:lnTo>
                      <a:close/>
                      <a:moveTo>
                        <a:pt x="26" y="16"/>
                      </a:moveTo>
                      <a:lnTo>
                        <a:pt x="29" y="19"/>
                      </a:lnTo>
                      <a:lnTo>
                        <a:pt x="31" y="21"/>
                      </a:lnTo>
                      <a:lnTo>
                        <a:pt x="31" y="24"/>
                      </a:lnTo>
                      <a:lnTo>
                        <a:pt x="29" y="24"/>
                      </a:lnTo>
                      <a:lnTo>
                        <a:pt x="29" y="24"/>
                      </a:lnTo>
                      <a:lnTo>
                        <a:pt x="29" y="24"/>
                      </a:lnTo>
                      <a:lnTo>
                        <a:pt x="31" y="21"/>
                      </a:lnTo>
                      <a:lnTo>
                        <a:pt x="29" y="19"/>
                      </a:lnTo>
                      <a:lnTo>
                        <a:pt x="26" y="19"/>
                      </a:lnTo>
                      <a:lnTo>
                        <a:pt x="26" y="16"/>
                      </a:lnTo>
                      <a:lnTo>
                        <a:pt x="26" y="16"/>
                      </a:lnTo>
                      <a:close/>
                      <a:moveTo>
                        <a:pt x="15" y="0"/>
                      </a:moveTo>
                      <a:lnTo>
                        <a:pt x="17" y="0"/>
                      </a:lnTo>
                      <a:lnTo>
                        <a:pt x="22" y="2"/>
                      </a:lnTo>
                      <a:lnTo>
                        <a:pt x="22" y="2"/>
                      </a:lnTo>
                      <a:lnTo>
                        <a:pt x="24" y="5"/>
                      </a:lnTo>
                      <a:lnTo>
                        <a:pt x="24" y="7"/>
                      </a:lnTo>
                      <a:lnTo>
                        <a:pt x="22" y="9"/>
                      </a:lnTo>
                      <a:lnTo>
                        <a:pt x="22" y="9"/>
                      </a:lnTo>
                      <a:lnTo>
                        <a:pt x="19" y="12"/>
                      </a:lnTo>
                      <a:lnTo>
                        <a:pt x="19" y="9"/>
                      </a:lnTo>
                      <a:lnTo>
                        <a:pt x="19" y="7"/>
                      </a:lnTo>
                      <a:lnTo>
                        <a:pt x="22" y="5"/>
                      </a:lnTo>
                      <a:lnTo>
                        <a:pt x="19" y="2"/>
                      </a:lnTo>
                      <a:lnTo>
                        <a:pt x="17" y="0"/>
                      </a:lnTo>
                      <a:lnTo>
                        <a:pt x="15" y="0"/>
                      </a:lnTo>
                      <a:lnTo>
                        <a:pt x="15" y="0"/>
                      </a:lnTo>
                      <a:close/>
                      <a:moveTo>
                        <a:pt x="0" y="2"/>
                      </a:moveTo>
                      <a:lnTo>
                        <a:pt x="3" y="2"/>
                      </a:lnTo>
                      <a:lnTo>
                        <a:pt x="5" y="2"/>
                      </a:lnTo>
                      <a:lnTo>
                        <a:pt x="7" y="0"/>
                      </a:lnTo>
                      <a:lnTo>
                        <a:pt x="12" y="0"/>
                      </a:lnTo>
                      <a:lnTo>
                        <a:pt x="15" y="2"/>
                      </a:lnTo>
                      <a:lnTo>
                        <a:pt x="12" y="2"/>
                      </a:lnTo>
                      <a:lnTo>
                        <a:pt x="10" y="2"/>
                      </a:lnTo>
                      <a:lnTo>
                        <a:pt x="5" y="5"/>
                      </a:lnTo>
                      <a:lnTo>
                        <a:pt x="3" y="5"/>
                      </a:lnTo>
                      <a:lnTo>
                        <a:pt x="0" y="2"/>
                      </a:lnTo>
                      <a:lnTo>
                        <a:pt x="0" y="2"/>
                      </a:lnTo>
                      <a:close/>
                      <a:moveTo>
                        <a:pt x="15" y="21"/>
                      </a:moveTo>
                      <a:lnTo>
                        <a:pt x="17" y="19"/>
                      </a:lnTo>
                      <a:lnTo>
                        <a:pt x="19" y="19"/>
                      </a:lnTo>
                      <a:lnTo>
                        <a:pt x="19" y="21"/>
                      </a:lnTo>
                      <a:lnTo>
                        <a:pt x="17" y="21"/>
                      </a:lnTo>
                      <a:lnTo>
                        <a:pt x="15" y="21"/>
                      </a:lnTo>
                      <a:lnTo>
                        <a:pt x="15" y="21"/>
                      </a:lnTo>
                      <a:close/>
                      <a:moveTo>
                        <a:pt x="12" y="31"/>
                      </a:moveTo>
                      <a:lnTo>
                        <a:pt x="12" y="31"/>
                      </a:lnTo>
                      <a:lnTo>
                        <a:pt x="12" y="28"/>
                      </a:lnTo>
                      <a:lnTo>
                        <a:pt x="12" y="31"/>
                      </a:lnTo>
                      <a:lnTo>
                        <a:pt x="12" y="31"/>
                      </a:lnTo>
                      <a:close/>
                      <a:moveTo>
                        <a:pt x="10" y="31"/>
                      </a:moveTo>
                      <a:lnTo>
                        <a:pt x="10" y="31"/>
                      </a:lnTo>
                      <a:lnTo>
                        <a:pt x="10" y="31"/>
                      </a:lnTo>
                      <a:lnTo>
                        <a:pt x="10" y="31"/>
                      </a:lnTo>
                      <a:lnTo>
                        <a:pt x="10" y="31"/>
                      </a:lnTo>
                      <a:close/>
                      <a:moveTo>
                        <a:pt x="10" y="28"/>
                      </a:moveTo>
                      <a:lnTo>
                        <a:pt x="12" y="26"/>
                      </a:lnTo>
                      <a:lnTo>
                        <a:pt x="10" y="24"/>
                      </a:lnTo>
                      <a:lnTo>
                        <a:pt x="10" y="21"/>
                      </a:lnTo>
                      <a:lnTo>
                        <a:pt x="10" y="21"/>
                      </a:lnTo>
                      <a:lnTo>
                        <a:pt x="7" y="24"/>
                      </a:lnTo>
                      <a:lnTo>
                        <a:pt x="5" y="26"/>
                      </a:lnTo>
                      <a:lnTo>
                        <a:pt x="7" y="28"/>
                      </a:lnTo>
                      <a:lnTo>
                        <a:pt x="10" y="26"/>
                      </a:lnTo>
                      <a:lnTo>
                        <a:pt x="10" y="28"/>
                      </a:lnTo>
                      <a:lnTo>
                        <a:pt x="10" y="28"/>
                      </a:lnTo>
                      <a:close/>
                      <a:moveTo>
                        <a:pt x="12" y="31"/>
                      </a:moveTo>
                      <a:lnTo>
                        <a:pt x="10" y="33"/>
                      </a:lnTo>
                      <a:lnTo>
                        <a:pt x="10" y="33"/>
                      </a:lnTo>
                      <a:lnTo>
                        <a:pt x="12" y="38"/>
                      </a:lnTo>
                      <a:lnTo>
                        <a:pt x="15" y="35"/>
                      </a:lnTo>
                      <a:lnTo>
                        <a:pt x="15" y="35"/>
                      </a:lnTo>
                      <a:lnTo>
                        <a:pt x="15" y="33"/>
                      </a:lnTo>
                      <a:lnTo>
                        <a:pt x="15" y="31"/>
                      </a:lnTo>
                      <a:lnTo>
                        <a:pt x="12" y="31"/>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1" name="Freeform 176">
                  <a:extLst>
                    <a:ext uri="{FF2B5EF4-FFF2-40B4-BE49-F238E27FC236}">
                      <a16:creationId xmlns:a16="http://schemas.microsoft.com/office/drawing/2014/main" id="{353BB910-C238-953C-5EFE-AA8765795EF5}"/>
                    </a:ext>
                  </a:extLst>
                </p:cNvPr>
                <p:cNvSpPr>
                  <a:spLocks noEditPoints="1"/>
                </p:cNvSpPr>
                <p:nvPr/>
              </p:nvSpPr>
              <p:spPr bwMode="auto">
                <a:xfrm>
                  <a:off x="1313" y="1991"/>
                  <a:ext cx="641" cy="341"/>
                </a:xfrm>
                <a:custGeom>
                  <a:avLst/>
                  <a:gdLst>
                    <a:gd name="T0" fmla="*/ 157 w 271"/>
                    <a:gd name="T1" fmla="*/ 14 h 144"/>
                    <a:gd name="T2" fmla="*/ 190 w 271"/>
                    <a:gd name="T3" fmla="*/ 28 h 144"/>
                    <a:gd name="T4" fmla="*/ 226 w 271"/>
                    <a:gd name="T5" fmla="*/ 44 h 144"/>
                    <a:gd name="T6" fmla="*/ 255 w 271"/>
                    <a:gd name="T7" fmla="*/ 36 h 144"/>
                    <a:gd name="T8" fmla="*/ 267 w 271"/>
                    <a:gd name="T9" fmla="*/ 30 h 144"/>
                    <a:gd name="T10" fmla="*/ 269 w 271"/>
                    <a:gd name="T11" fmla="*/ 43 h 144"/>
                    <a:gd name="T12" fmla="*/ 260 w 271"/>
                    <a:gd name="T13" fmla="*/ 45 h 144"/>
                    <a:gd name="T14" fmla="*/ 253 w 271"/>
                    <a:gd name="T15" fmla="*/ 49 h 144"/>
                    <a:gd name="T16" fmla="*/ 252 w 271"/>
                    <a:gd name="T17" fmla="*/ 57 h 144"/>
                    <a:gd name="T18" fmla="*/ 246 w 271"/>
                    <a:gd name="T19" fmla="*/ 61 h 144"/>
                    <a:gd name="T20" fmla="*/ 232 w 271"/>
                    <a:gd name="T21" fmla="*/ 66 h 144"/>
                    <a:gd name="T22" fmla="*/ 227 w 271"/>
                    <a:gd name="T23" fmla="*/ 74 h 144"/>
                    <a:gd name="T24" fmla="*/ 226 w 271"/>
                    <a:gd name="T25" fmla="*/ 76 h 144"/>
                    <a:gd name="T26" fmla="*/ 221 w 271"/>
                    <a:gd name="T27" fmla="*/ 81 h 144"/>
                    <a:gd name="T28" fmla="*/ 220 w 271"/>
                    <a:gd name="T29" fmla="*/ 73 h 144"/>
                    <a:gd name="T30" fmla="*/ 219 w 271"/>
                    <a:gd name="T31" fmla="*/ 79 h 144"/>
                    <a:gd name="T32" fmla="*/ 219 w 271"/>
                    <a:gd name="T33" fmla="*/ 81 h 144"/>
                    <a:gd name="T34" fmla="*/ 216 w 271"/>
                    <a:gd name="T35" fmla="*/ 84 h 144"/>
                    <a:gd name="T36" fmla="*/ 218 w 271"/>
                    <a:gd name="T37" fmla="*/ 90 h 144"/>
                    <a:gd name="T38" fmla="*/ 220 w 271"/>
                    <a:gd name="T39" fmla="*/ 92 h 144"/>
                    <a:gd name="T40" fmla="*/ 216 w 271"/>
                    <a:gd name="T41" fmla="*/ 95 h 144"/>
                    <a:gd name="T42" fmla="*/ 208 w 271"/>
                    <a:gd name="T43" fmla="*/ 101 h 144"/>
                    <a:gd name="T44" fmla="*/ 197 w 271"/>
                    <a:gd name="T45" fmla="*/ 108 h 144"/>
                    <a:gd name="T46" fmla="*/ 190 w 271"/>
                    <a:gd name="T47" fmla="*/ 119 h 144"/>
                    <a:gd name="T48" fmla="*/ 194 w 271"/>
                    <a:gd name="T49" fmla="*/ 138 h 144"/>
                    <a:gd name="T50" fmla="*/ 186 w 271"/>
                    <a:gd name="T51" fmla="*/ 141 h 144"/>
                    <a:gd name="T52" fmla="*/ 182 w 271"/>
                    <a:gd name="T53" fmla="*/ 134 h 144"/>
                    <a:gd name="T54" fmla="*/ 181 w 271"/>
                    <a:gd name="T55" fmla="*/ 125 h 144"/>
                    <a:gd name="T56" fmla="*/ 173 w 271"/>
                    <a:gd name="T57" fmla="*/ 122 h 144"/>
                    <a:gd name="T58" fmla="*/ 169 w 271"/>
                    <a:gd name="T59" fmla="*/ 119 h 144"/>
                    <a:gd name="T60" fmla="*/ 160 w 271"/>
                    <a:gd name="T61" fmla="*/ 118 h 144"/>
                    <a:gd name="T62" fmla="*/ 150 w 271"/>
                    <a:gd name="T63" fmla="*/ 121 h 144"/>
                    <a:gd name="T64" fmla="*/ 151 w 271"/>
                    <a:gd name="T65" fmla="*/ 125 h 144"/>
                    <a:gd name="T66" fmla="*/ 142 w 271"/>
                    <a:gd name="T67" fmla="*/ 124 h 144"/>
                    <a:gd name="T68" fmla="*/ 135 w 271"/>
                    <a:gd name="T69" fmla="*/ 122 h 144"/>
                    <a:gd name="T70" fmla="*/ 125 w 271"/>
                    <a:gd name="T71" fmla="*/ 122 h 144"/>
                    <a:gd name="T72" fmla="*/ 116 w 271"/>
                    <a:gd name="T73" fmla="*/ 127 h 144"/>
                    <a:gd name="T74" fmla="*/ 112 w 271"/>
                    <a:gd name="T75" fmla="*/ 139 h 144"/>
                    <a:gd name="T76" fmla="*/ 103 w 271"/>
                    <a:gd name="T77" fmla="*/ 133 h 144"/>
                    <a:gd name="T78" fmla="*/ 97 w 271"/>
                    <a:gd name="T79" fmla="*/ 122 h 144"/>
                    <a:gd name="T80" fmla="*/ 89 w 271"/>
                    <a:gd name="T81" fmla="*/ 122 h 144"/>
                    <a:gd name="T82" fmla="*/ 82 w 271"/>
                    <a:gd name="T83" fmla="*/ 122 h 144"/>
                    <a:gd name="T84" fmla="*/ 79 w 271"/>
                    <a:gd name="T85" fmla="*/ 116 h 144"/>
                    <a:gd name="T86" fmla="*/ 73 w 271"/>
                    <a:gd name="T87" fmla="*/ 109 h 144"/>
                    <a:gd name="T88" fmla="*/ 19 w 271"/>
                    <a:gd name="T89" fmla="*/ 95 h 144"/>
                    <a:gd name="T90" fmla="*/ 10 w 271"/>
                    <a:gd name="T91" fmla="*/ 89 h 144"/>
                    <a:gd name="T92" fmla="*/ 7 w 271"/>
                    <a:gd name="T93" fmla="*/ 78 h 144"/>
                    <a:gd name="T94" fmla="*/ 6 w 271"/>
                    <a:gd name="T95" fmla="*/ 72 h 144"/>
                    <a:gd name="T96" fmla="*/ 5 w 271"/>
                    <a:gd name="T97" fmla="*/ 72 h 144"/>
                    <a:gd name="T98" fmla="*/ 1 w 271"/>
                    <a:gd name="T99" fmla="*/ 57 h 144"/>
                    <a:gd name="T100" fmla="*/ 3 w 271"/>
                    <a:gd name="T101" fmla="*/ 42 h 144"/>
                    <a:gd name="T102" fmla="*/ 12 w 271"/>
                    <a:gd name="T103" fmla="*/ 21 h 144"/>
                    <a:gd name="T104" fmla="*/ 13 w 271"/>
                    <a:gd name="T105" fmla="*/ 18 h 144"/>
                    <a:gd name="T106" fmla="*/ 14 w 271"/>
                    <a:gd name="T107" fmla="*/ 8 h 144"/>
                    <a:gd name="T108" fmla="*/ 20 w 271"/>
                    <a:gd name="T109" fmla="*/ 9 h 144"/>
                    <a:gd name="T110" fmla="*/ 21 w 271"/>
                    <a:gd name="T111" fmla="*/ 13 h 144"/>
                    <a:gd name="T112" fmla="*/ 25 w 271"/>
                    <a:gd name="T113" fmla="*/ 3 h 144"/>
                    <a:gd name="T114" fmla="*/ 234 w 271"/>
                    <a:gd name="T115" fmla="*/ 65 h 144"/>
                    <a:gd name="T116" fmla="*/ 240 w 271"/>
                    <a:gd name="T117" fmla="*/ 63 h 144"/>
                    <a:gd name="T118" fmla="*/ 24 w 271"/>
                    <a:gd name="T119" fmla="*/ 5 h 144"/>
                    <a:gd name="T120" fmla="*/ 113 w 271"/>
                    <a:gd name="T121" fmla="*/ 133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71" h="144">
                      <a:moveTo>
                        <a:pt x="24" y="0"/>
                      </a:moveTo>
                      <a:cubicBezTo>
                        <a:pt x="148" y="11"/>
                        <a:pt x="148" y="11"/>
                        <a:pt x="148" y="11"/>
                      </a:cubicBezTo>
                      <a:cubicBezTo>
                        <a:pt x="149" y="11"/>
                        <a:pt x="149" y="11"/>
                        <a:pt x="149" y="11"/>
                      </a:cubicBezTo>
                      <a:cubicBezTo>
                        <a:pt x="150" y="11"/>
                        <a:pt x="150" y="11"/>
                        <a:pt x="150" y="11"/>
                      </a:cubicBezTo>
                      <a:cubicBezTo>
                        <a:pt x="151" y="12"/>
                        <a:pt x="151" y="12"/>
                        <a:pt x="151" y="12"/>
                      </a:cubicBezTo>
                      <a:cubicBezTo>
                        <a:pt x="151" y="12"/>
                        <a:pt x="151" y="12"/>
                        <a:pt x="151" y="12"/>
                      </a:cubicBezTo>
                      <a:cubicBezTo>
                        <a:pt x="152" y="13"/>
                        <a:pt x="152" y="13"/>
                        <a:pt x="152" y="13"/>
                      </a:cubicBezTo>
                      <a:cubicBezTo>
                        <a:pt x="152" y="13"/>
                        <a:pt x="152" y="13"/>
                        <a:pt x="152" y="13"/>
                      </a:cubicBezTo>
                      <a:cubicBezTo>
                        <a:pt x="153" y="13"/>
                        <a:pt x="153" y="13"/>
                        <a:pt x="153" y="13"/>
                      </a:cubicBezTo>
                      <a:cubicBezTo>
                        <a:pt x="153" y="14"/>
                        <a:pt x="153" y="14"/>
                        <a:pt x="153" y="14"/>
                      </a:cubicBezTo>
                      <a:cubicBezTo>
                        <a:pt x="154" y="14"/>
                        <a:pt x="154" y="14"/>
                        <a:pt x="154" y="14"/>
                      </a:cubicBezTo>
                      <a:cubicBezTo>
                        <a:pt x="154" y="14"/>
                        <a:pt x="154" y="14"/>
                        <a:pt x="154" y="14"/>
                      </a:cubicBezTo>
                      <a:cubicBezTo>
                        <a:pt x="155" y="14"/>
                        <a:pt x="155" y="14"/>
                        <a:pt x="155" y="14"/>
                      </a:cubicBezTo>
                      <a:cubicBezTo>
                        <a:pt x="156" y="14"/>
                        <a:pt x="156" y="14"/>
                        <a:pt x="156" y="14"/>
                      </a:cubicBezTo>
                      <a:cubicBezTo>
                        <a:pt x="156" y="14"/>
                        <a:pt x="156" y="14"/>
                        <a:pt x="156" y="14"/>
                      </a:cubicBezTo>
                      <a:cubicBezTo>
                        <a:pt x="157" y="14"/>
                        <a:pt x="157" y="14"/>
                        <a:pt x="157" y="14"/>
                      </a:cubicBezTo>
                      <a:cubicBezTo>
                        <a:pt x="158" y="15"/>
                        <a:pt x="158" y="15"/>
                        <a:pt x="158" y="15"/>
                      </a:cubicBezTo>
                      <a:cubicBezTo>
                        <a:pt x="159" y="15"/>
                        <a:pt x="159" y="15"/>
                        <a:pt x="159" y="15"/>
                      </a:cubicBezTo>
                      <a:cubicBezTo>
                        <a:pt x="159" y="16"/>
                        <a:pt x="159" y="16"/>
                        <a:pt x="159" y="16"/>
                      </a:cubicBezTo>
                      <a:cubicBezTo>
                        <a:pt x="161" y="17"/>
                        <a:pt x="161" y="17"/>
                        <a:pt x="161" y="17"/>
                      </a:cubicBezTo>
                      <a:cubicBezTo>
                        <a:pt x="162" y="17"/>
                        <a:pt x="162" y="17"/>
                        <a:pt x="162" y="17"/>
                      </a:cubicBezTo>
                      <a:cubicBezTo>
                        <a:pt x="163" y="17"/>
                        <a:pt x="163" y="17"/>
                        <a:pt x="163" y="17"/>
                      </a:cubicBezTo>
                      <a:cubicBezTo>
                        <a:pt x="163" y="18"/>
                        <a:pt x="163" y="18"/>
                        <a:pt x="163" y="18"/>
                      </a:cubicBezTo>
                      <a:cubicBezTo>
                        <a:pt x="165" y="18"/>
                        <a:pt x="165" y="18"/>
                        <a:pt x="165" y="18"/>
                      </a:cubicBezTo>
                      <a:cubicBezTo>
                        <a:pt x="166" y="17"/>
                        <a:pt x="166" y="17"/>
                        <a:pt x="166" y="17"/>
                      </a:cubicBezTo>
                      <a:cubicBezTo>
                        <a:pt x="166" y="18"/>
                        <a:pt x="166" y="18"/>
                        <a:pt x="166" y="18"/>
                      </a:cubicBezTo>
                      <a:cubicBezTo>
                        <a:pt x="167" y="18"/>
                        <a:pt x="167" y="18"/>
                        <a:pt x="167" y="18"/>
                      </a:cubicBezTo>
                      <a:cubicBezTo>
                        <a:pt x="169" y="18"/>
                        <a:pt x="169" y="18"/>
                        <a:pt x="169" y="18"/>
                      </a:cubicBezTo>
                      <a:cubicBezTo>
                        <a:pt x="169" y="19"/>
                        <a:pt x="169" y="19"/>
                        <a:pt x="169" y="19"/>
                      </a:cubicBezTo>
                      <a:cubicBezTo>
                        <a:pt x="171" y="19"/>
                        <a:pt x="171" y="19"/>
                        <a:pt x="171" y="19"/>
                      </a:cubicBezTo>
                      <a:cubicBezTo>
                        <a:pt x="171" y="20"/>
                        <a:pt x="171" y="20"/>
                        <a:pt x="171" y="20"/>
                      </a:cubicBezTo>
                      <a:cubicBezTo>
                        <a:pt x="190" y="28"/>
                        <a:pt x="190" y="28"/>
                        <a:pt x="190" y="28"/>
                      </a:cubicBezTo>
                      <a:cubicBezTo>
                        <a:pt x="192" y="29"/>
                        <a:pt x="192" y="29"/>
                        <a:pt x="192" y="29"/>
                      </a:cubicBezTo>
                      <a:cubicBezTo>
                        <a:pt x="195" y="31"/>
                        <a:pt x="195" y="31"/>
                        <a:pt x="195" y="31"/>
                      </a:cubicBezTo>
                      <a:cubicBezTo>
                        <a:pt x="198" y="44"/>
                        <a:pt x="198" y="44"/>
                        <a:pt x="198" y="44"/>
                      </a:cubicBezTo>
                      <a:cubicBezTo>
                        <a:pt x="197" y="50"/>
                        <a:pt x="197" y="50"/>
                        <a:pt x="197" y="50"/>
                      </a:cubicBezTo>
                      <a:cubicBezTo>
                        <a:pt x="197" y="51"/>
                        <a:pt x="197" y="51"/>
                        <a:pt x="197" y="51"/>
                      </a:cubicBezTo>
                      <a:cubicBezTo>
                        <a:pt x="196" y="52"/>
                        <a:pt x="196" y="52"/>
                        <a:pt x="196" y="52"/>
                      </a:cubicBezTo>
                      <a:cubicBezTo>
                        <a:pt x="195" y="53"/>
                        <a:pt x="195" y="53"/>
                        <a:pt x="195" y="53"/>
                      </a:cubicBezTo>
                      <a:cubicBezTo>
                        <a:pt x="194" y="54"/>
                        <a:pt x="194" y="54"/>
                        <a:pt x="194" y="54"/>
                      </a:cubicBezTo>
                      <a:cubicBezTo>
                        <a:pt x="193" y="55"/>
                        <a:pt x="193" y="55"/>
                        <a:pt x="193" y="55"/>
                      </a:cubicBezTo>
                      <a:cubicBezTo>
                        <a:pt x="194" y="56"/>
                        <a:pt x="194" y="56"/>
                        <a:pt x="194" y="56"/>
                      </a:cubicBezTo>
                      <a:cubicBezTo>
                        <a:pt x="210" y="52"/>
                        <a:pt x="210" y="52"/>
                        <a:pt x="210" y="52"/>
                      </a:cubicBezTo>
                      <a:cubicBezTo>
                        <a:pt x="212" y="52"/>
                        <a:pt x="212" y="52"/>
                        <a:pt x="212" y="52"/>
                      </a:cubicBezTo>
                      <a:cubicBezTo>
                        <a:pt x="212" y="50"/>
                        <a:pt x="212" y="50"/>
                        <a:pt x="212" y="50"/>
                      </a:cubicBezTo>
                      <a:cubicBezTo>
                        <a:pt x="221" y="47"/>
                        <a:pt x="221" y="47"/>
                        <a:pt x="221" y="47"/>
                      </a:cubicBezTo>
                      <a:cubicBezTo>
                        <a:pt x="225" y="44"/>
                        <a:pt x="225" y="44"/>
                        <a:pt x="225" y="44"/>
                      </a:cubicBezTo>
                      <a:cubicBezTo>
                        <a:pt x="226" y="44"/>
                        <a:pt x="226" y="44"/>
                        <a:pt x="226" y="44"/>
                      </a:cubicBezTo>
                      <a:cubicBezTo>
                        <a:pt x="228" y="44"/>
                        <a:pt x="228" y="44"/>
                        <a:pt x="228" y="44"/>
                      </a:cubicBezTo>
                      <a:cubicBezTo>
                        <a:pt x="230" y="42"/>
                        <a:pt x="230" y="42"/>
                        <a:pt x="230" y="42"/>
                      </a:cubicBezTo>
                      <a:cubicBezTo>
                        <a:pt x="231" y="41"/>
                        <a:pt x="231" y="41"/>
                        <a:pt x="231" y="41"/>
                      </a:cubicBezTo>
                      <a:cubicBezTo>
                        <a:pt x="232" y="41"/>
                        <a:pt x="232" y="41"/>
                        <a:pt x="232" y="41"/>
                      </a:cubicBezTo>
                      <a:cubicBezTo>
                        <a:pt x="233" y="40"/>
                        <a:pt x="233" y="40"/>
                        <a:pt x="233" y="40"/>
                      </a:cubicBezTo>
                      <a:cubicBezTo>
                        <a:pt x="234" y="40"/>
                        <a:pt x="234" y="40"/>
                        <a:pt x="234" y="40"/>
                      </a:cubicBezTo>
                      <a:cubicBezTo>
                        <a:pt x="248" y="40"/>
                        <a:pt x="248" y="40"/>
                        <a:pt x="248" y="40"/>
                      </a:cubicBezTo>
                      <a:cubicBezTo>
                        <a:pt x="249" y="39"/>
                        <a:pt x="249" y="39"/>
                        <a:pt x="249" y="39"/>
                      </a:cubicBezTo>
                      <a:cubicBezTo>
                        <a:pt x="250" y="39"/>
                        <a:pt x="250" y="39"/>
                        <a:pt x="250" y="39"/>
                      </a:cubicBezTo>
                      <a:cubicBezTo>
                        <a:pt x="250" y="39"/>
                        <a:pt x="250" y="39"/>
                        <a:pt x="250" y="39"/>
                      </a:cubicBezTo>
                      <a:cubicBezTo>
                        <a:pt x="251" y="39"/>
                        <a:pt x="251" y="39"/>
                        <a:pt x="251" y="39"/>
                      </a:cubicBezTo>
                      <a:cubicBezTo>
                        <a:pt x="252" y="39"/>
                        <a:pt x="252" y="39"/>
                        <a:pt x="252" y="39"/>
                      </a:cubicBezTo>
                      <a:cubicBezTo>
                        <a:pt x="252" y="38"/>
                        <a:pt x="252" y="38"/>
                        <a:pt x="252" y="38"/>
                      </a:cubicBezTo>
                      <a:cubicBezTo>
                        <a:pt x="252" y="38"/>
                        <a:pt x="252" y="38"/>
                        <a:pt x="252" y="38"/>
                      </a:cubicBezTo>
                      <a:cubicBezTo>
                        <a:pt x="254" y="36"/>
                        <a:pt x="254" y="36"/>
                        <a:pt x="254" y="36"/>
                      </a:cubicBezTo>
                      <a:cubicBezTo>
                        <a:pt x="255" y="36"/>
                        <a:pt x="255" y="36"/>
                        <a:pt x="255" y="36"/>
                      </a:cubicBezTo>
                      <a:cubicBezTo>
                        <a:pt x="256" y="35"/>
                        <a:pt x="256" y="35"/>
                        <a:pt x="256" y="35"/>
                      </a:cubicBezTo>
                      <a:cubicBezTo>
                        <a:pt x="256" y="34"/>
                        <a:pt x="256" y="34"/>
                        <a:pt x="256" y="34"/>
                      </a:cubicBezTo>
                      <a:cubicBezTo>
                        <a:pt x="256" y="33"/>
                        <a:pt x="256" y="33"/>
                        <a:pt x="256" y="33"/>
                      </a:cubicBezTo>
                      <a:cubicBezTo>
                        <a:pt x="258" y="32"/>
                        <a:pt x="258" y="32"/>
                        <a:pt x="258" y="32"/>
                      </a:cubicBezTo>
                      <a:cubicBezTo>
                        <a:pt x="258" y="32"/>
                        <a:pt x="258" y="32"/>
                        <a:pt x="258" y="32"/>
                      </a:cubicBezTo>
                      <a:cubicBezTo>
                        <a:pt x="258" y="31"/>
                        <a:pt x="258" y="31"/>
                        <a:pt x="258" y="31"/>
                      </a:cubicBezTo>
                      <a:cubicBezTo>
                        <a:pt x="260" y="29"/>
                        <a:pt x="260" y="29"/>
                        <a:pt x="260" y="29"/>
                      </a:cubicBezTo>
                      <a:cubicBezTo>
                        <a:pt x="260" y="28"/>
                        <a:pt x="260" y="28"/>
                        <a:pt x="260" y="28"/>
                      </a:cubicBezTo>
                      <a:cubicBezTo>
                        <a:pt x="261" y="27"/>
                        <a:pt x="261" y="27"/>
                        <a:pt x="261" y="27"/>
                      </a:cubicBezTo>
                      <a:cubicBezTo>
                        <a:pt x="262" y="27"/>
                        <a:pt x="262" y="27"/>
                        <a:pt x="262" y="27"/>
                      </a:cubicBezTo>
                      <a:cubicBezTo>
                        <a:pt x="262" y="28"/>
                        <a:pt x="262" y="28"/>
                        <a:pt x="262" y="28"/>
                      </a:cubicBezTo>
                      <a:cubicBezTo>
                        <a:pt x="263" y="28"/>
                        <a:pt x="263" y="28"/>
                        <a:pt x="263" y="28"/>
                      </a:cubicBezTo>
                      <a:cubicBezTo>
                        <a:pt x="264" y="28"/>
                        <a:pt x="264" y="28"/>
                        <a:pt x="264" y="28"/>
                      </a:cubicBezTo>
                      <a:cubicBezTo>
                        <a:pt x="265" y="28"/>
                        <a:pt x="265" y="28"/>
                        <a:pt x="265" y="28"/>
                      </a:cubicBezTo>
                      <a:cubicBezTo>
                        <a:pt x="266" y="28"/>
                        <a:pt x="266" y="28"/>
                        <a:pt x="266" y="28"/>
                      </a:cubicBezTo>
                      <a:cubicBezTo>
                        <a:pt x="267" y="30"/>
                        <a:pt x="267" y="30"/>
                        <a:pt x="267" y="30"/>
                      </a:cubicBezTo>
                      <a:cubicBezTo>
                        <a:pt x="267" y="31"/>
                        <a:pt x="267" y="31"/>
                        <a:pt x="267" y="31"/>
                      </a:cubicBezTo>
                      <a:cubicBezTo>
                        <a:pt x="266" y="36"/>
                        <a:pt x="266" y="36"/>
                        <a:pt x="266" y="36"/>
                      </a:cubicBezTo>
                      <a:cubicBezTo>
                        <a:pt x="266" y="37"/>
                        <a:pt x="266" y="37"/>
                        <a:pt x="266" y="37"/>
                      </a:cubicBezTo>
                      <a:cubicBezTo>
                        <a:pt x="267" y="37"/>
                        <a:pt x="267" y="37"/>
                        <a:pt x="267" y="37"/>
                      </a:cubicBezTo>
                      <a:cubicBezTo>
                        <a:pt x="267" y="38"/>
                        <a:pt x="267" y="38"/>
                        <a:pt x="267" y="38"/>
                      </a:cubicBezTo>
                      <a:cubicBezTo>
                        <a:pt x="267" y="38"/>
                        <a:pt x="267" y="38"/>
                        <a:pt x="267" y="38"/>
                      </a:cubicBezTo>
                      <a:cubicBezTo>
                        <a:pt x="267" y="39"/>
                        <a:pt x="267" y="39"/>
                        <a:pt x="267" y="39"/>
                      </a:cubicBezTo>
                      <a:cubicBezTo>
                        <a:pt x="267" y="39"/>
                        <a:pt x="267" y="39"/>
                        <a:pt x="267" y="39"/>
                      </a:cubicBezTo>
                      <a:cubicBezTo>
                        <a:pt x="267" y="40"/>
                        <a:pt x="267" y="40"/>
                        <a:pt x="267" y="40"/>
                      </a:cubicBezTo>
                      <a:cubicBezTo>
                        <a:pt x="267" y="40"/>
                        <a:pt x="267" y="40"/>
                        <a:pt x="267" y="40"/>
                      </a:cubicBezTo>
                      <a:cubicBezTo>
                        <a:pt x="267" y="40"/>
                        <a:pt x="267" y="40"/>
                        <a:pt x="267" y="40"/>
                      </a:cubicBezTo>
                      <a:cubicBezTo>
                        <a:pt x="267" y="40"/>
                        <a:pt x="267" y="40"/>
                        <a:pt x="267" y="40"/>
                      </a:cubicBezTo>
                      <a:cubicBezTo>
                        <a:pt x="267" y="40"/>
                        <a:pt x="267" y="40"/>
                        <a:pt x="267" y="40"/>
                      </a:cubicBezTo>
                      <a:cubicBezTo>
                        <a:pt x="269" y="41"/>
                        <a:pt x="269" y="41"/>
                        <a:pt x="269" y="41"/>
                      </a:cubicBezTo>
                      <a:cubicBezTo>
                        <a:pt x="269" y="42"/>
                        <a:pt x="269" y="42"/>
                        <a:pt x="269" y="42"/>
                      </a:cubicBezTo>
                      <a:cubicBezTo>
                        <a:pt x="269" y="43"/>
                        <a:pt x="269" y="43"/>
                        <a:pt x="269" y="43"/>
                      </a:cubicBezTo>
                      <a:cubicBezTo>
                        <a:pt x="270" y="42"/>
                        <a:pt x="270" y="42"/>
                        <a:pt x="270" y="42"/>
                      </a:cubicBezTo>
                      <a:cubicBezTo>
                        <a:pt x="271" y="43"/>
                        <a:pt x="271" y="43"/>
                        <a:pt x="271" y="43"/>
                      </a:cubicBezTo>
                      <a:cubicBezTo>
                        <a:pt x="270" y="44"/>
                        <a:pt x="270" y="44"/>
                        <a:pt x="270" y="44"/>
                      </a:cubicBezTo>
                      <a:cubicBezTo>
                        <a:pt x="269" y="44"/>
                        <a:pt x="269" y="44"/>
                        <a:pt x="269" y="44"/>
                      </a:cubicBezTo>
                      <a:cubicBezTo>
                        <a:pt x="269" y="43"/>
                        <a:pt x="269" y="43"/>
                        <a:pt x="269" y="43"/>
                      </a:cubicBezTo>
                      <a:cubicBezTo>
                        <a:pt x="268" y="44"/>
                        <a:pt x="268" y="44"/>
                        <a:pt x="268" y="44"/>
                      </a:cubicBezTo>
                      <a:cubicBezTo>
                        <a:pt x="267" y="44"/>
                        <a:pt x="267" y="44"/>
                        <a:pt x="267" y="44"/>
                      </a:cubicBezTo>
                      <a:cubicBezTo>
                        <a:pt x="266" y="44"/>
                        <a:pt x="266" y="44"/>
                        <a:pt x="266" y="44"/>
                      </a:cubicBezTo>
                      <a:cubicBezTo>
                        <a:pt x="266" y="44"/>
                        <a:pt x="266" y="44"/>
                        <a:pt x="266" y="44"/>
                      </a:cubicBezTo>
                      <a:cubicBezTo>
                        <a:pt x="265" y="44"/>
                        <a:pt x="265" y="44"/>
                        <a:pt x="265" y="44"/>
                      </a:cubicBezTo>
                      <a:cubicBezTo>
                        <a:pt x="264" y="45"/>
                        <a:pt x="264" y="45"/>
                        <a:pt x="264" y="45"/>
                      </a:cubicBezTo>
                      <a:cubicBezTo>
                        <a:pt x="263" y="45"/>
                        <a:pt x="263" y="45"/>
                        <a:pt x="263" y="45"/>
                      </a:cubicBezTo>
                      <a:cubicBezTo>
                        <a:pt x="263" y="44"/>
                        <a:pt x="263" y="44"/>
                        <a:pt x="263" y="44"/>
                      </a:cubicBezTo>
                      <a:cubicBezTo>
                        <a:pt x="262" y="44"/>
                        <a:pt x="262" y="44"/>
                        <a:pt x="262" y="44"/>
                      </a:cubicBezTo>
                      <a:cubicBezTo>
                        <a:pt x="261" y="45"/>
                        <a:pt x="261" y="45"/>
                        <a:pt x="261" y="45"/>
                      </a:cubicBezTo>
                      <a:cubicBezTo>
                        <a:pt x="260" y="45"/>
                        <a:pt x="260" y="45"/>
                        <a:pt x="260" y="45"/>
                      </a:cubicBezTo>
                      <a:cubicBezTo>
                        <a:pt x="260" y="44"/>
                        <a:pt x="260" y="44"/>
                        <a:pt x="260" y="44"/>
                      </a:cubicBezTo>
                      <a:cubicBezTo>
                        <a:pt x="260" y="44"/>
                        <a:pt x="260" y="44"/>
                        <a:pt x="260" y="44"/>
                      </a:cubicBezTo>
                      <a:cubicBezTo>
                        <a:pt x="259" y="45"/>
                        <a:pt x="259" y="45"/>
                        <a:pt x="259" y="45"/>
                      </a:cubicBezTo>
                      <a:cubicBezTo>
                        <a:pt x="258" y="46"/>
                        <a:pt x="258" y="46"/>
                        <a:pt x="258" y="46"/>
                      </a:cubicBezTo>
                      <a:cubicBezTo>
                        <a:pt x="258" y="47"/>
                        <a:pt x="258" y="47"/>
                        <a:pt x="258" y="47"/>
                      </a:cubicBezTo>
                      <a:cubicBezTo>
                        <a:pt x="258" y="46"/>
                        <a:pt x="258" y="46"/>
                        <a:pt x="258" y="46"/>
                      </a:cubicBezTo>
                      <a:cubicBezTo>
                        <a:pt x="257" y="47"/>
                        <a:pt x="257" y="47"/>
                        <a:pt x="257" y="47"/>
                      </a:cubicBezTo>
                      <a:cubicBezTo>
                        <a:pt x="256" y="47"/>
                        <a:pt x="256" y="47"/>
                        <a:pt x="256" y="47"/>
                      </a:cubicBezTo>
                      <a:cubicBezTo>
                        <a:pt x="256" y="46"/>
                        <a:pt x="256" y="46"/>
                        <a:pt x="256" y="46"/>
                      </a:cubicBezTo>
                      <a:cubicBezTo>
                        <a:pt x="256" y="47"/>
                        <a:pt x="256" y="47"/>
                        <a:pt x="256" y="47"/>
                      </a:cubicBezTo>
                      <a:cubicBezTo>
                        <a:pt x="255" y="48"/>
                        <a:pt x="255" y="48"/>
                        <a:pt x="255" y="48"/>
                      </a:cubicBezTo>
                      <a:cubicBezTo>
                        <a:pt x="255" y="48"/>
                        <a:pt x="255" y="48"/>
                        <a:pt x="255" y="48"/>
                      </a:cubicBezTo>
                      <a:cubicBezTo>
                        <a:pt x="255" y="47"/>
                        <a:pt x="255" y="47"/>
                        <a:pt x="255" y="47"/>
                      </a:cubicBezTo>
                      <a:cubicBezTo>
                        <a:pt x="254" y="48"/>
                        <a:pt x="254" y="48"/>
                        <a:pt x="254" y="48"/>
                      </a:cubicBezTo>
                      <a:cubicBezTo>
                        <a:pt x="254" y="48"/>
                        <a:pt x="254" y="48"/>
                        <a:pt x="254" y="48"/>
                      </a:cubicBezTo>
                      <a:cubicBezTo>
                        <a:pt x="253" y="49"/>
                        <a:pt x="253" y="49"/>
                        <a:pt x="253" y="49"/>
                      </a:cubicBezTo>
                      <a:cubicBezTo>
                        <a:pt x="251" y="50"/>
                        <a:pt x="251" y="50"/>
                        <a:pt x="251" y="50"/>
                      </a:cubicBezTo>
                      <a:cubicBezTo>
                        <a:pt x="251" y="52"/>
                        <a:pt x="251" y="52"/>
                        <a:pt x="251" y="52"/>
                      </a:cubicBezTo>
                      <a:cubicBezTo>
                        <a:pt x="250" y="52"/>
                        <a:pt x="250" y="52"/>
                        <a:pt x="250" y="52"/>
                      </a:cubicBezTo>
                      <a:cubicBezTo>
                        <a:pt x="250" y="53"/>
                        <a:pt x="250" y="53"/>
                        <a:pt x="250" y="53"/>
                      </a:cubicBezTo>
                      <a:cubicBezTo>
                        <a:pt x="249" y="53"/>
                        <a:pt x="249" y="53"/>
                        <a:pt x="249" y="53"/>
                      </a:cubicBezTo>
                      <a:cubicBezTo>
                        <a:pt x="249" y="54"/>
                        <a:pt x="249" y="54"/>
                        <a:pt x="249" y="54"/>
                      </a:cubicBezTo>
                      <a:cubicBezTo>
                        <a:pt x="250" y="54"/>
                        <a:pt x="250" y="54"/>
                        <a:pt x="250" y="54"/>
                      </a:cubicBezTo>
                      <a:cubicBezTo>
                        <a:pt x="250" y="55"/>
                        <a:pt x="250" y="55"/>
                        <a:pt x="250" y="55"/>
                      </a:cubicBezTo>
                      <a:cubicBezTo>
                        <a:pt x="248" y="56"/>
                        <a:pt x="248" y="56"/>
                        <a:pt x="248" y="56"/>
                      </a:cubicBezTo>
                      <a:cubicBezTo>
                        <a:pt x="248" y="56"/>
                        <a:pt x="248" y="56"/>
                        <a:pt x="248" y="56"/>
                      </a:cubicBezTo>
                      <a:cubicBezTo>
                        <a:pt x="249" y="57"/>
                        <a:pt x="249" y="57"/>
                        <a:pt x="249" y="57"/>
                      </a:cubicBezTo>
                      <a:cubicBezTo>
                        <a:pt x="250" y="58"/>
                        <a:pt x="250" y="58"/>
                        <a:pt x="250" y="58"/>
                      </a:cubicBezTo>
                      <a:cubicBezTo>
                        <a:pt x="250" y="59"/>
                        <a:pt x="250" y="59"/>
                        <a:pt x="250" y="59"/>
                      </a:cubicBezTo>
                      <a:cubicBezTo>
                        <a:pt x="251" y="59"/>
                        <a:pt x="251" y="59"/>
                        <a:pt x="251" y="59"/>
                      </a:cubicBezTo>
                      <a:cubicBezTo>
                        <a:pt x="252" y="58"/>
                        <a:pt x="252" y="58"/>
                        <a:pt x="252" y="58"/>
                      </a:cubicBezTo>
                      <a:cubicBezTo>
                        <a:pt x="252" y="57"/>
                        <a:pt x="252" y="57"/>
                        <a:pt x="252" y="57"/>
                      </a:cubicBezTo>
                      <a:cubicBezTo>
                        <a:pt x="252" y="57"/>
                        <a:pt x="252" y="57"/>
                        <a:pt x="252" y="57"/>
                      </a:cubicBezTo>
                      <a:cubicBezTo>
                        <a:pt x="253" y="59"/>
                        <a:pt x="253" y="59"/>
                        <a:pt x="253" y="59"/>
                      </a:cubicBezTo>
                      <a:cubicBezTo>
                        <a:pt x="252" y="60"/>
                        <a:pt x="252" y="60"/>
                        <a:pt x="252" y="60"/>
                      </a:cubicBezTo>
                      <a:cubicBezTo>
                        <a:pt x="250" y="61"/>
                        <a:pt x="250" y="61"/>
                        <a:pt x="250" y="61"/>
                      </a:cubicBezTo>
                      <a:cubicBezTo>
                        <a:pt x="249" y="60"/>
                        <a:pt x="249" y="60"/>
                        <a:pt x="249" y="60"/>
                      </a:cubicBezTo>
                      <a:cubicBezTo>
                        <a:pt x="249" y="60"/>
                        <a:pt x="249" y="60"/>
                        <a:pt x="249" y="60"/>
                      </a:cubicBezTo>
                      <a:cubicBezTo>
                        <a:pt x="249" y="59"/>
                        <a:pt x="249" y="59"/>
                        <a:pt x="249" y="59"/>
                      </a:cubicBezTo>
                      <a:cubicBezTo>
                        <a:pt x="248" y="60"/>
                        <a:pt x="248" y="60"/>
                        <a:pt x="248" y="60"/>
                      </a:cubicBezTo>
                      <a:cubicBezTo>
                        <a:pt x="247" y="61"/>
                        <a:pt x="247" y="61"/>
                        <a:pt x="247" y="61"/>
                      </a:cubicBezTo>
                      <a:cubicBezTo>
                        <a:pt x="246" y="61"/>
                        <a:pt x="246" y="61"/>
                        <a:pt x="246" y="61"/>
                      </a:cubicBezTo>
                      <a:cubicBezTo>
                        <a:pt x="246" y="61"/>
                        <a:pt x="246" y="61"/>
                        <a:pt x="246" y="61"/>
                      </a:cubicBezTo>
                      <a:cubicBezTo>
                        <a:pt x="246" y="60"/>
                        <a:pt x="246" y="60"/>
                        <a:pt x="246" y="60"/>
                      </a:cubicBezTo>
                      <a:cubicBezTo>
                        <a:pt x="246" y="59"/>
                        <a:pt x="246" y="59"/>
                        <a:pt x="246" y="59"/>
                      </a:cubicBezTo>
                      <a:cubicBezTo>
                        <a:pt x="246" y="60"/>
                        <a:pt x="246" y="60"/>
                        <a:pt x="246" y="60"/>
                      </a:cubicBezTo>
                      <a:cubicBezTo>
                        <a:pt x="245" y="61"/>
                        <a:pt x="245" y="61"/>
                        <a:pt x="245" y="61"/>
                      </a:cubicBezTo>
                      <a:cubicBezTo>
                        <a:pt x="246" y="61"/>
                        <a:pt x="246" y="61"/>
                        <a:pt x="246" y="61"/>
                      </a:cubicBezTo>
                      <a:cubicBezTo>
                        <a:pt x="245" y="62"/>
                        <a:pt x="245" y="62"/>
                        <a:pt x="245" y="62"/>
                      </a:cubicBezTo>
                      <a:cubicBezTo>
                        <a:pt x="243" y="62"/>
                        <a:pt x="243" y="62"/>
                        <a:pt x="243" y="62"/>
                      </a:cubicBezTo>
                      <a:cubicBezTo>
                        <a:pt x="242" y="62"/>
                        <a:pt x="242" y="62"/>
                        <a:pt x="242" y="62"/>
                      </a:cubicBezTo>
                      <a:cubicBezTo>
                        <a:pt x="241" y="62"/>
                        <a:pt x="241" y="62"/>
                        <a:pt x="241" y="62"/>
                      </a:cubicBezTo>
                      <a:cubicBezTo>
                        <a:pt x="239" y="62"/>
                        <a:pt x="239" y="62"/>
                        <a:pt x="239" y="62"/>
                      </a:cubicBezTo>
                      <a:cubicBezTo>
                        <a:pt x="239" y="62"/>
                        <a:pt x="239" y="62"/>
                        <a:pt x="239" y="62"/>
                      </a:cubicBezTo>
                      <a:cubicBezTo>
                        <a:pt x="238" y="62"/>
                        <a:pt x="238" y="62"/>
                        <a:pt x="238" y="62"/>
                      </a:cubicBezTo>
                      <a:cubicBezTo>
                        <a:pt x="237" y="63"/>
                        <a:pt x="237" y="63"/>
                        <a:pt x="237" y="63"/>
                      </a:cubicBezTo>
                      <a:cubicBezTo>
                        <a:pt x="236" y="63"/>
                        <a:pt x="236" y="63"/>
                        <a:pt x="236" y="63"/>
                      </a:cubicBezTo>
                      <a:cubicBezTo>
                        <a:pt x="234" y="63"/>
                        <a:pt x="234" y="63"/>
                        <a:pt x="234" y="63"/>
                      </a:cubicBezTo>
                      <a:cubicBezTo>
                        <a:pt x="233" y="63"/>
                        <a:pt x="233" y="63"/>
                        <a:pt x="233" y="63"/>
                      </a:cubicBezTo>
                      <a:cubicBezTo>
                        <a:pt x="233" y="64"/>
                        <a:pt x="233" y="64"/>
                        <a:pt x="233" y="64"/>
                      </a:cubicBezTo>
                      <a:cubicBezTo>
                        <a:pt x="233" y="65"/>
                        <a:pt x="233" y="65"/>
                        <a:pt x="233" y="65"/>
                      </a:cubicBezTo>
                      <a:cubicBezTo>
                        <a:pt x="231" y="65"/>
                        <a:pt x="231" y="65"/>
                        <a:pt x="231" y="65"/>
                      </a:cubicBezTo>
                      <a:cubicBezTo>
                        <a:pt x="232" y="66"/>
                        <a:pt x="232" y="66"/>
                        <a:pt x="232" y="66"/>
                      </a:cubicBezTo>
                      <a:cubicBezTo>
                        <a:pt x="232" y="66"/>
                        <a:pt x="232" y="66"/>
                        <a:pt x="232" y="66"/>
                      </a:cubicBezTo>
                      <a:cubicBezTo>
                        <a:pt x="232" y="67"/>
                        <a:pt x="232" y="67"/>
                        <a:pt x="232" y="67"/>
                      </a:cubicBezTo>
                      <a:cubicBezTo>
                        <a:pt x="232" y="67"/>
                        <a:pt x="232" y="67"/>
                        <a:pt x="232" y="67"/>
                      </a:cubicBezTo>
                      <a:cubicBezTo>
                        <a:pt x="232" y="68"/>
                        <a:pt x="232" y="68"/>
                        <a:pt x="232" y="68"/>
                      </a:cubicBezTo>
                      <a:cubicBezTo>
                        <a:pt x="232" y="69"/>
                        <a:pt x="232" y="69"/>
                        <a:pt x="232" y="69"/>
                      </a:cubicBezTo>
                      <a:cubicBezTo>
                        <a:pt x="232" y="69"/>
                        <a:pt x="232" y="69"/>
                        <a:pt x="232" y="69"/>
                      </a:cubicBezTo>
                      <a:cubicBezTo>
                        <a:pt x="231" y="70"/>
                        <a:pt x="231" y="70"/>
                        <a:pt x="231" y="70"/>
                      </a:cubicBezTo>
                      <a:cubicBezTo>
                        <a:pt x="231" y="70"/>
                        <a:pt x="231" y="70"/>
                        <a:pt x="231" y="70"/>
                      </a:cubicBezTo>
                      <a:cubicBezTo>
                        <a:pt x="231" y="70"/>
                        <a:pt x="231" y="70"/>
                        <a:pt x="231" y="70"/>
                      </a:cubicBezTo>
                      <a:cubicBezTo>
                        <a:pt x="230" y="71"/>
                        <a:pt x="230" y="71"/>
                        <a:pt x="230" y="71"/>
                      </a:cubicBezTo>
                      <a:cubicBezTo>
                        <a:pt x="230" y="72"/>
                        <a:pt x="230" y="72"/>
                        <a:pt x="230" y="72"/>
                      </a:cubicBezTo>
                      <a:cubicBezTo>
                        <a:pt x="229" y="72"/>
                        <a:pt x="229" y="72"/>
                        <a:pt x="229" y="72"/>
                      </a:cubicBezTo>
                      <a:cubicBezTo>
                        <a:pt x="229" y="73"/>
                        <a:pt x="229" y="73"/>
                        <a:pt x="229" y="73"/>
                      </a:cubicBezTo>
                      <a:cubicBezTo>
                        <a:pt x="228" y="73"/>
                        <a:pt x="228" y="73"/>
                        <a:pt x="228" y="73"/>
                      </a:cubicBezTo>
                      <a:cubicBezTo>
                        <a:pt x="228" y="73"/>
                        <a:pt x="228" y="73"/>
                        <a:pt x="228" y="73"/>
                      </a:cubicBezTo>
                      <a:cubicBezTo>
                        <a:pt x="227" y="74"/>
                        <a:pt x="227" y="74"/>
                        <a:pt x="227" y="74"/>
                      </a:cubicBezTo>
                      <a:cubicBezTo>
                        <a:pt x="227" y="74"/>
                        <a:pt x="227" y="74"/>
                        <a:pt x="227" y="74"/>
                      </a:cubicBezTo>
                      <a:cubicBezTo>
                        <a:pt x="227" y="75"/>
                        <a:pt x="227" y="75"/>
                        <a:pt x="227" y="75"/>
                      </a:cubicBezTo>
                      <a:cubicBezTo>
                        <a:pt x="227" y="73"/>
                        <a:pt x="227" y="73"/>
                        <a:pt x="227" y="73"/>
                      </a:cubicBezTo>
                      <a:cubicBezTo>
                        <a:pt x="227" y="73"/>
                        <a:pt x="227" y="73"/>
                        <a:pt x="227" y="73"/>
                      </a:cubicBezTo>
                      <a:cubicBezTo>
                        <a:pt x="226" y="73"/>
                        <a:pt x="226" y="73"/>
                        <a:pt x="226" y="73"/>
                      </a:cubicBezTo>
                      <a:cubicBezTo>
                        <a:pt x="225" y="72"/>
                        <a:pt x="225" y="72"/>
                        <a:pt x="225" y="72"/>
                      </a:cubicBezTo>
                      <a:cubicBezTo>
                        <a:pt x="225" y="72"/>
                        <a:pt x="225" y="72"/>
                        <a:pt x="225" y="72"/>
                      </a:cubicBezTo>
                      <a:cubicBezTo>
                        <a:pt x="225" y="71"/>
                        <a:pt x="225" y="71"/>
                        <a:pt x="225" y="71"/>
                      </a:cubicBezTo>
                      <a:cubicBezTo>
                        <a:pt x="226" y="69"/>
                        <a:pt x="226" y="69"/>
                        <a:pt x="226" y="69"/>
                      </a:cubicBezTo>
                      <a:cubicBezTo>
                        <a:pt x="225" y="70"/>
                        <a:pt x="225" y="70"/>
                        <a:pt x="225" y="70"/>
                      </a:cubicBezTo>
                      <a:cubicBezTo>
                        <a:pt x="224" y="71"/>
                        <a:pt x="224" y="71"/>
                        <a:pt x="224" y="71"/>
                      </a:cubicBezTo>
                      <a:cubicBezTo>
                        <a:pt x="224" y="71"/>
                        <a:pt x="224" y="71"/>
                        <a:pt x="224" y="71"/>
                      </a:cubicBezTo>
                      <a:cubicBezTo>
                        <a:pt x="224" y="72"/>
                        <a:pt x="224" y="72"/>
                        <a:pt x="224" y="72"/>
                      </a:cubicBezTo>
                      <a:cubicBezTo>
                        <a:pt x="225" y="73"/>
                        <a:pt x="225" y="73"/>
                        <a:pt x="225" y="73"/>
                      </a:cubicBezTo>
                      <a:cubicBezTo>
                        <a:pt x="225" y="74"/>
                        <a:pt x="225" y="74"/>
                        <a:pt x="225" y="74"/>
                      </a:cubicBezTo>
                      <a:cubicBezTo>
                        <a:pt x="225" y="74"/>
                        <a:pt x="225" y="74"/>
                        <a:pt x="225" y="74"/>
                      </a:cubicBezTo>
                      <a:cubicBezTo>
                        <a:pt x="226" y="76"/>
                        <a:pt x="226" y="76"/>
                        <a:pt x="226" y="76"/>
                      </a:cubicBezTo>
                      <a:cubicBezTo>
                        <a:pt x="226" y="77"/>
                        <a:pt x="226" y="77"/>
                        <a:pt x="226" y="77"/>
                      </a:cubicBezTo>
                      <a:cubicBezTo>
                        <a:pt x="225" y="78"/>
                        <a:pt x="225" y="78"/>
                        <a:pt x="225" y="78"/>
                      </a:cubicBezTo>
                      <a:cubicBezTo>
                        <a:pt x="224" y="79"/>
                        <a:pt x="224" y="79"/>
                        <a:pt x="224" y="79"/>
                      </a:cubicBezTo>
                      <a:cubicBezTo>
                        <a:pt x="223" y="81"/>
                        <a:pt x="223" y="81"/>
                        <a:pt x="223" y="81"/>
                      </a:cubicBezTo>
                      <a:cubicBezTo>
                        <a:pt x="223" y="82"/>
                        <a:pt x="223" y="82"/>
                        <a:pt x="223" y="82"/>
                      </a:cubicBezTo>
                      <a:cubicBezTo>
                        <a:pt x="223" y="82"/>
                        <a:pt x="223" y="82"/>
                        <a:pt x="223" y="82"/>
                      </a:cubicBezTo>
                      <a:cubicBezTo>
                        <a:pt x="222" y="82"/>
                        <a:pt x="222" y="82"/>
                        <a:pt x="222" y="82"/>
                      </a:cubicBezTo>
                      <a:cubicBezTo>
                        <a:pt x="222" y="82"/>
                        <a:pt x="222" y="82"/>
                        <a:pt x="222" y="82"/>
                      </a:cubicBezTo>
                      <a:cubicBezTo>
                        <a:pt x="222" y="82"/>
                        <a:pt x="222" y="82"/>
                        <a:pt x="222" y="82"/>
                      </a:cubicBezTo>
                      <a:cubicBezTo>
                        <a:pt x="221" y="83"/>
                        <a:pt x="221" y="83"/>
                        <a:pt x="221" y="83"/>
                      </a:cubicBezTo>
                      <a:cubicBezTo>
                        <a:pt x="221" y="84"/>
                        <a:pt x="221" y="84"/>
                        <a:pt x="221" y="84"/>
                      </a:cubicBezTo>
                      <a:cubicBezTo>
                        <a:pt x="221" y="84"/>
                        <a:pt x="221" y="84"/>
                        <a:pt x="221" y="84"/>
                      </a:cubicBezTo>
                      <a:cubicBezTo>
                        <a:pt x="221" y="83"/>
                        <a:pt x="221" y="83"/>
                        <a:pt x="221" y="83"/>
                      </a:cubicBezTo>
                      <a:cubicBezTo>
                        <a:pt x="221" y="82"/>
                        <a:pt x="221" y="82"/>
                        <a:pt x="221" y="82"/>
                      </a:cubicBezTo>
                      <a:cubicBezTo>
                        <a:pt x="222" y="81"/>
                        <a:pt x="222" y="81"/>
                        <a:pt x="222" y="81"/>
                      </a:cubicBezTo>
                      <a:cubicBezTo>
                        <a:pt x="221" y="81"/>
                        <a:pt x="221" y="81"/>
                        <a:pt x="221" y="81"/>
                      </a:cubicBezTo>
                      <a:cubicBezTo>
                        <a:pt x="222" y="80"/>
                        <a:pt x="222" y="80"/>
                        <a:pt x="222" y="80"/>
                      </a:cubicBezTo>
                      <a:cubicBezTo>
                        <a:pt x="222" y="80"/>
                        <a:pt x="222" y="80"/>
                        <a:pt x="222" y="80"/>
                      </a:cubicBezTo>
                      <a:cubicBezTo>
                        <a:pt x="223" y="80"/>
                        <a:pt x="223" y="80"/>
                        <a:pt x="223" y="80"/>
                      </a:cubicBezTo>
                      <a:cubicBezTo>
                        <a:pt x="221" y="80"/>
                        <a:pt x="221" y="80"/>
                        <a:pt x="221" y="80"/>
                      </a:cubicBezTo>
                      <a:cubicBezTo>
                        <a:pt x="221" y="79"/>
                        <a:pt x="221" y="79"/>
                        <a:pt x="221" y="79"/>
                      </a:cubicBezTo>
                      <a:cubicBezTo>
                        <a:pt x="221" y="79"/>
                        <a:pt x="221" y="79"/>
                        <a:pt x="221" y="79"/>
                      </a:cubicBezTo>
                      <a:cubicBezTo>
                        <a:pt x="221" y="78"/>
                        <a:pt x="221" y="78"/>
                        <a:pt x="221" y="78"/>
                      </a:cubicBezTo>
                      <a:cubicBezTo>
                        <a:pt x="221" y="78"/>
                        <a:pt x="221" y="78"/>
                        <a:pt x="221" y="78"/>
                      </a:cubicBezTo>
                      <a:cubicBezTo>
                        <a:pt x="221" y="78"/>
                        <a:pt x="221" y="78"/>
                        <a:pt x="221" y="78"/>
                      </a:cubicBezTo>
                      <a:cubicBezTo>
                        <a:pt x="221" y="78"/>
                        <a:pt x="221" y="78"/>
                        <a:pt x="221" y="78"/>
                      </a:cubicBezTo>
                      <a:cubicBezTo>
                        <a:pt x="220" y="78"/>
                        <a:pt x="220" y="78"/>
                        <a:pt x="220" y="78"/>
                      </a:cubicBezTo>
                      <a:cubicBezTo>
                        <a:pt x="220" y="77"/>
                        <a:pt x="220" y="77"/>
                        <a:pt x="220" y="77"/>
                      </a:cubicBezTo>
                      <a:cubicBezTo>
                        <a:pt x="220" y="76"/>
                        <a:pt x="220" y="76"/>
                        <a:pt x="220" y="76"/>
                      </a:cubicBezTo>
                      <a:cubicBezTo>
                        <a:pt x="221" y="75"/>
                        <a:pt x="221" y="75"/>
                        <a:pt x="221" y="75"/>
                      </a:cubicBezTo>
                      <a:cubicBezTo>
                        <a:pt x="220" y="74"/>
                        <a:pt x="220" y="74"/>
                        <a:pt x="220" y="74"/>
                      </a:cubicBezTo>
                      <a:cubicBezTo>
                        <a:pt x="220" y="73"/>
                        <a:pt x="220" y="73"/>
                        <a:pt x="220" y="73"/>
                      </a:cubicBezTo>
                      <a:cubicBezTo>
                        <a:pt x="221" y="72"/>
                        <a:pt x="221" y="72"/>
                        <a:pt x="221" y="72"/>
                      </a:cubicBezTo>
                      <a:cubicBezTo>
                        <a:pt x="221" y="72"/>
                        <a:pt x="221" y="72"/>
                        <a:pt x="221" y="72"/>
                      </a:cubicBezTo>
                      <a:cubicBezTo>
                        <a:pt x="221" y="71"/>
                        <a:pt x="221" y="71"/>
                        <a:pt x="221" y="71"/>
                      </a:cubicBezTo>
                      <a:cubicBezTo>
                        <a:pt x="221" y="71"/>
                        <a:pt x="221" y="71"/>
                        <a:pt x="221" y="71"/>
                      </a:cubicBezTo>
                      <a:cubicBezTo>
                        <a:pt x="221" y="71"/>
                        <a:pt x="221" y="71"/>
                        <a:pt x="221" y="71"/>
                      </a:cubicBezTo>
                      <a:cubicBezTo>
                        <a:pt x="221" y="72"/>
                        <a:pt x="221" y="72"/>
                        <a:pt x="221" y="72"/>
                      </a:cubicBezTo>
                      <a:cubicBezTo>
                        <a:pt x="220" y="72"/>
                        <a:pt x="220" y="72"/>
                        <a:pt x="220" y="72"/>
                      </a:cubicBezTo>
                      <a:cubicBezTo>
                        <a:pt x="219" y="73"/>
                        <a:pt x="219" y="73"/>
                        <a:pt x="219" y="73"/>
                      </a:cubicBezTo>
                      <a:cubicBezTo>
                        <a:pt x="219" y="73"/>
                        <a:pt x="219" y="73"/>
                        <a:pt x="219" y="73"/>
                      </a:cubicBezTo>
                      <a:cubicBezTo>
                        <a:pt x="219" y="73"/>
                        <a:pt x="219" y="73"/>
                        <a:pt x="219" y="73"/>
                      </a:cubicBezTo>
                      <a:cubicBezTo>
                        <a:pt x="219" y="74"/>
                        <a:pt x="219" y="74"/>
                        <a:pt x="219" y="74"/>
                      </a:cubicBezTo>
                      <a:cubicBezTo>
                        <a:pt x="219" y="75"/>
                        <a:pt x="219" y="75"/>
                        <a:pt x="219" y="75"/>
                      </a:cubicBezTo>
                      <a:cubicBezTo>
                        <a:pt x="219" y="76"/>
                        <a:pt x="219" y="76"/>
                        <a:pt x="219" y="76"/>
                      </a:cubicBezTo>
                      <a:cubicBezTo>
                        <a:pt x="219" y="76"/>
                        <a:pt x="219" y="76"/>
                        <a:pt x="219" y="76"/>
                      </a:cubicBezTo>
                      <a:cubicBezTo>
                        <a:pt x="219" y="77"/>
                        <a:pt x="219" y="77"/>
                        <a:pt x="219" y="77"/>
                      </a:cubicBezTo>
                      <a:cubicBezTo>
                        <a:pt x="219" y="79"/>
                        <a:pt x="219" y="79"/>
                        <a:pt x="219" y="79"/>
                      </a:cubicBezTo>
                      <a:cubicBezTo>
                        <a:pt x="219" y="79"/>
                        <a:pt x="219" y="79"/>
                        <a:pt x="219" y="79"/>
                      </a:cubicBezTo>
                      <a:cubicBezTo>
                        <a:pt x="218" y="78"/>
                        <a:pt x="218" y="78"/>
                        <a:pt x="218" y="78"/>
                      </a:cubicBezTo>
                      <a:cubicBezTo>
                        <a:pt x="217" y="78"/>
                        <a:pt x="217" y="78"/>
                        <a:pt x="217" y="78"/>
                      </a:cubicBezTo>
                      <a:cubicBezTo>
                        <a:pt x="216" y="77"/>
                        <a:pt x="216" y="77"/>
                        <a:pt x="216" y="77"/>
                      </a:cubicBezTo>
                      <a:cubicBezTo>
                        <a:pt x="216" y="77"/>
                        <a:pt x="216" y="77"/>
                        <a:pt x="216" y="77"/>
                      </a:cubicBezTo>
                      <a:cubicBezTo>
                        <a:pt x="215" y="76"/>
                        <a:pt x="215" y="76"/>
                        <a:pt x="215" y="76"/>
                      </a:cubicBezTo>
                      <a:cubicBezTo>
                        <a:pt x="216" y="75"/>
                        <a:pt x="216" y="75"/>
                        <a:pt x="216" y="75"/>
                      </a:cubicBezTo>
                      <a:cubicBezTo>
                        <a:pt x="215" y="76"/>
                        <a:pt x="215" y="76"/>
                        <a:pt x="215" y="76"/>
                      </a:cubicBezTo>
                      <a:cubicBezTo>
                        <a:pt x="215" y="77"/>
                        <a:pt x="215" y="77"/>
                        <a:pt x="215" y="77"/>
                      </a:cubicBezTo>
                      <a:cubicBezTo>
                        <a:pt x="216" y="77"/>
                        <a:pt x="216" y="77"/>
                        <a:pt x="216" y="77"/>
                      </a:cubicBezTo>
                      <a:cubicBezTo>
                        <a:pt x="216" y="78"/>
                        <a:pt x="216" y="78"/>
                        <a:pt x="216" y="78"/>
                      </a:cubicBezTo>
                      <a:cubicBezTo>
                        <a:pt x="217" y="78"/>
                        <a:pt x="217" y="78"/>
                        <a:pt x="217" y="78"/>
                      </a:cubicBezTo>
                      <a:cubicBezTo>
                        <a:pt x="218" y="79"/>
                        <a:pt x="218" y="79"/>
                        <a:pt x="218" y="79"/>
                      </a:cubicBezTo>
                      <a:cubicBezTo>
                        <a:pt x="219" y="80"/>
                        <a:pt x="219" y="80"/>
                        <a:pt x="219" y="80"/>
                      </a:cubicBezTo>
                      <a:cubicBezTo>
                        <a:pt x="219" y="81"/>
                        <a:pt x="219" y="81"/>
                        <a:pt x="219" y="81"/>
                      </a:cubicBezTo>
                      <a:cubicBezTo>
                        <a:pt x="219" y="81"/>
                        <a:pt x="219" y="81"/>
                        <a:pt x="219" y="81"/>
                      </a:cubicBezTo>
                      <a:cubicBezTo>
                        <a:pt x="218" y="81"/>
                        <a:pt x="218" y="81"/>
                        <a:pt x="218" y="81"/>
                      </a:cubicBezTo>
                      <a:cubicBezTo>
                        <a:pt x="218" y="81"/>
                        <a:pt x="218" y="81"/>
                        <a:pt x="218" y="81"/>
                      </a:cubicBezTo>
                      <a:cubicBezTo>
                        <a:pt x="218" y="80"/>
                        <a:pt x="218" y="80"/>
                        <a:pt x="218" y="80"/>
                      </a:cubicBezTo>
                      <a:cubicBezTo>
                        <a:pt x="218" y="82"/>
                        <a:pt x="218" y="82"/>
                        <a:pt x="218" y="82"/>
                      </a:cubicBezTo>
                      <a:cubicBezTo>
                        <a:pt x="219" y="82"/>
                        <a:pt x="219" y="82"/>
                        <a:pt x="219" y="82"/>
                      </a:cubicBezTo>
                      <a:cubicBezTo>
                        <a:pt x="219" y="83"/>
                        <a:pt x="219" y="83"/>
                        <a:pt x="219" y="83"/>
                      </a:cubicBezTo>
                      <a:cubicBezTo>
                        <a:pt x="219" y="83"/>
                        <a:pt x="219" y="83"/>
                        <a:pt x="219" y="83"/>
                      </a:cubicBezTo>
                      <a:cubicBezTo>
                        <a:pt x="219" y="83"/>
                        <a:pt x="219" y="83"/>
                        <a:pt x="219" y="83"/>
                      </a:cubicBezTo>
                      <a:cubicBezTo>
                        <a:pt x="218" y="83"/>
                        <a:pt x="218" y="83"/>
                        <a:pt x="218" y="83"/>
                      </a:cubicBezTo>
                      <a:cubicBezTo>
                        <a:pt x="219" y="84"/>
                        <a:pt x="219" y="84"/>
                        <a:pt x="219" y="84"/>
                      </a:cubicBezTo>
                      <a:cubicBezTo>
                        <a:pt x="219" y="85"/>
                        <a:pt x="219" y="85"/>
                        <a:pt x="219" y="85"/>
                      </a:cubicBezTo>
                      <a:cubicBezTo>
                        <a:pt x="218" y="84"/>
                        <a:pt x="218" y="84"/>
                        <a:pt x="218" y="84"/>
                      </a:cubicBezTo>
                      <a:cubicBezTo>
                        <a:pt x="218" y="84"/>
                        <a:pt x="218" y="84"/>
                        <a:pt x="218" y="84"/>
                      </a:cubicBezTo>
                      <a:cubicBezTo>
                        <a:pt x="217" y="84"/>
                        <a:pt x="217" y="84"/>
                        <a:pt x="217" y="84"/>
                      </a:cubicBezTo>
                      <a:cubicBezTo>
                        <a:pt x="216" y="83"/>
                        <a:pt x="216" y="83"/>
                        <a:pt x="216" y="83"/>
                      </a:cubicBezTo>
                      <a:cubicBezTo>
                        <a:pt x="216" y="84"/>
                        <a:pt x="216" y="84"/>
                        <a:pt x="216" y="84"/>
                      </a:cubicBezTo>
                      <a:cubicBezTo>
                        <a:pt x="217" y="84"/>
                        <a:pt x="217" y="84"/>
                        <a:pt x="217" y="84"/>
                      </a:cubicBezTo>
                      <a:cubicBezTo>
                        <a:pt x="218" y="84"/>
                        <a:pt x="218" y="84"/>
                        <a:pt x="218" y="84"/>
                      </a:cubicBezTo>
                      <a:cubicBezTo>
                        <a:pt x="218" y="85"/>
                        <a:pt x="218" y="85"/>
                        <a:pt x="218" y="85"/>
                      </a:cubicBezTo>
                      <a:cubicBezTo>
                        <a:pt x="219" y="85"/>
                        <a:pt x="219" y="85"/>
                        <a:pt x="219" y="85"/>
                      </a:cubicBezTo>
                      <a:cubicBezTo>
                        <a:pt x="220" y="85"/>
                        <a:pt x="220" y="85"/>
                        <a:pt x="220" y="85"/>
                      </a:cubicBezTo>
                      <a:cubicBezTo>
                        <a:pt x="220" y="86"/>
                        <a:pt x="220" y="86"/>
                        <a:pt x="220" y="86"/>
                      </a:cubicBezTo>
                      <a:cubicBezTo>
                        <a:pt x="220" y="86"/>
                        <a:pt x="220" y="86"/>
                        <a:pt x="220" y="86"/>
                      </a:cubicBezTo>
                      <a:cubicBezTo>
                        <a:pt x="220" y="87"/>
                        <a:pt x="220" y="87"/>
                        <a:pt x="220" y="87"/>
                      </a:cubicBezTo>
                      <a:cubicBezTo>
                        <a:pt x="219" y="87"/>
                        <a:pt x="219" y="87"/>
                        <a:pt x="219" y="87"/>
                      </a:cubicBezTo>
                      <a:cubicBezTo>
                        <a:pt x="219" y="88"/>
                        <a:pt x="219" y="88"/>
                        <a:pt x="219" y="88"/>
                      </a:cubicBezTo>
                      <a:cubicBezTo>
                        <a:pt x="220" y="88"/>
                        <a:pt x="220" y="88"/>
                        <a:pt x="220" y="88"/>
                      </a:cubicBezTo>
                      <a:cubicBezTo>
                        <a:pt x="220" y="89"/>
                        <a:pt x="220" y="89"/>
                        <a:pt x="220" y="89"/>
                      </a:cubicBezTo>
                      <a:cubicBezTo>
                        <a:pt x="220" y="89"/>
                        <a:pt x="220" y="89"/>
                        <a:pt x="220" y="89"/>
                      </a:cubicBezTo>
                      <a:cubicBezTo>
                        <a:pt x="219" y="89"/>
                        <a:pt x="219" y="89"/>
                        <a:pt x="219" y="89"/>
                      </a:cubicBezTo>
                      <a:cubicBezTo>
                        <a:pt x="219" y="90"/>
                        <a:pt x="219" y="90"/>
                        <a:pt x="219" y="90"/>
                      </a:cubicBezTo>
                      <a:cubicBezTo>
                        <a:pt x="218" y="90"/>
                        <a:pt x="218" y="90"/>
                        <a:pt x="218" y="90"/>
                      </a:cubicBezTo>
                      <a:cubicBezTo>
                        <a:pt x="217" y="90"/>
                        <a:pt x="217" y="90"/>
                        <a:pt x="217" y="90"/>
                      </a:cubicBezTo>
                      <a:cubicBezTo>
                        <a:pt x="216" y="90"/>
                        <a:pt x="216" y="90"/>
                        <a:pt x="216" y="90"/>
                      </a:cubicBezTo>
                      <a:cubicBezTo>
                        <a:pt x="216" y="89"/>
                        <a:pt x="216" y="89"/>
                        <a:pt x="216" y="89"/>
                      </a:cubicBezTo>
                      <a:cubicBezTo>
                        <a:pt x="216" y="89"/>
                        <a:pt x="216" y="89"/>
                        <a:pt x="216" y="89"/>
                      </a:cubicBezTo>
                      <a:cubicBezTo>
                        <a:pt x="216" y="91"/>
                        <a:pt x="216" y="91"/>
                        <a:pt x="216" y="91"/>
                      </a:cubicBezTo>
                      <a:cubicBezTo>
                        <a:pt x="215" y="91"/>
                        <a:pt x="215" y="91"/>
                        <a:pt x="215" y="91"/>
                      </a:cubicBezTo>
                      <a:cubicBezTo>
                        <a:pt x="216" y="91"/>
                        <a:pt x="216" y="91"/>
                        <a:pt x="216" y="91"/>
                      </a:cubicBezTo>
                      <a:cubicBezTo>
                        <a:pt x="218" y="91"/>
                        <a:pt x="218" y="91"/>
                        <a:pt x="218" y="91"/>
                      </a:cubicBezTo>
                      <a:cubicBezTo>
                        <a:pt x="219" y="91"/>
                        <a:pt x="219" y="91"/>
                        <a:pt x="219" y="91"/>
                      </a:cubicBezTo>
                      <a:cubicBezTo>
                        <a:pt x="219" y="92"/>
                        <a:pt x="219" y="92"/>
                        <a:pt x="219" y="92"/>
                      </a:cubicBezTo>
                      <a:cubicBezTo>
                        <a:pt x="219" y="92"/>
                        <a:pt x="219" y="92"/>
                        <a:pt x="219" y="92"/>
                      </a:cubicBezTo>
                      <a:cubicBezTo>
                        <a:pt x="219" y="92"/>
                        <a:pt x="219" y="92"/>
                        <a:pt x="219" y="92"/>
                      </a:cubicBezTo>
                      <a:cubicBezTo>
                        <a:pt x="220" y="91"/>
                        <a:pt x="220" y="91"/>
                        <a:pt x="220" y="91"/>
                      </a:cubicBezTo>
                      <a:cubicBezTo>
                        <a:pt x="220" y="91"/>
                        <a:pt x="220" y="91"/>
                        <a:pt x="220" y="91"/>
                      </a:cubicBezTo>
                      <a:cubicBezTo>
                        <a:pt x="220" y="91"/>
                        <a:pt x="220" y="91"/>
                        <a:pt x="220" y="91"/>
                      </a:cubicBezTo>
                      <a:cubicBezTo>
                        <a:pt x="220" y="92"/>
                        <a:pt x="220" y="92"/>
                        <a:pt x="220" y="92"/>
                      </a:cubicBezTo>
                      <a:cubicBezTo>
                        <a:pt x="220" y="92"/>
                        <a:pt x="220" y="92"/>
                        <a:pt x="220" y="92"/>
                      </a:cubicBezTo>
                      <a:cubicBezTo>
                        <a:pt x="219" y="93"/>
                        <a:pt x="219" y="93"/>
                        <a:pt x="219" y="93"/>
                      </a:cubicBezTo>
                      <a:cubicBezTo>
                        <a:pt x="219" y="94"/>
                        <a:pt x="219" y="94"/>
                        <a:pt x="219" y="94"/>
                      </a:cubicBezTo>
                      <a:cubicBezTo>
                        <a:pt x="218" y="94"/>
                        <a:pt x="218" y="94"/>
                        <a:pt x="218" y="94"/>
                      </a:cubicBezTo>
                      <a:cubicBezTo>
                        <a:pt x="218" y="94"/>
                        <a:pt x="218" y="94"/>
                        <a:pt x="218" y="94"/>
                      </a:cubicBezTo>
                      <a:cubicBezTo>
                        <a:pt x="217" y="94"/>
                        <a:pt x="217" y="94"/>
                        <a:pt x="217" y="94"/>
                      </a:cubicBezTo>
                      <a:cubicBezTo>
                        <a:pt x="216" y="93"/>
                        <a:pt x="216" y="93"/>
                        <a:pt x="216" y="93"/>
                      </a:cubicBezTo>
                      <a:cubicBezTo>
                        <a:pt x="216" y="93"/>
                        <a:pt x="216" y="93"/>
                        <a:pt x="216" y="93"/>
                      </a:cubicBezTo>
                      <a:cubicBezTo>
                        <a:pt x="216" y="94"/>
                        <a:pt x="216" y="94"/>
                        <a:pt x="216" y="94"/>
                      </a:cubicBezTo>
                      <a:cubicBezTo>
                        <a:pt x="215" y="93"/>
                        <a:pt x="215" y="93"/>
                        <a:pt x="215" y="93"/>
                      </a:cubicBezTo>
                      <a:cubicBezTo>
                        <a:pt x="214" y="93"/>
                        <a:pt x="214" y="93"/>
                        <a:pt x="214" y="93"/>
                      </a:cubicBezTo>
                      <a:cubicBezTo>
                        <a:pt x="215" y="94"/>
                        <a:pt x="215" y="94"/>
                        <a:pt x="215" y="94"/>
                      </a:cubicBezTo>
                      <a:cubicBezTo>
                        <a:pt x="216" y="94"/>
                        <a:pt x="216" y="94"/>
                        <a:pt x="216" y="94"/>
                      </a:cubicBezTo>
                      <a:cubicBezTo>
                        <a:pt x="216" y="95"/>
                        <a:pt x="216" y="95"/>
                        <a:pt x="216" y="95"/>
                      </a:cubicBezTo>
                      <a:cubicBezTo>
                        <a:pt x="216" y="95"/>
                        <a:pt x="216" y="95"/>
                        <a:pt x="216" y="95"/>
                      </a:cubicBezTo>
                      <a:cubicBezTo>
                        <a:pt x="216" y="95"/>
                        <a:pt x="216" y="95"/>
                        <a:pt x="216" y="95"/>
                      </a:cubicBezTo>
                      <a:cubicBezTo>
                        <a:pt x="215" y="96"/>
                        <a:pt x="215" y="96"/>
                        <a:pt x="215" y="96"/>
                      </a:cubicBezTo>
                      <a:cubicBezTo>
                        <a:pt x="214" y="95"/>
                        <a:pt x="214" y="95"/>
                        <a:pt x="214" y="95"/>
                      </a:cubicBezTo>
                      <a:cubicBezTo>
                        <a:pt x="215" y="96"/>
                        <a:pt x="215" y="96"/>
                        <a:pt x="215" y="96"/>
                      </a:cubicBezTo>
                      <a:cubicBezTo>
                        <a:pt x="216" y="96"/>
                        <a:pt x="216" y="96"/>
                        <a:pt x="216" y="96"/>
                      </a:cubicBezTo>
                      <a:cubicBezTo>
                        <a:pt x="217" y="95"/>
                        <a:pt x="217" y="95"/>
                        <a:pt x="217" y="95"/>
                      </a:cubicBezTo>
                      <a:cubicBezTo>
                        <a:pt x="217" y="96"/>
                        <a:pt x="217" y="96"/>
                        <a:pt x="217" y="96"/>
                      </a:cubicBezTo>
                      <a:cubicBezTo>
                        <a:pt x="217" y="96"/>
                        <a:pt x="217" y="96"/>
                        <a:pt x="217" y="96"/>
                      </a:cubicBezTo>
                      <a:cubicBezTo>
                        <a:pt x="216" y="97"/>
                        <a:pt x="216" y="97"/>
                        <a:pt x="216" y="97"/>
                      </a:cubicBezTo>
                      <a:cubicBezTo>
                        <a:pt x="216" y="97"/>
                        <a:pt x="216" y="97"/>
                        <a:pt x="216" y="97"/>
                      </a:cubicBezTo>
                      <a:cubicBezTo>
                        <a:pt x="215" y="97"/>
                        <a:pt x="215" y="97"/>
                        <a:pt x="215" y="97"/>
                      </a:cubicBezTo>
                      <a:cubicBezTo>
                        <a:pt x="215" y="97"/>
                        <a:pt x="215" y="97"/>
                        <a:pt x="215" y="97"/>
                      </a:cubicBezTo>
                      <a:cubicBezTo>
                        <a:pt x="215" y="97"/>
                        <a:pt x="215" y="97"/>
                        <a:pt x="215" y="97"/>
                      </a:cubicBezTo>
                      <a:cubicBezTo>
                        <a:pt x="213" y="97"/>
                        <a:pt x="213" y="97"/>
                        <a:pt x="213" y="97"/>
                      </a:cubicBezTo>
                      <a:cubicBezTo>
                        <a:pt x="211" y="98"/>
                        <a:pt x="211" y="98"/>
                        <a:pt x="211" y="98"/>
                      </a:cubicBezTo>
                      <a:cubicBezTo>
                        <a:pt x="209" y="100"/>
                        <a:pt x="209" y="100"/>
                        <a:pt x="209" y="100"/>
                      </a:cubicBezTo>
                      <a:cubicBezTo>
                        <a:pt x="208" y="101"/>
                        <a:pt x="208" y="101"/>
                        <a:pt x="208" y="101"/>
                      </a:cubicBezTo>
                      <a:cubicBezTo>
                        <a:pt x="208" y="101"/>
                        <a:pt x="208" y="101"/>
                        <a:pt x="208" y="101"/>
                      </a:cubicBezTo>
                      <a:cubicBezTo>
                        <a:pt x="207" y="101"/>
                        <a:pt x="207" y="101"/>
                        <a:pt x="207" y="101"/>
                      </a:cubicBezTo>
                      <a:cubicBezTo>
                        <a:pt x="206" y="101"/>
                        <a:pt x="206" y="101"/>
                        <a:pt x="206" y="101"/>
                      </a:cubicBezTo>
                      <a:cubicBezTo>
                        <a:pt x="205" y="102"/>
                        <a:pt x="205" y="102"/>
                        <a:pt x="205" y="102"/>
                      </a:cubicBezTo>
                      <a:cubicBezTo>
                        <a:pt x="203" y="104"/>
                        <a:pt x="203" y="104"/>
                        <a:pt x="203" y="104"/>
                      </a:cubicBezTo>
                      <a:cubicBezTo>
                        <a:pt x="203" y="105"/>
                        <a:pt x="203" y="105"/>
                        <a:pt x="203" y="105"/>
                      </a:cubicBezTo>
                      <a:cubicBezTo>
                        <a:pt x="202" y="105"/>
                        <a:pt x="202" y="105"/>
                        <a:pt x="202" y="105"/>
                      </a:cubicBezTo>
                      <a:cubicBezTo>
                        <a:pt x="202" y="105"/>
                        <a:pt x="202" y="105"/>
                        <a:pt x="202" y="105"/>
                      </a:cubicBezTo>
                      <a:cubicBezTo>
                        <a:pt x="202" y="106"/>
                        <a:pt x="202" y="106"/>
                        <a:pt x="202" y="106"/>
                      </a:cubicBezTo>
                      <a:cubicBezTo>
                        <a:pt x="201" y="107"/>
                        <a:pt x="201" y="107"/>
                        <a:pt x="201" y="107"/>
                      </a:cubicBezTo>
                      <a:cubicBezTo>
                        <a:pt x="200" y="106"/>
                        <a:pt x="200" y="106"/>
                        <a:pt x="200" y="106"/>
                      </a:cubicBezTo>
                      <a:cubicBezTo>
                        <a:pt x="200" y="107"/>
                        <a:pt x="200" y="107"/>
                        <a:pt x="200" y="107"/>
                      </a:cubicBezTo>
                      <a:cubicBezTo>
                        <a:pt x="200" y="107"/>
                        <a:pt x="200" y="107"/>
                        <a:pt x="200" y="107"/>
                      </a:cubicBezTo>
                      <a:cubicBezTo>
                        <a:pt x="199" y="107"/>
                        <a:pt x="199" y="107"/>
                        <a:pt x="199" y="107"/>
                      </a:cubicBezTo>
                      <a:cubicBezTo>
                        <a:pt x="198" y="107"/>
                        <a:pt x="198" y="107"/>
                        <a:pt x="198" y="107"/>
                      </a:cubicBezTo>
                      <a:cubicBezTo>
                        <a:pt x="197" y="108"/>
                        <a:pt x="197" y="108"/>
                        <a:pt x="197" y="108"/>
                      </a:cubicBezTo>
                      <a:cubicBezTo>
                        <a:pt x="196" y="108"/>
                        <a:pt x="196" y="108"/>
                        <a:pt x="196" y="108"/>
                      </a:cubicBezTo>
                      <a:cubicBezTo>
                        <a:pt x="195" y="108"/>
                        <a:pt x="195" y="108"/>
                        <a:pt x="195" y="108"/>
                      </a:cubicBezTo>
                      <a:cubicBezTo>
                        <a:pt x="195" y="109"/>
                        <a:pt x="195" y="109"/>
                        <a:pt x="195" y="109"/>
                      </a:cubicBezTo>
                      <a:cubicBezTo>
                        <a:pt x="194" y="109"/>
                        <a:pt x="194" y="109"/>
                        <a:pt x="194" y="109"/>
                      </a:cubicBezTo>
                      <a:cubicBezTo>
                        <a:pt x="194" y="109"/>
                        <a:pt x="194" y="109"/>
                        <a:pt x="194" y="109"/>
                      </a:cubicBezTo>
                      <a:cubicBezTo>
                        <a:pt x="194" y="109"/>
                        <a:pt x="194" y="109"/>
                        <a:pt x="194" y="109"/>
                      </a:cubicBezTo>
                      <a:cubicBezTo>
                        <a:pt x="194" y="110"/>
                        <a:pt x="194" y="110"/>
                        <a:pt x="194" y="110"/>
                      </a:cubicBezTo>
                      <a:cubicBezTo>
                        <a:pt x="193" y="111"/>
                        <a:pt x="193" y="111"/>
                        <a:pt x="193" y="111"/>
                      </a:cubicBezTo>
                      <a:cubicBezTo>
                        <a:pt x="193" y="111"/>
                        <a:pt x="193" y="111"/>
                        <a:pt x="193" y="111"/>
                      </a:cubicBezTo>
                      <a:cubicBezTo>
                        <a:pt x="193" y="111"/>
                        <a:pt x="193" y="111"/>
                        <a:pt x="193" y="111"/>
                      </a:cubicBezTo>
                      <a:cubicBezTo>
                        <a:pt x="192" y="111"/>
                        <a:pt x="192" y="111"/>
                        <a:pt x="192" y="111"/>
                      </a:cubicBezTo>
                      <a:cubicBezTo>
                        <a:pt x="191" y="113"/>
                        <a:pt x="191" y="113"/>
                        <a:pt x="191" y="113"/>
                      </a:cubicBezTo>
                      <a:cubicBezTo>
                        <a:pt x="190" y="114"/>
                        <a:pt x="190" y="114"/>
                        <a:pt x="190" y="114"/>
                      </a:cubicBezTo>
                      <a:cubicBezTo>
                        <a:pt x="190" y="115"/>
                        <a:pt x="190" y="115"/>
                        <a:pt x="190" y="115"/>
                      </a:cubicBezTo>
                      <a:cubicBezTo>
                        <a:pt x="190" y="118"/>
                        <a:pt x="190" y="118"/>
                        <a:pt x="190" y="118"/>
                      </a:cubicBezTo>
                      <a:cubicBezTo>
                        <a:pt x="190" y="119"/>
                        <a:pt x="190" y="119"/>
                        <a:pt x="190" y="119"/>
                      </a:cubicBezTo>
                      <a:cubicBezTo>
                        <a:pt x="190" y="121"/>
                        <a:pt x="190" y="121"/>
                        <a:pt x="190" y="121"/>
                      </a:cubicBezTo>
                      <a:cubicBezTo>
                        <a:pt x="190" y="122"/>
                        <a:pt x="190" y="122"/>
                        <a:pt x="190" y="122"/>
                      </a:cubicBezTo>
                      <a:cubicBezTo>
                        <a:pt x="191" y="124"/>
                        <a:pt x="191" y="124"/>
                        <a:pt x="191" y="124"/>
                      </a:cubicBezTo>
                      <a:cubicBezTo>
                        <a:pt x="191" y="125"/>
                        <a:pt x="191" y="125"/>
                        <a:pt x="191" y="125"/>
                      </a:cubicBezTo>
                      <a:cubicBezTo>
                        <a:pt x="192" y="127"/>
                        <a:pt x="192" y="127"/>
                        <a:pt x="192" y="127"/>
                      </a:cubicBezTo>
                      <a:cubicBezTo>
                        <a:pt x="192" y="128"/>
                        <a:pt x="192" y="128"/>
                        <a:pt x="192" y="128"/>
                      </a:cubicBezTo>
                      <a:cubicBezTo>
                        <a:pt x="192" y="128"/>
                        <a:pt x="192" y="128"/>
                        <a:pt x="192" y="128"/>
                      </a:cubicBezTo>
                      <a:cubicBezTo>
                        <a:pt x="192" y="129"/>
                        <a:pt x="192" y="129"/>
                        <a:pt x="192" y="129"/>
                      </a:cubicBezTo>
                      <a:cubicBezTo>
                        <a:pt x="192" y="131"/>
                        <a:pt x="192" y="131"/>
                        <a:pt x="192" y="131"/>
                      </a:cubicBezTo>
                      <a:cubicBezTo>
                        <a:pt x="192" y="131"/>
                        <a:pt x="192" y="131"/>
                        <a:pt x="192" y="131"/>
                      </a:cubicBezTo>
                      <a:cubicBezTo>
                        <a:pt x="193" y="134"/>
                        <a:pt x="193" y="134"/>
                        <a:pt x="193" y="134"/>
                      </a:cubicBezTo>
                      <a:cubicBezTo>
                        <a:pt x="194" y="134"/>
                        <a:pt x="194" y="134"/>
                        <a:pt x="194" y="134"/>
                      </a:cubicBezTo>
                      <a:cubicBezTo>
                        <a:pt x="194" y="136"/>
                        <a:pt x="194" y="136"/>
                        <a:pt x="194" y="136"/>
                      </a:cubicBezTo>
                      <a:cubicBezTo>
                        <a:pt x="194" y="136"/>
                        <a:pt x="194" y="136"/>
                        <a:pt x="194" y="136"/>
                      </a:cubicBezTo>
                      <a:cubicBezTo>
                        <a:pt x="194" y="137"/>
                        <a:pt x="194" y="137"/>
                        <a:pt x="194" y="137"/>
                      </a:cubicBezTo>
                      <a:cubicBezTo>
                        <a:pt x="194" y="138"/>
                        <a:pt x="194" y="138"/>
                        <a:pt x="194" y="138"/>
                      </a:cubicBezTo>
                      <a:cubicBezTo>
                        <a:pt x="193" y="138"/>
                        <a:pt x="193" y="138"/>
                        <a:pt x="193" y="138"/>
                      </a:cubicBezTo>
                      <a:cubicBezTo>
                        <a:pt x="193" y="139"/>
                        <a:pt x="193" y="139"/>
                        <a:pt x="193" y="139"/>
                      </a:cubicBezTo>
                      <a:cubicBezTo>
                        <a:pt x="193" y="141"/>
                        <a:pt x="193" y="141"/>
                        <a:pt x="193" y="141"/>
                      </a:cubicBezTo>
                      <a:cubicBezTo>
                        <a:pt x="192" y="142"/>
                        <a:pt x="192" y="142"/>
                        <a:pt x="192" y="142"/>
                      </a:cubicBezTo>
                      <a:cubicBezTo>
                        <a:pt x="192" y="143"/>
                        <a:pt x="192" y="143"/>
                        <a:pt x="192" y="143"/>
                      </a:cubicBezTo>
                      <a:cubicBezTo>
                        <a:pt x="191" y="144"/>
                        <a:pt x="191" y="144"/>
                        <a:pt x="191" y="144"/>
                      </a:cubicBezTo>
                      <a:cubicBezTo>
                        <a:pt x="191" y="144"/>
                        <a:pt x="191" y="144"/>
                        <a:pt x="191" y="144"/>
                      </a:cubicBezTo>
                      <a:cubicBezTo>
                        <a:pt x="190" y="144"/>
                        <a:pt x="190" y="144"/>
                        <a:pt x="190" y="144"/>
                      </a:cubicBezTo>
                      <a:cubicBezTo>
                        <a:pt x="189" y="144"/>
                        <a:pt x="189" y="144"/>
                        <a:pt x="189" y="144"/>
                      </a:cubicBezTo>
                      <a:cubicBezTo>
                        <a:pt x="188" y="143"/>
                        <a:pt x="188" y="143"/>
                        <a:pt x="188" y="143"/>
                      </a:cubicBezTo>
                      <a:cubicBezTo>
                        <a:pt x="187" y="143"/>
                        <a:pt x="187" y="143"/>
                        <a:pt x="187" y="143"/>
                      </a:cubicBezTo>
                      <a:cubicBezTo>
                        <a:pt x="188" y="143"/>
                        <a:pt x="188" y="143"/>
                        <a:pt x="188" y="143"/>
                      </a:cubicBezTo>
                      <a:cubicBezTo>
                        <a:pt x="187" y="142"/>
                        <a:pt x="187" y="142"/>
                        <a:pt x="187" y="142"/>
                      </a:cubicBezTo>
                      <a:cubicBezTo>
                        <a:pt x="187" y="141"/>
                        <a:pt x="187" y="141"/>
                        <a:pt x="187" y="141"/>
                      </a:cubicBezTo>
                      <a:cubicBezTo>
                        <a:pt x="187" y="141"/>
                        <a:pt x="187" y="141"/>
                        <a:pt x="187" y="141"/>
                      </a:cubicBezTo>
                      <a:cubicBezTo>
                        <a:pt x="186" y="141"/>
                        <a:pt x="186" y="141"/>
                        <a:pt x="186" y="141"/>
                      </a:cubicBezTo>
                      <a:cubicBezTo>
                        <a:pt x="185" y="140"/>
                        <a:pt x="185" y="140"/>
                        <a:pt x="185" y="140"/>
                      </a:cubicBezTo>
                      <a:cubicBezTo>
                        <a:pt x="185" y="139"/>
                        <a:pt x="185" y="139"/>
                        <a:pt x="185" y="139"/>
                      </a:cubicBezTo>
                      <a:cubicBezTo>
                        <a:pt x="185" y="138"/>
                        <a:pt x="185" y="138"/>
                        <a:pt x="185" y="138"/>
                      </a:cubicBezTo>
                      <a:cubicBezTo>
                        <a:pt x="184" y="138"/>
                        <a:pt x="184" y="138"/>
                        <a:pt x="184" y="138"/>
                      </a:cubicBezTo>
                      <a:cubicBezTo>
                        <a:pt x="184" y="137"/>
                        <a:pt x="184" y="137"/>
                        <a:pt x="184" y="137"/>
                      </a:cubicBezTo>
                      <a:cubicBezTo>
                        <a:pt x="184" y="137"/>
                        <a:pt x="184" y="137"/>
                        <a:pt x="184" y="137"/>
                      </a:cubicBezTo>
                      <a:cubicBezTo>
                        <a:pt x="185" y="136"/>
                        <a:pt x="185" y="136"/>
                        <a:pt x="185" y="136"/>
                      </a:cubicBezTo>
                      <a:cubicBezTo>
                        <a:pt x="185" y="135"/>
                        <a:pt x="185" y="135"/>
                        <a:pt x="185" y="135"/>
                      </a:cubicBezTo>
                      <a:cubicBezTo>
                        <a:pt x="184" y="136"/>
                        <a:pt x="184" y="136"/>
                        <a:pt x="184" y="136"/>
                      </a:cubicBezTo>
                      <a:cubicBezTo>
                        <a:pt x="184" y="135"/>
                        <a:pt x="184" y="135"/>
                        <a:pt x="184" y="135"/>
                      </a:cubicBezTo>
                      <a:cubicBezTo>
                        <a:pt x="184" y="136"/>
                        <a:pt x="184" y="136"/>
                        <a:pt x="184" y="136"/>
                      </a:cubicBezTo>
                      <a:cubicBezTo>
                        <a:pt x="184" y="136"/>
                        <a:pt x="184" y="136"/>
                        <a:pt x="184" y="136"/>
                      </a:cubicBezTo>
                      <a:cubicBezTo>
                        <a:pt x="184" y="135"/>
                        <a:pt x="184" y="135"/>
                        <a:pt x="184" y="135"/>
                      </a:cubicBezTo>
                      <a:cubicBezTo>
                        <a:pt x="183" y="135"/>
                        <a:pt x="183" y="135"/>
                        <a:pt x="183" y="135"/>
                      </a:cubicBezTo>
                      <a:cubicBezTo>
                        <a:pt x="183" y="135"/>
                        <a:pt x="183" y="135"/>
                        <a:pt x="183" y="135"/>
                      </a:cubicBezTo>
                      <a:cubicBezTo>
                        <a:pt x="182" y="134"/>
                        <a:pt x="182" y="134"/>
                        <a:pt x="182" y="134"/>
                      </a:cubicBezTo>
                      <a:cubicBezTo>
                        <a:pt x="182" y="134"/>
                        <a:pt x="182" y="134"/>
                        <a:pt x="182" y="134"/>
                      </a:cubicBezTo>
                      <a:cubicBezTo>
                        <a:pt x="182" y="133"/>
                        <a:pt x="182" y="133"/>
                        <a:pt x="182" y="133"/>
                      </a:cubicBezTo>
                      <a:cubicBezTo>
                        <a:pt x="183" y="131"/>
                        <a:pt x="183" y="131"/>
                        <a:pt x="183" y="131"/>
                      </a:cubicBezTo>
                      <a:cubicBezTo>
                        <a:pt x="183" y="131"/>
                        <a:pt x="183" y="131"/>
                        <a:pt x="183" y="131"/>
                      </a:cubicBezTo>
                      <a:cubicBezTo>
                        <a:pt x="182" y="130"/>
                        <a:pt x="182" y="130"/>
                        <a:pt x="182" y="130"/>
                      </a:cubicBezTo>
                      <a:cubicBezTo>
                        <a:pt x="182" y="131"/>
                        <a:pt x="182" y="131"/>
                        <a:pt x="182" y="131"/>
                      </a:cubicBezTo>
                      <a:cubicBezTo>
                        <a:pt x="182" y="131"/>
                        <a:pt x="182" y="131"/>
                        <a:pt x="182" y="131"/>
                      </a:cubicBezTo>
                      <a:cubicBezTo>
                        <a:pt x="182" y="132"/>
                        <a:pt x="182" y="132"/>
                        <a:pt x="182" y="132"/>
                      </a:cubicBezTo>
                      <a:cubicBezTo>
                        <a:pt x="181" y="132"/>
                        <a:pt x="181" y="132"/>
                        <a:pt x="181" y="132"/>
                      </a:cubicBezTo>
                      <a:cubicBezTo>
                        <a:pt x="181" y="131"/>
                        <a:pt x="181" y="131"/>
                        <a:pt x="181" y="131"/>
                      </a:cubicBezTo>
                      <a:cubicBezTo>
                        <a:pt x="181" y="130"/>
                        <a:pt x="181" y="130"/>
                        <a:pt x="181" y="130"/>
                      </a:cubicBezTo>
                      <a:cubicBezTo>
                        <a:pt x="182" y="129"/>
                        <a:pt x="182" y="129"/>
                        <a:pt x="182" y="129"/>
                      </a:cubicBezTo>
                      <a:cubicBezTo>
                        <a:pt x="182" y="127"/>
                        <a:pt x="182" y="127"/>
                        <a:pt x="182" y="127"/>
                      </a:cubicBezTo>
                      <a:cubicBezTo>
                        <a:pt x="183" y="126"/>
                        <a:pt x="183" y="126"/>
                        <a:pt x="183" y="126"/>
                      </a:cubicBezTo>
                      <a:cubicBezTo>
                        <a:pt x="182" y="125"/>
                        <a:pt x="182" y="125"/>
                        <a:pt x="182" y="125"/>
                      </a:cubicBezTo>
                      <a:cubicBezTo>
                        <a:pt x="181" y="125"/>
                        <a:pt x="181" y="125"/>
                        <a:pt x="181" y="125"/>
                      </a:cubicBezTo>
                      <a:cubicBezTo>
                        <a:pt x="181" y="124"/>
                        <a:pt x="181" y="124"/>
                        <a:pt x="181" y="124"/>
                      </a:cubicBezTo>
                      <a:cubicBezTo>
                        <a:pt x="181" y="124"/>
                        <a:pt x="181" y="124"/>
                        <a:pt x="181" y="124"/>
                      </a:cubicBezTo>
                      <a:cubicBezTo>
                        <a:pt x="180" y="124"/>
                        <a:pt x="180" y="124"/>
                        <a:pt x="180" y="124"/>
                      </a:cubicBezTo>
                      <a:cubicBezTo>
                        <a:pt x="180" y="123"/>
                        <a:pt x="180" y="123"/>
                        <a:pt x="180" y="123"/>
                      </a:cubicBezTo>
                      <a:cubicBezTo>
                        <a:pt x="180" y="122"/>
                        <a:pt x="180" y="122"/>
                        <a:pt x="180" y="122"/>
                      </a:cubicBezTo>
                      <a:cubicBezTo>
                        <a:pt x="179" y="122"/>
                        <a:pt x="179" y="122"/>
                        <a:pt x="179" y="122"/>
                      </a:cubicBezTo>
                      <a:cubicBezTo>
                        <a:pt x="179" y="122"/>
                        <a:pt x="179" y="122"/>
                        <a:pt x="179" y="122"/>
                      </a:cubicBezTo>
                      <a:cubicBezTo>
                        <a:pt x="178" y="120"/>
                        <a:pt x="178" y="120"/>
                        <a:pt x="178" y="120"/>
                      </a:cubicBezTo>
                      <a:cubicBezTo>
                        <a:pt x="177" y="120"/>
                        <a:pt x="177" y="120"/>
                        <a:pt x="177" y="120"/>
                      </a:cubicBezTo>
                      <a:cubicBezTo>
                        <a:pt x="177" y="120"/>
                        <a:pt x="177" y="120"/>
                        <a:pt x="177" y="120"/>
                      </a:cubicBezTo>
                      <a:cubicBezTo>
                        <a:pt x="176" y="120"/>
                        <a:pt x="176" y="120"/>
                        <a:pt x="176" y="120"/>
                      </a:cubicBezTo>
                      <a:cubicBezTo>
                        <a:pt x="175" y="120"/>
                        <a:pt x="175" y="120"/>
                        <a:pt x="175" y="120"/>
                      </a:cubicBezTo>
                      <a:cubicBezTo>
                        <a:pt x="175" y="121"/>
                        <a:pt x="175" y="121"/>
                        <a:pt x="175" y="121"/>
                      </a:cubicBezTo>
                      <a:cubicBezTo>
                        <a:pt x="175" y="121"/>
                        <a:pt x="175" y="121"/>
                        <a:pt x="175" y="121"/>
                      </a:cubicBezTo>
                      <a:cubicBezTo>
                        <a:pt x="174" y="120"/>
                        <a:pt x="174" y="120"/>
                        <a:pt x="174" y="120"/>
                      </a:cubicBezTo>
                      <a:cubicBezTo>
                        <a:pt x="173" y="122"/>
                        <a:pt x="173" y="122"/>
                        <a:pt x="173" y="122"/>
                      </a:cubicBezTo>
                      <a:cubicBezTo>
                        <a:pt x="172" y="122"/>
                        <a:pt x="172" y="122"/>
                        <a:pt x="172" y="122"/>
                      </a:cubicBezTo>
                      <a:cubicBezTo>
                        <a:pt x="171" y="122"/>
                        <a:pt x="171" y="122"/>
                        <a:pt x="171" y="122"/>
                      </a:cubicBezTo>
                      <a:cubicBezTo>
                        <a:pt x="171" y="122"/>
                        <a:pt x="171" y="122"/>
                        <a:pt x="171" y="122"/>
                      </a:cubicBezTo>
                      <a:cubicBezTo>
                        <a:pt x="171" y="121"/>
                        <a:pt x="171" y="121"/>
                        <a:pt x="171" y="121"/>
                      </a:cubicBezTo>
                      <a:cubicBezTo>
                        <a:pt x="171" y="122"/>
                        <a:pt x="171" y="122"/>
                        <a:pt x="171" y="122"/>
                      </a:cubicBezTo>
                      <a:cubicBezTo>
                        <a:pt x="171" y="121"/>
                        <a:pt x="171" y="121"/>
                        <a:pt x="171" y="121"/>
                      </a:cubicBezTo>
                      <a:cubicBezTo>
                        <a:pt x="171" y="121"/>
                        <a:pt x="171" y="121"/>
                        <a:pt x="171" y="121"/>
                      </a:cubicBezTo>
                      <a:cubicBezTo>
                        <a:pt x="171" y="120"/>
                        <a:pt x="171" y="120"/>
                        <a:pt x="171" y="120"/>
                      </a:cubicBezTo>
                      <a:cubicBezTo>
                        <a:pt x="169" y="120"/>
                        <a:pt x="169" y="120"/>
                        <a:pt x="169" y="120"/>
                      </a:cubicBezTo>
                      <a:cubicBezTo>
                        <a:pt x="170" y="120"/>
                        <a:pt x="170" y="120"/>
                        <a:pt x="170" y="120"/>
                      </a:cubicBezTo>
                      <a:cubicBezTo>
                        <a:pt x="170" y="120"/>
                        <a:pt x="170" y="120"/>
                        <a:pt x="170" y="120"/>
                      </a:cubicBezTo>
                      <a:cubicBezTo>
                        <a:pt x="170" y="120"/>
                        <a:pt x="170" y="120"/>
                        <a:pt x="170" y="120"/>
                      </a:cubicBezTo>
                      <a:cubicBezTo>
                        <a:pt x="169" y="119"/>
                        <a:pt x="169" y="119"/>
                        <a:pt x="169" y="119"/>
                      </a:cubicBezTo>
                      <a:cubicBezTo>
                        <a:pt x="169" y="119"/>
                        <a:pt x="169" y="119"/>
                        <a:pt x="169" y="119"/>
                      </a:cubicBezTo>
                      <a:cubicBezTo>
                        <a:pt x="169" y="119"/>
                        <a:pt x="169" y="119"/>
                        <a:pt x="169" y="119"/>
                      </a:cubicBezTo>
                      <a:cubicBezTo>
                        <a:pt x="169" y="119"/>
                        <a:pt x="169" y="119"/>
                        <a:pt x="169" y="119"/>
                      </a:cubicBezTo>
                      <a:cubicBezTo>
                        <a:pt x="169" y="120"/>
                        <a:pt x="169" y="120"/>
                        <a:pt x="169" y="120"/>
                      </a:cubicBezTo>
                      <a:cubicBezTo>
                        <a:pt x="168" y="119"/>
                        <a:pt x="168" y="119"/>
                        <a:pt x="168" y="119"/>
                      </a:cubicBezTo>
                      <a:cubicBezTo>
                        <a:pt x="168" y="119"/>
                        <a:pt x="168" y="119"/>
                        <a:pt x="168" y="119"/>
                      </a:cubicBezTo>
                      <a:cubicBezTo>
                        <a:pt x="166" y="119"/>
                        <a:pt x="166" y="119"/>
                        <a:pt x="166" y="119"/>
                      </a:cubicBezTo>
                      <a:cubicBezTo>
                        <a:pt x="165" y="118"/>
                        <a:pt x="165" y="118"/>
                        <a:pt x="165" y="118"/>
                      </a:cubicBezTo>
                      <a:cubicBezTo>
                        <a:pt x="165" y="118"/>
                        <a:pt x="165" y="118"/>
                        <a:pt x="165" y="118"/>
                      </a:cubicBezTo>
                      <a:cubicBezTo>
                        <a:pt x="167" y="118"/>
                        <a:pt x="167" y="118"/>
                        <a:pt x="167" y="118"/>
                      </a:cubicBezTo>
                      <a:cubicBezTo>
                        <a:pt x="167" y="118"/>
                        <a:pt x="167" y="118"/>
                        <a:pt x="167" y="118"/>
                      </a:cubicBezTo>
                      <a:cubicBezTo>
                        <a:pt x="167" y="118"/>
                        <a:pt x="167" y="118"/>
                        <a:pt x="167" y="118"/>
                      </a:cubicBezTo>
                      <a:cubicBezTo>
                        <a:pt x="166" y="118"/>
                        <a:pt x="166" y="118"/>
                        <a:pt x="166" y="118"/>
                      </a:cubicBezTo>
                      <a:cubicBezTo>
                        <a:pt x="165" y="118"/>
                        <a:pt x="165" y="118"/>
                        <a:pt x="165" y="118"/>
                      </a:cubicBezTo>
                      <a:cubicBezTo>
                        <a:pt x="164" y="118"/>
                        <a:pt x="164" y="118"/>
                        <a:pt x="164" y="118"/>
                      </a:cubicBezTo>
                      <a:cubicBezTo>
                        <a:pt x="163" y="118"/>
                        <a:pt x="163" y="118"/>
                        <a:pt x="163" y="118"/>
                      </a:cubicBezTo>
                      <a:cubicBezTo>
                        <a:pt x="162" y="118"/>
                        <a:pt x="162" y="118"/>
                        <a:pt x="162" y="118"/>
                      </a:cubicBezTo>
                      <a:cubicBezTo>
                        <a:pt x="162" y="118"/>
                        <a:pt x="162" y="118"/>
                        <a:pt x="162" y="118"/>
                      </a:cubicBezTo>
                      <a:cubicBezTo>
                        <a:pt x="160" y="118"/>
                        <a:pt x="160" y="118"/>
                        <a:pt x="160" y="118"/>
                      </a:cubicBezTo>
                      <a:cubicBezTo>
                        <a:pt x="160" y="119"/>
                        <a:pt x="160" y="119"/>
                        <a:pt x="160" y="119"/>
                      </a:cubicBezTo>
                      <a:cubicBezTo>
                        <a:pt x="159" y="118"/>
                        <a:pt x="159" y="118"/>
                        <a:pt x="159" y="118"/>
                      </a:cubicBezTo>
                      <a:cubicBezTo>
                        <a:pt x="159" y="117"/>
                        <a:pt x="159" y="117"/>
                        <a:pt x="159" y="117"/>
                      </a:cubicBezTo>
                      <a:cubicBezTo>
                        <a:pt x="159" y="117"/>
                        <a:pt x="159" y="117"/>
                        <a:pt x="159" y="117"/>
                      </a:cubicBezTo>
                      <a:cubicBezTo>
                        <a:pt x="158" y="117"/>
                        <a:pt x="158" y="117"/>
                        <a:pt x="158" y="117"/>
                      </a:cubicBezTo>
                      <a:cubicBezTo>
                        <a:pt x="158" y="117"/>
                        <a:pt x="158" y="117"/>
                        <a:pt x="158" y="117"/>
                      </a:cubicBezTo>
                      <a:cubicBezTo>
                        <a:pt x="157" y="118"/>
                        <a:pt x="157" y="118"/>
                        <a:pt x="157" y="118"/>
                      </a:cubicBezTo>
                      <a:cubicBezTo>
                        <a:pt x="157" y="118"/>
                        <a:pt x="157" y="118"/>
                        <a:pt x="157" y="118"/>
                      </a:cubicBezTo>
                      <a:cubicBezTo>
                        <a:pt x="156" y="118"/>
                        <a:pt x="156" y="118"/>
                        <a:pt x="156" y="118"/>
                      </a:cubicBezTo>
                      <a:cubicBezTo>
                        <a:pt x="155" y="118"/>
                        <a:pt x="155" y="118"/>
                        <a:pt x="155" y="118"/>
                      </a:cubicBezTo>
                      <a:cubicBezTo>
                        <a:pt x="152" y="118"/>
                        <a:pt x="152" y="118"/>
                        <a:pt x="152" y="118"/>
                      </a:cubicBezTo>
                      <a:cubicBezTo>
                        <a:pt x="151" y="119"/>
                        <a:pt x="151" y="119"/>
                        <a:pt x="151" y="119"/>
                      </a:cubicBezTo>
                      <a:cubicBezTo>
                        <a:pt x="150" y="120"/>
                        <a:pt x="150" y="120"/>
                        <a:pt x="150" y="120"/>
                      </a:cubicBezTo>
                      <a:cubicBezTo>
                        <a:pt x="149" y="120"/>
                        <a:pt x="149" y="120"/>
                        <a:pt x="149" y="120"/>
                      </a:cubicBezTo>
                      <a:cubicBezTo>
                        <a:pt x="149" y="121"/>
                        <a:pt x="149" y="121"/>
                        <a:pt x="149" y="121"/>
                      </a:cubicBezTo>
                      <a:cubicBezTo>
                        <a:pt x="150" y="121"/>
                        <a:pt x="150" y="121"/>
                        <a:pt x="150" y="121"/>
                      </a:cubicBezTo>
                      <a:cubicBezTo>
                        <a:pt x="150" y="120"/>
                        <a:pt x="150" y="120"/>
                        <a:pt x="150" y="120"/>
                      </a:cubicBezTo>
                      <a:cubicBezTo>
                        <a:pt x="150" y="120"/>
                        <a:pt x="150" y="120"/>
                        <a:pt x="150" y="120"/>
                      </a:cubicBezTo>
                      <a:cubicBezTo>
                        <a:pt x="151" y="121"/>
                        <a:pt x="151" y="121"/>
                        <a:pt x="151" y="121"/>
                      </a:cubicBezTo>
                      <a:cubicBezTo>
                        <a:pt x="152" y="121"/>
                        <a:pt x="152" y="121"/>
                        <a:pt x="152" y="121"/>
                      </a:cubicBezTo>
                      <a:cubicBezTo>
                        <a:pt x="151" y="121"/>
                        <a:pt x="151" y="121"/>
                        <a:pt x="151" y="121"/>
                      </a:cubicBezTo>
                      <a:cubicBezTo>
                        <a:pt x="150" y="122"/>
                        <a:pt x="150" y="122"/>
                        <a:pt x="150" y="122"/>
                      </a:cubicBezTo>
                      <a:cubicBezTo>
                        <a:pt x="150" y="123"/>
                        <a:pt x="150" y="123"/>
                        <a:pt x="150" y="123"/>
                      </a:cubicBezTo>
                      <a:cubicBezTo>
                        <a:pt x="150" y="123"/>
                        <a:pt x="150" y="123"/>
                        <a:pt x="150" y="123"/>
                      </a:cubicBezTo>
                      <a:cubicBezTo>
                        <a:pt x="152" y="124"/>
                        <a:pt x="152" y="124"/>
                        <a:pt x="152" y="124"/>
                      </a:cubicBezTo>
                      <a:cubicBezTo>
                        <a:pt x="153" y="125"/>
                        <a:pt x="153" y="125"/>
                        <a:pt x="153" y="125"/>
                      </a:cubicBezTo>
                      <a:cubicBezTo>
                        <a:pt x="153" y="125"/>
                        <a:pt x="153" y="125"/>
                        <a:pt x="153" y="125"/>
                      </a:cubicBezTo>
                      <a:cubicBezTo>
                        <a:pt x="152" y="125"/>
                        <a:pt x="152" y="125"/>
                        <a:pt x="152" y="125"/>
                      </a:cubicBezTo>
                      <a:cubicBezTo>
                        <a:pt x="152" y="126"/>
                        <a:pt x="152" y="126"/>
                        <a:pt x="152" y="126"/>
                      </a:cubicBezTo>
                      <a:cubicBezTo>
                        <a:pt x="152" y="125"/>
                        <a:pt x="152" y="125"/>
                        <a:pt x="152" y="125"/>
                      </a:cubicBezTo>
                      <a:cubicBezTo>
                        <a:pt x="151" y="124"/>
                        <a:pt x="151" y="124"/>
                        <a:pt x="151" y="124"/>
                      </a:cubicBezTo>
                      <a:cubicBezTo>
                        <a:pt x="151" y="125"/>
                        <a:pt x="151" y="125"/>
                        <a:pt x="151" y="125"/>
                      </a:cubicBezTo>
                      <a:cubicBezTo>
                        <a:pt x="150" y="124"/>
                        <a:pt x="150" y="124"/>
                        <a:pt x="150" y="124"/>
                      </a:cubicBezTo>
                      <a:cubicBezTo>
                        <a:pt x="149" y="124"/>
                        <a:pt x="149" y="124"/>
                        <a:pt x="149" y="124"/>
                      </a:cubicBezTo>
                      <a:cubicBezTo>
                        <a:pt x="149" y="123"/>
                        <a:pt x="149" y="123"/>
                        <a:pt x="149" y="123"/>
                      </a:cubicBezTo>
                      <a:cubicBezTo>
                        <a:pt x="148" y="123"/>
                        <a:pt x="148" y="123"/>
                        <a:pt x="148" y="123"/>
                      </a:cubicBezTo>
                      <a:cubicBezTo>
                        <a:pt x="148" y="124"/>
                        <a:pt x="148" y="124"/>
                        <a:pt x="148" y="124"/>
                      </a:cubicBezTo>
                      <a:cubicBezTo>
                        <a:pt x="148" y="125"/>
                        <a:pt x="148" y="125"/>
                        <a:pt x="148" y="125"/>
                      </a:cubicBezTo>
                      <a:cubicBezTo>
                        <a:pt x="147" y="125"/>
                        <a:pt x="147" y="125"/>
                        <a:pt x="147" y="125"/>
                      </a:cubicBezTo>
                      <a:cubicBezTo>
                        <a:pt x="147" y="124"/>
                        <a:pt x="147" y="124"/>
                        <a:pt x="147" y="124"/>
                      </a:cubicBezTo>
                      <a:cubicBezTo>
                        <a:pt x="146" y="124"/>
                        <a:pt x="146" y="124"/>
                        <a:pt x="146" y="124"/>
                      </a:cubicBezTo>
                      <a:cubicBezTo>
                        <a:pt x="146" y="124"/>
                        <a:pt x="146" y="124"/>
                        <a:pt x="146" y="124"/>
                      </a:cubicBezTo>
                      <a:cubicBezTo>
                        <a:pt x="145" y="125"/>
                        <a:pt x="145" y="125"/>
                        <a:pt x="145" y="125"/>
                      </a:cubicBezTo>
                      <a:cubicBezTo>
                        <a:pt x="144" y="125"/>
                        <a:pt x="144" y="125"/>
                        <a:pt x="144" y="125"/>
                      </a:cubicBezTo>
                      <a:cubicBezTo>
                        <a:pt x="143" y="124"/>
                        <a:pt x="143" y="124"/>
                        <a:pt x="143" y="124"/>
                      </a:cubicBezTo>
                      <a:cubicBezTo>
                        <a:pt x="142" y="124"/>
                        <a:pt x="142" y="124"/>
                        <a:pt x="142" y="124"/>
                      </a:cubicBezTo>
                      <a:cubicBezTo>
                        <a:pt x="142" y="124"/>
                        <a:pt x="142" y="124"/>
                        <a:pt x="142" y="124"/>
                      </a:cubicBezTo>
                      <a:cubicBezTo>
                        <a:pt x="142" y="124"/>
                        <a:pt x="142" y="124"/>
                        <a:pt x="142" y="124"/>
                      </a:cubicBezTo>
                      <a:cubicBezTo>
                        <a:pt x="143" y="123"/>
                        <a:pt x="143" y="123"/>
                        <a:pt x="143" y="123"/>
                      </a:cubicBezTo>
                      <a:cubicBezTo>
                        <a:pt x="143" y="123"/>
                        <a:pt x="143" y="123"/>
                        <a:pt x="143" y="123"/>
                      </a:cubicBezTo>
                      <a:cubicBezTo>
                        <a:pt x="142" y="123"/>
                        <a:pt x="142" y="123"/>
                        <a:pt x="142" y="123"/>
                      </a:cubicBezTo>
                      <a:cubicBezTo>
                        <a:pt x="141" y="123"/>
                        <a:pt x="141" y="123"/>
                        <a:pt x="141" y="123"/>
                      </a:cubicBezTo>
                      <a:cubicBezTo>
                        <a:pt x="141" y="122"/>
                        <a:pt x="141" y="122"/>
                        <a:pt x="141" y="122"/>
                      </a:cubicBezTo>
                      <a:cubicBezTo>
                        <a:pt x="141" y="122"/>
                        <a:pt x="141" y="122"/>
                        <a:pt x="141" y="122"/>
                      </a:cubicBezTo>
                      <a:cubicBezTo>
                        <a:pt x="140" y="122"/>
                        <a:pt x="140" y="122"/>
                        <a:pt x="140" y="122"/>
                      </a:cubicBezTo>
                      <a:cubicBezTo>
                        <a:pt x="140" y="122"/>
                        <a:pt x="140" y="122"/>
                        <a:pt x="140" y="122"/>
                      </a:cubicBezTo>
                      <a:cubicBezTo>
                        <a:pt x="140" y="121"/>
                        <a:pt x="140" y="121"/>
                        <a:pt x="140" y="121"/>
                      </a:cubicBezTo>
                      <a:cubicBezTo>
                        <a:pt x="140" y="121"/>
                        <a:pt x="140" y="121"/>
                        <a:pt x="140" y="121"/>
                      </a:cubicBezTo>
                      <a:cubicBezTo>
                        <a:pt x="139" y="121"/>
                        <a:pt x="139" y="121"/>
                        <a:pt x="139" y="121"/>
                      </a:cubicBezTo>
                      <a:cubicBezTo>
                        <a:pt x="139" y="122"/>
                        <a:pt x="139" y="122"/>
                        <a:pt x="139" y="122"/>
                      </a:cubicBezTo>
                      <a:cubicBezTo>
                        <a:pt x="139" y="122"/>
                        <a:pt x="139" y="122"/>
                        <a:pt x="139" y="122"/>
                      </a:cubicBezTo>
                      <a:cubicBezTo>
                        <a:pt x="138" y="122"/>
                        <a:pt x="138" y="122"/>
                        <a:pt x="138" y="122"/>
                      </a:cubicBezTo>
                      <a:cubicBezTo>
                        <a:pt x="135" y="122"/>
                        <a:pt x="135" y="122"/>
                        <a:pt x="135" y="122"/>
                      </a:cubicBezTo>
                      <a:cubicBezTo>
                        <a:pt x="135" y="122"/>
                        <a:pt x="135" y="122"/>
                        <a:pt x="135" y="122"/>
                      </a:cubicBezTo>
                      <a:cubicBezTo>
                        <a:pt x="133" y="121"/>
                        <a:pt x="133" y="121"/>
                        <a:pt x="133" y="121"/>
                      </a:cubicBezTo>
                      <a:cubicBezTo>
                        <a:pt x="131" y="121"/>
                        <a:pt x="131" y="121"/>
                        <a:pt x="131" y="121"/>
                      </a:cubicBezTo>
                      <a:cubicBezTo>
                        <a:pt x="130" y="121"/>
                        <a:pt x="130" y="121"/>
                        <a:pt x="130" y="121"/>
                      </a:cubicBezTo>
                      <a:cubicBezTo>
                        <a:pt x="129" y="122"/>
                        <a:pt x="129" y="122"/>
                        <a:pt x="129" y="122"/>
                      </a:cubicBezTo>
                      <a:cubicBezTo>
                        <a:pt x="128" y="122"/>
                        <a:pt x="128" y="122"/>
                        <a:pt x="128" y="122"/>
                      </a:cubicBezTo>
                      <a:cubicBezTo>
                        <a:pt x="128" y="123"/>
                        <a:pt x="128" y="123"/>
                        <a:pt x="128" y="123"/>
                      </a:cubicBezTo>
                      <a:cubicBezTo>
                        <a:pt x="127" y="123"/>
                        <a:pt x="127" y="123"/>
                        <a:pt x="127" y="123"/>
                      </a:cubicBezTo>
                      <a:cubicBezTo>
                        <a:pt x="127" y="122"/>
                        <a:pt x="127" y="122"/>
                        <a:pt x="127" y="122"/>
                      </a:cubicBezTo>
                      <a:cubicBezTo>
                        <a:pt x="127" y="122"/>
                        <a:pt x="127" y="122"/>
                        <a:pt x="127" y="122"/>
                      </a:cubicBezTo>
                      <a:cubicBezTo>
                        <a:pt x="127" y="121"/>
                        <a:pt x="127" y="121"/>
                        <a:pt x="127" y="121"/>
                      </a:cubicBezTo>
                      <a:cubicBezTo>
                        <a:pt x="127" y="120"/>
                        <a:pt x="127" y="120"/>
                        <a:pt x="127" y="120"/>
                      </a:cubicBezTo>
                      <a:cubicBezTo>
                        <a:pt x="127" y="121"/>
                        <a:pt x="127" y="121"/>
                        <a:pt x="127" y="121"/>
                      </a:cubicBezTo>
                      <a:cubicBezTo>
                        <a:pt x="126" y="121"/>
                        <a:pt x="126" y="121"/>
                        <a:pt x="126" y="121"/>
                      </a:cubicBezTo>
                      <a:cubicBezTo>
                        <a:pt x="125" y="121"/>
                        <a:pt x="125" y="121"/>
                        <a:pt x="125" y="121"/>
                      </a:cubicBezTo>
                      <a:cubicBezTo>
                        <a:pt x="125" y="121"/>
                        <a:pt x="125" y="121"/>
                        <a:pt x="125" y="121"/>
                      </a:cubicBezTo>
                      <a:cubicBezTo>
                        <a:pt x="125" y="122"/>
                        <a:pt x="125" y="122"/>
                        <a:pt x="125" y="122"/>
                      </a:cubicBezTo>
                      <a:cubicBezTo>
                        <a:pt x="125" y="123"/>
                        <a:pt x="125" y="123"/>
                        <a:pt x="125" y="123"/>
                      </a:cubicBezTo>
                      <a:cubicBezTo>
                        <a:pt x="125" y="124"/>
                        <a:pt x="125" y="124"/>
                        <a:pt x="125" y="124"/>
                      </a:cubicBezTo>
                      <a:cubicBezTo>
                        <a:pt x="125" y="124"/>
                        <a:pt x="125" y="124"/>
                        <a:pt x="125" y="124"/>
                      </a:cubicBezTo>
                      <a:cubicBezTo>
                        <a:pt x="124" y="124"/>
                        <a:pt x="124" y="124"/>
                        <a:pt x="124" y="124"/>
                      </a:cubicBezTo>
                      <a:cubicBezTo>
                        <a:pt x="123" y="125"/>
                        <a:pt x="123" y="125"/>
                        <a:pt x="123" y="125"/>
                      </a:cubicBezTo>
                      <a:cubicBezTo>
                        <a:pt x="121" y="126"/>
                        <a:pt x="121" y="126"/>
                        <a:pt x="121" y="126"/>
                      </a:cubicBezTo>
                      <a:cubicBezTo>
                        <a:pt x="120" y="126"/>
                        <a:pt x="120" y="126"/>
                        <a:pt x="120" y="126"/>
                      </a:cubicBezTo>
                      <a:cubicBezTo>
                        <a:pt x="119" y="127"/>
                        <a:pt x="119" y="127"/>
                        <a:pt x="119" y="127"/>
                      </a:cubicBezTo>
                      <a:cubicBezTo>
                        <a:pt x="119" y="127"/>
                        <a:pt x="119" y="127"/>
                        <a:pt x="119" y="127"/>
                      </a:cubicBezTo>
                      <a:cubicBezTo>
                        <a:pt x="119" y="126"/>
                        <a:pt x="119" y="126"/>
                        <a:pt x="119" y="126"/>
                      </a:cubicBezTo>
                      <a:cubicBezTo>
                        <a:pt x="119" y="126"/>
                        <a:pt x="119" y="126"/>
                        <a:pt x="119" y="126"/>
                      </a:cubicBezTo>
                      <a:cubicBezTo>
                        <a:pt x="118" y="126"/>
                        <a:pt x="118" y="126"/>
                        <a:pt x="118" y="126"/>
                      </a:cubicBezTo>
                      <a:cubicBezTo>
                        <a:pt x="118" y="126"/>
                        <a:pt x="118" y="126"/>
                        <a:pt x="118" y="126"/>
                      </a:cubicBezTo>
                      <a:cubicBezTo>
                        <a:pt x="117" y="126"/>
                        <a:pt x="117" y="126"/>
                        <a:pt x="117" y="126"/>
                      </a:cubicBezTo>
                      <a:cubicBezTo>
                        <a:pt x="117" y="127"/>
                        <a:pt x="117" y="127"/>
                        <a:pt x="117" y="127"/>
                      </a:cubicBezTo>
                      <a:cubicBezTo>
                        <a:pt x="116" y="127"/>
                        <a:pt x="116" y="127"/>
                        <a:pt x="116" y="127"/>
                      </a:cubicBezTo>
                      <a:cubicBezTo>
                        <a:pt x="116" y="127"/>
                        <a:pt x="116" y="127"/>
                        <a:pt x="116" y="127"/>
                      </a:cubicBezTo>
                      <a:cubicBezTo>
                        <a:pt x="116" y="128"/>
                        <a:pt x="116" y="128"/>
                        <a:pt x="116" y="128"/>
                      </a:cubicBezTo>
                      <a:cubicBezTo>
                        <a:pt x="115" y="128"/>
                        <a:pt x="115" y="128"/>
                        <a:pt x="115" y="128"/>
                      </a:cubicBezTo>
                      <a:cubicBezTo>
                        <a:pt x="115" y="128"/>
                        <a:pt x="115" y="128"/>
                        <a:pt x="115" y="128"/>
                      </a:cubicBezTo>
                      <a:cubicBezTo>
                        <a:pt x="114" y="129"/>
                        <a:pt x="114" y="129"/>
                        <a:pt x="114" y="129"/>
                      </a:cubicBezTo>
                      <a:cubicBezTo>
                        <a:pt x="114" y="130"/>
                        <a:pt x="114" y="130"/>
                        <a:pt x="114" y="130"/>
                      </a:cubicBezTo>
                      <a:cubicBezTo>
                        <a:pt x="113" y="130"/>
                        <a:pt x="113" y="130"/>
                        <a:pt x="113" y="130"/>
                      </a:cubicBezTo>
                      <a:cubicBezTo>
                        <a:pt x="113" y="130"/>
                        <a:pt x="113" y="130"/>
                        <a:pt x="113" y="130"/>
                      </a:cubicBezTo>
                      <a:cubicBezTo>
                        <a:pt x="113" y="132"/>
                        <a:pt x="113" y="132"/>
                        <a:pt x="113" y="132"/>
                      </a:cubicBezTo>
                      <a:cubicBezTo>
                        <a:pt x="112" y="133"/>
                        <a:pt x="112" y="133"/>
                        <a:pt x="112" y="133"/>
                      </a:cubicBezTo>
                      <a:cubicBezTo>
                        <a:pt x="112" y="134"/>
                        <a:pt x="112" y="134"/>
                        <a:pt x="112" y="134"/>
                      </a:cubicBezTo>
                      <a:cubicBezTo>
                        <a:pt x="111" y="135"/>
                        <a:pt x="111" y="135"/>
                        <a:pt x="111" y="135"/>
                      </a:cubicBezTo>
                      <a:cubicBezTo>
                        <a:pt x="112" y="136"/>
                        <a:pt x="112" y="136"/>
                        <a:pt x="112" y="136"/>
                      </a:cubicBezTo>
                      <a:cubicBezTo>
                        <a:pt x="112" y="138"/>
                        <a:pt x="112" y="138"/>
                        <a:pt x="112" y="138"/>
                      </a:cubicBezTo>
                      <a:cubicBezTo>
                        <a:pt x="112" y="138"/>
                        <a:pt x="112" y="138"/>
                        <a:pt x="112" y="138"/>
                      </a:cubicBezTo>
                      <a:cubicBezTo>
                        <a:pt x="112" y="139"/>
                        <a:pt x="112" y="139"/>
                        <a:pt x="112" y="139"/>
                      </a:cubicBezTo>
                      <a:cubicBezTo>
                        <a:pt x="111" y="141"/>
                        <a:pt x="111" y="141"/>
                        <a:pt x="111" y="141"/>
                      </a:cubicBezTo>
                      <a:cubicBezTo>
                        <a:pt x="111" y="140"/>
                        <a:pt x="111" y="140"/>
                        <a:pt x="111" y="140"/>
                      </a:cubicBezTo>
                      <a:cubicBezTo>
                        <a:pt x="110" y="140"/>
                        <a:pt x="110" y="140"/>
                        <a:pt x="110" y="140"/>
                      </a:cubicBezTo>
                      <a:cubicBezTo>
                        <a:pt x="110" y="140"/>
                        <a:pt x="110" y="140"/>
                        <a:pt x="110" y="140"/>
                      </a:cubicBezTo>
                      <a:cubicBezTo>
                        <a:pt x="109" y="139"/>
                        <a:pt x="109" y="139"/>
                        <a:pt x="109" y="139"/>
                      </a:cubicBezTo>
                      <a:cubicBezTo>
                        <a:pt x="107" y="139"/>
                        <a:pt x="107" y="139"/>
                        <a:pt x="107" y="139"/>
                      </a:cubicBezTo>
                      <a:cubicBezTo>
                        <a:pt x="106" y="138"/>
                        <a:pt x="106" y="138"/>
                        <a:pt x="106" y="138"/>
                      </a:cubicBezTo>
                      <a:cubicBezTo>
                        <a:pt x="106" y="138"/>
                        <a:pt x="106" y="138"/>
                        <a:pt x="106" y="138"/>
                      </a:cubicBezTo>
                      <a:cubicBezTo>
                        <a:pt x="105" y="138"/>
                        <a:pt x="105" y="138"/>
                        <a:pt x="105" y="138"/>
                      </a:cubicBezTo>
                      <a:cubicBezTo>
                        <a:pt x="105" y="138"/>
                        <a:pt x="105" y="138"/>
                        <a:pt x="105" y="138"/>
                      </a:cubicBezTo>
                      <a:cubicBezTo>
                        <a:pt x="104" y="138"/>
                        <a:pt x="104" y="138"/>
                        <a:pt x="104" y="138"/>
                      </a:cubicBezTo>
                      <a:cubicBezTo>
                        <a:pt x="104" y="137"/>
                        <a:pt x="104" y="137"/>
                        <a:pt x="104" y="137"/>
                      </a:cubicBezTo>
                      <a:cubicBezTo>
                        <a:pt x="104" y="136"/>
                        <a:pt x="104" y="136"/>
                        <a:pt x="104" y="136"/>
                      </a:cubicBezTo>
                      <a:cubicBezTo>
                        <a:pt x="103" y="133"/>
                        <a:pt x="103" y="133"/>
                        <a:pt x="103" y="133"/>
                      </a:cubicBezTo>
                      <a:cubicBezTo>
                        <a:pt x="103" y="133"/>
                        <a:pt x="103" y="133"/>
                        <a:pt x="103" y="133"/>
                      </a:cubicBezTo>
                      <a:cubicBezTo>
                        <a:pt x="103" y="133"/>
                        <a:pt x="103" y="133"/>
                        <a:pt x="103" y="133"/>
                      </a:cubicBezTo>
                      <a:cubicBezTo>
                        <a:pt x="103" y="132"/>
                        <a:pt x="103" y="132"/>
                        <a:pt x="103" y="132"/>
                      </a:cubicBezTo>
                      <a:cubicBezTo>
                        <a:pt x="103" y="131"/>
                        <a:pt x="103" y="131"/>
                        <a:pt x="103" y="131"/>
                      </a:cubicBezTo>
                      <a:cubicBezTo>
                        <a:pt x="102" y="131"/>
                        <a:pt x="102" y="131"/>
                        <a:pt x="102" y="131"/>
                      </a:cubicBezTo>
                      <a:cubicBezTo>
                        <a:pt x="102" y="130"/>
                        <a:pt x="102" y="130"/>
                        <a:pt x="102" y="130"/>
                      </a:cubicBezTo>
                      <a:cubicBezTo>
                        <a:pt x="102" y="129"/>
                        <a:pt x="102" y="129"/>
                        <a:pt x="102" y="129"/>
                      </a:cubicBezTo>
                      <a:cubicBezTo>
                        <a:pt x="101" y="129"/>
                        <a:pt x="101" y="129"/>
                        <a:pt x="101" y="129"/>
                      </a:cubicBezTo>
                      <a:cubicBezTo>
                        <a:pt x="101" y="128"/>
                        <a:pt x="101" y="128"/>
                        <a:pt x="101" y="128"/>
                      </a:cubicBezTo>
                      <a:cubicBezTo>
                        <a:pt x="100" y="128"/>
                        <a:pt x="100" y="128"/>
                        <a:pt x="100" y="128"/>
                      </a:cubicBezTo>
                      <a:cubicBezTo>
                        <a:pt x="100" y="126"/>
                        <a:pt x="100" y="126"/>
                        <a:pt x="100" y="126"/>
                      </a:cubicBezTo>
                      <a:cubicBezTo>
                        <a:pt x="100" y="126"/>
                        <a:pt x="100" y="126"/>
                        <a:pt x="100" y="126"/>
                      </a:cubicBezTo>
                      <a:cubicBezTo>
                        <a:pt x="99" y="126"/>
                        <a:pt x="99" y="126"/>
                        <a:pt x="99" y="126"/>
                      </a:cubicBezTo>
                      <a:cubicBezTo>
                        <a:pt x="99" y="125"/>
                        <a:pt x="99" y="125"/>
                        <a:pt x="99" y="125"/>
                      </a:cubicBezTo>
                      <a:cubicBezTo>
                        <a:pt x="99" y="124"/>
                        <a:pt x="99" y="124"/>
                        <a:pt x="99" y="124"/>
                      </a:cubicBezTo>
                      <a:cubicBezTo>
                        <a:pt x="99" y="124"/>
                        <a:pt x="99" y="124"/>
                        <a:pt x="99" y="124"/>
                      </a:cubicBezTo>
                      <a:cubicBezTo>
                        <a:pt x="98" y="123"/>
                        <a:pt x="98" y="123"/>
                        <a:pt x="98" y="123"/>
                      </a:cubicBezTo>
                      <a:cubicBezTo>
                        <a:pt x="97" y="122"/>
                        <a:pt x="97" y="122"/>
                        <a:pt x="97" y="122"/>
                      </a:cubicBezTo>
                      <a:cubicBezTo>
                        <a:pt x="97" y="121"/>
                        <a:pt x="97" y="121"/>
                        <a:pt x="97" y="121"/>
                      </a:cubicBezTo>
                      <a:cubicBezTo>
                        <a:pt x="96" y="120"/>
                        <a:pt x="96" y="120"/>
                        <a:pt x="96" y="120"/>
                      </a:cubicBezTo>
                      <a:cubicBezTo>
                        <a:pt x="95" y="120"/>
                        <a:pt x="95" y="120"/>
                        <a:pt x="95" y="120"/>
                      </a:cubicBezTo>
                      <a:cubicBezTo>
                        <a:pt x="95" y="120"/>
                        <a:pt x="95" y="120"/>
                        <a:pt x="95" y="120"/>
                      </a:cubicBezTo>
                      <a:cubicBezTo>
                        <a:pt x="95" y="120"/>
                        <a:pt x="95" y="120"/>
                        <a:pt x="95" y="120"/>
                      </a:cubicBezTo>
                      <a:cubicBezTo>
                        <a:pt x="94" y="120"/>
                        <a:pt x="94" y="120"/>
                        <a:pt x="94" y="120"/>
                      </a:cubicBezTo>
                      <a:cubicBezTo>
                        <a:pt x="93" y="120"/>
                        <a:pt x="93" y="120"/>
                        <a:pt x="93" y="120"/>
                      </a:cubicBezTo>
                      <a:cubicBezTo>
                        <a:pt x="93" y="120"/>
                        <a:pt x="93" y="120"/>
                        <a:pt x="93" y="120"/>
                      </a:cubicBezTo>
                      <a:cubicBezTo>
                        <a:pt x="92" y="120"/>
                        <a:pt x="92" y="120"/>
                        <a:pt x="92" y="120"/>
                      </a:cubicBezTo>
                      <a:cubicBezTo>
                        <a:pt x="91" y="120"/>
                        <a:pt x="91" y="120"/>
                        <a:pt x="91" y="120"/>
                      </a:cubicBezTo>
                      <a:cubicBezTo>
                        <a:pt x="91" y="120"/>
                        <a:pt x="91" y="120"/>
                        <a:pt x="91" y="120"/>
                      </a:cubicBezTo>
                      <a:cubicBezTo>
                        <a:pt x="91" y="120"/>
                        <a:pt x="91" y="120"/>
                        <a:pt x="91" y="120"/>
                      </a:cubicBezTo>
                      <a:cubicBezTo>
                        <a:pt x="91" y="120"/>
                        <a:pt x="91" y="120"/>
                        <a:pt x="91" y="120"/>
                      </a:cubicBezTo>
                      <a:cubicBezTo>
                        <a:pt x="90" y="120"/>
                        <a:pt x="90" y="120"/>
                        <a:pt x="90" y="120"/>
                      </a:cubicBezTo>
                      <a:cubicBezTo>
                        <a:pt x="90" y="121"/>
                        <a:pt x="90" y="121"/>
                        <a:pt x="90" y="121"/>
                      </a:cubicBezTo>
                      <a:cubicBezTo>
                        <a:pt x="89" y="122"/>
                        <a:pt x="89" y="122"/>
                        <a:pt x="89" y="122"/>
                      </a:cubicBezTo>
                      <a:cubicBezTo>
                        <a:pt x="88" y="122"/>
                        <a:pt x="88" y="122"/>
                        <a:pt x="88" y="122"/>
                      </a:cubicBezTo>
                      <a:cubicBezTo>
                        <a:pt x="89" y="122"/>
                        <a:pt x="89" y="122"/>
                        <a:pt x="89" y="122"/>
                      </a:cubicBezTo>
                      <a:cubicBezTo>
                        <a:pt x="88" y="123"/>
                        <a:pt x="88" y="123"/>
                        <a:pt x="88" y="123"/>
                      </a:cubicBezTo>
                      <a:cubicBezTo>
                        <a:pt x="88" y="123"/>
                        <a:pt x="88" y="123"/>
                        <a:pt x="88" y="123"/>
                      </a:cubicBezTo>
                      <a:cubicBezTo>
                        <a:pt x="87" y="123"/>
                        <a:pt x="87" y="123"/>
                        <a:pt x="87" y="123"/>
                      </a:cubicBezTo>
                      <a:cubicBezTo>
                        <a:pt x="87" y="124"/>
                        <a:pt x="87" y="124"/>
                        <a:pt x="87" y="124"/>
                      </a:cubicBezTo>
                      <a:cubicBezTo>
                        <a:pt x="87" y="124"/>
                        <a:pt x="87" y="124"/>
                        <a:pt x="87" y="124"/>
                      </a:cubicBezTo>
                      <a:cubicBezTo>
                        <a:pt x="86" y="124"/>
                        <a:pt x="86" y="124"/>
                        <a:pt x="86" y="124"/>
                      </a:cubicBezTo>
                      <a:cubicBezTo>
                        <a:pt x="86" y="124"/>
                        <a:pt x="86" y="124"/>
                        <a:pt x="86" y="124"/>
                      </a:cubicBezTo>
                      <a:cubicBezTo>
                        <a:pt x="85" y="123"/>
                        <a:pt x="85" y="123"/>
                        <a:pt x="85" y="123"/>
                      </a:cubicBezTo>
                      <a:cubicBezTo>
                        <a:pt x="84" y="123"/>
                        <a:pt x="84" y="123"/>
                        <a:pt x="84" y="123"/>
                      </a:cubicBezTo>
                      <a:cubicBezTo>
                        <a:pt x="84" y="123"/>
                        <a:pt x="84" y="123"/>
                        <a:pt x="84" y="123"/>
                      </a:cubicBezTo>
                      <a:cubicBezTo>
                        <a:pt x="83" y="122"/>
                        <a:pt x="83" y="122"/>
                        <a:pt x="83" y="122"/>
                      </a:cubicBezTo>
                      <a:cubicBezTo>
                        <a:pt x="83" y="122"/>
                        <a:pt x="83" y="122"/>
                        <a:pt x="83" y="122"/>
                      </a:cubicBezTo>
                      <a:cubicBezTo>
                        <a:pt x="82" y="122"/>
                        <a:pt x="82" y="122"/>
                        <a:pt x="82" y="122"/>
                      </a:cubicBezTo>
                      <a:cubicBezTo>
                        <a:pt x="82" y="122"/>
                        <a:pt x="82" y="122"/>
                        <a:pt x="82" y="122"/>
                      </a:cubicBezTo>
                      <a:cubicBezTo>
                        <a:pt x="82" y="121"/>
                        <a:pt x="82" y="121"/>
                        <a:pt x="82" y="121"/>
                      </a:cubicBezTo>
                      <a:cubicBezTo>
                        <a:pt x="82" y="121"/>
                        <a:pt x="82" y="121"/>
                        <a:pt x="82" y="121"/>
                      </a:cubicBezTo>
                      <a:cubicBezTo>
                        <a:pt x="81" y="121"/>
                        <a:pt x="81" y="121"/>
                        <a:pt x="81" y="121"/>
                      </a:cubicBezTo>
                      <a:cubicBezTo>
                        <a:pt x="81" y="121"/>
                        <a:pt x="81" y="121"/>
                        <a:pt x="81" y="121"/>
                      </a:cubicBezTo>
                      <a:cubicBezTo>
                        <a:pt x="81" y="121"/>
                        <a:pt x="81" y="121"/>
                        <a:pt x="81" y="121"/>
                      </a:cubicBezTo>
                      <a:cubicBezTo>
                        <a:pt x="81" y="120"/>
                        <a:pt x="81" y="120"/>
                        <a:pt x="81" y="120"/>
                      </a:cubicBezTo>
                      <a:cubicBezTo>
                        <a:pt x="80" y="120"/>
                        <a:pt x="80" y="120"/>
                        <a:pt x="80" y="120"/>
                      </a:cubicBezTo>
                      <a:cubicBezTo>
                        <a:pt x="80" y="119"/>
                        <a:pt x="80" y="119"/>
                        <a:pt x="80" y="119"/>
                      </a:cubicBezTo>
                      <a:cubicBezTo>
                        <a:pt x="79" y="118"/>
                        <a:pt x="79" y="118"/>
                        <a:pt x="79" y="118"/>
                      </a:cubicBezTo>
                      <a:cubicBezTo>
                        <a:pt x="79" y="118"/>
                        <a:pt x="79" y="118"/>
                        <a:pt x="79" y="118"/>
                      </a:cubicBezTo>
                      <a:cubicBezTo>
                        <a:pt x="80" y="118"/>
                        <a:pt x="80" y="118"/>
                        <a:pt x="80" y="118"/>
                      </a:cubicBezTo>
                      <a:cubicBezTo>
                        <a:pt x="80" y="118"/>
                        <a:pt x="80" y="118"/>
                        <a:pt x="80" y="118"/>
                      </a:cubicBezTo>
                      <a:cubicBezTo>
                        <a:pt x="80" y="117"/>
                        <a:pt x="80" y="117"/>
                        <a:pt x="80" y="117"/>
                      </a:cubicBezTo>
                      <a:cubicBezTo>
                        <a:pt x="79" y="117"/>
                        <a:pt x="79" y="117"/>
                        <a:pt x="79" y="117"/>
                      </a:cubicBezTo>
                      <a:cubicBezTo>
                        <a:pt x="79" y="116"/>
                        <a:pt x="79" y="116"/>
                        <a:pt x="79" y="116"/>
                      </a:cubicBezTo>
                      <a:cubicBezTo>
                        <a:pt x="79" y="116"/>
                        <a:pt x="79" y="116"/>
                        <a:pt x="79" y="116"/>
                      </a:cubicBezTo>
                      <a:cubicBezTo>
                        <a:pt x="78" y="116"/>
                        <a:pt x="78" y="116"/>
                        <a:pt x="78" y="116"/>
                      </a:cubicBezTo>
                      <a:cubicBezTo>
                        <a:pt x="78" y="115"/>
                        <a:pt x="78" y="115"/>
                        <a:pt x="78" y="115"/>
                      </a:cubicBezTo>
                      <a:cubicBezTo>
                        <a:pt x="78" y="114"/>
                        <a:pt x="78" y="114"/>
                        <a:pt x="78" y="114"/>
                      </a:cubicBezTo>
                      <a:cubicBezTo>
                        <a:pt x="77" y="114"/>
                        <a:pt x="77" y="114"/>
                        <a:pt x="77" y="114"/>
                      </a:cubicBezTo>
                      <a:cubicBezTo>
                        <a:pt x="77" y="114"/>
                        <a:pt x="77" y="114"/>
                        <a:pt x="77" y="114"/>
                      </a:cubicBezTo>
                      <a:cubicBezTo>
                        <a:pt x="77" y="113"/>
                        <a:pt x="77" y="113"/>
                        <a:pt x="77" y="113"/>
                      </a:cubicBezTo>
                      <a:cubicBezTo>
                        <a:pt x="77" y="113"/>
                        <a:pt x="77" y="113"/>
                        <a:pt x="77" y="113"/>
                      </a:cubicBezTo>
                      <a:cubicBezTo>
                        <a:pt x="76" y="112"/>
                        <a:pt x="76" y="112"/>
                        <a:pt x="76" y="112"/>
                      </a:cubicBezTo>
                      <a:cubicBezTo>
                        <a:pt x="76" y="112"/>
                        <a:pt x="76" y="112"/>
                        <a:pt x="76" y="112"/>
                      </a:cubicBezTo>
                      <a:cubicBezTo>
                        <a:pt x="76" y="112"/>
                        <a:pt x="76" y="112"/>
                        <a:pt x="76" y="112"/>
                      </a:cubicBezTo>
                      <a:cubicBezTo>
                        <a:pt x="75" y="111"/>
                        <a:pt x="75" y="111"/>
                        <a:pt x="75" y="111"/>
                      </a:cubicBezTo>
                      <a:cubicBezTo>
                        <a:pt x="75" y="111"/>
                        <a:pt x="75" y="111"/>
                        <a:pt x="75" y="111"/>
                      </a:cubicBezTo>
                      <a:cubicBezTo>
                        <a:pt x="75" y="111"/>
                        <a:pt x="75" y="111"/>
                        <a:pt x="75" y="111"/>
                      </a:cubicBezTo>
                      <a:cubicBezTo>
                        <a:pt x="74" y="110"/>
                        <a:pt x="74" y="110"/>
                        <a:pt x="74" y="110"/>
                      </a:cubicBezTo>
                      <a:cubicBezTo>
                        <a:pt x="73" y="109"/>
                        <a:pt x="73" y="109"/>
                        <a:pt x="73" y="109"/>
                      </a:cubicBezTo>
                      <a:cubicBezTo>
                        <a:pt x="73" y="109"/>
                        <a:pt x="73" y="109"/>
                        <a:pt x="73" y="109"/>
                      </a:cubicBezTo>
                      <a:cubicBezTo>
                        <a:pt x="65" y="109"/>
                        <a:pt x="65" y="109"/>
                        <a:pt x="65" y="109"/>
                      </a:cubicBezTo>
                      <a:cubicBezTo>
                        <a:pt x="65" y="110"/>
                        <a:pt x="65" y="110"/>
                        <a:pt x="65" y="110"/>
                      </a:cubicBezTo>
                      <a:cubicBezTo>
                        <a:pt x="51" y="110"/>
                        <a:pt x="51" y="110"/>
                        <a:pt x="51" y="110"/>
                      </a:cubicBezTo>
                      <a:cubicBezTo>
                        <a:pt x="35" y="103"/>
                        <a:pt x="35" y="103"/>
                        <a:pt x="35" y="103"/>
                      </a:cubicBezTo>
                      <a:cubicBezTo>
                        <a:pt x="35" y="103"/>
                        <a:pt x="35" y="103"/>
                        <a:pt x="35" y="103"/>
                      </a:cubicBezTo>
                      <a:cubicBezTo>
                        <a:pt x="35" y="102"/>
                        <a:pt x="35" y="102"/>
                        <a:pt x="35" y="102"/>
                      </a:cubicBezTo>
                      <a:cubicBezTo>
                        <a:pt x="23" y="103"/>
                        <a:pt x="23" y="103"/>
                        <a:pt x="23" y="103"/>
                      </a:cubicBezTo>
                      <a:cubicBezTo>
                        <a:pt x="23" y="102"/>
                        <a:pt x="23" y="102"/>
                        <a:pt x="23" y="102"/>
                      </a:cubicBezTo>
                      <a:cubicBezTo>
                        <a:pt x="23" y="101"/>
                        <a:pt x="23" y="101"/>
                        <a:pt x="23" y="101"/>
                      </a:cubicBezTo>
                      <a:cubicBezTo>
                        <a:pt x="23" y="99"/>
                        <a:pt x="23" y="99"/>
                        <a:pt x="23" y="99"/>
                      </a:cubicBezTo>
                      <a:cubicBezTo>
                        <a:pt x="22" y="97"/>
                        <a:pt x="22" y="97"/>
                        <a:pt x="22" y="97"/>
                      </a:cubicBezTo>
                      <a:cubicBezTo>
                        <a:pt x="21" y="96"/>
                        <a:pt x="21" y="96"/>
                        <a:pt x="21" y="96"/>
                      </a:cubicBezTo>
                      <a:cubicBezTo>
                        <a:pt x="20" y="96"/>
                        <a:pt x="20" y="96"/>
                        <a:pt x="20" y="96"/>
                      </a:cubicBezTo>
                      <a:cubicBezTo>
                        <a:pt x="19" y="96"/>
                        <a:pt x="19" y="96"/>
                        <a:pt x="19" y="96"/>
                      </a:cubicBezTo>
                      <a:cubicBezTo>
                        <a:pt x="19" y="96"/>
                        <a:pt x="19" y="96"/>
                        <a:pt x="19" y="96"/>
                      </a:cubicBezTo>
                      <a:cubicBezTo>
                        <a:pt x="19" y="95"/>
                        <a:pt x="19" y="95"/>
                        <a:pt x="19" y="95"/>
                      </a:cubicBezTo>
                      <a:cubicBezTo>
                        <a:pt x="19" y="95"/>
                        <a:pt x="19" y="95"/>
                        <a:pt x="19" y="95"/>
                      </a:cubicBezTo>
                      <a:cubicBezTo>
                        <a:pt x="18" y="95"/>
                        <a:pt x="18" y="95"/>
                        <a:pt x="18" y="95"/>
                      </a:cubicBezTo>
                      <a:cubicBezTo>
                        <a:pt x="17" y="95"/>
                        <a:pt x="17" y="95"/>
                        <a:pt x="17" y="95"/>
                      </a:cubicBezTo>
                      <a:cubicBezTo>
                        <a:pt x="16" y="94"/>
                        <a:pt x="16" y="94"/>
                        <a:pt x="16" y="94"/>
                      </a:cubicBezTo>
                      <a:cubicBezTo>
                        <a:pt x="16" y="93"/>
                        <a:pt x="16" y="93"/>
                        <a:pt x="16" y="93"/>
                      </a:cubicBezTo>
                      <a:cubicBezTo>
                        <a:pt x="15" y="93"/>
                        <a:pt x="15" y="93"/>
                        <a:pt x="15" y="93"/>
                      </a:cubicBezTo>
                      <a:cubicBezTo>
                        <a:pt x="14" y="93"/>
                        <a:pt x="14" y="93"/>
                        <a:pt x="14" y="93"/>
                      </a:cubicBezTo>
                      <a:cubicBezTo>
                        <a:pt x="13" y="93"/>
                        <a:pt x="13" y="93"/>
                        <a:pt x="13" y="93"/>
                      </a:cubicBezTo>
                      <a:cubicBezTo>
                        <a:pt x="12" y="92"/>
                        <a:pt x="12" y="92"/>
                        <a:pt x="12" y="92"/>
                      </a:cubicBezTo>
                      <a:cubicBezTo>
                        <a:pt x="11" y="92"/>
                        <a:pt x="11" y="92"/>
                        <a:pt x="11" y="92"/>
                      </a:cubicBezTo>
                      <a:cubicBezTo>
                        <a:pt x="10" y="92"/>
                        <a:pt x="10" y="92"/>
                        <a:pt x="10" y="92"/>
                      </a:cubicBezTo>
                      <a:cubicBezTo>
                        <a:pt x="9" y="92"/>
                        <a:pt x="9" y="92"/>
                        <a:pt x="9" y="92"/>
                      </a:cubicBezTo>
                      <a:cubicBezTo>
                        <a:pt x="9" y="91"/>
                        <a:pt x="9" y="91"/>
                        <a:pt x="9" y="91"/>
                      </a:cubicBezTo>
                      <a:cubicBezTo>
                        <a:pt x="9" y="91"/>
                        <a:pt x="9" y="91"/>
                        <a:pt x="9" y="91"/>
                      </a:cubicBezTo>
                      <a:cubicBezTo>
                        <a:pt x="10" y="90"/>
                        <a:pt x="10" y="90"/>
                        <a:pt x="10" y="90"/>
                      </a:cubicBezTo>
                      <a:cubicBezTo>
                        <a:pt x="10" y="89"/>
                        <a:pt x="10" y="89"/>
                        <a:pt x="10" y="89"/>
                      </a:cubicBezTo>
                      <a:cubicBezTo>
                        <a:pt x="10" y="88"/>
                        <a:pt x="10" y="88"/>
                        <a:pt x="10" y="88"/>
                      </a:cubicBezTo>
                      <a:cubicBezTo>
                        <a:pt x="9" y="87"/>
                        <a:pt x="9" y="87"/>
                        <a:pt x="9" y="87"/>
                      </a:cubicBezTo>
                      <a:cubicBezTo>
                        <a:pt x="9" y="87"/>
                        <a:pt x="9" y="87"/>
                        <a:pt x="9" y="87"/>
                      </a:cubicBezTo>
                      <a:cubicBezTo>
                        <a:pt x="9" y="87"/>
                        <a:pt x="9" y="87"/>
                        <a:pt x="9" y="87"/>
                      </a:cubicBezTo>
                      <a:cubicBezTo>
                        <a:pt x="9" y="86"/>
                        <a:pt x="9" y="86"/>
                        <a:pt x="9" y="86"/>
                      </a:cubicBezTo>
                      <a:cubicBezTo>
                        <a:pt x="8" y="85"/>
                        <a:pt x="8" y="85"/>
                        <a:pt x="8" y="85"/>
                      </a:cubicBezTo>
                      <a:cubicBezTo>
                        <a:pt x="7" y="83"/>
                        <a:pt x="7" y="83"/>
                        <a:pt x="7" y="83"/>
                      </a:cubicBezTo>
                      <a:cubicBezTo>
                        <a:pt x="7" y="82"/>
                        <a:pt x="7" y="82"/>
                        <a:pt x="7" y="82"/>
                      </a:cubicBezTo>
                      <a:cubicBezTo>
                        <a:pt x="6" y="81"/>
                        <a:pt x="6" y="81"/>
                        <a:pt x="6" y="81"/>
                      </a:cubicBezTo>
                      <a:cubicBezTo>
                        <a:pt x="6" y="81"/>
                        <a:pt x="6" y="81"/>
                        <a:pt x="6" y="81"/>
                      </a:cubicBezTo>
                      <a:cubicBezTo>
                        <a:pt x="6" y="80"/>
                        <a:pt x="6" y="80"/>
                        <a:pt x="6" y="80"/>
                      </a:cubicBezTo>
                      <a:cubicBezTo>
                        <a:pt x="6" y="79"/>
                        <a:pt x="6" y="79"/>
                        <a:pt x="6" y="79"/>
                      </a:cubicBezTo>
                      <a:cubicBezTo>
                        <a:pt x="6" y="79"/>
                        <a:pt x="6" y="79"/>
                        <a:pt x="6" y="79"/>
                      </a:cubicBezTo>
                      <a:cubicBezTo>
                        <a:pt x="6" y="79"/>
                        <a:pt x="6" y="79"/>
                        <a:pt x="6" y="79"/>
                      </a:cubicBezTo>
                      <a:cubicBezTo>
                        <a:pt x="7" y="78"/>
                        <a:pt x="7" y="78"/>
                        <a:pt x="7" y="78"/>
                      </a:cubicBezTo>
                      <a:cubicBezTo>
                        <a:pt x="7" y="78"/>
                        <a:pt x="7" y="78"/>
                        <a:pt x="7" y="78"/>
                      </a:cubicBezTo>
                      <a:cubicBezTo>
                        <a:pt x="6" y="77"/>
                        <a:pt x="6" y="77"/>
                        <a:pt x="6" y="77"/>
                      </a:cubicBezTo>
                      <a:cubicBezTo>
                        <a:pt x="5" y="77"/>
                        <a:pt x="5" y="77"/>
                        <a:pt x="5" y="77"/>
                      </a:cubicBezTo>
                      <a:cubicBezTo>
                        <a:pt x="5" y="76"/>
                        <a:pt x="5" y="76"/>
                        <a:pt x="5" y="76"/>
                      </a:cubicBezTo>
                      <a:cubicBezTo>
                        <a:pt x="5" y="76"/>
                        <a:pt x="5" y="76"/>
                        <a:pt x="5" y="76"/>
                      </a:cubicBezTo>
                      <a:cubicBezTo>
                        <a:pt x="5" y="75"/>
                        <a:pt x="5" y="75"/>
                        <a:pt x="5" y="75"/>
                      </a:cubicBezTo>
                      <a:cubicBezTo>
                        <a:pt x="5" y="74"/>
                        <a:pt x="5" y="74"/>
                        <a:pt x="5" y="74"/>
                      </a:cubicBezTo>
                      <a:cubicBezTo>
                        <a:pt x="5" y="74"/>
                        <a:pt x="5" y="74"/>
                        <a:pt x="5" y="74"/>
                      </a:cubicBezTo>
                      <a:cubicBezTo>
                        <a:pt x="5" y="73"/>
                        <a:pt x="5" y="73"/>
                        <a:pt x="5" y="73"/>
                      </a:cubicBezTo>
                      <a:cubicBezTo>
                        <a:pt x="5" y="73"/>
                        <a:pt x="5" y="73"/>
                        <a:pt x="5" y="73"/>
                      </a:cubicBezTo>
                      <a:cubicBezTo>
                        <a:pt x="5" y="72"/>
                        <a:pt x="5" y="72"/>
                        <a:pt x="5" y="72"/>
                      </a:cubicBezTo>
                      <a:cubicBezTo>
                        <a:pt x="6" y="73"/>
                        <a:pt x="6" y="73"/>
                        <a:pt x="6" y="73"/>
                      </a:cubicBezTo>
                      <a:cubicBezTo>
                        <a:pt x="6" y="73"/>
                        <a:pt x="6" y="73"/>
                        <a:pt x="6" y="73"/>
                      </a:cubicBezTo>
                      <a:cubicBezTo>
                        <a:pt x="7" y="74"/>
                        <a:pt x="7" y="74"/>
                        <a:pt x="7" y="74"/>
                      </a:cubicBezTo>
                      <a:cubicBezTo>
                        <a:pt x="7" y="73"/>
                        <a:pt x="7" y="73"/>
                        <a:pt x="7" y="73"/>
                      </a:cubicBezTo>
                      <a:cubicBezTo>
                        <a:pt x="6" y="73"/>
                        <a:pt x="6" y="73"/>
                        <a:pt x="6" y="73"/>
                      </a:cubicBezTo>
                      <a:cubicBezTo>
                        <a:pt x="6" y="72"/>
                        <a:pt x="6" y="72"/>
                        <a:pt x="6" y="72"/>
                      </a:cubicBezTo>
                      <a:cubicBezTo>
                        <a:pt x="6" y="71"/>
                        <a:pt x="6" y="71"/>
                        <a:pt x="6" y="71"/>
                      </a:cubicBezTo>
                      <a:cubicBezTo>
                        <a:pt x="6" y="71"/>
                        <a:pt x="6" y="71"/>
                        <a:pt x="6" y="71"/>
                      </a:cubicBezTo>
                      <a:cubicBezTo>
                        <a:pt x="6" y="71"/>
                        <a:pt x="6" y="71"/>
                        <a:pt x="6" y="71"/>
                      </a:cubicBezTo>
                      <a:cubicBezTo>
                        <a:pt x="7" y="71"/>
                        <a:pt x="7" y="71"/>
                        <a:pt x="7" y="71"/>
                      </a:cubicBezTo>
                      <a:cubicBezTo>
                        <a:pt x="8" y="71"/>
                        <a:pt x="8" y="71"/>
                        <a:pt x="8" y="71"/>
                      </a:cubicBezTo>
                      <a:cubicBezTo>
                        <a:pt x="8" y="71"/>
                        <a:pt x="8" y="71"/>
                        <a:pt x="8" y="71"/>
                      </a:cubicBezTo>
                      <a:cubicBezTo>
                        <a:pt x="7" y="71"/>
                        <a:pt x="7" y="71"/>
                        <a:pt x="7" y="71"/>
                      </a:cubicBezTo>
                      <a:cubicBezTo>
                        <a:pt x="7" y="70"/>
                        <a:pt x="7" y="70"/>
                        <a:pt x="7" y="70"/>
                      </a:cubicBezTo>
                      <a:cubicBezTo>
                        <a:pt x="6" y="70"/>
                        <a:pt x="6" y="70"/>
                        <a:pt x="6" y="70"/>
                      </a:cubicBezTo>
                      <a:cubicBezTo>
                        <a:pt x="6" y="70"/>
                        <a:pt x="6" y="70"/>
                        <a:pt x="6" y="70"/>
                      </a:cubicBezTo>
                      <a:cubicBezTo>
                        <a:pt x="6" y="70"/>
                        <a:pt x="6" y="70"/>
                        <a:pt x="6" y="70"/>
                      </a:cubicBezTo>
                      <a:cubicBezTo>
                        <a:pt x="5" y="70"/>
                        <a:pt x="5" y="70"/>
                        <a:pt x="5" y="70"/>
                      </a:cubicBezTo>
                      <a:cubicBezTo>
                        <a:pt x="5" y="71"/>
                        <a:pt x="5" y="71"/>
                        <a:pt x="5" y="71"/>
                      </a:cubicBezTo>
                      <a:cubicBezTo>
                        <a:pt x="5" y="72"/>
                        <a:pt x="5" y="72"/>
                        <a:pt x="5" y="72"/>
                      </a:cubicBezTo>
                      <a:cubicBezTo>
                        <a:pt x="5" y="71"/>
                        <a:pt x="5" y="71"/>
                        <a:pt x="5" y="71"/>
                      </a:cubicBezTo>
                      <a:cubicBezTo>
                        <a:pt x="5" y="72"/>
                        <a:pt x="5" y="72"/>
                        <a:pt x="5" y="72"/>
                      </a:cubicBezTo>
                      <a:cubicBezTo>
                        <a:pt x="4" y="71"/>
                        <a:pt x="4" y="71"/>
                        <a:pt x="4" y="71"/>
                      </a:cubicBezTo>
                      <a:cubicBezTo>
                        <a:pt x="3" y="70"/>
                        <a:pt x="3" y="70"/>
                        <a:pt x="3" y="70"/>
                      </a:cubicBezTo>
                      <a:cubicBezTo>
                        <a:pt x="3" y="70"/>
                        <a:pt x="3" y="70"/>
                        <a:pt x="3" y="70"/>
                      </a:cubicBezTo>
                      <a:cubicBezTo>
                        <a:pt x="3" y="69"/>
                        <a:pt x="3" y="69"/>
                        <a:pt x="3" y="69"/>
                      </a:cubicBezTo>
                      <a:cubicBezTo>
                        <a:pt x="3" y="68"/>
                        <a:pt x="3" y="68"/>
                        <a:pt x="3" y="68"/>
                      </a:cubicBezTo>
                      <a:cubicBezTo>
                        <a:pt x="1" y="65"/>
                        <a:pt x="1" y="65"/>
                        <a:pt x="1" y="65"/>
                      </a:cubicBezTo>
                      <a:cubicBezTo>
                        <a:pt x="1" y="65"/>
                        <a:pt x="1" y="65"/>
                        <a:pt x="1" y="65"/>
                      </a:cubicBezTo>
                      <a:cubicBezTo>
                        <a:pt x="1" y="64"/>
                        <a:pt x="1" y="64"/>
                        <a:pt x="1" y="64"/>
                      </a:cubicBezTo>
                      <a:cubicBezTo>
                        <a:pt x="2" y="64"/>
                        <a:pt x="2" y="64"/>
                        <a:pt x="2" y="64"/>
                      </a:cubicBezTo>
                      <a:cubicBezTo>
                        <a:pt x="1" y="63"/>
                        <a:pt x="1" y="63"/>
                        <a:pt x="1" y="63"/>
                      </a:cubicBezTo>
                      <a:cubicBezTo>
                        <a:pt x="1" y="62"/>
                        <a:pt x="1" y="62"/>
                        <a:pt x="1" y="62"/>
                      </a:cubicBezTo>
                      <a:cubicBezTo>
                        <a:pt x="1" y="62"/>
                        <a:pt x="1" y="62"/>
                        <a:pt x="1" y="62"/>
                      </a:cubicBezTo>
                      <a:cubicBezTo>
                        <a:pt x="2" y="61"/>
                        <a:pt x="2" y="61"/>
                        <a:pt x="2" y="61"/>
                      </a:cubicBezTo>
                      <a:cubicBezTo>
                        <a:pt x="2" y="60"/>
                        <a:pt x="2" y="60"/>
                        <a:pt x="2" y="60"/>
                      </a:cubicBezTo>
                      <a:cubicBezTo>
                        <a:pt x="2" y="58"/>
                        <a:pt x="2" y="58"/>
                        <a:pt x="2" y="58"/>
                      </a:cubicBezTo>
                      <a:cubicBezTo>
                        <a:pt x="1" y="57"/>
                        <a:pt x="1" y="57"/>
                        <a:pt x="1" y="57"/>
                      </a:cubicBezTo>
                      <a:cubicBezTo>
                        <a:pt x="0" y="56"/>
                        <a:pt x="0" y="56"/>
                        <a:pt x="0" y="56"/>
                      </a:cubicBezTo>
                      <a:cubicBezTo>
                        <a:pt x="0" y="55"/>
                        <a:pt x="0" y="55"/>
                        <a:pt x="0" y="55"/>
                      </a:cubicBezTo>
                      <a:cubicBezTo>
                        <a:pt x="1" y="54"/>
                        <a:pt x="1" y="54"/>
                        <a:pt x="1" y="54"/>
                      </a:cubicBezTo>
                      <a:cubicBezTo>
                        <a:pt x="2" y="53"/>
                        <a:pt x="2" y="53"/>
                        <a:pt x="2" y="53"/>
                      </a:cubicBezTo>
                      <a:cubicBezTo>
                        <a:pt x="3" y="52"/>
                        <a:pt x="3" y="52"/>
                        <a:pt x="3" y="52"/>
                      </a:cubicBezTo>
                      <a:cubicBezTo>
                        <a:pt x="2" y="51"/>
                        <a:pt x="2" y="51"/>
                        <a:pt x="2" y="51"/>
                      </a:cubicBezTo>
                      <a:cubicBezTo>
                        <a:pt x="2" y="51"/>
                        <a:pt x="2" y="51"/>
                        <a:pt x="2" y="51"/>
                      </a:cubicBezTo>
                      <a:cubicBezTo>
                        <a:pt x="3" y="50"/>
                        <a:pt x="3" y="50"/>
                        <a:pt x="3" y="50"/>
                      </a:cubicBezTo>
                      <a:cubicBezTo>
                        <a:pt x="3" y="49"/>
                        <a:pt x="3" y="49"/>
                        <a:pt x="3" y="49"/>
                      </a:cubicBezTo>
                      <a:cubicBezTo>
                        <a:pt x="3" y="48"/>
                        <a:pt x="3" y="48"/>
                        <a:pt x="3" y="48"/>
                      </a:cubicBezTo>
                      <a:cubicBezTo>
                        <a:pt x="3" y="47"/>
                        <a:pt x="3" y="47"/>
                        <a:pt x="3" y="47"/>
                      </a:cubicBezTo>
                      <a:cubicBezTo>
                        <a:pt x="3" y="46"/>
                        <a:pt x="3" y="46"/>
                        <a:pt x="3" y="46"/>
                      </a:cubicBezTo>
                      <a:cubicBezTo>
                        <a:pt x="3" y="45"/>
                        <a:pt x="3" y="45"/>
                        <a:pt x="3" y="45"/>
                      </a:cubicBezTo>
                      <a:cubicBezTo>
                        <a:pt x="3" y="44"/>
                        <a:pt x="3" y="44"/>
                        <a:pt x="3" y="44"/>
                      </a:cubicBezTo>
                      <a:cubicBezTo>
                        <a:pt x="3" y="43"/>
                        <a:pt x="3" y="43"/>
                        <a:pt x="3" y="43"/>
                      </a:cubicBezTo>
                      <a:cubicBezTo>
                        <a:pt x="3" y="42"/>
                        <a:pt x="3" y="42"/>
                        <a:pt x="3" y="42"/>
                      </a:cubicBezTo>
                      <a:cubicBezTo>
                        <a:pt x="3" y="40"/>
                        <a:pt x="3" y="40"/>
                        <a:pt x="3" y="40"/>
                      </a:cubicBezTo>
                      <a:cubicBezTo>
                        <a:pt x="4" y="39"/>
                        <a:pt x="4" y="39"/>
                        <a:pt x="4" y="39"/>
                      </a:cubicBezTo>
                      <a:cubicBezTo>
                        <a:pt x="5" y="38"/>
                        <a:pt x="5" y="38"/>
                        <a:pt x="5" y="38"/>
                      </a:cubicBezTo>
                      <a:cubicBezTo>
                        <a:pt x="5" y="37"/>
                        <a:pt x="5" y="37"/>
                        <a:pt x="5" y="37"/>
                      </a:cubicBezTo>
                      <a:cubicBezTo>
                        <a:pt x="6" y="37"/>
                        <a:pt x="6" y="37"/>
                        <a:pt x="6" y="37"/>
                      </a:cubicBezTo>
                      <a:cubicBezTo>
                        <a:pt x="6" y="35"/>
                        <a:pt x="6" y="35"/>
                        <a:pt x="6" y="35"/>
                      </a:cubicBezTo>
                      <a:cubicBezTo>
                        <a:pt x="7" y="34"/>
                        <a:pt x="7" y="34"/>
                        <a:pt x="7" y="34"/>
                      </a:cubicBezTo>
                      <a:cubicBezTo>
                        <a:pt x="8" y="33"/>
                        <a:pt x="8" y="33"/>
                        <a:pt x="8" y="33"/>
                      </a:cubicBezTo>
                      <a:cubicBezTo>
                        <a:pt x="8" y="31"/>
                        <a:pt x="8" y="31"/>
                        <a:pt x="8" y="31"/>
                      </a:cubicBezTo>
                      <a:cubicBezTo>
                        <a:pt x="9" y="29"/>
                        <a:pt x="9" y="29"/>
                        <a:pt x="9" y="29"/>
                      </a:cubicBezTo>
                      <a:cubicBezTo>
                        <a:pt x="9" y="27"/>
                        <a:pt x="9" y="27"/>
                        <a:pt x="9" y="27"/>
                      </a:cubicBezTo>
                      <a:cubicBezTo>
                        <a:pt x="11" y="24"/>
                        <a:pt x="11" y="24"/>
                        <a:pt x="11" y="24"/>
                      </a:cubicBezTo>
                      <a:cubicBezTo>
                        <a:pt x="11" y="23"/>
                        <a:pt x="11" y="23"/>
                        <a:pt x="11" y="23"/>
                      </a:cubicBezTo>
                      <a:cubicBezTo>
                        <a:pt x="12" y="22"/>
                        <a:pt x="12" y="22"/>
                        <a:pt x="12" y="22"/>
                      </a:cubicBezTo>
                      <a:cubicBezTo>
                        <a:pt x="12" y="21"/>
                        <a:pt x="12" y="21"/>
                        <a:pt x="12" y="21"/>
                      </a:cubicBezTo>
                      <a:cubicBezTo>
                        <a:pt x="12" y="21"/>
                        <a:pt x="12" y="21"/>
                        <a:pt x="12" y="21"/>
                      </a:cubicBezTo>
                      <a:cubicBezTo>
                        <a:pt x="13" y="20"/>
                        <a:pt x="13" y="20"/>
                        <a:pt x="13" y="20"/>
                      </a:cubicBezTo>
                      <a:cubicBezTo>
                        <a:pt x="13" y="19"/>
                        <a:pt x="13" y="19"/>
                        <a:pt x="13" y="19"/>
                      </a:cubicBezTo>
                      <a:cubicBezTo>
                        <a:pt x="13" y="19"/>
                        <a:pt x="13" y="19"/>
                        <a:pt x="13" y="19"/>
                      </a:cubicBezTo>
                      <a:cubicBezTo>
                        <a:pt x="14" y="19"/>
                        <a:pt x="14" y="19"/>
                        <a:pt x="14" y="19"/>
                      </a:cubicBezTo>
                      <a:cubicBezTo>
                        <a:pt x="15" y="19"/>
                        <a:pt x="15" y="19"/>
                        <a:pt x="15" y="19"/>
                      </a:cubicBezTo>
                      <a:cubicBezTo>
                        <a:pt x="16" y="20"/>
                        <a:pt x="16" y="20"/>
                        <a:pt x="16" y="20"/>
                      </a:cubicBezTo>
                      <a:cubicBezTo>
                        <a:pt x="16" y="19"/>
                        <a:pt x="16" y="19"/>
                        <a:pt x="16" y="19"/>
                      </a:cubicBezTo>
                      <a:cubicBezTo>
                        <a:pt x="17" y="20"/>
                        <a:pt x="17" y="20"/>
                        <a:pt x="17" y="20"/>
                      </a:cubicBezTo>
                      <a:cubicBezTo>
                        <a:pt x="18" y="21"/>
                        <a:pt x="18" y="21"/>
                        <a:pt x="18" y="21"/>
                      </a:cubicBezTo>
                      <a:cubicBezTo>
                        <a:pt x="18" y="20"/>
                        <a:pt x="18" y="20"/>
                        <a:pt x="18" y="20"/>
                      </a:cubicBezTo>
                      <a:cubicBezTo>
                        <a:pt x="17" y="19"/>
                        <a:pt x="17" y="19"/>
                        <a:pt x="17" y="19"/>
                      </a:cubicBezTo>
                      <a:cubicBezTo>
                        <a:pt x="16" y="19"/>
                        <a:pt x="16" y="19"/>
                        <a:pt x="16" y="19"/>
                      </a:cubicBezTo>
                      <a:cubicBezTo>
                        <a:pt x="15" y="19"/>
                        <a:pt x="15" y="19"/>
                        <a:pt x="15" y="19"/>
                      </a:cubicBezTo>
                      <a:cubicBezTo>
                        <a:pt x="14" y="18"/>
                        <a:pt x="14" y="18"/>
                        <a:pt x="14" y="18"/>
                      </a:cubicBezTo>
                      <a:cubicBezTo>
                        <a:pt x="13" y="18"/>
                        <a:pt x="13" y="18"/>
                        <a:pt x="13" y="18"/>
                      </a:cubicBezTo>
                      <a:cubicBezTo>
                        <a:pt x="13" y="18"/>
                        <a:pt x="13" y="18"/>
                        <a:pt x="13" y="18"/>
                      </a:cubicBezTo>
                      <a:cubicBezTo>
                        <a:pt x="13" y="17"/>
                        <a:pt x="13" y="17"/>
                        <a:pt x="13" y="17"/>
                      </a:cubicBezTo>
                      <a:cubicBezTo>
                        <a:pt x="13" y="17"/>
                        <a:pt x="13" y="17"/>
                        <a:pt x="13" y="17"/>
                      </a:cubicBezTo>
                      <a:cubicBezTo>
                        <a:pt x="14" y="17"/>
                        <a:pt x="14" y="17"/>
                        <a:pt x="14" y="17"/>
                      </a:cubicBezTo>
                      <a:cubicBezTo>
                        <a:pt x="14" y="16"/>
                        <a:pt x="14" y="16"/>
                        <a:pt x="14" y="16"/>
                      </a:cubicBezTo>
                      <a:cubicBezTo>
                        <a:pt x="14" y="15"/>
                        <a:pt x="14" y="15"/>
                        <a:pt x="14" y="15"/>
                      </a:cubicBezTo>
                      <a:cubicBezTo>
                        <a:pt x="13" y="15"/>
                        <a:pt x="13" y="15"/>
                        <a:pt x="13" y="15"/>
                      </a:cubicBezTo>
                      <a:cubicBezTo>
                        <a:pt x="13" y="15"/>
                        <a:pt x="13" y="15"/>
                        <a:pt x="13" y="15"/>
                      </a:cubicBezTo>
                      <a:cubicBezTo>
                        <a:pt x="13" y="14"/>
                        <a:pt x="13" y="14"/>
                        <a:pt x="13" y="14"/>
                      </a:cubicBezTo>
                      <a:cubicBezTo>
                        <a:pt x="14" y="14"/>
                        <a:pt x="14" y="14"/>
                        <a:pt x="14" y="14"/>
                      </a:cubicBezTo>
                      <a:cubicBezTo>
                        <a:pt x="14" y="14"/>
                        <a:pt x="14" y="14"/>
                        <a:pt x="14" y="14"/>
                      </a:cubicBezTo>
                      <a:cubicBezTo>
                        <a:pt x="14" y="13"/>
                        <a:pt x="14" y="13"/>
                        <a:pt x="14" y="13"/>
                      </a:cubicBezTo>
                      <a:cubicBezTo>
                        <a:pt x="13" y="13"/>
                        <a:pt x="13" y="13"/>
                        <a:pt x="13" y="13"/>
                      </a:cubicBezTo>
                      <a:cubicBezTo>
                        <a:pt x="13" y="13"/>
                        <a:pt x="13" y="13"/>
                        <a:pt x="13" y="13"/>
                      </a:cubicBezTo>
                      <a:cubicBezTo>
                        <a:pt x="14" y="11"/>
                        <a:pt x="14" y="11"/>
                        <a:pt x="14" y="11"/>
                      </a:cubicBezTo>
                      <a:cubicBezTo>
                        <a:pt x="13" y="10"/>
                        <a:pt x="13" y="10"/>
                        <a:pt x="13" y="10"/>
                      </a:cubicBezTo>
                      <a:cubicBezTo>
                        <a:pt x="14" y="8"/>
                        <a:pt x="14" y="8"/>
                        <a:pt x="14" y="8"/>
                      </a:cubicBezTo>
                      <a:cubicBezTo>
                        <a:pt x="13" y="7"/>
                        <a:pt x="13" y="7"/>
                        <a:pt x="13" y="7"/>
                      </a:cubicBezTo>
                      <a:cubicBezTo>
                        <a:pt x="13" y="6"/>
                        <a:pt x="13" y="6"/>
                        <a:pt x="13" y="6"/>
                      </a:cubicBezTo>
                      <a:cubicBezTo>
                        <a:pt x="14" y="4"/>
                        <a:pt x="14" y="4"/>
                        <a:pt x="14" y="4"/>
                      </a:cubicBezTo>
                      <a:cubicBezTo>
                        <a:pt x="14" y="3"/>
                        <a:pt x="14" y="3"/>
                        <a:pt x="14" y="3"/>
                      </a:cubicBezTo>
                      <a:cubicBezTo>
                        <a:pt x="14" y="3"/>
                        <a:pt x="14" y="3"/>
                        <a:pt x="14" y="3"/>
                      </a:cubicBezTo>
                      <a:cubicBezTo>
                        <a:pt x="17" y="5"/>
                        <a:pt x="17" y="5"/>
                        <a:pt x="17" y="5"/>
                      </a:cubicBezTo>
                      <a:cubicBezTo>
                        <a:pt x="18" y="6"/>
                        <a:pt x="18" y="6"/>
                        <a:pt x="18" y="6"/>
                      </a:cubicBezTo>
                      <a:cubicBezTo>
                        <a:pt x="20" y="6"/>
                        <a:pt x="20" y="6"/>
                        <a:pt x="20" y="6"/>
                      </a:cubicBezTo>
                      <a:cubicBezTo>
                        <a:pt x="21" y="6"/>
                        <a:pt x="21" y="6"/>
                        <a:pt x="21" y="6"/>
                      </a:cubicBezTo>
                      <a:cubicBezTo>
                        <a:pt x="21" y="7"/>
                        <a:pt x="21" y="7"/>
                        <a:pt x="21" y="7"/>
                      </a:cubicBezTo>
                      <a:cubicBezTo>
                        <a:pt x="22" y="7"/>
                        <a:pt x="22" y="7"/>
                        <a:pt x="22" y="7"/>
                      </a:cubicBezTo>
                      <a:cubicBezTo>
                        <a:pt x="22" y="7"/>
                        <a:pt x="22" y="7"/>
                        <a:pt x="22" y="7"/>
                      </a:cubicBezTo>
                      <a:cubicBezTo>
                        <a:pt x="22" y="7"/>
                        <a:pt x="22" y="7"/>
                        <a:pt x="22" y="7"/>
                      </a:cubicBezTo>
                      <a:cubicBezTo>
                        <a:pt x="22" y="8"/>
                        <a:pt x="22" y="8"/>
                        <a:pt x="22" y="8"/>
                      </a:cubicBezTo>
                      <a:cubicBezTo>
                        <a:pt x="21" y="8"/>
                        <a:pt x="21" y="8"/>
                        <a:pt x="21" y="8"/>
                      </a:cubicBezTo>
                      <a:cubicBezTo>
                        <a:pt x="20" y="9"/>
                        <a:pt x="20" y="9"/>
                        <a:pt x="20" y="9"/>
                      </a:cubicBezTo>
                      <a:cubicBezTo>
                        <a:pt x="20" y="9"/>
                        <a:pt x="20" y="9"/>
                        <a:pt x="20" y="9"/>
                      </a:cubicBezTo>
                      <a:cubicBezTo>
                        <a:pt x="21" y="9"/>
                        <a:pt x="21" y="9"/>
                        <a:pt x="21" y="9"/>
                      </a:cubicBezTo>
                      <a:cubicBezTo>
                        <a:pt x="21" y="9"/>
                        <a:pt x="21" y="9"/>
                        <a:pt x="21" y="9"/>
                      </a:cubicBezTo>
                      <a:cubicBezTo>
                        <a:pt x="22" y="8"/>
                        <a:pt x="22" y="8"/>
                        <a:pt x="22" y="8"/>
                      </a:cubicBezTo>
                      <a:cubicBezTo>
                        <a:pt x="23" y="8"/>
                        <a:pt x="23" y="8"/>
                        <a:pt x="23" y="8"/>
                      </a:cubicBezTo>
                      <a:cubicBezTo>
                        <a:pt x="23" y="9"/>
                        <a:pt x="23" y="9"/>
                        <a:pt x="23" y="9"/>
                      </a:cubicBezTo>
                      <a:cubicBezTo>
                        <a:pt x="22" y="9"/>
                        <a:pt x="22" y="9"/>
                        <a:pt x="22" y="9"/>
                      </a:cubicBezTo>
                      <a:cubicBezTo>
                        <a:pt x="22" y="10"/>
                        <a:pt x="22" y="10"/>
                        <a:pt x="22" y="10"/>
                      </a:cubicBezTo>
                      <a:cubicBezTo>
                        <a:pt x="22" y="11"/>
                        <a:pt x="22" y="11"/>
                        <a:pt x="22" y="11"/>
                      </a:cubicBezTo>
                      <a:cubicBezTo>
                        <a:pt x="21" y="12"/>
                        <a:pt x="21" y="12"/>
                        <a:pt x="21" y="12"/>
                      </a:cubicBezTo>
                      <a:cubicBezTo>
                        <a:pt x="21" y="11"/>
                        <a:pt x="21" y="11"/>
                        <a:pt x="21" y="11"/>
                      </a:cubicBezTo>
                      <a:cubicBezTo>
                        <a:pt x="21" y="11"/>
                        <a:pt x="21" y="11"/>
                        <a:pt x="21" y="11"/>
                      </a:cubicBezTo>
                      <a:cubicBezTo>
                        <a:pt x="20" y="11"/>
                        <a:pt x="20" y="11"/>
                        <a:pt x="20" y="11"/>
                      </a:cubicBezTo>
                      <a:cubicBezTo>
                        <a:pt x="20" y="12"/>
                        <a:pt x="20" y="12"/>
                        <a:pt x="20" y="12"/>
                      </a:cubicBezTo>
                      <a:cubicBezTo>
                        <a:pt x="20" y="12"/>
                        <a:pt x="20" y="12"/>
                        <a:pt x="20" y="12"/>
                      </a:cubicBezTo>
                      <a:cubicBezTo>
                        <a:pt x="21" y="13"/>
                        <a:pt x="21" y="13"/>
                        <a:pt x="21" y="13"/>
                      </a:cubicBezTo>
                      <a:cubicBezTo>
                        <a:pt x="22" y="12"/>
                        <a:pt x="22" y="12"/>
                        <a:pt x="22" y="12"/>
                      </a:cubicBezTo>
                      <a:cubicBezTo>
                        <a:pt x="22" y="11"/>
                        <a:pt x="22" y="11"/>
                        <a:pt x="22" y="11"/>
                      </a:cubicBezTo>
                      <a:cubicBezTo>
                        <a:pt x="23" y="11"/>
                        <a:pt x="23" y="11"/>
                        <a:pt x="23" y="11"/>
                      </a:cubicBezTo>
                      <a:cubicBezTo>
                        <a:pt x="23" y="10"/>
                        <a:pt x="23" y="10"/>
                        <a:pt x="23" y="10"/>
                      </a:cubicBezTo>
                      <a:cubicBezTo>
                        <a:pt x="23" y="9"/>
                        <a:pt x="23" y="9"/>
                        <a:pt x="23" y="9"/>
                      </a:cubicBezTo>
                      <a:cubicBezTo>
                        <a:pt x="23" y="8"/>
                        <a:pt x="23" y="8"/>
                        <a:pt x="23" y="8"/>
                      </a:cubicBezTo>
                      <a:cubicBezTo>
                        <a:pt x="24" y="8"/>
                        <a:pt x="24" y="8"/>
                        <a:pt x="24" y="8"/>
                      </a:cubicBezTo>
                      <a:cubicBezTo>
                        <a:pt x="25" y="7"/>
                        <a:pt x="25" y="7"/>
                        <a:pt x="25" y="7"/>
                      </a:cubicBezTo>
                      <a:cubicBezTo>
                        <a:pt x="25" y="6"/>
                        <a:pt x="25" y="6"/>
                        <a:pt x="25" y="6"/>
                      </a:cubicBezTo>
                      <a:cubicBezTo>
                        <a:pt x="24" y="6"/>
                        <a:pt x="24" y="6"/>
                        <a:pt x="24" y="6"/>
                      </a:cubicBezTo>
                      <a:cubicBezTo>
                        <a:pt x="24" y="6"/>
                        <a:pt x="24" y="6"/>
                        <a:pt x="24" y="6"/>
                      </a:cubicBezTo>
                      <a:cubicBezTo>
                        <a:pt x="25" y="5"/>
                        <a:pt x="25" y="5"/>
                        <a:pt x="25" y="5"/>
                      </a:cubicBezTo>
                      <a:cubicBezTo>
                        <a:pt x="25" y="5"/>
                        <a:pt x="25" y="5"/>
                        <a:pt x="25" y="5"/>
                      </a:cubicBezTo>
                      <a:cubicBezTo>
                        <a:pt x="24" y="4"/>
                        <a:pt x="24" y="4"/>
                        <a:pt x="24" y="4"/>
                      </a:cubicBezTo>
                      <a:cubicBezTo>
                        <a:pt x="24" y="3"/>
                        <a:pt x="24" y="3"/>
                        <a:pt x="24" y="3"/>
                      </a:cubicBezTo>
                      <a:cubicBezTo>
                        <a:pt x="25" y="3"/>
                        <a:pt x="25" y="3"/>
                        <a:pt x="25" y="3"/>
                      </a:cubicBezTo>
                      <a:cubicBezTo>
                        <a:pt x="25" y="2"/>
                        <a:pt x="25" y="2"/>
                        <a:pt x="25" y="2"/>
                      </a:cubicBezTo>
                      <a:cubicBezTo>
                        <a:pt x="24" y="2"/>
                        <a:pt x="24" y="2"/>
                        <a:pt x="24" y="2"/>
                      </a:cubicBezTo>
                      <a:cubicBezTo>
                        <a:pt x="24" y="0"/>
                        <a:pt x="24" y="0"/>
                        <a:pt x="24" y="0"/>
                      </a:cubicBezTo>
                      <a:close/>
                      <a:moveTo>
                        <a:pt x="248" y="61"/>
                      </a:moveTo>
                      <a:cubicBezTo>
                        <a:pt x="249" y="62"/>
                        <a:pt x="249" y="62"/>
                        <a:pt x="249" y="62"/>
                      </a:cubicBezTo>
                      <a:cubicBezTo>
                        <a:pt x="249" y="62"/>
                        <a:pt x="249" y="62"/>
                        <a:pt x="249" y="62"/>
                      </a:cubicBezTo>
                      <a:cubicBezTo>
                        <a:pt x="249" y="61"/>
                        <a:pt x="249" y="61"/>
                        <a:pt x="249" y="61"/>
                      </a:cubicBezTo>
                      <a:cubicBezTo>
                        <a:pt x="250" y="61"/>
                        <a:pt x="250" y="61"/>
                        <a:pt x="250" y="61"/>
                      </a:cubicBezTo>
                      <a:cubicBezTo>
                        <a:pt x="250" y="61"/>
                        <a:pt x="250" y="61"/>
                        <a:pt x="250" y="61"/>
                      </a:cubicBezTo>
                      <a:cubicBezTo>
                        <a:pt x="249" y="61"/>
                        <a:pt x="249" y="61"/>
                        <a:pt x="249" y="61"/>
                      </a:cubicBezTo>
                      <a:cubicBezTo>
                        <a:pt x="249" y="61"/>
                        <a:pt x="249" y="61"/>
                        <a:pt x="249" y="61"/>
                      </a:cubicBezTo>
                      <a:cubicBezTo>
                        <a:pt x="248" y="61"/>
                        <a:pt x="248" y="61"/>
                        <a:pt x="248" y="61"/>
                      </a:cubicBezTo>
                      <a:close/>
                      <a:moveTo>
                        <a:pt x="234" y="65"/>
                      </a:moveTo>
                      <a:cubicBezTo>
                        <a:pt x="233" y="65"/>
                        <a:pt x="233" y="65"/>
                        <a:pt x="233" y="65"/>
                      </a:cubicBezTo>
                      <a:cubicBezTo>
                        <a:pt x="234" y="65"/>
                        <a:pt x="234" y="65"/>
                        <a:pt x="234" y="65"/>
                      </a:cubicBezTo>
                      <a:cubicBezTo>
                        <a:pt x="234" y="65"/>
                        <a:pt x="234" y="65"/>
                        <a:pt x="234" y="65"/>
                      </a:cubicBezTo>
                      <a:cubicBezTo>
                        <a:pt x="236" y="65"/>
                        <a:pt x="236" y="65"/>
                        <a:pt x="236" y="65"/>
                      </a:cubicBezTo>
                      <a:cubicBezTo>
                        <a:pt x="236" y="65"/>
                        <a:pt x="236" y="65"/>
                        <a:pt x="236" y="65"/>
                      </a:cubicBezTo>
                      <a:cubicBezTo>
                        <a:pt x="238" y="64"/>
                        <a:pt x="238" y="64"/>
                        <a:pt x="238" y="64"/>
                      </a:cubicBezTo>
                      <a:cubicBezTo>
                        <a:pt x="239" y="64"/>
                        <a:pt x="239" y="64"/>
                        <a:pt x="239" y="64"/>
                      </a:cubicBezTo>
                      <a:cubicBezTo>
                        <a:pt x="240" y="64"/>
                        <a:pt x="240" y="64"/>
                        <a:pt x="240" y="64"/>
                      </a:cubicBezTo>
                      <a:cubicBezTo>
                        <a:pt x="240" y="64"/>
                        <a:pt x="240" y="64"/>
                        <a:pt x="240" y="64"/>
                      </a:cubicBezTo>
                      <a:cubicBezTo>
                        <a:pt x="241" y="64"/>
                        <a:pt x="241" y="64"/>
                        <a:pt x="241" y="64"/>
                      </a:cubicBezTo>
                      <a:cubicBezTo>
                        <a:pt x="242" y="64"/>
                        <a:pt x="242" y="64"/>
                        <a:pt x="242" y="64"/>
                      </a:cubicBezTo>
                      <a:cubicBezTo>
                        <a:pt x="243" y="63"/>
                        <a:pt x="243" y="63"/>
                        <a:pt x="243" y="63"/>
                      </a:cubicBezTo>
                      <a:cubicBezTo>
                        <a:pt x="242" y="63"/>
                        <a:pt x="242" y="63"/>
                        <a:pt x="242" y="63"/>
                      </a:cubicBezTo>
                      <a:cubicBezTo>
                        <a:pt x="241" y="63"/>
                        <a:pt x="241" y="63"/>
                        <a:pt x="241" y="63"/>
                      </a:cubicBezTo>
                      <a:cubicBezTo>
                        <a:pt x="240" y="64"/>
                        <a:pt x="240" y="64"/>
                        <a:pt x="240" y="64"/>
                      </a:cubicBezTo>
                      <a:cubicBezTo>
                        <a:pt x="241" y="63"/>
                        <a:pt x="241" y="63"/>
                        <a:pt x="241" y="63"/>
                      </a:cubicBezTo>
                      <a:cubicBezTo>
                        <a:pt x="241" y="63"/>
                        <a:pt x="241" y="63"/>
                        <a:pt x="241" y="63"/>
                      </a:cubicBezTo>
                      <a:cubicBezTo>
                        <a:pt x="241" y="63"/>
                        <a:pt x="241" y="63"/>
                        <a:pt x="241" y="63"/>
                      </a:cubicBezTo>
                      <a:cubicBezTo>
                        <a:pt x="240" y="63"/>
                        <a:pt x="240" y="63"/>
                        <a:pt x="240" y="63"/>
                      </a:cubicBezTo>
                      <a:cubicBezTo>
                        <a:pt x="238" y="63"/>
                        <a:pt x="238" y="63"/>
                        <a:pt x="238" y="63"/>
                      </a:cubicBezTo>
                      <a:cubicBezTo>
                        <a:pt x="237" y="64"/>
                        <a:pt x="237" y="64"/>
                        <a:pt x="237" y="64"/>
                      </a:cubicBezTo>
                      <a:cubicBezTo>
                        <a:pt x="236" y="63"/>
                        <a:pt x="236" y="63"/>
                        <a:pt x="236" y="63"/>
                      </a:cubicBezTo>
                      <a:cubicBezTo>
                        <a:pt x="235" y="64"/>
                        <a:pt x="235" y="64"/>
                        <a:pt x="235" y="64"/>
                      </a:cubicBezTo>
                      <a:cubicBezTo>
                        <a:pt x="234" y="64"/>
                        <a:pt x="234" y="64"/>
                        <a:pt x="234" y="64"/>
                      </a:cubicBezTo>
                      <a:cubicBezTo>
                        <a:pt x="233" y="65"/>
                        <a:pt x="233" y="65"/>
                        <a:pt x="233" y="65"/>
                      </a:cubicBezTo>
                      <a:cubicBezTo>
                        <a:pt x="233" y="65"/>
                        <a:pt x="233" y="65"/>
                        <a:pt x="233" y="65"/>
                      </a:cubicBezTo>
                      <a:cubicBezTo>
                        <a:pt x="234" y="65"/>
                        <a:pt x="234" y="65"/>
                        <a:pt x="234" y="65"/>
                      </a:cubicBezTo>
                      <a:close/>
                      <a:moveTo>
                        <a:pt x="24" y="4"/>
                      </a:moveTo>
                      <a:cubicBezTo>
                        <a:pt x="23" y="5"/>
                        <a:pt x="23" y="5"/>
                        <a:pt x="23" y="5"/>
                      </a:cubicBezTo>
                      <a:cubicBezTo>
                        <a:pt x="23" y="6"/>
                        <a:pt x="23" y="6"/>
                        <a:pt x="23" y="6"/>
                      </a:cubicBezTo>
                      <a:cubicBezTo>
                        <a:pt x="23" y="8"/>
                        <a:pt x="23" y="8"/>
                        <a:pt x="23" y="8"/>
                      </a:cubicBezTo>
                      <a:cubicBezTo>
                        <a:pt x="24" y="7"/>
                        <a:pt x="24" y="7"/>
                        <a:pt x="24" y="7"/>
                      </a:cubicBezTo>
                      <a:cubicBezTo>
                        <a:pt x="23" y="6"/>
                        <a:pt x="23" y="6"/>
                        <a:pt x="23" y="6"/>
                      </a:cubicBezTo>
                      <a:cubicBezTo>
                        <a:pt x="23" y="5"/>
                        <a:pt x="23" y="5"/>
                        <a:pt x="23" y="5"/>
                      </a:cubicBezTo>
                      <a:cubicBezTo>
                        <a:pt x="24" y="5"/>
                        <a:pt x="24" y="5"/>
                        <a:pt x="24" y="5"/>
                      </a:cubicBezTo>
                      <a:cubicBezTo>
                        <a:pt x="24" y="4"/>
                        <a:pt x="24" y="4"/>
                        <a:pt x="24" y="4"/>
                      </a:cubicBezTo>
                      <a:close/>
                      <a:moveTo>
                        <a:pt x="114" y="130"/>
                      </a:moveTo>
                      <a:cubicBezTo>
                        <a:pt x="115" y="130"/>
                        <a:pt x="115" y="130"/>
                        <a:pt x="115" y="130"/>
                      </a:cubicBezTo>
                      <a:cubicBezTo>
                        <a:pt x="116" y="129"/>
                        <a:pt x="116" y="129"/>
                        <a:pt x="116" y="129"/>
                      </a:cubicBezTo>
                      <a:cubicBezTo>
                        <a:pt x="116" y="128"/>
                        <a:pt x="116" y="128"/>
                        <a:pt x="116" y="128"/>
                      </a:cubicBezTo>
                      <a:cubicBezTo>
                        <a:pt x="115" y="129"/>
                        <a:pt x="115" y="129"/>
                        <a:pt x="115" y="129"/>
                      </a:cubicBezTo>
                      <a:cubicBezTo>
                        <a:pt x="114" y="130"/>
                        <a:pt x="114" y="130"/>
                        <a:pt x="114" y="130"/>
                      </a:cubicBezTo>
                      <a:close/>
                      <a:moveTo>
                        <a:pt x="113" y="133"/>
                      </a:moveTo>
                      <a:cubicBezTo>
                        <a:pt x="114" y="132"/>
                        <a:pt x="114" y="132"/>
                        <a:pt x="114" y="132"/>
                      </a:cubicBezTo>
                      <a:cubicBezTo>
                        <a:pt x="114" y="131"/>
                        <a:pt x="114" y="131"/>
                        <a:pt x="114" y="131"/>
                      </a:cubicBezTo>
                      <a:cubicBezTo>
                        <a:pt x="114" y="131"/>
                        <a:pt x="114" y="131"/>
                        <a:pt x="114" y="131"/>
                      </a:cubicBezTo>
                      <a:cubicBezTo>
                        <a:pt x="113" y="133"/>
                        <a:pt x="113" y="133"/>
                        <a:pt x="113" y="133"/>
                      </a:cubicBezTo>
                      <a:close/>
                      <a:moveTo>
                        <a:pt x="113" y="138"/>
                      </a:moveTo>
                      <a:cubicBezTo>
                        <a:pt x="112" y="137"/>
                        <a:pt x="112" y="137"/>
                        <a:pt x="112" y="137"/>
                      </a:cubicBezTo>
                      <a:cubicBezTo>
                        <a:pt x="113" y="135"/>
                        <a:pt x="113" y="135"/>
                        <a:pt x="113" y="135"/>
                      </a:cubicBezTo>
                      <a:cubicBezTo>
                        <a:pt x="113" y="133"/>
                        <a:pt x="113" y="133"/>
                        <a:pt x="113" y="133"/>
                      </a:cubicBezTo>
                      <a:cubicBezTo>
                        <a:pt x="112" y="135"/>
                        <a:pt x="112" y="135"/>
                        <a:pt x="112" y="135"/>
                      </a:cubicBezTo>
                      <a:cubicBezTo>
                        <a:pt x="112" y="137"/>
                        <a:pt x="112" y="137"/>
                        <a:pt x="112" y="137"/>
                      </a:cubicBezTo>
                      <a:cubicBezTo>
                        <a:pt x="112" y="137"/>
                        <a:pt x="113" y="138"/>
                        <a:pt x="113" y="138"/>
                      </a:cubicBez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2" name="Freeform 177">
                  <a:extLst>
                    <a:ext uri="{FF2B5EF4-FFF2-40B4-BE49-F238E27FC236}">
                      <a16:creationId xmlns:a16="http://schemas.microsoft.com/office/drawing/2014/main" id="{8C13CC87-AEDE-B836-9C25-126788F99AB1}"/>
                    </a:ext>
                  </a:extLst>
                </p:cNvPr>
                <p:cNvSpPr>
                  <a:spLocks/>
                </p:cNvSpPr>
                <p:nvPr/>
              </p:nvSpPr>
              <p:spPr bwMode="auto">
                <a:xfrm>
                  <a:off x="1727" y="2502"/>
                  <a:ext cx="61" cy="24"/>
                </a:xfrm>
                <a:custGeom>
                  <a:avLst/>
                  <a:gdLst>
                    <a:gd name="T0" fmla="*/ 54 w 61"/>
                    <a:gd name="T1" fmla="*/ 22 h 24"/>
                    <a:gd name="T2" fmla="*/ 49 w 61"/>
                    <a:gd name="T3" fmla="*/ 17 h 24"/>
                    <a:gd name="T4" fmla="*/ 52 w 61"/>
                    <a:gd name="T5" fmla="*/ 12 h 24"/>
                    <a:gd name="T6" fmla="*/ 54 w 61"/>
                    <a:gd name="T7" fmla="*/ 12 h 24"/>
                    <a:gd name="T8" fmla="*/ 54 w 61"/>
                    <a:gd name="T9" fmla="*/ 10 h 24"/>
                    <a:gd name="T10" fmla="*/ 52 w 61"/>
                    <a:gd name="T11" fmla="*/ 12 h 24"/>
                    <a:gd name="T12" fmla="*/ 49 w 61"/>
                    <a:gd name="T13" fmla="*/ 10 h 24"/>
                    <a:gd name="T14" fmla="*/ 45 w 61"/>
                    <a:gd name="T15" fmla="*/ 8 h 24"/>
                    <a:gd name="T16" fmla="*/ 42 w 61"/>
                    <a:gd name="T17" fmla="*/ 5 h 24"/>
                    <a:gd name="T18" fmla="*/ 35 w 61"/>
                    <a:gd name="T19" fmla="*/ 8 h 24"/>
                    <a:gd name="T20" fmla="*/ 35 w 61"/>
                    <a:gd name="T21" fmla="*/ 10 h 24"/>
                    <a:gd name="T22" fmla="*/ 33 w 61"/>
                    <a:gd name="T23" fmla="*/ 12 h 24"/>
                    <a:gd name="T24" fmla="*/ 28 w 61"/>
                    <a:gd name="T25" fmla="*/ 15 h 24"/>
                    <a:gd name="T26" fmla="*/ 28 w 61"/>
                    <a:gd name="T27" fmla="*/ 17 h 24"/>
                    <a:gd name="T28" fmla="*/ 33 w 61"/>
                    <a:gd name="T29" fmla="*/ 19 h 24"/>
                    <a:gd name="T30" fmla="*/ 30 w 61"/>
                    <a:gd name="T31" fmla="*/ 22 h 24"/>
                    <a:gd name="T32" fmla="*/ 28 w 61"/>
                    <a:gd name="T33" fmla="*/ 24 h 24"/>
                    <a:gd name="T34" fmla="*/ 23 w 61"/>
                    <a:gd name="T35" fmla="*/ 24 h 24"/>
                    <a:gd name="T36" fmla="*/ 21 w 61"/>
                    <a:gd name="T37" fmla="*/ 22 h 24"/>
                    <a:gd name="T38" fmla="*/ 21 w 61"/>
                    <a:gd name="T39" fmla="*/ 19 h 24"/>
                    <a:gd name="T40" fmla="*/ 18 w 61"/>
                    <a:gd name="T41" fmla="*/ 17 h 24"/>
                    <a:gd name="T42" fmla="*/ 18 w 61"/>
                    <a:gd name="T43" fmla="*/ 19 h 24"/>
                    <a:gd name="T44" fmla="*/ 16 w 61"/>
                    <a:gd name="T45" fmla="*/ 22 h 24"/>
                    <a:gd name="T46" fmla="*/ 14 w 61"/>
                    <a:gd name="T47" fmla="*/ 17 h 24"/>
                    <a:gd name="T48" fmla="*/ 9 w 61"/>
                    <a:gd name="T49" fmla="*/ 15 h 24"/>
                    <a:gd name="T50" fmla="*/ 9 w 61"/>
                    <a:gd name="T51" fmla="*/ 12 h 24"/>
                    <a:gd name="T52" fmla="*/ 7 w 61"/>
                    <a:gd name="T53" fmla="*/ 12 h 24"/>
                    <a:gd name="T54" fmla="*/ 2 w 61"/>
                    <a:gd name="T55" fmla="*/ 12 h 24"/>
                    <a:gd name="T56" fmla="*/ 0 w 61"/>
                    <a:gd name="T57" fmla="*/ 12 h 24"/>
                    <a:gd name="T58" fmla="*/ 0 w 61"/>
                    <a:gd name="T59" fmla="*/ 10 h 24"/>
                    <a:gd name="T60" fmla="*/ 0 w 61"/>
                    <a:gd name="T61" fmla="*/ 8 h 24"/>
                    <a:gd name="T62" fmla="*/ 0 w 61"/>
                    <a:gd name="T63" fmla="*/ 5 h 24"/>
                    <a:gd name="T64" fmla="*/ 2 w 61"/>
                    <a:gd name="T65" fmla="*/ 0 h 24"/>
                    <a:gd name="T66" fmla="*/ 4 w 61"/>
                    <a:gd name="T67" fmla="*/ 0 h 24"/>
                    <a:gd name="T68" fmla="*/ 7 w 61"/>
                    <a:gd name="T69" fmla="*/ 3 h 24"/>
                    <a:gd name="T70" fmla="*/ 7 w 61"/>
                    <a:gd name="T71" fmla="*/ 3 h 24"/>
                    <a:gd name="T72" fmla="*/ 7 w 61"/>
                    <a:gd name="T73" fmla="*/ 5 h 24"/>
                    <a:gd name="T74" fmla="*/ 7 w 61"/>
                    <a:gd name="T75" fmla="*/ 5 h 24"/>
                    <a:gd name="T76" fmla="*/ 11 w 61"/>
                    <a:gd name="T77" fmla="*/ 5 h 24"/>
                    <a:gd name="T78" fmla="*/ 9 w 61"/>
                    <a:gd name="T79" fmla="*/ 5 h 24"/>
                    <a:gd name="T80" fmla="*/ 14 w 61"/>
                    <a:gd name="T81" fmla="*/ 5 h 24"/>
                    <a:gd name="T82" fmla="*/ 21 w 61"/>
                    <a:gd name="T83" fmla="*/ 8 h 24"/>
                    <a:gd name="T84" fmla="*/ 26 w 61"/>
                    <a:gd name="T85" fmla="*/ 5 h 24"/>
                    <a:gd name="T86" fmla="*/ 35 w 61"/>
                    <a:gd name="T87" fmla="*/ 0 h 24"/>
                    <a:gd name="T88" fmla="*/ 40 w 61"/>
                    <a:gd name="T89" fmla="*/ 0 h 24"/>
                    <a:gd name="T90" fmla="*/ 42 w 61"/>
                    <a:gd name="T91" fmla="*/ 0 h 24"/>
                    <a:gd name="T92" fmla="*/ 49 w 61"/>
                    <a:gd name="T93" fmla="*/ 0 h 24"/>
                    <a:gd name="T94" fmla="*/ 56 w 61"/>
                    <a:gd name="T95" fmla="*/ 5 h 24"/>
                    <a:gd name="T96" fmla="*/ 59 w 61"/>
                    <a:gd name="T97" fmla="*/ 8 h 24"/>
                    <a:gd name="T98" fmla="*/ 61 w 61"/>
                    <a:gd name="T99" fmla="*/ 10 h 24"/>
                    <a:gd name="T100" fmla="*/ 61 w 61"/>
                    <a:gd name="T101" fmla="*/ 12 h 24"/>
                    <a:gd name="T102" fmla="*/ 61 w 61"/>
                    <a:gd name="T103" fmla="*/ 17 h 24"/>
                    <a:gd name="T104" fmla="*/ 59 w 61"/>
                    <a:gd name="T105" fmla="*/ 22 h 24"/>
                    <a:gd name="T106" fmla="*/ 56 w 61"/>
                    <a:gd name="T107"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1" h="24">
                      <a:moveTo>
                        <a:pt x="56" y="24"/>
                      </a:moveTo>
                      <a:lnTo>
                        <a:pt x="54" y="22"/>
                      </a:lnTo>
                      <a:lnTo>
                        <a:pt x="52" y="19"/>
                      </a:lnTo>
                      <a:lnTo>
                        <a:pt x="49" y="17"/>
                      </a:lnTo>
                      <a:lnTo>
                        <a:pt x="52" y="15"/>
                      </a:lnTo>
                      <a:lnTo>
                        <a:pt x="52" y="12"/>
                      </a:lnTo>
                      <a:lnTo>
                        <a:pt x="54" y="12"/>
                      </a:lnTo>
                      <a:lnTo>
                        <a:pt x="54" y="12"/>
                      </a:lnTo>
                      <a:lnTo>
                        <a:pt x="54" y="10"/>
                      </a:lnTo>
                      <a:lnTo>
                        <a:pt x="54" y="10"/>
                      </a:lnTo>
                      <a:lnTo>
                        <a:pt x="52" y="12"/>
                      </a:lnTo>
                      <a:lnTo>
                        <a:pt x="52" y="12"/>
                      </a:lnTo>
                      <a:lnTo>
                        <a:pt x="49" y="12"/>
                      </a:lnTo>
                      <a:lnTo>
                        <a:pt x="49" y="10"/>
                      </a:lnTo>
                      <a:lnTo>
                        <a:pt x="47" y="8"/>
                      </a:lnTo>
                      <a:lnTo>
                        <a:pt x="45" y="8"/>
                      </a:lnTo>
                      <a:lnTo>
                        <a:pt x="42" y="5"/>
                      </a:lnTo>
                      <a:lnTo>
                        <a:pt x="42" y="5"/>
                      </a:lnTo>
                      <a:lnTo>
                        <a:pt x="40" y="5"/>
                      </a:lnTo>
                      <a:lnTo>
                        <a:pt x="35" y="8"/>
                      </a:lnTo>
                      <a:lnTo>
                        <a:pt x="35" y="8"/>
                      </a:lnTo>
                      <a:lnTo>
                        <a:pt x="35" y="10"/>
                      </a:lnTo>
                      <a:lnTo>
                        <a:pt x="35" y="10"/>
                      </a:lnTo>
                      <a:lnTo>
                        <a:pt x="33" y="12"/>
                      </a:lnTo>
                      <a:lnTo>
                        <a:pt x="30" y="12"/>
                      </a:lnTo>
                      <a:lnTo>
                        <a:pt x="28" y="15"/>
                      </a:lnTo>
                      <a:lnTo>
                        <a:pt x="28" y="15"/>
                      </a:lnTo>
                      <a:lnTo>
                        <a:pt x="28" y="17"/>
                      </a:lnTo>
                      <a:lnTo>
                        <a:pt x="30" y="19"/>
                      </a:lnTo>
                      <a:lnTo>
                        <a:pt x="33" y="19"/>
                      </a:lnTo>
                      <a:lnTo>
                        <a:pt x="33" y="22"/>
                      </a:lnTo>
                      <a:lnTo>
                        <a:pt x="30" y="22"/>
                      </a:lnTo>
                      <a:lnTo>
                        <a:pt x="28" y="22"/>
                      </a:lnTo>
                      <a:lnTo>
                        <a:pt x="28" y="24"/>
                      </a:lnTo>
                      <a:lnTo>
                        <a:pt x="26" y="24"/>
                      </a:lnTo>
                      <a:lnTo>
                        <a:pt x="23" y="24"/>
                      </a:lnTo>
                      <a:lnTo>
                        <a:pt x="21" y="24"/>
                      </a:lnTo>
                      <a:lnTo>
                        <a:pt x="21" y="22"/>
                      </a:lnTo>
                      <a:lnTo>
                        <a:pt x="21" y="19"/>
                      </a:lnTo>
                      <a:lnTo>
                        <a:pt x="21" y="19"/>
                      </a:lnTo>
                      <a:lnTo>
                        <a:pt x="21" y="17"/>
                      </a:lnTo>
                      <a:lnTo>
                        <a:pt x="18" y="17"/>
                      </a:lnTo>
                      <a:lnTo>
                        <a:pt x="18" y="19"/>
                      </a:lnTo>
                      <a:lnTo>
                        <a:pt x="18" y="19"/>
                      </a:lnTo>
                      <a:lnTo>
                        <a:pt x="18" y="22"/>
                      </a:lnTo>
                      <a:lnTo>
                        <a:pt x="16" y="22"/>
                      </a:lnTo>
                      <a:lnTo>
                        <a:pt x="16" y="19"/>
                      </a:lnTo>
                      <a:lnTo>
                        <a:pt x="14" y="17"/>
                      </a:lnTo>
                      <a:lnTo>
                        <a:pt x="14" y="15"/>
                      </a:lnTo>
                      <a:lnTo>
                        <a:pt x="9" y="15"/>
                      </a:lnTo>
                      <a:lnTo>
                        <a:pt x="9" y="15"/>
                      </a:lnTo>
                      <a:lnTo>
                        <a:pt x="9" y="12"/>
                      </a:lnTo>
                      <a:lnTo>
                        <a:pt x="7" y="12"/>
                      </a:lnTo>
                      <a:lnTo>
                        <a:pt x="7" y="12"/>
                      </a:lnTo>
                      <a:lnTo>
                        <a:pt x="4" y="12"/>
                      </a:lnTo>
                      <a:lnTo>
                        <a:pt x="2" y="12"/>
                      </a:lnTo>
                      <a:lnTo>
                        <a:pt x="0" y="12"/>
                      </a:lnTo>
                      <a:lnTo>
                        <a:pt x="0" y="12"/>
                      </a:lnTo>
                      <a:lnTo>
                        <a:pt x="0" y="10"/>
                      </a:lnTo>
                      <a:lnTo>
                        <a:pt x="0" y="10"/>
                      </a:lnTo>
                      <a:lnTo>
                        <a:pt x="2" y="8"/>
                      </a:lnTo>
                      <a:lnTo>
                        <a:pt x="0" y="8"/>
                      </a:lnTo>
                      <a:lnTo>
                        <a:pt x="0" y="5"/>
                      </a:lnTo>
                      <a:lnTo>
                        <a:pt x="0" y="5"/>
                      </a:lnTo>
                      <a:lnTo>
                        <a:pt x="2" y="3"/>
                      </a:lnTo>
                      <a:lnTo>
                        <a:pt x="2" y="0"/>
                      </a:lnTo>
                      <a:lnTo>
                        <a:pt x="2" y="0"/>
                      </a:lnTo>
                      <a:lnTo>
                        <a:pt x="4" y="0"/>
                      </a:lnTo>
                      <a:lnTo>
                        <a:pt x="4" y="3"/>
                      </a:lnTo>
                      <a:lnTo>
                        <a:pt x="7" y="3"/>
                      </a:lnTo>
                      <a:lnTo>
                        <a:pt x="7" y="3"/>
                      </a:lnTo>
                      <a:lnTo>
                        <a:pt x="7" y="3"/>
                      </a:lnTo>
                      <a:lnTo>
                        <a:pt x="9" y="3"/>
                      </a:lnTo>
                      <a:lnTo>
                        <a:pt x="7" y="5"/>
                      </a:lnTo>
                      <a:lnTo>
                        <a:pt x="7" y="5"/>
                      </a:lnTo>
                      <a:lnTo>
                        <a:pt x="7" y="5"/>
                      </a:lnTo>
                      <a:lnTo>
                        <a:pt x="9" y="5"/>
                      </a:lnTo>
                      <a:lnTo>
                        <a:pt x="11" y="5"/>
                      </a:lnTo>
                      <a:lnTo>
                        <a:pt x="11" y="5"/>
                      </a:lnTo>
                      <a:lnTo>
                        <a:pt x="9" y="5"/>
                      </a:lnTo>
                      <a:lnTo>
                        <a:pt x="11" y="3"/>
                      </a:lnTo>
                      <a:lnTo>
                        <a:pt x="14" y="5"/>
                      </a:lnTo>
                      <a:lnTo>
                        <a:pt x="16" y="8"/>
                      </a:lnTo>
                      <a:lnTo>
                        <a:pt x="21" y="8"/>
                      </a:lnTo>
                      <a:lnTo>
                        <a:pt x="23" y="8"/>
                      </a:lnTo>
                      <a:lnTo>
                        <a:pt x="26" y="5"/>
                      </a:lnTo>
                      <a:lnTo>
                        <a:pt x="33" y="3"/>
                      </a:lnTo>
                      <a:lnTo>
                        <a:pt x="35" y="0"/>
                      </a:lnTo>
                      <a:lnTo>
                        <a:pt x="37" y="0"/>
                      </a:lnTo>
                      <a:lnTo>
                        <a:pt x="40" y="0"/>
                      </a:lnTo>
                      <a:lnTo>
                        <a:pt x="42" y="0"/>
                      </a:lnTo>
                      <a:lnTo>
                        <a:pt x="42" y="0"/>
                      </a:lnTo>
                      <a:lnTo>
                        <a:pt x="45" y="0"/>
                      </a:lnTo>
                      <a:lnTo>
                        <a:pt x="49" y="0"/>
                      </a:lnTo>
                      <a:lnTo>
                        <a:pt x="52" y="3"/>
                      </a:lnTo>
                      <a:lnTo>
                        <a:pt x="56" y="5"/>
                      </a:lnTo>
                      <a:lnTo>
                        <a:pt x="59" y="8"/>
                      </a:lnTo>
                      <a:lnTo>
                        <a:pt x="59" y="8"/>
                      </a:lnTo>
                      <a:lnTo>
                        <a:pt x="61" y="8"/>
                      </a:lnTo>
                      <a:lnTo>
                        <a:pt x="61" y="10"/>
                      </a:lnTo>
                      <a:lnTo>
                        <a:pt x="61" y="10"/>
                      </a:lnTo>
                      <a:lnTo>
                        <a:pt x="61" y="12"/>
                      </a:lnTo>
                      <a:lnTo>
                        <a:pt x="61" y="15"/>
                      </a:lnTo>
                      <a:lnTo>
                        <a:pt x="61" y="17"/>
                      </a:lnTo>
                      <a:lnTo>
                        <a:pt x="59" y="19"/>
                      </a:lnTo>
                      <a:lnTo>
                        <a:pt x="59" y="22"/>
                      </a:lnTo>
                      <a:lnTo>
                        <a:pt x="56" y="22"/>
                      </a:lnTo>
                      <a:lnTo>
                        <a:pt x="56" y="24"/>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3" name="Freeform 178">
                  <a:extLst>
                    <a:ext uri="{FF2B5EF4-FFF2-40B4-BE49-F238E27FC236}">
                      <a16:creationId xmlns:a16="http://schemas.microsoft.com/office/drawing/2014/main" id="{66BD9013-073B-39F1-65EC-F084AA69B588}"/>
                    </a:ext>
                  </a:extLst>
                </p:cNvPr>
                <p:cNvSpPr>
                  <a:spLocks/>
                </p:cNvSpPr>
                <p:nvPr/>
              </p:nvSpPr>
              <p:spPr bwMode="auto">
                <a:xfrm>
                  <a:off x="1693" y="2484"/>
                  <a:ext cx="38" cy="33"/>
                </a:xfrm>
                <a:custGeom>
                  <a:avLst/>
                  <a:gdLst>
                    <a:gd name="T0" fmla="*/ 34 w 38"/>
                    <a:gd name="T1" fmla="*/ 30 h 33"/>
                    <a:gd name="T2" fmla="*/ 34 w 38"/>
                    <a:gd name="T3" fmla="*/ 30 h 33"/>
                    <a:gd name="T4" fmla="*/ 34 w 38"/>
                    <a:gd name="T5" fmla="*/ 33 h 33"/>
                    <a:gd name="T6" fmla="*/ 31 w 38"/>
                    <a:gd name="T7" fmla="*/ 33 h 33"/>
                    <a:gd name="T8" fmla="*/ 31 w 38"/>
                    <a:gd name="T9" fmla="*/ 33 h 33"/>
                    <a:gd name="T10" fmla="*/ 29 w 38"/>
                    <a:gd name="T11" fmla="*/ 28 h 33"/>
                    <a:gd name="T12" fmla="*/ 26 w 38"/>
                    <a:gd name="T13" fmla="*/ 28 h 33"/>
                    <a:gd name="T14" fmla="*/ 29 w 38"/>
                    <a:gd name="T15" fmla="*/ 28 h 33"/>
                    <a:gd name="T16" fmla="*/ 29 w 38"/>
                    <a:gd name="T17" fmla="*/ 33 h 33"/>
                    <a:gd name="T18" fmla="*/ 26 w 38"/>
                    <a:gd name="T19" fmla="*/ 30 h 33"/>
                    <a:gd name="T20" fmla="*/ 22 w 38"/>
                    <a:gd name="T21" fmla="*/ 28 h 33"/>
                    <a:gd name="T22" fmla="*/ 24 w 38"/>
                    <a:gd name="T23" fmla="*/ 26 h 33"/>
                    <a:gd name="T24" fmla="*/ 22 w 38"/>
                    <a:gd name="T25" fmla="*/ 23 h 33"/>
                    <a:gd name="T26" fmla="*/ 17 w 38"/>
                    <a:gd name="T27" fmla="*/ 21 h 33"/>
                    <a:gd name="T28" fmla="*/ 15 w 38"/>
                    <a:gd name="T29" fmla="*/ 16 h 33"/>
                    <a:gd name="T30" fmla="*/ 12 w 38"/>
                    <a:gd name="T31" fmla="*/ 14 h 33"/>
                    <a:gd name="T32" fmla="*/ 8 w 38"/>
                    <a:gd name="T33" fmla="*/ 11 h 33"/>
                    <a:gd name="T34" fmla="*/ 8 w 38"/>
                    <a:gd name="T35" fmla="*/ 14 h 33"/>
                    <a:gd name="T36" fmla="*/ 12 w 38"/>
                    <a:gd name="T37" fmla="*/ 16 h 33"/>
                    <a:gd name="T38" fmla="*/ 10 w 38"/>
                    <a:gd name="T39" fmla="*/ 18 h 33"/>
                    <a:gd name="T40" fmla="*/ 5 w 38"/>
                    <a:gd name="T41" fmla="*/ 16 h 33"/>
                    <a:gd name="T42" fmla="*/ 0 w 38"/>
                    <a:gd name="T43" fmla="*/ 14 h 33"/>
                    <a:gd name="T44" fmla="*/ 0 w 38"/>
                    <a:gd name="T45" fmla="*/ 9 h 33"/>
                    <a:gd name="T46" fmla="*/ 3 w 38"/>
                    <a:gd name="T47" fmla="*/ 7 h 33"/>
                    <a:gd name="T48" fmla="*/ 0 w 38"/>
                    <a:gd name="T49" fmla="*/ 4 h 33"/>
                    <a:gd name="T50" fmla="*/ 0 w 38"/>
                    <a:gd name="T51" fmla="*/ 2 h 33"/>
                    <a:gd name="T52" fmla="*/ 3 w 38"/>
                    <a:gd name="T53" fmla="*/ 2 h 33"/>
                    <a:gd name="T54" fmla="*/ 5 w 38"/>
                    <a:gd name="T55" fmla="*/ 0 h 33"/>
                    <a:gd name="T56" fmla="*/ 15 w 38"/>
                    <a:gd name="T57" fmla="*/ 2 h 33"/>
                    <a:gd name="T58" fmla="*/ 17 w 38"/>
                    <a:gd name="T59" fmla="*/ 4 h 33"/>
                    <a:gd name="T60" fmla="*/ 19 w 38"/>
                    <a:gd name="T61" fmla="*/ 4 h 33"/>
                    <a:gd name="T62" fmla="*/ 24 w 38"/>
                    <a:gd name="T63" fmla="*/ 7 h 33"/>
                    <a:gd name="T64" fmla="*/ 24 w 38"/>
                    <a:gd name="T65" fmla="*/ 7 h 33"/>
                    <a:gd name="T66" fmla="*/ 26 w 38"/>
                    <a:gd name="T67" fmla="*/ 7 h 33"/>
                    <a:gd name="T68" fmla="*/ 29 w 38"/>
                    <a:gd name="T69" fmla="*/ 7 h 33"/>
                    <a:gd name="T70" fmla="*/ 31 w 38"/>
                    <a:gd name="T71" fmla="*/ 11 h 33"/>
                    <a:gd name="T72" fmla="*/ 34 w 38"/>
                    <a:gd name="T73" fmla="*/ 16 h 33"/>
                    <a:gd name="T74" fmla="*/ 36 w 38"/>
                    <a:gd name="T75" fmla="*/ 16 h 33"/>
                    <a:gd name="T76" fmla="*/ 38 w 38"/>
                    <a:gd name="T77" fmla="*/ 18 h 33"/>
                    <a:gd name="T78" fmla="*/ 36 w 38"/>
                    <a:gd name="T79" fmla="*/ 18 h 33"/>
                    <a:gd name="T80" fmla="*/ 34 w 38"/>
                    <a:gd name="T81" fmla="*/ 23 h 33"/>
                    <a:gd name="T82" fmla="*/ 34 w 38"/>
                    <a:gd name="T83" fmla="*/ 26 h 33"/>
                    <a:gd name="T84" fmla="*/ 34 w 38"/>
                    <a:gd name="T85" fmla="*/ 28 h 33"/>
                    <a:gd name="T86" fmla="*/ 34 w 38"/>
                    <a:gd name="T87" fmla="*/ 30 h 33"/>
                    <a:gd name="T88" fmla="*/ 34 w 38"/>
                    <a:gd name="T89" fmla="*/ 3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8" h="33">
                      <a:moveTo>
                        <a:pt x="34" y="30"/>
                      </a:moveTo>
                      <a:lnTo>
                        <a:pt x="34" y="30"/>
                      </a:lnTo>
                      <a:lnTo>
                        <a:pt x="34" y="30"/>
                      </a:lnTo>
                      <a:lnTo>
                        <a:pt x="34" y="30"/>
                      </a:lnTo>
                      <a:lnTo>
                        <a:pt x="34" y="33"/>
                      </a:lnTo>
                      <a:lnTo>
                        <a:pt x="34" y="33"/>
                      </a:lnTo>
                      <a:lnTo>
                        <a:pt x="34" y="33"/>
                      </a:lnTo>
                      <a:lnTo>
                        <a:pt x="31" y="33"/>
                      </a:lnTo>
                      <a:lnTo>
                        <a:pt x="31" y="33"/>
                      </a:lnTo>
                      <a:lnTo>
                        <a:pt x="31" y="33"/>
                      </a:lnTo>
                      <a:lnTo>
                        <a:pt x="31" y="30"/>
                      </a:lnTo>
                      <a:lnTo>
                        <a:pt x="29" y="28"/>
                      </a:lnTo>
                      <a:lnTo>
                        <a:pt x="26" y="28"/>
                      </a:lnTo>
                      <a:lnTo>
                        <a:pt x="26" y="28"/>
                      </a:lnTo>
                      <a:lnTo>
                        <a:pt x="26" y="28"/>
                      </a:lnTo>
                      <a:lnTo>
                        <a:pt x="29" y="28"/>
                      </a:lnTo>
                      <a:lnTo>
                        <a:pt x="29" y="30"/>
                      </a:lnTo>
                      <a:lnTo>
                        <a:pt x="29" y="33"/>
                      </a:lnTo>
                      <a:lnTo>
                        <a:pt x="29" y="33"/>
                      </a:lnTo>
                      <a:lnTo>
                        <a:pt x="26" y="30"/>
                      </a:lnTo>
                      <a:lnTo>
                        <a:pt x="24" y="30"/>
                      </a:lnTo>
                      <a:lnTo>
                        <a:pt x="22" y="28"/>
                      </a:lnTo>
                      <a:lnTo>
                        <a:pt x="22" y="28"/>
                      </a:lnTo>
                      <a:lnTo>
                        <a:pt x="24" y="26"/>
                      </a:lnTo>
                      <a:lnTo>
                        <a:pt x="24" y="26"/>
                      </a:lnTo>
                      <a:lnTo>
                        <a:pt x="22" y="23"/>
                      </a:lnTo>
                      <a:lnTo>
                        <a:pt x="19" y="21"/>
                      </a:lnTo>
                      <a:lnTo>
                        <a:pt x="17" y="21"/>
                      </a:lnTo>
                      <a:lnTo>
                        <a:pt x="15" y="18"/>
                      </a:lnTo>
                      <a:lnTo>
                        <a:pt x="15" y="16"/>
                      </a:lnTo>
                      <a:lnTo>
                        <a:pt x="12" y="16"/>
                      </a:lnTo>
                      <a:lnTo>
                        <a:pt x="12" y="14"/>
                      </a:lnTo>
                      <a:lnTo>
                        <a:pt x="10" y="11"/>
                      </a:lnTo>
                      <a:lnTo>
                        <a:pt x="8" y="11"/>
                      </a:lnTo>
                      <a:lnTo>
                        <a:pt x="8" y="11"/>
                      </a:lnTo>
                      <a:lnTo>
                        <a:pt x="8" y="14"/>
                      </a:lnTo>
                      <a:lnTo>
                        <a:pt x="10" y="14"/>
                      </a:lnTo>
                      <a:lnTo>
                        <a:pt x="12" y="16"/>
                      </a:lnTo>
                      <a:lnTo>
                        <a:pt x="10" y="18"/>
                      </a:lnTo>
                      <a:lnTo>
                        <a:pt x="10" y="18"/>
                      </a:lnTo>
                      <a:lnTo>
                        <a:pt x="8" y="16"/>
                      </a:lnTo>
                      <a:lnTo>
                        <a:pt x="5" y="16"/>
                      </a:lnTo>
                      <a:lnTo>
                        <a:pt x="3" y="16"/>
                      </a:lnTo>
                      <a:lnTo>
                        <a:pt x="0" y="14"/>
                      </a:lnTo>
                      <a:lnTo>
                        <a:pt x="0" y="11"/>
                      </a:lnTo>
                      <a:lnTo>
                        <a:pt x="0" y="9"/>
                      </a:lnTo>
                      <a:lnTo>
                        <a:pt x="3" y="9"/>
                      </a:lnTo>
                      <a:lnTo>
                        <a:pt x="3" y="7"/>
                      </a:lnTo>
                      <a:lnTo>
                        <a:pt x="0" y="7"/>
                      </a:lnTo>
                      <a:lnTo>
                        <a:pt x="0" y="4"/>
                      </a:lnTo>
                      <a:lnTo>
                        <a:pt x="0" y="4"/>
                      </a:lnTo>
                      <a:lnTo>
                        <a:pt x="0" y="2"/>
                      </a:lnTo>
                      <a:lnTo>
                        <a:pt x="0" y="2"/>
                      </a:lnTo>
                      <a:lnTo>
                        <a:pt x="3" y="2"/>
                      </a:lnTo>
                      <a:lnTo>
                        <a:pt x="3" y="2"/>
                      </a:lnTo>
                      <a:lnTo>
                        <a:pt x="5" y="0"/>
                      </a:lnTo>
                      <a:lnTo>
                        <a:pt x="12" y="2"/>
                      </a:lnTo>
                      <a:lnTo>
                        <a:pt x="15" y="2"/>
                      </a:lnTo>
                      <a:lnTo>
                        <a:pt x="17" y="2"/>
                      </a:lnTo>
                      <a:lnTo>
                        <a:pt x="17" y="4"/>
                      </a:lnTo>
                      <a:lnTo>
                        <a:pt x="19" y="4"/>
                      </a:lnTo>
                      <a:lnTo>
                        <a:pt x="19" y="4"/>
                      </a:lnTo>
                      <a:lnTo>
                        <a:pt x="22" y="7"/>
                      </a:lnTo>
                      <a:lnTo>
                        <a:pt x="24" y="7"/>
                      </a:lnTo>
                      <a:lnTo>
                        <a:pt x="24" y="7"/>
                      </a:lnTo>
                      <a:lnTo>
                        <a:pt x="24" y="7"/>
                      </a:lnTo>
                      <a:lnTo>
                        <a:pt x="26" y="7"/>
                      </a:lnTo>
                      <a:lnTo>
                        <a:pt x="26" y="7"/>
                      </a:lnTo>
                      <a:lnTo>
                        <a:pt x="26" y="7"/>
                      </a:lnTo>
                      <a:lnTo>
                        <a:pt x="29" y="7"/>
                      </a:lnTo>
                      <a:lnTo>
                        <a:pt x="29" y="9"/>
                      </a:lnTo>
                      <a:lnTo>
                        <a:pt x="31" y="11"/>
                      </a:lnTo>
                      <a:lnTo>
                        <a:pt x="31" y="14"/>
                      </a:lnTo>
                      <a:lnTo>
                        <a:pt x="34" y="16"/>
                      </a:lnTo>
                      <a:lnTo>
                        <a:pt x="34" y="16"/>
                      </a:lnTo>
                      <a:lnTo>
                        <a:pt x="36" y="16"/>
                      </a:lnTo>
                      <a:lnTo>
                        <a:pt x="38" y="18"/>
                      </a:lnTo>
                      <a:lnTo>
                        <a:pt x="38" y="18"/>
                      </a:lnTo>
                      <a:lnTo>
                        <a:pt x="36" y="18"/>
                      </a:lnTo>
                      <a:lnTo>
                        <a:pt x="36" y="18"/>
                      </a:lnTo>
                      <a:lnTo>
                        <a:pt x="36" y="21"/>
                      </a:lnTo>
                      <a:lnTo>
                        <a:pt x="34" y="23"/>
                      </a:lnTo>
                      <a:lnTo>
                        <a:pt x="34" y="23"/>
                      </a:lnTo>
                      <a:lnTo>
                        <a:pt x="34" y="26"/>
                      </a:lnTo>
                      <a:lnTo>
                        <a:pt x="36" y="26"/>
                      </a:lnTo>
                      <a:lnTo>
                        <a:pt x="34" y="28"/>
                      </a:lnTo>
                      <a:lnTo>
                        <a:pt x="34" y="28"/>
                      </a:lnTo>
                      <a:lnTo>
                        <a:pt x="34" y="30"/>
                      </a:lnTo>
                      <a:lnTo>
                        <a:pt x="34" y="30"/>
                      </a:lnTo>
                      <a:lnTo>
                        <a:pt x="34" y="30"/>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4" name="Freeform 179">
                  <a:extLst>
                    <a:ext uri="{FF2B5EF4-FFF2-40B4-BE49-F238E27FC236}">
                      <a16:creationId xmlns:a16="http://schemas.microsoft.com/office/drawing/2014/main" id="{7FB0413F-7A2C-5527-F683-DC1BAD7F4A38}"/>
                    </a:ext>
                  </a:extLst>
                </p:cNvPr>
                <p:cNvSpPr>
                  <a:spLocks/>
                </p:cNvSpPr>
                <p:nvPr/>
              </p:nvSpPr>
              <p:spPr bwMode="auto">
                <a:xfrm>
                  <a:off x="1675" y="2443"/>
                  <a:ext cx="52" cy="48"/>
                </a:xfrm>
                <a:custGeom>
                  <a:avLst/>
                  <a:gdLst>
                    <a:gd name="T0" fmla="*/ 9 w 22"/>
                    <a:gd name="T1" fmla="*/ 18 h 20"/>
                    <a:gd name="T2" fmla="*/ 10 w 22"/>
                    <a:gd name="T3" fmla="*/ 17 h 20"/>
                    <a:gd name="T4" fmla="*/ 14 w 22"/>
                    <a:gd name="T5" fmla="*/ 18 h 20"/>
                    <a:gd name="T6" fmla="*/ 15 w 22"/>
                    <a:gd name="T7" fmla="*/ 19 h 20"/>
                    <a:gd name="T8" fmla="*/ 16 w 22"/>
                    <a:gd name="T9" fmla="*/ 19 h 20"/>
                    <a:gd name="T10" fmla="*/ 18 w 22"/>
                    <a:gd name="T11" fmla="*/ 20 h 20"/>
                    <a:gd name="T12" fmla="*/ 18 w 22"/>
                    <a:gd name="T13" fmla="*/ 20 h 20"/>
                    <a:gd name="T14" fmla="*/ 18 w 22"/>
                    <a:gd name="T15" fmla="*/ 19 h 20"/>
                    <a:gd name="T16" fmla="*/ 18 w 22"/>
                    <a:gd name="T17" fmla="*/ 17 h 20"/>
                    <a:gd name="T18" fmla="*/ 19 w 22"/>
                    <a:gd name="T19" fmla="*/ 16 h 20"/>
                    <a:gd name="T20" fmla="*/ 18 w 22"/>
                    <a:gd name="T21" fmla="*/ 15 h 20"/>
                    <a:gd name="T22" fmla="*/ 18 w 22"/>
                    <a:gd name="T23" fmla="*/ 16 h 20"/>
                    <a:gd name="T24" fmla="*/ 18 w 22"/>
                    <a:gd name="T25" fmla="*/ 14 h 20"/>
                    <a:gd name="T26" fmla="*/ 18 w 22"/>
                    <a:gd name="T27" fmla="*/ 13 h 20"/>
                    <a:gd name="T28" fmla="*/ 19 w 22"/>
                    <a:gd name="T29" fmla="*/ 11 h 20"/>
                    <a:gd name="T30" fmla="*/ 19 w 22"/>
                    <a:gd name="T31" fmla="*/ 12 h 20"/>
                    <a:gd name="T32" fmla="*/ 19 w 22"/>
                    <a:gd name="T33" fmla="*/ 13 h 20"/>
                    <a:gd name="T34" fmla="*/ 20 w 22"/>
                    <a:gd name="T35" fmla="*/ 13 h 20"/>
                    <a:gd name="T36" fmla="*/ 20 w 22"/>
                    <a:gd name="T37" fmla="*/ 9 h 20"/>
                    <a:gd name="T38" fmla="*/ 20 w 22"/>
                    <a:gd name="T39" fmla="*/ 8 h 20"/>
                    <a:gd name="T40" fmla="*/ 19 w 22"/>
                    <a:gd name="T41" fmla="*/ 7 h 20"/>
                    <a:gd name="T42" fmla="*/ 20 w 22"/>
                    <a:gd name="T43" fmla="*/ 7 h 20"/>
                    <a:gd name="T44" fmla="*/ 21 w 22"/>
                    <a:gd name="T45" fmla="*/ 6 h 20"/>
                    <a:gd name="T46" fmla="*/ 22 w 22"/>
                    <a:gd name="T47" fmla="*/ 5 h 20"/>
                    <a:gd name="T48" fmla="*/ 21 w 22"/>
                    <a:gd name="T49" fmla="*/ 4 h 20"/>
                    <a:gd name="T50" fmla="*/ 22 w 22"/>
                    <a:gd name="T51" fmla="*/ 3 h 20"/>
                    <a:gd name="T52" fmla="*/ 21 w 22"/>
                    <a:gd name="T53" fmla="*/ 1 h 20"/>
                    <a:gd name="T54" fmla="*/ 22 w 22"/>
                    <a:gd name="T55" fmla="*/ 1 h 20"/>
                    <a:gd name="T56" fmla="*/ 21 w 22"/>
                    <a:gd name="T57" fmla="*/ 1 h 20"/>
                    <a:gd name="T58" fmla="*/ 20 w 22"/>
                    <a:gd name="T59" fmla="*/ 0 h 20"/>
                    <a:gd name="T60" fmla="*/ 19 w 22"/>
                    <a:gd name="T61" fmla="*/ 1 h 20"/>
                    <a:gd name="T62" fmla="*/ 18 w 22"/>
                    <a:gd name="T63" fmla="*/ 2 h 20"/>
                    <a:gd name="T64" fmla="*/ 17 w 22"/>
                    <a:gd name="T65" fmla="*/ 3 h 20"/>
                    <a:gd name="T66" fmla="*/ 16 w 22"/>
                    <a:gd name="T67" fmla="*/ 3 h 20"/>
                    <a:gd name="T68" fmla="*/ 15 w 22"/>
                    <a:gd name="T69" fmla="*/ 2 h 20"/>
                    <a:gd name="T70" fmla="*/ 14 w 22"/>
                    <a:gd name="T71" fmla="*/ 3 h 20"/>
                    <a:gd name="T72" fmla="*/ 12 w 22"/>
                    <a:gd name="T73" fmla="*/ 4 h 20"/>
                    <a:gd name="T74" fmla="*/ 12 w 22"/>
                    <a:gd name="T75" fmla="*/ 4 h 20"/>
                    <a:gd name="T76" fmla="*/ 10 w 22"/>
                    <a:gd name="T77" fmla="*/ 5 h 20"/>
                    <a:gd name="T78" fmla="*/ 9 w 22"/>
                    <a:gd name="T79" fmla="*/ 6 h 20"/>
                    <a:gd name="T80" fmla="*/ 8 w 22"/>
                    <a:gd name="T81" fmla="*/ 5 h 20"/>
                    <a:gd name="T82" fmla="*/ 5 w 22"/>
                    <a:gd name="T83" fmla="*/ 6 h 20"/>
                    <a:gd name="T84" fmla="*/ 4 w 22"/>
                    <a:gd name="T85" fmla="*/ 7 h 20"/>
                    <a:gd name="T86" fmla="*/ 4 w 22"/>
                    <a:gd name="T87" fmla="*/ 9 h 20"/>
                    <a:gd name="T88" fmla="*/ 2 w 22"/>
                    <a:gd name="T89" fmla="*/ 9 h 20"/>
                    <a:gd name="T90" fmla="*/ 1 w 22"/>
                    <a:gd name="T91" fmla="*/ 10 h 20"/>
                    <a:gd name="T92" fmla="*/ 0 w 22"/>
                    <a:gd name="T93" fmla="*/ 10 h 20"/>
                    <a:gd name="T94" fmla="*/ 2 w 22"/>
                    <a:gd name="T95" fmla="*/ 12 h 20"/>
                    <a:gd name="T96" fmla="*/ 3 w 22"/>
                    <a:gd name="T97" fmla="*/ 13 h 20"/>
                    <a:gd name="T98" fmla="*/ 5 w 22"/>
                    <a:gd name="T99" fmla="*/ 16 h 20"/>
                    <a:gd name="T100" fmla="*/ 8 w 22"/>
                    <a:gd name="T101" fmla="*/ 1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2" h="20">
                      <a:moveTo>
                        <a:pt x="8" y="18"/>
                      </a:moveTo>
                      <a:cubicBezTo>
                        <a:pt x="9" y="18"/>
                        <a:pt x="9" y="18"/>
                        <a:pt x="9" y="18"/>
                      </a:cubicBezTo>
                      <a:cubicBezTo>
                        <a:pt x="9" y="18"/>
                        <a:pt x="9" y="18"/>
                        <a:pt x="9" y="18"/>
                      </a:cubicBezTo>
                      <a:cubicBezTo>
                        <a:pt x="10" y="17"/>
                        <a:pt x="10" y="17"/>
                        <a:pt x="10" y="17"/>
                      </a:cubicBezTo>
                      <a:cubicBezTo>
                        <a:pt x="13" y="18"/>
                        <a:pt x="13" y="18"/>
                        <a:pt x="13" y="18"/>
                      </a:cubicBezTo>
                      <a:cubicBezTo>
                        <a:pt x="14" y="18"/>
                        <a:pt x="14" y="18"/>
                        <a:pt x="14" y="18"/>
                      </a:cubicBezTo>
                      <a:cubicBezTo>
                        <a:pt x="15" y="18"/>
                        <a:pt x="15" y="18"/>
                        <a:pt x="15" y="18"/>
                      </a:cubicBezTo>
                      <a:cubicBezTo>
                        <a:pt x="15" y="19"/>
                        <a:pt x="15" y="19"/>
                        <a:pt x="15" y="19"/>
                      </a:cubicBezTo>
                      <a:cubicBezTo>
                        <a:pt x="16" y="19"/>
                        <a:pt x="16" y="19"/>
                        <a:pt x="16" y="19"/>
                      </a:cubicBezTo>
                      <a:cubicBezTo>
                        <a:pt x="16" y="19"/>
                        <a:pt x="16" y="19"/>
                        <a:pt x="16" y="19"/>
                      </a:cubicBezTo>
                      <a:cubicBezTo>
                        <a:pt x="17" y="20"/>
                        <a:pt x="17" y="20"/>
                        <a:pt x="17" y="20"/>
                      </a:cubicBezTo>
                      <a:cubicBezTo>
                        <a:pt x="18" y="20"/>
                        <a:pt x="18" y="20"/>
                        <a:pt x="18" y="20"/>
                      </a:cubicBezTo>
                      <a:cubicBezTo>
                        <a:pt x="18" y="20"/>
                        <a:pt x="18" y="20"/>
                        <a:pt x="18" y="20"/>
                      </a:cubicBezTo>
                      <a:cubicBezTo>
                        <a:pt x="18" y="20"/>
                        <a:pt x="18" y="20"/>
                        <a:pt x="18" y="20"/>
                      </a:cubicBezTo>
                      <a:cubicBezTo>
                        <a:pt x="19" y="19"/>
                        <a:pt x="19" y="19"/>
                        <a:pt x="19" y="19"/>
                      </a:cubicBezTo>
                      <a:cubicBezTo>
                        <a:pt x="18" y="19"/>
                        <a:pt x="18" y="19"/>
                        <a:pt x="18" y="19"/>
                      </a:cubicBezTo>
                      <a:cubicBezTo>
                        <a:pt x="18" y="18"/>
                        <a:pt x="18" y="18"/>
                        <a:pt x="18" y="18"/>
                      </a:cubicBezTo>
                      <a:cubicBezTo>
                        <a:pt x="18" y="17"/>
                        <a:pt x="18" y="17"/>
                        <a:pt x="18" y="17"/>
                      </a:cubicBezTo>
                      <a:cubicBezTo>
                        <a:pt x="18" y="16"/>
                        <a:pt x="18" y="16"/>
                        <a:pt x="18" y="16"/>
                      </a:cubicBezTo>
                      <a:cubicBezTo>
                        <a:pt x="19" y="16"/>
                        <a:pt x="19" y="16"/>
                        <a:pt x="19" y="16"/>
                      </a:cubicBezTo>
                      <a:cubicBezTo>
                        <a:pt x="19" y="15"/>
                        <a:pt x="19" y="15"/>
                        <a:pt x="19" y="15"/>
                      </a:cubicBezTo>
                      <a:cubicBezTo>
                        <a:pt x="18" y="15"/>
                        <a:pt x="18" y="15"/>
                        <a:pt x="18" y="15"/>
                      </a:cubicBezTo>
                      <a:cubicBezTo>
                        <a:pt x="18" y="16"/>
                        <a:pt x="18" y="16"/>
                        <a:pt x="18" y="16"/>
                      </a:cubicBezTo>
                      <a:cubicBezTo>
                        <a:pt x="18" y="16"/>
                        <a:pt x="18" y="16"/>
                        <a:pt x="18" y="16"/>
                      </a:cubicBezTo>
                      <a:cubicBezTo>
                        <a:pt x="18" y="15"/>
                        <a:pt x="18" y="15"/>
                        <a:pt x="18" y="15"/>
                      </a:cubicBezTo>
                      <a:cubicBezTo>
                        <a:pt x="18" y="14"/>
                        <a:pt x="18" y="14"/>
                        <a:pt x="18" y="14"/>
                      </a:cubicBezTo>
                      <a:cubicBezTo>
                        <a:pt x="18" y="14"/>
                        <a:pt x="18" y="14"/>
                        <a:pt x="18" y="14"/>
                      </a:cubicBezTo>
                      <a:cubicBezTo>
                        <a:pt x="18" y="13"/>
                        <a:pt x="18" y="13"/>
                        <a:pt x="18" y="13"/>
                      </a:cubicBezTo>
                      <a:cubicBezTo>
                        <a:pt x="18" y="12"/>
                        <a:pt x="18" y="12"/>
                        <a:pt x="18" y="12"/>
                      </a:cubicBezTo>
                      <a:cubicBezTo>
                        <a:pt x="19" y="11"/>
                        <a:pt x="19" y="11"/>
                        <a:pt x="19" y="11"/>
                      </a:cubicBezTo>
                      <a:cubicBezTo>
                        <a:pt x="19" y="11"/>
                        <a:pt x="19" y="11"/>
                        <a:pt x="19" y="11"/>
                      </a:cubicBezTo>
                      <a:cubicBezTo>
                        <a:pt x="19" y="12"/>
                        <a:pt x="19" y="12"/>
                        <a:pt x="19" y="12"/>
                      </a:cubicBezTo>
                      <a:cubicBezTo>
                        <a:pt x="19" y="12"/>
                        <a:pt x="19" y="12"/>
                        <a:pt x="19" y="12"/>
                      </a:cubicBezTo>
                      <a:cubicBezTo>
                        <a:pt x="19" y="12"/>
                        <a:pt x="19" y="13"/>
                        <a:pt x="19" y="13"/>
                      </a:cubicBezTo>
                      <a:cubicBezTo>
                        <a:pt x="19" y="13"/>
                        <a:pt x="19" y="13"/>
                        <a:pt x="19" y="13"/>
                      </a:cubicBezTo>
                      <a:cubicBezTo>
                        <a:pt x="20" y="13"/>
                        <a:pt x="20" y="13"/>
                        <a:pt x="20" y="13"/>
                      </a:cubicBezTo>
                      <a:cubicBezTo>
                        <a:pt x="20" y="11"/>
                        <a:pt x="20" y="11"/>
                        <a:pt x="20" y="11"/>
                      </a:cubicBezTo>
                      <a:cubicBezTo>
                        <a:pt x="20" y="9"/>
                        <a:pt x="20" y="9"/>
                        <a:pt x="20" y="9"/>
                      </a:cubicBezTo>
                      <a:cubicBezTo>
                        <a:pt x="20" y="9"/>
                        <a:pt x="20" y="9"/>
                        <a:pt x="20" y="9"/>
                      </a:cubicBezTo>
                      <a:cubicBezTo>
                        <a:pt x="20" y="8"/>
                        <a:pt x="20" y="8"/>
                        <a:pt x="20" y="8"/>
                      </a:cubicBezTo>
                      <a:cubicBezTo>
                        <a:pt x="19" y="8"/>
                        <a:pt x="19" y="8"/>
                        <a:pt x="19" y="8"/>
                      </a:cubicBezTo>
                      <a:cubicBezTo>
                        <a:pt x="19" y="7"/>
                        <a:pt x="19" y="7"/>
                        <a:pt x="19" y="7"/>
                      </a:cubicBezTo>
                      <a:cubicBezTo>
                        <a:pt x="20" y="7"/>
                        <a:pt x="20" y="7"/>
                        <a:pt x="20" y="7"/>
                      </a:cubicBezTo>
                      <a:cubicBezTo>
                        <a:pt x="20" y="7"/>
                        <a:pt x="20" y="7"/>
                        <a:pt x="20" y="7"/>
                      </a:cubicBezTo>
                      <a:cubicBezTo>
                        <a:pt x="20" y="7"/>
                        <a:pt x="20" y="7"/>
                        <a:pt x="20" y="7"/>
                      </a:cubicBezTo>
                      <a:cubicBezTo>
                        <a:pt x="21" y="6"/>
                        <a:pt x="21" y="6"/>
                        <a:pt x="21" y="6"/>
                      </a:cubicBezTo>
                      <a:cubicBezTo>
                        <a:pt x="21" y="5"/>
                        <a:pt x="21" y="5"/>
                        <a:pt x="21" y="5"/>
                      </a:cubicBezTo>
                      <a:cubicBezTo>
                        <a:pt x="22" y="5"/>
                        <a:pt x="22" y="5"/>
                        <a:pt x="22" y="5"/>
                      </a:cubicBezTo>
                      <a:cubicBezTo>
                        <a:pt x="22" y="4"/>
                        <a:pt x="22" y="4"/>
                        <a:pt x="22" y="4"/>
                      </a:cubicBezTo>
                      <a:cubicBezTo>
                        <a:pt x="21" y="4"/>
                        <a:pt x="21" y="4"/>
                        <a:pt x="21" y="4"/>
                      </a:cubicBezTo>
                      <a:cubicBezTo>
                        <a:pt x="21" y="4"/>
                        <a:pt x="21" y="4"/>
                        <a:pt x="21" y="4"/>
                      </a:cubicBezTo>
                      <a:cubicBezTo>
                        <a:pt x="22" y="3"/>
                        <a:pt x="22" y="3"/>
                        <a:pt x="22" y="3"/>
                      </a:cubicBezTo>
                      <a:cubicBezTo>
                        <a:pt x="21" y="3"/>
                        <a:pt x="21" y="3"/>
                        <a:pt x="21" y="3"/>
                      </a:cubicBezTo>
                      <a:cubicBezTo>
                        <a:pt x="21" y="1"/>
                        <a:pt x="21" y="1"/>
                        <a:pt x="21" y="1"/>
                      </a:cubicBezTo>
                      <a:cubicBezTo>
                        <a:pt x="22" y="1"/>
                        <a:pt x="22" y="1"/>
                        <a:pt x="22" y="1"/>
                      </a:cubicBezTo>
                      <a:cubicBezTo>
                        <a:pt x="22" y="1"/>
                        <a:pt x="22" y="1"/>
                        <a:pt x="22" y="1"/>
                      </a:cubicBezTo>
                      <a:cubicBezTo>
                        <a:pt x="21" y="1"/>
                        <a:pt x="21" y="1"/>
                        <a:pt x="21" y="1"/>
                      </a:cubicBezTo>
                      <a:cubicBezTo>
                        <a:pt x="21" y="1"/>
                        <a:pt x="21" y="1"/>
                        <a:pt x="21" y="1"/>
                      </a:cubicBezTo>
                      <a:cubicBezTo>
                        <a:pt x="21" y="0"/>
                        <a:pt x="21" y="0"/>
                        <a:pt x="21" y="0"/>
                      </a:cubicBezTo>
                      <a:cubicBezTo>
                        <a:pt x="20" y="0"/>
                        <a:pt x="20" y="0"/>
                        <a:pt x="20" y="0"/>
                      </a:cubicBezTo>
                      <a:cubicBezTo>
                        <a:pt x="20" y="1"/>
                        <a:pt x="20" y="1"/>
                        <a:pt x="20" y="1"/>
                      </a:cubicBezTo>
                      <a:cubicBezTo>
                        <a:pt x="19" y="1"/>
                        <a:pt x="19" y="1"/>
                        <a:pt x="19" y="1"/>
                      </a:cubicBezTo>
                      <a:cubicBezTo>
                        <a:pt x="19" y="1"/>
                        <a:pt x="19" y="1"/>
                        <a:pt x="19" y="1"/>
                      </a:cubicBezTo>
                      <a:cubicBezTo>
                        <a:pt x="18" y="2"/>
                        <a:pt x="18" y="2"/>
                        <a:pt x="18" y="2"/>
                      </a:cubicBezTo>
                      <a:cubicBezTo>
                        <a:pt x="17" y="2"/>
                        <a:pt x="17" y="2"/>
                        <a:pt x="17" y="2"/>
                      </a:cubicBezTo>
                      <a:cubicBezTo>
                        <a:pt x="17" y="3"/>
                        <a:pt x="17" y="3"/>
                        <a:pt x="17" y="3"/>
                      </a:cubicBezTo>
                      <a:cubicBezTo>
                        <a:pt x="16" y="2"/>
                        <a:pt x="16" y="2"/>
                        <a:pt x="16" y="2"/>
                      </a:cubicBezTo>
                      <a:cubicBezTo>
                        <a:pt x="16" y="3"/>
                        <a:pt x="16" y="3"/>
                        <a:pt x="16" y="3"/>
                      </a:cubicBezTo>
                      <a:cubicBezTo>
                        <a:pt x="15" y="2"/>
                        <a:pt x="15" y="2"/>
                        <a:pt x="15" y="2"/>
                      </a:cubicBezTo>
                      <a:cubicBezTo>
                        <a:pt x="15" y="2"/>
                        <a:pt x="15" y="2"/>
                        <a:pt x="15" y="2"/>
                      </a:cubicBezTo>
                      <a:cubicBezTo>
                        <a:pt x="14" y="2"/>
                        <a:pt x="14" y="2"/>
                        <a:pt x="14" y="2"/>
                      </a:cubicBezTo>
                      <a:cubicBezTo>
                        <a:pt x="14" y="3"/>
                        <a:pt x="14" y="3"/>
                        <a:pt x="14" y="3"/>
                      </a:cubicBezTo>
                      <a:cubicBezTo>
                        <a:pt x="13" y="3"/>
                        <a:pt x="13" y="3"/>
                        <a:pt x="13" y="3"/>
                      </a:cubicBezTo>
                      <a:cubicBezTo>
                        <a:pt x="12" y="4"/>
                        <a:pt x="12" y="4"/>
                        <a:pt x="12" y="4"/>
                      </a:cubicBezTo>
                      <a:cubicBezTo>
                        <a:pt x="12" y="4"/>
                        <a:pt x="12" y="4"/>
                        <a:pt x="12" y="4"/>
                      </a:cubicBezTo>
                      <a:cubicBezTo>
                        <a:pt x="12" y="4"/>
                        <a:pt x="12" y="4"/>
                        <a:pt x="12" y="4"/>
                      </a:cubicBezTo>
                      <a:cubicBezTo>
                        <a:pt x="11" y="5"/>
                        <a:pt x="11" y="5"/>
                        <a:pt x="11" y="5"/>
                      </a:cubicBezTo>
                      <a:cubicBezTo>
                        <a:pt x="10" y="5"/>
                        <a:pt x="10" y="5"/>
                        <a:pt x="10" y="5"/>
                      </a:cubicBezTo>
                      <a:cubicBezTo>
                        <a:pt x="10" y="6"/>
                        <a:pt x="10" y="6"/>
                        <a:pt x="10" y="6"/>
                      </a:cubicBezTo>
                      <a:cubicBezTo>
                        <a:pt x="9" y="6"/>
                        <a:pt x="9" y="6"/>
                        <a:pt x="9" y="6"/>
                      </a:cubicBezTo>
                      <a:cubicBezTo>
                        <a:pt x="9" y="6"/>
                        <a:pt x="9" y="6"/>
                        <a:pt x="9" y="6"/>
                      </a:cubicBezTo>
                      <a:cubicBezTo>
                        <a:pt x="8" y="5"/>
                        <a:pt x="8" y="5"/>
                        <a:pt x="8" y="5"/>
                      </a:cubicBezTo>
                      <a:cubicBezTo>
                        <a:pt x="7" y="5"/>
                        <a:pt x="7" y="5"/>
                        <a:pt x="7" y="5"/>
                      </a:cubicBezTo>
                      <a:cubicBezTo>
                        <a:pt x="5" y="6"/>
                        <a:pt x="5" y="6"/>
                        <a:pt x="5" y="6"/>
                      </a:cubicBezTo>
                      <a:cubicBezTo>
                        <a:pt x="4" y="6"/>
                        <a:pt x="4" y="6"/>
                        <a:pt x="4" y="6"/>
                      </a:cubicBezTo>
                      <a:cubicBezTo>
                        <a:pt x="4" y="7"/>
                        <a:pt x="4" y="7"/>
                        <a:pt x="4" y="7"/>
                      </a:cubicBezTo>
                      <a:cubicBezTo>
                        <a:pt x="4" y="8"/>
                        <a:pt x="4" y="8"/>
                        <a:pt x="4" y="8"/>
                      </a:cubicBezTo>
                      <a:cubicBezTo>
                        <a:pt x="4" y="9"/>
                        <a:pt x="4" y="9"/>
                        <a:pt x="4" y="9"/>
                      </a:cubicBezTo>
                      <a:cubicBezTo>
                        <a:pt x="3" y="9"/>
                        <a:pt x="3" y="9"/>
                        <a:pt x="3" y="9"/>
                      </a:cubicBezTo>
                      <a:cubicBezTo>
                        <a:pt x="2" y="9"/>
                        <a:pt x="2" y="9"/>
                        <a:pt x="2" y="9"/>
                      </a:cubicBezTo>
                      <a:cubicBezTo>
                        <a:pt x="1" y="10"/>
                        <a:pt x="1" y="10"/>
                        <a:pt x="1" y="10"/>
                      </a:cubicBezTo>
                      <a:cubicBezTo>
                        <a:pt x="1" y="10"/>
                        <a:pt x="1" y="10"/>
                        <a:pt x="1" y="10"/>
                      </a:cubicBezTo>
                      <a:cubicBezTo>
                        <a:pt x="1" y="10"/>
                        <a:pt x="1" y="10"/>
                        <a:pt x="1" y="10"/>
                      </a:cubicBezTo>
                      <a:cubicBezTo>
                        <a:pt x="0" y="10"/>
                        <a:pt x="0" y="10"/>
                        <a:pt x="0" y="10"/>
                      </a:cubicBezTo>
                      <a:cubicBezTo>
                        <a:pt x="0" y="10"/>
                        <a:pt x="0" y="10"/>
                        <a:pt x="0" y="10"/>
                      </a:cubicBezTo>
                      <a:cubicBezTo>
                        <a:pt x="2" y="12"/>
                        <a:pt x="2" y="12"/>
                        <a:pt x="2" y="12"/>
                      </a:cubicBezTo>
                      <a:cubicBezTo>
                        <a:pt x="3" y="12"/>
                        <a:pt x="3" y="12"/>
                        <a:pt x="3" y="12"/>
                      </a:cubicBezTo>
                      <a:cubicBezTo>
                        <a:pt x="3" y="13"/>
                        <a:pt x="3" y="13"/>
                        <a:pt x="3" y="13"/>
                      </a:cubicBezTo>
                      <a:cubicBezTo>
                        <a:pt x="4" y="14"/>
                        <a:pt x="4" y="14"/>
                        <a:pt x="4" y="14"/>
                      </a:cubicBezTo>
                      <a:cubicBezTo>
                        <a:pt x="5" y="16"/>
                        <a:pt x="5" y="16"/>
                        <a:pt x="5" y="16"/>
                      </a:cubicBezTo>
                      <a:cubicBezTo>
                        <a:pt x="7" y="18"/>
                        <a:pt x="7" y="18"/>
                        <a:pt x="7" y="18"/>
                      </a:cubicBezTo>
                      <a:cubicBezTo>
                        <a:pt x="8" y="18"/>
                        <a:pt x="8" y="18"/>
                        <a:pt x="8" y="18"/>
                      </a:cubicBez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5" name="Freeform 180">
                  <a:extLst>
                    <a:ext uri="{FF2B5EF4-FFF2-40B4-BE49-F238E27FC236}">
                      <a16:creationId xmlns:a16="http://schemas.microsoft.com/office/drawing/2014/main" id="{13A81F57-A972-5FFC-AC61-04166FF17558}"/>
                    </a:ext>
                  </a:extLst>
                </p:cNvPr>
                <p:cNvSpPr>
                  <a:spLocks/>
                </p:cNvSpPr>
                <p:nvPr/>
              </p:nvSpPr>
              <p:spPr bwMode="auto">
                <a:xfrm>
                  <a:off x="1651" y="2434"/>
                  <a:ext cx="76" cy="33"/>
                </a:xfrm>
                <a:custGeom>
                  <a:avLst/>
                  <a:gdLst>
                    <a:gd name="T0" fmla="*/ 28 w 76"/>
                    <a:gd name="T1" fmla="*/ 31 h 33"/>
                    <a:gd name="T2" fmla="*/ 33 w 76"/>
                    <a:gd name="T3" fmla="*/ 31 h 33"/>
                    <a:gd name="T4" fmla="*/ 33 w 76"/>
                    <a:gd name="T5" fmla="*/ 26 h 33"/>
                    <a:gd name="T6" fmla="*/ 35 w 76"/>
                    <a:gd name="T7" fmla="*/ 23 h 33"/>
                    <a:gd name="T8" fmla="*/ 42 w 76"/>
                    <a:gd name="T9" fmla="*/ 21 h 33"/>
                    <a:gd name="T10" fmla="*/ 45 w 76"/>
                    <a:gd name="T11" fmla="*/ 23 h 33"/>
                    <a:gd name="T12" fmla="*/ 47 w 76"/>
                    <a:gd name="T13" fmla="*/ 21 h 33"/>
                    <a:gd name="T14" fmla="*/ 52 w 76"/>
                    <a:gd name="T15" fmla="*/ 19 h 33"/>
                    <a:gd name="T16" fmla="*/ 52 w 76"/>
                    <a:gd name="T17" fmla="*/ 19 h 33"/>
                    <a:gd name="T18" fmla="*/ 57 w 76"/>
                    <a:gd name="T19" fmla="*/ 16 h 33"/>
                    <a:gd name="T20" fmla="*/ 59 w 76"/>
                    <a:gd name="T21" fmla="*/ 14 h 33"/>
                    <a:gd name="T22" fmla="*/ 61 w 76"/>
                    <a:gd name="T23" fmla="*/ 16 h 33"/>
                    <a:gd name="T24" fmla="*/ 64 w 76"/>
                    <a:gd name="T25" fmla="*/ 16 h 33"/>
                    <a:gd name="T26" fmla="*/ 66 w 76"/>
                    <a:gd name="T27" fmla="*/ 14 h 33"/>
                    <a:gd name="T28" fmla="*/ 68 w 76"/>
                    <a:gd name="T29" fmla="*/ 12 h 33"/>
                    <a:gd name="T30" fmla="*/ 71 w 76"/>
                    <a:gd name="T31" fmla="*/ 9 h 33"/>
                    <a:gd name="T32" fmla="*/ 73 w 76"/>
                    <a:gd name="T33" fmla="*/ 12 h 33"/>
                    <a:gd name="T34" fmla="*/ 76 w 76"/>
                    <a:gd name="T35" fmla="*/ 12 h 33"/>
                    <a:gd name="T36" fmla="*/ 76 w 76"/>
                    <a:gd name="T37" fmla="*/ 9 h 33"/>
                    <a:gd name="T38" fmla="*/ 71 w 76"/>
                    <a:gd name="T39" fmla="*/ 7 h 33"/>
                    <a:gd name="T40" fmla="*/ 71 w 76"/>
                    <a:gd name="T41" fmla="*/ 9 h 33"/>
                    <a:gd name="T42" fmla="*/ 66 w 76"/>
                    <a:gd name="T43" fmla="*/ 7 h 33"/>
                    <a:gd name="T44" fmla="*/ 64 w 76"/>
                    <a:gd name="T45" fmla="*/ 7 h 33"/>
                    <a:gd name="T46" fmla="*/ 61 w 76"/>
                    <a:gd name="T47" fmla="*/ 7 h 33"/>
                    <a:gd name="T48" fmla="*/ 64 w 76"/>
                    <a:gd name="T49" fmla="*/ 5 h 33"/>
                    <a:gd name="T50" fmla="*/ 66 w 76"/>
                    <a:gd name="T51" fmla="*/ 5 h 33"/>
                    <a:gd name="T52" fmla="*/ 68 w 76"/>
                    <a:gd name="T53" fmla="*/ 5 h 33"/>
                    <a:gd name="T54" fmla="*/ 64 w 76"/>
                    <a:gd name="T55" fmla="*/ 2 h 33"/>
                    <a:gd name="T56" fmla="*/ 61 w 76"/>
                    <a:gd name="T57" fmla="*/ 2 h 33"/>
                    <a:gd name="T58" fmla="*/ 59 w 76"/>
                    <a:gd name="T59" fmla="*/ 5 h 33"/>
                    <a:gd name="T60" fmla="*/ 52 w 76"/>
                    <a:gd name="T61" fmla="*/ 2 h 33"/>
                    <a:gd name="T62" fmla="*/ 45 w 76"/>
                    <a:gd name="T63" fmla="*/ 0 h 33"/>
                    <a:gd name="T64" fmla="*/ 42 w 76"/>
                    <a:gd name="T65" fmla="*/ 0 h 33"/>
                    <a:gd name="T66" fmla="*/ 40 w 76"/>
                    <a:gd name="T67" fmla="*/ 2 h 33"/>
                    <a:gd name="T68" fmla="*/ 38 w 76"/>
                    <a:gd name="T69" fmla="*/ 2 h 33"/>
                    <a:gd name="T70" fmla="*/ 28 w 76"/>
                    <a:gd name="T71" fmla="*/ 2 h 33"/>
                    <a:gd name="T72" fmla="*/ 19 w 76"/>
                    <a:gd name="T73" fmla="*/ 5 h 33"/>
                    <a:gd name="T74" fmla="*/ 19 w 76"/>
                    <a:gd name="T75" fmla="*/ 5 h 33"/>
                    <a:gd name="T76" fmla="*/ 16 w 76"/>
                    <a:gd name="T77" fmla="*/ 7 h 33"/>
                    <a:gd name="T78" fmla="*/ 12 w 76"/>
                    <a:gd name="T79" fmla="*/ 7 h 33"/>
                    <a:gd name="T80" fmla="*/ 7 w 76"/>
                    <a:gd name="T81" fmla="*/ 12 h 33"/>
                    <a:gd name="T82" fmla="*/ 5 w 76"/>
                    <a:gd name="T83" fmla="*/ 16 h 33"/>
                    <a:gd name="T84" fmla="*/ 2 w 76"/>
                    <a:gd name="T85" fmla="*/ 19 h 33"/>
                    <a:gd name="T86" fmla="*/ 2 w 76"/>
                    <a:gd name="T87" fmla="*/ 19 h 33"/>
                    <a:gd name="T88" fmla="*/ 2 w 76"/>
                    <a:gd name="T89" fmla="*/ 28 h 33"/>
                    <a:gd name="T90" fmla="*/ 7 w 76"/>
                    <a:gd name="T91" fmla="*/ 28 h 33"/>
                    <a:gd name="T92" fmla="*/ 12 w 76"/>
                    <a:gd name="T93" fmla="*/ 31 h 33"/>
                    <a:gd name="T94" fmla="*/ 12 w 76"/>
                    <a:gd name="T95" fmla="*/ 28 h 33"/>
                    <a:gd name="T96" fmla="*/ 14 w 76"/>
                    <a:gd name="T97" fmla="*/ 31 h 33"/>
                    <a:gd name="T98" fmla="*/ 21 w 76"/>
                    <a:gd name="T99" fmla="*/ 33 h 33"/>
                    <a:gd name="T100" fmla="*/ 21 w 76"/>
                    <a:gd name="T101" fmla="*/ 28 h 33"/>
                    <a:gd name="T102" fmla="*/ 24 w 76"/>
                    <a:gd name="T103" fmla="*/ 28 h 33"/>
                    <a:gd name="T104" fmla="*/ 26 w 76"/>
                    <a:gd name="T105" fmla="*/ 31 h 33"/>
                    <a:gd name="T106" fmla="*/ 26 w 76"/>
                    <a:gd name="T107" fmla="*/ 31 h 33"/>
                    <a:gd name="T108" fmla="*/ 26 w 76"/>
                    <a:gd name="T109"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6" h="33">
                      <a:moveTo>
                        <a:pt x="26" y="33"/>
                      </a:moveTo>
                      <a:lnTo>
                        <a:pt x="28" y="31"/>
                      </a:lnTo>
                      <a:lnTo>
                        <a:pt x="31" y="31"/>
                      </a:lnTo>
                      <a:lnTo>
                        <a:pt x="33" y="31"/>
                      </a:lnTo>
                      <a:lnTo>
                        <a:pt x="33" y="28"/>
                      </a:lnTo>
                      <a:lnTo>
                        <a:pt x="33" y="26"/>
                      </a:lnTo>
                      <a:lnTo>
                        <a:pt x="33" y="23"/>
                      </a:lnTo>
                      <a:lnTo>
                        <a:pt x="35" y="23"/>
                      </a:lnTo>
                      <a:lnTo>
                        <a:pt x="40" y="21"/>
                      </a:lnTo>
                      <a:lnTo>
                        <a:pt x="42" y="21"/>
                      </a:lnTo>
                      <a:lnTo>
                        <a:pt x="45" y="23"/>
                      </a:lnTo>
                      <a:lnTo>
                        <a:pt x="45" y="23"/>
                      </a:lnTo>
                      <a:lnTo>
                        <a:pt x="47" y="23"/>
                      </a:lnTo>
                      <a:lnTo>
                        <a:pt x="47" y="21"/>
                      </a:lnTo>
                      <a:lnTo>
                        <a:pt x="50" y="21"/>
                      </a:lnTo>
                      <a:lnTo>
                        <a:pt x="52" y="19"/>
                      </a:lnTo>
                      <a:lnTo>
                        <a:pt x="52" y="19"/>
                      </a:lnTo>
                      <a:lnTo>
                        <a:pt x="52" y="19"/>
                      </a:lnTo>
                      <a:lnTo>
                        <a:pt x="54" y="16"/>
                      </a:lnTo>
                      <a:lnTo>
                        <a:pt x="57" y="16"/>
                      </a:lnTo>
                      <a:lnTo>
                        <a:pt x="57" y="14"/>
                      </a:lnTo>
                      <a:lnTo>
                        <a:pt x="59" y="14"/>
                      </a:lnTo>
                      <a:lnTo>
                        <a:pt x="59" y="14"/>
                      </a:lnTo>
                      <a:lnTo>
                        <a:pt x="61" y="16"/>
                      </a:lnTo>
                      <a:lnTo>
                        <a:pt x="61" y="14"/>
                      </a:lnTo>
                      <a:lnTo>
                        <a:pt x="64" y="16"/>
                      </a:lnTo>
                      <a:lnTo>
                        <a:pt x="64" y="14"/>
                      </a:lnTo>
                      <a:lnTo>
                        <a:pt x="66" y="14"/>
                      </a:lnTo>
                      <a:lnTo>
                        <a:pt x="68" y="12"/>
                      </a:lnTo>
                      <a:lnTo>
                        <a:pt x="68" y="12"/>
                      </a:lnTo>
                      <a:lnTo>
                        <a:pt x="71" y="12"/>
                      </a:lnTo>
                      <a:lnTo>
                        <a:pt x="71" y="9"/>
                      </a:lnTo>
                      <a:lnTo>
                        <a:pt x="73" y="9"/>
                      </a:lnTo>
                      <a:lnTo>
                        <a:pt x="73" y="12"/>
                      </a:lnTo>
                      <a:lnTo>
                        <a:pt x="73" y="12"/>
                      </a:lnTo>
                      <a:lnTo>
                        <a:pt x="76" y="12"/>
                      </a:lnTo>
                      <a:lnTo>
                        <a:pt x="76" y="9"/>
                      </a:lnTo>
                      <a:lnTo>
                        <a:pt x="76" y="9"/>
                      </a:lnTo>
                      <a:lnTo>
                        <a:pt x="73" y="7"/>
                      </a:lnTo>
                      <a:lnTo>
                        <a:pt x="71" y="7"/>
                      </a:lnTo>
                      <a:lnTo>
                        <a:pt x="71" y="7"/>
                      </a:lnTo>
                      <a:lnTo>
                        <a:pt x="71" y="9"/>
                      </a:lnTo>
                      <a:lnTo>
                        <a:pt x="68" y="9"/>
                      </a:lnTo>
                      <a:lnTo>
                        <a:pt x="66" y="7"/>
                      </a:lnTo>
                      <a:lnTo>
                        <a:pt x="64" y="7"/>
                      </a:lnTo>
                      <a:lnTo>
                        <a:pt x="64" y="7"/>
                      </a:lnTo>
                      <a:lnTo>
                        <a:pt x="61" y="7"/>
                      </a:lnTo>
                      <a:lnTo>
                        <a:pt x="61" y="7"/>
                      </a:lnTo>
                      <a:lnTo>
                        <a:pt x="64" y="5"/>
                      </a:lnTo>
                      <a:lnTo>
                        <a:pt x="64" y="5"/>
                      </a:lnTo>
                      <a:lnTo>
                        <a:pt x="64" y="5"/>
                      </a:lnTo>
                      <a:lnTo>
                        <a:pt x="66" y="5"/>
                      </a:lnTo>
                      <a:lnTo>
                        <a:pt x="68" y="5"/>
                      </a:lnTo>
                      <a:lnTo>
                        <a:pt x="68" y="5"/>
                      </a:lnTo>
                      <a:lnTo>
                        <a:pt x="66" y="5"/>
                      </a:lnTo>
                      <a:lnTo>
                        <a:pt x="64" y="2"/>
                      </a:lnTo>
                      <a:lnTo>
                        <a:pt x="61" y="2"/>
                      </a:lnTo>
                      <a:lnTo>
                        <a:pt x="61" y="2"/>
                      </a:lnTo>
                      <a:lnTo>
                        <a:pt x="59" y="2"/>
                      </a:lnTo>
                      <a:lnTo>
                        <a:pt x="59" y="5"/>
                      </a:lnTo>
                      <a:lnTo>
                        <a:pt x="57" y="2"/>
                      </a:lnTo>
                      <a:lnTo>
                        <a:pt x="52" y="2"/>
                      </a:lnTo>
                      <a:lnTo>
                        <a:pt x="47" y="2"/>
                      </a:lnTo>
                      <a:lnTo>
                        <a:pt x="45" y="0"/>
                      </a:lnTo>
                      <a:lnTo>
                        <a:pt x="42" y="0"/>
                      </a:lnTo>
                      <a:lnTo>
                        <a:pt x="42" y="0"/>
                      </a:lnTo>
                      <a:lnTo>
                        <a:pt x="42" y="0"/>
                      </a:lnTo>
                      <a:lnTo>
                        <a:pt x="40" y="2"/>
                      </a:lnTo>
                      <a:lnTo>
                        <a:pt x="40" y="2"/>
                      </a:lnTo>
                      <a:lnTo>
                        <a:pt x="38" y="2"/>
                      </a:lnTo>
                      <a:lnTo>
                        <a:pt x="35" y="2"/>
                      </a:lnTo>
                      <a:lnTo>
                        <a:pt x="28" y="2"/>
                      </a:lnTo>
                      <a:lnTo>
                        <a:pt x="24" y="2"/>
                      </a:lnTo>
                      <a:lnTo>
                        <a:pt x="19" y="5"/>
                      </a:lnTo>
                      <a:lnTo>
                        <a:pt x="19" y="2"/>
                      </a:lnTo>
                      <a:lnTo>
                        <a:pt x="19" y="5"/>
                      </a:lnTo>
                      <a:lnTo>
                        <a:pt x="16" y="5"/>
                      </a:lnTo>
                      <a:lnTo>
                        <a:pt x="16" y="7"/>
                      </a:lnTo>
                      <a:lnTo>
                        <a:pt x="12" y="7"/>
                      </a:lnTo>
                      <a:lnTo>
                        <a:pt x="12" y="7"/>
                      </a:lnTo>
                      <a:lnTo>
                        <a:pt x="7" y="12"/>
                      </a:lnTo>
                      <a:lnTo>
                        <a:pt x="7" y="12"/>
                      </a:lnTo>
                      <a:lnTo>
                        <a:pt x="7" y="14"/>
                      </a:lnTo>
                      <a:lnTo>
                        <a:pt x="5" y="16"/>
                      </a:lnTo>
                      <a:lnTo>
                        <a:pt x="2" y="19"/>
                      </a:lnTo>
                      <a:lnTo>
                        <a:pt x="2" y="19"/>
                      </a:lnTo>
                      <a:lnTo>
                        <a:pt x="2" y="19"/>
                      </a:lnTo>
                      <a:lnTo>
                        <a:pt x="2" y="19"/>
                      </a:lnTo>
                      <a:lnTo>
                        <a:pt x="0" y="26"/>
                      </a:lnTo>
                      <a:lnTo>
                        <a:pt x="2" y="28"/>
                      </a:lnTo>
                      <a:lnTo>
                        <a:pt x="5" y="28"/>
                      </a:lnTo>
                      <a:lnTo>
                        <a:pt x="7" y="28"/>
                      </a:lnTo>
                      <a:lnTo>
                        <a:pt x="12" y="31"/>
                      </a:lnTo>
                      <a:lnTo>
                        <a:pt x="12" y="31"/>
                      </a:lnTo>
                      <a:lnTo>
                        <a:pt x="9" y="28"/>
                      </a:lnTo>
                      <a:lnTo>
                        <a:pt x="12" y="28"/>
                      </a:lnTo>
                      <a:lnTo>
                        <a:pt x="12" y="28"/>
                      </a:lnTo>
                      <a:lnTo>
                        <a:pt x="14" y="31"/>
                      </a:lnTo>
                      <a:lnTo>
                        <a:pt x="16" y="33"/>
                      </a:lnTo>
                      <a:lnTo>
                        <a:pt x="21" y="33"/>
                      </a:lnTo>
                      <a:lnTo>
                        <a:pt x="21" y="31"/>
                      </a:lnTo>
                      <a:lnTo>
                        <a:pt x="21" y="28"/>
                      </a:lnTo>
                      <a:lnTo>
                        <a:pt x="21" y="28"/>
                      </a:lnTo>
                      <a:lnTo>
                        <a:pt x="24" y="28"/>
                      </a:lnTo>
                      <a:lnTo>
                        <a:pt x="24" y="31"/>
                      </a:lnTo>
                      <a:lnTo>
                        <a:pt x="26" y="31"/>
                      </a:lnTo>
                      <a:lnTo>
                        <a:pt x="26" y="28"/>
                      </a:lnTo>
                      <a:lnTo>
                        <a:pt x="26" y="31"/>
                      </a:lnTo>
                      <a:lnTo>
                        <a:pt x="26" y="31"/>
                      </a:lnTo>
                      <a:lnTo>
                        <a:pt x="26" y="33"/>
                      </a:lnTo>
                      <a:lnTo>
                        <a:pt x="26" y="33"/>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6" name="Freeform 181">
                  <a:extLst>
                    <a:ext uri="{FF2B5EF4-FFF2-40B4-BE49-F238E27FC236}">
                      <a16:creationId xmlns:a16="http://schemas.microsoft.com/office/drawing/2014/main" id="{CC9BF632-DE75-597F-7942-B00B9614C29F}"/>
                    </a:ext>
                  </a:extLst>
                </p:cNvPr>
                <p:cNvSpPr>
                  <a:spLocks/>
                </p:cNvSpPr>
                <p:nvPr/>
              </p:nvSpPr>
              <p:spPr bwMode="auto">
                <a:xfrm>
                  <a:off x="1646" y="2450"/>
                  <a:ext cx="29" cy="17"/>
                </a:xfrm>
                <a:custGeom>
                  <a:avLst/>
                  <a:gdLst>
                    <a:gd name="T0" fmla="*/ 10 w 29"/>
                    <a:gd name="T1" fmla="*/ 0 h 17"/>
                    <a:gd name="T2" fmla="*/ 12 w 29"/>
                    <a:gd name="T3" fmla="*/ 0 h 17"/>
                    <a:gd name="T4" fmla="*/ 12 w 29"/>
                    <a:gd name="T5" fmla="*/ 3 h 17"/>
                    <a:gd name="T6" fmla="*/ 14 w 29"/>
                    <a:gd name="T7" fmla="*/ 3 h 17"/>
                    <a:gd name="T8" fmla="*/ 14 w 29"/>
                    <a:gd name="T9" fmla="*/ 3 h 17"/>
                    <a:gd name="T10" fmla="*/ 17 w 29"/>
                    <a:gd name="T11" fmla="*/ 3 h 17"/>
                    <a:gd name="T12" fmla="*/ 19 w 29"/>
                    <a:gd name="T13" fmla="*/ 3 h 17"/>
                    <a:gd name="T14" fmla="*/ 21 w 29"/>
                    <a:gd name="T15" fmla="*/ 5 h 17"/>
                    <a:gd name="T16" fmla="*/ 21 w 29"/>
                    <a:gd name="T17" fmla="*/ 5 h 17"/>
                    <a:gd name="T18" fmla="*/ 21 w 29"/>
                    <a:gd name="T19" fmla="*/ 7 h 17"/>
                    <a:gd name="T20" fmla="*/ 24 w 29"/>
                    <a:gd name="T21" fmla="*/ 5 h 17"/>
                    <a:gd name="T22" fmla="*/ 24 w 29"/>
                    <a:gd name="T23" fmla="*/ 5 h 17"/>
                    <a:gd name="T24" fmla="*/ 26 w 29"/>
                    <a:gd name="T25" fmla="*/ 5 h 17"/>
                    <a:gd name="T26" fmla="*/ 26 w 29"/>
                    <a:gd name="T27" fmla="*/ 5 h 17"/>
                    <a:gd name="T28" fmla="*/ 29 w 29"/>
                    <a:gd name="T29" fmla="*/ 5 h 17"/>
                    <a:gd name="T30" fmla="*/ 29 w 29"/>
                    <a:gd name="T31" fmla="*/ 7 h 17"/>
                    <a:gd name="T32" fmla="*/ 26 w 29"/>
                    <a:gd name="T33" fmla="*/ 10 h 17"/>
                    <a:gd name="T34" fmla="*/ 29 w 29"/>
                    <a:gd name="T35" fmla="*/ 10 h 17"/>
                    <a:gd name="T36" fmla="*/ 26 w 29"/>
                    <a:gd name="T37" fmla="*/ 12 h 17"/>
                    <a:gd name="T38" fmla="*/ 26 w 29"/>
                    <a:gd name="T39" fmla="*/ 12 h 17"/>
                    <a:gd name="T40" fmla="*/ 26 w 29"/>
                    <a:gd name="T41" fmla="*/ 12 h 17"/>
                    <a:gd name="T42" fmla="*/ 26 w 29"/>
                    <a:gd name="T43" fmla="*/ 15 h 17"/>
                    <a:gd name="T44" fmla="*/ 26 w 29"/>
                    <a:gd name="T45" fmla="*/ 17 h 17"/>
                    <a:gd name="T46" fmla="*/ 21 w 29"/>
                    <a:gd name="T47" fmla="*/ 17 h 17"/>
                    <a:gd name="T48" fmla="*/ 19 w 29"/>
                    <a:gd name="T49" fmla="*/ 15 h 17"/>
                    <a:gd name="T50" fmla="*/ 17 w 29"/>
                    <a:gd name="T51" fmla="*/ 12 h 17"/>
                    <a:gd name="T52" fmla="*/ 17 w 29"/>
                    <a:gd name="T53" fmla="*/ 12 h 17"/>
                    <a:gd name="T54" fmla="*/ 14 w 29"/>
                    <a:gd name="T55" fmla="*/ 12 h 17"/>
                    <a:gd name="T56" fmla="*/ 17 w 29"/>
                    <a:gd name="T57" fmla="*/ 15 h 17"/>
                    <a:gd name="T58" fmla="*/ 17 w 29"/>
                    <a:gd name="T59" fmla="*/ 15 h 17"/>
                    <a:gd name="T60" fmla="*/ 12 w 29"/>
                    <a:gd name="T61" fmla="*/ 12 h 17"/>
                    <a:gd name="T62" fmla="*/ 10 w 29"/>
                    <a:gd name="T63" fmla="*/ 12 h 17"/>
                    <a:gd name="T64" fmla="*/ 7 w 29"/>
                    <a:gd name="T65" fmla="*/ 12 h 17"/>
                    <a:gd name="T66" fmla="*/ 5 w 29"/>
                    <a:gd name="T67" fmla="*/ 12 h 17"/>
                    <a:gd name="T68" fmla="*/ 2 w 29"/>
                    <a:gd name="T69" fmla="*/ 10 h 17"/>
                    <a:gd name="T70" fmla="*/ 0 w 29"/>
                    <a:gd name="T71" fmla="*/ 10 h 17"/>
                    <a:gd name="T72" fmla="*/ 0 w 29"/>
                    <a:gd name="T73" fmla="*/ 10 h 17"/>
                    <a:gd name="T74" fmla="*/ 0 w 29"/>
                    <a:gd name="T75" fmla="*/ 7 h 17"/>
                    <a:gd name="T76" fmla="*/ 0 w 29"/>
                    <a:gd name="T77" fmla="*/ 7 h 17"/>
                    <a:gd name="T78" fmla="*/ 2 w 29"/>
                    <a:gd name="T79" fmla="*/ 5 h 17"/>
                    <a:gd name="T80" fmla="*/ 5 w 29"/>
                    <a:gd name="T81" fmla="*/ 5 h 17"/>
                    <a:gd name="T82" fmla="*/ 7 w 29"/>
                    <a:gd name="T83" fmla="*/ 3 h 17"/>
                    <a:gd name="T84" fmla="*/ 7 w 29"/>
                    <a:gd name="T85" fmla="*/ 3 h 17"/>
                    <a:gd name="T86" fmla="*/ 10 w 29"/>
                    <a:gd name="T8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9" h="17">
                      <a:moveTo>
                        <a:pt x="10" y="0"/>
                      </a:moveTo>
                      <a:lnTo>
                        <a:pt x="12" y="0"/>
                      </a:lnTo>
                      <a:lnTo>
                        <a:pt x="12" y="3"/>
                      </a:lnTo>
                      <a:lnTo>
                        <a:pt x="14" y="3"/>
                      </a:lnTo>
                      <a:lnTo>
                        <a:pt x="14" y="3"/>
                      </a:lnTo>
                      <a:lnTo>
                        <a:pt x="17" y="3"/>
                      </a:lnTo>
                      <a:lnTo>
                        <a:pt x="19" y="3"/>
                      </a:lnTo>
                      <a:lnTo>
                        <a:pt x="21" y="5"/>
                      </a:lnTo>
                      <a:lnTo>
                        <a:pt x="21" y="5"/>
                      </a:lnTo>
                      <a:lnTo>
                        <a:pt x="21" y="7"/>
                      </a:lnTo>
                      <a:lnTo>
                        <a:pt x="24" y="5"/>
                      </a:lnTo>
                      <a:lnTo>
                        <a:pt x="24" y="5"/>
                      </a:lnTo>
                      <a:lnTo>
                        <a:pt x="26" y="5"/>
                      </a:lnTo>
                      <a:lnTo>
                        <a:pt x="26" y="5"/>
                      </a:lnTo>
                      <a:lnTo>
                        <a:pt x="29" y="5"/>
                      </a:lnTo>
                      <a:lnTo>
                        <a:pt x="29" y="7"/>
                      </a:lnTo>
                      <a:lnTo>
                        <a:pt x="26" y="10"/>
                      </a:lnTo>
                      <a:lnTo>
                        <a:pt x="29" y="10"/>
                      </a:lnTo>
                      <a:lnTo>
                        <a:pt x="26" y="12"/>
                      </a:lnTo>
                      <a:lnTo>
                        <a:pt x="26" y="12"/>
                      </a:lnTo>
                      <a:lnTo>
                        <a:pt x="26" y="12"/>
                      </a:lnTo>
                      <a:lnTo>
                        <a:pt x="26" y="15"/>
                      </a:lnTo>
                      <a:lnTo>
                        <a:pt x="26" y="17"/>
                      </a:lnTo>
                      <a:lnTo>
                        <a:pt x="21" y="17"/>
                      </a:lnTo>
                      <a:lnTo>
                        <a:pt x="19" y="15"/>
                      </a:lnTo>
                      <a:lnTo>
                        <a:pt x="17" y="12"/>
                      </a:lnTo>
                      <a:lnTo>
                        <a:pt x="17" y="12"/>
                      </a:lnTo>
                      <a:lnTo>
                        <a:pt x="14" y="12"/>
                      </a:lnTo>
                      <a:lnTo>
                        <a:pt x="17" y="15"/>
                      </a:lnTo>
                      <a:lnTo>
                        <a:pt x="17" y="15"/>
                      </a:lnTo>
                      <a:lnTo>
                        <a:pt x="12" y="12"/>
                      </a:lnTo>
                      <a:lnTo>
                        <a:pt x="10" y="12"/>
                      </a:lnTo>
                      <a:lnTo>
                        <a:pt x="7" y="12"/>
                      </a:lnTo>
                      <a:lnTo>
                        <a:pt x="5" y="12"/>
                      </a:lnTo>
                      <a:lnTo>
                        <a:pt x="2" y="10"/>
                      </a:lnTo>
                      <a:lnTo>
                        <a:pt x="0" y="10"/>
                      </a:lnTo>
                      <a:lnTo>
                        <a:pt x="0" y="10"/>
                      </a:lnTo>
                      <a:lnTo>
                        <a:pt x="0" y="7"/>
                      </a:lnTo>
                      <a:lnTo>
                        <a:pt x="0" y="7"/>
                      </a:lnTo>
                      <a:lnTo>
                        <a:pt x="2" y="5"/>
                      </a:lnTo>
                      <a:lnTo>
                        <a:pt x="5" y="5"/>
                      </a:lnTo>
                      <a:lnTo>
                        <a:pt x="7" y="3"/>
                      </a:lnTo>
                      <a:lnTo>
                        <a:pt x="7" y="3"/>
                      </a:lnTo>
                      <a:lnTo>
                        <a:pt x="10" y="0"/>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 name="Freeform 182">
                  <a:extLst>
                    <a:ext uri="{FF2B5EF4-FFF2-40B4-BE49-F238E27FC236}">
                      <a16:creationId xmlns:a16="http://schemas.microsoft.com/office/drawing/2014/main" id="{02B2FE6E-36CA-FBF3-0A29-3B0BA713EF80}"/>
                    </a:ext>
                  </a:extLst>
                </p:cNvPr>
                <p:cNvSpPr>
                  <a:spLocks/>
                </p:cNvSpPr>
                <p:nvPr/>
              </p:nvSpPr>
              <p:spPr bwMode="auto">
                <a:xfrm>
                  <a:off x="1658" y="2408"/>
                  <a:ext cx="14" cy="26"/>
                </a:xfrm>
                <a:custGeom>
                  <a:avLst/>
                  <a:gdLst>
                    <a:gd name="T0" fmla="*/ 0 w 14"/>
                    <a:gd name="T1" fmla="*/ 7 h 26"/>
                    <a:gd name="T2" fmla="*/ 0 w 14"/>
                    <a:gd name="T3" fmla="*/ 7 h 26"/>
                    <a:gd name="T4" fmla="*/ 0 w 14"/>
                    <a:gd name="T5" fmla="*/ 7 h 26"/>
                    <a:gd name="T6" fmla="*/ 2 w 14"/>
                    <a:gd name="T7" fmla="*/ 4 h 26"/>
                    <a:gd name="T8" fmla="*/ 5 w 14"/>
                    <a:gd name="T9" fmla="*/ 4 h 26"/>
                    <a:gd name="T10" fmla="*/ 5 w 14"/>
                    <a:gd name="T11" fmla="*/ 7 h 26"/>
                    <a:gd name="T12" fmla="*/ 5 w 14"/>
                    <a:gd name="T13" fmla="*/ 7 h 26"/>
                    <a:gd name="T14" fmla="*/ 5 w 14"/>
                    <a:gd name="T15" fmla="*/ 7 h 26"/>
                    <a:gd name="T16" fmla="*/ 5 w 14"/>
                    <a:gd name="T17" fmla="*/ 4 h 26"/>
                    <a:gd name="T18" fmla="*/ 5 w 14"/>
                    <a:gd name="T19" fmla="*/ 4 h 26"/>
                    <a:gd name="T20" fmla="*/ 7 w 14"/>
                    <a:gd name="T21" fmla="*/ 4 h 26"/>
                    <a:gd name="T22" fmla="*/ 7 w 14"/>
                    <a:gd name="T23" fmla="*/ 2 h 26"/>
                    <a:gd name="T24" fmla="*/ 7 w 14"/>
                    <a:gd name="T25" fmla="*/ 2 h 26"/>
                    <a:gd name="T26" fmla="*/ 9 w 14"/>
                    <a:gd name="T27" fmla="*/ 0 h 26"/>
                    <a:gd name="T28" fmla="*/ 9 w 14"/>
                    <a:gd name="T29" fmla="*/ 0 h 26"/>
                    <a:gd name="T30" fmla="*/ 12 w 14"/>
                    <a:gd name="T31" fmla="*/ 2 h 26"/>
                    <a:gd name="T32" fmla="*/ 12 w 14"/>
                    <a:gd name="T33" fmla="*/ 0 h 26"/>
                    <a:gd name="T34" fmla="*/ 14 w 14"/>
                    <a:gd name="T35" fmla="*/ 0 h 26"/>
                    <a:gd name="T36" fmla="*/ 14 w 14"/>
                    <a:gd name="T37" fmla="*/ 2 h 26"/>
                    <a:gd name="T38" fmla="*/ 14 w 14"/>
                    <a:gd name="T39" fmla="*/ 2 h 26"/>
                    <a:gd name="T40" fmla="*/ 12 w 14"/>
                    <a:gd name="T41" fmla="*/ 7 h 26"/>
                    <a:gd name="T42" fmla="*/ 12 w 14"/>
                    <a:gd name="T43" fmla="*/ 9 h 26"/>
                    <a:gd name="T44" fmla="*/ 12 w 14"/>
                    <a:gd name="T45" fmla="*/ 12 h 26"/>
                    <a:gd name="T46" fmla="*/ 12 w 14"/>
                    <a:gd name="T47" fmla="*/ 14 h 26"/>
                    <a:gd name="T48" fmla="*/ 12 w 14"/>
                    <a:gd name="T49" fmla="*/ 16 h 26"/>
                    <a:gd name="T50" fmla="*/ 12 w 14"/>
                    <a:gd name="T51" fmla="*/ 21 h 26"/>
                    <a:gd name="T52" fmla="*/ 7 w 14"/>
                    <a:gd name="T53" fmla="*/ 23 h 26"/>
                    <a:gd name="T54" fmla="*/ 7 w 14"/>
                    <a:gd name="T55" fmla="*/ 23 h 26"/>
                    <a:gd name="T56" fmla="*/ 5 w 14"/>
                    <a:gd name="T57" fmla="*/ 26 h 26"/>
                    <a:gd name="T58" fmla="*/ 5 w 14"/>
                    <a:gd name="T59" fmla="*/ 26 h 26"/>
                    <a:gd name="T60" fmla="*/ 5 w 14"/>
                    <a:gd name="T61" fmla="*/ 26 h 26"/>
                    <a:gd name="T62" fmla="*/ 2 w 14"/>
                    <a:gd name="T63" fmla="*/ 26 h 26"/>
                    <a:gd name="T64" fmla="*/ 2 w 14"/>
                    <a:gd name="T65" fmla="*/ 26 h 26"/>
                    <a:gd name="T66" fmla="*/ 0 w 14"/>
                    <a:gd name="T67" fmla="*/ 26 h 26"/>
                    <a:gd name="T68" fmla="*/ 0 w 14"/>
                    <a:gd name="T69" fmla="*/ 7 h 26"/>
                    <a:gd name="T70" fmla="*/ 0 w 14"/>
                    <a:gd name="T71" fmla="*/ 7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 h="26">
                      <a:moveTo>
                        <a:pt x="0" y="7"/>
                      </a:moveTo>
                      <a:lnTo>
                        <a:pt x="0" y="7"/>
                      </a:lnTo>
                      <a:lnTo>
                        <a:pt x="0" y="7"/>
                      </a:lnTo>
                      <a:lnTo>
                        <a:pt x="2" y="4"/>
                      </a:lnTo>
                      <a:lnTo>
                        <a:pt x="5" y="4"/>
                      </a:lnTo>
                      <a:lnTo>
                        <a:pt x="5" y="7"/>
                      </a:lnTo>
                      <a:lnTo>
                        <a:pt x="5" y="7"/>
                      </a:lnTo>
                      <a:lnTo>
                        <a:pt x="5" y="7"/>
                      </a:lnTo>
                      <a:lnTo>
                        <a:pt x="5" y="4"/>
                      </a:lnTo>
                      <a:lnTo>
                        <a:pt x="5" y="4"/>
                      </a:lnTo>
                      <a:lnTo>
                        <a:pt x="7" y="4"/>
                      </a:lnTo>
                      <a:lnTo>
                        <a:pt x="7" y="2"/>
                      </a:lnTo>
                      <a:lnTo>
                        <a:pt x="7" y="2"/>
                      </a:lnTo>
                      <a:lnTo>
                        <a:pt x="9" y="0"/>
                      </a:lnTo>
                      <a:lnTo>
                        <a:pt x="9" y="0"/>
                      </a:lnTo>
                      <a:lnTo>
                        <a:pt x="12" y="2"/>
                      </a:lnTo>
                      <a:lnTo>
                        <a:pt x="12" y="0"/>
                      </a:lnTo>
                      <a:lnTo>
                        <a:pt x="14" y="0"/>
                      </a:lnTo>
                      <a:lnTo>
                        <a:pt x="14" y="2"/>
                      </a:lnTo>
                      <a:lnTo>
                        <a:pt x="14" y="2"/>
                      </a:lnTo>
                      <a:lnTo>
                        <a:pt x="12" y="7"/>
                      </a:lnTo>
                      <a:lnTo>
                        <a:pt x="12" y="9"/>
                      </a:lnTo>
                      <a:lnTo>
                        <a:pt x="12" y="12"/>
                      </a:lnTo>
                      <a:lnTo>
                        <a:pt x="12" y="14"/>
                      </a:lnTo>
                      <a:lnTo>
                        <a:pt x="12" y="16"/>
                      </a:lnTo>
                      <a:lnTo>
                        <a:pt x="12" y="21"/>
                      </a:lnTo>
                      <a:lnTo>
                        <a:pt x="7" y="23"/>
                      </a:lnTo>
                      <a:lnTo>
                        <a:pt x="7" y="23"/>
                      </a:lnTo>
                      <a:lnTo>
                        <a:pt x="5" y="26"/>
                      </a:lnTo>
                      <a:lnTo>
                        <a:pt x="5" y="26"/>
                      </a:lnTo>
                      <a:lnTo>
                        <a:pt x="5" y="26"/>
                      </a:lnTo>
                      <a:lnTo>
                        <a:pt x="2" y="26"/>
                      </a:lnTo>
                      <a:lnTo>
                        <a:pt x="2" y="26"/>
                      </a:lnTo>
                      <a:lnTo>
                        <a:pt x="0" y="26"/>
                      </a:lnTo>
                      <a:lnTo>
                        <a:pt x="0" y="7"/>
                      </a:lnTo>
                      <a:lnTo>
                        <a:pt x="0" y="7"/>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8" name="Freeform 183">
                  <a:extLst>
                    <a:ext uri="{FF2B5EF4-FFF2-40B4-BE49-F238E27FC236}">
                      <a16:creationId xmlns:a16="http://schemas.microsoft.com/office/drawing/2014/main" id="{93225A82-5B36-D8FB-4E1F-B1A09D97EB99}"/>
                    </a:ext>
                  </a:extLst>
                </p:cNvPr>
                <p:cNvSpPr>
                  <a:spLocks/>
                </p:cNvSpPr>
                <p:nvPr/>
              </p:nvSpPr>
              <p:spPr bwMode="auto">
                <a:xfrm>
                  <a:off x="1622" y="2415"/>
                  <a:ext cx="48" cy="45"/>
                </a:xfrm>
                <a:custGeom>
                  <a:avLst/>
                  <a:gdLst>
                    <a:gd name="T0" fmla="*/ 24 w 48"/>
                    <a:gd name="T1" fmla="*/ 45 h 45"/>
                    <a:gd name="T2" fmla="*/ 24 w 48"/>
                    <a:gd name="T3" fmla="*/ 42 h 45"/>
                    <a:gd name="T4" fmla="*/ 24 w 48"/>
                    <a:gd name="T5" fmla="*/ 42 h 45"/>
                    <a:gd name="T6" fmla="*/ 26 w 48"/>
                    <a:gd name="T7" fmla="*/ 40 h 45"/>
                    <a:gd name="T8" fmla="*/ 29 w 48"/>
                    <a:gd name="T9" fmla="*/ 40 h 45"/>
                    <a:gd name="T10" fmla="*/ 31 w 48"/>
                    <a:gd name="T11" fmla="*/ 38 h 45"/>
                    <a:gd name="T12" fmla="*/ 31 w 48"/>
                    <a:gd name="T13" fmla="*/ 38 h 45"/>
                    <a:gd name="T14" fmla="*/ 34 w 48"/>
                    <a:gd name="T15" fmla="*/ 35 h 45"/>
                    <a:gd name="T16" fmla="*/ 36 w 48"/>
                    <a:gd name="T17" fmla="*/ 33 h 45"/>
                    <a:gd name="T18" fmla="*/ 36 w 48"/>
                    <a:gd name="T19" fmla="*/ 31 h 45"/>
                    <a:gd name="T20" fmla="*/ 36 w 48"/>
                    <a:gd name="T21" fmla="*/ 31 h 45"/>
                    <a:gd name="T22" fmla="*/ 41 w 48"/>
                    <a:gd name="T23" fmla="*/ 26 h 45"/>
                    <a:gd name="T24" fmla="*/ 41 w 48"/>
                    <a:gd name="T25" fmla="*/ 26 h 45"/>
                    <a:gd name="T26" fmla="*/ 45 w 48"/>
                    <a:gd name="T27" fmla="*/ 26 h 45"/>
                    <a:gd name="T28" fmla="*/ 45 w 48"/>
                    <a:gd name="T29" fmla="*/ 24 h 45"/>
                    <a:gd name="T30" fmla="*/ 48 w 48"/>
                    <a:gd name="T31" fmla="*/ 24 h 45"/>
                    <a:gd name="T32" fmla="*/ 48 w 48"/>
                    <a:gd name="T33" fmla="*/ 21 h 45"/>
                    <a:gd name="T34" fmla="*/ 45 w 48"/>
                    <a:gd name="T35" fmla="*/ 21 h 45"/>
                    <a:gd name="T36" fmla="*/ 45 w 48"/>
                    <a:gd name="T37" fmla="*/ 21 h 45"/>
                    <a:gd name="T38" fmla="*/ 43 w 48"/>
                    <a:gd name="T39" fmla="*/ 21 h 45"/>
                    <a:gd name="T40" fmla="*/ 43 w 48"/>
                    <a:gd name="T41" fmla="*/ 21 h 45"/>
                    <a:gd name="T42" fmla="*/ 41 w 48"/>
                    <a:gd name="T43" fmla="*/ 21 h 45"/>
                    <a:gd name="T44" fmla="*/ 41 w 48"/>
                    <a:gd name="T45" fmla="*/ 19 h 45"/>
                    <a:gd name="T46" fmla="*/ 38 w 48"/>
                    <a:gd name="T47" fmla="*/ 19 h 45"/>
                    <a:gd name="T48" fmla="*/ 38 w 48"/>
                    <a:gd name="T49" fmla="*/ 19 h 45"/>
                    <a:gd name="T50" fmla="*/ 36 w 48"/>
                    <a:gd name="T51" fmla="*/ 19 h 45"/>
                    <a:gd name="T52" fmla="*/ 36 w 48"/>
                    <a:gd name="T53" fmla="*/ 0 h 45"/>
                    <a:gd name="T54" fmla="*/ 36 w 48"/>
                    <a:gd name="T55" fmla="*/ 0 h 45"/>
                    <a:gd name="T56" fmla="*/ 17 w 48"/>
                    <a:gd name="T57" fmla="*/ 0 h 45"/>
                    <a:gd name="T58" fmla="*/ 17 w 48"/>
                    <a:gd name="T59" fmla="*/ 5 h 45"/>
                    <a:gd name="T60" fmla="*/ 12 w 48"/>
                    <a:gd name="T61" fmla="*/ 5 h 45"/>
                    <a:gd name="T62" fmla="*/ 12 w 48"/>
                    <a:gd name="T63" fmla="*/ 7 h 45"/>
                    <a:gd name="T64" fmla="*/ 15 w 48"/>
                    <a:gd name="T65" fmla="*/ 7 h 45"/>
                    <a:gd name="T66" fmla="*/ 15 w 48"/>
                    <a:gd name="T67" fmla="*/ 9 h 45"/>
                    <a:gd name="T68" fmla="*/ 17 w 48"/>
                    <a:gd name="T69" fmla="*/ 12 h 45"/>
                    <a:gd name="T70" fmla="*/ 19 w 48"/>
                    <a:gd name="T71" fmla="*/ 12 h 45"/>
                    <a:gd name="T72" fmla="*/ 19 w 48"/>
                    <a:gd name="T73" fmla="*/ 12 h 45"/>
                    <a:gd name="T74" fmla="*/ 19 w 48"/>
                    <a:gd name="T75" fmla="*/ 14 h 45"/>
                    <a:gd name="T76" fmla="*/ 22 w 48"/>
                    <a:gd name="T77" fmla="*/ 14 h 45"/>
                    <a:gd name="T78" fmla="*/ 22 w 48"/>
                    <a:gd name="T79" fmla="*/ 14 h 45"/>
                    <a:gd name="T80" fmla="*/ 24 w 48"/>
                    <a:gd name="T81" fmla="*/ 16 h 45"/>
                    <a:gd name="T82" fmla="*/ 24 w 48"/>
                    <a:gd name="T83" fmla="*/ 16 h 45"/>
                    <a:gd name="T84" fmla="*/ 22 w 48"/>
                    <a:gd name="T85" fmla="*/ 19 h 45"/>
                    <a:gd name="T86" fmla="*/ 8 w 48"/>
                    <a:gd name="T87" fmla="*/ 19 h 45"/>
                    <a:gd name="T88" fmla="*/ 0 w 48"/>
                    <a:gd name="T89" fmla="*/ 28 h 45"/>
                    <a:gd name="T90" fmla="*/ 3 w 48"/>
                    <a:gd name="T91" fmla="*/ 31 h 45"/>
                    <a:gd name="T92" fmla="*/ 3 w 48"/>
                    <a:gd name="T93" fmla="*/ 31 h 45"/>
                    <a:gd name="T94" fmla="*/ 3 w 48"/>
                    <a:gd name="T95" fmla="*/ 31 h 45"/>
                    <a:gd name="T96" fmla="*/ 3 w 48"/>
                    <a:gd name="T97" fmla="*/ 33 h 45"/>
                    <a:gd name="T98" fmla="*/ 3 w 48"/>
                    <a:gd name="T99" fmla="*/ 33 h 45"/>
                    <a:gd name="T100" fmla="*/ 3 w 48"/>
                    <a:gd name="T101" fmla="*/ 33 h 45"/>
                    <a:gd name="T102" fmla="*/ 0 w 48"/>
                    <a:gd name="T103" fmla="*/ 33 h 45"/>
                    <a:gd name="T104" fmla="*/ 0 w 48"/>
                    <a:gd name="T105" fmla="*/ 35 h 45"/>
                    <a:gd name="T106" fmla="*/ 0 w 48"/>
                    <a:gd name="T107" fmla="*/ 35 h 45"/>
                    <a:gd name="T108" fmla="*/ 3 w 48"/>
                    <a:gd name="T109" fmla="*/ 38 h 45"/>
                    <a:gd name="T110" fmla="*/ 3 w 48"/>
                    <a:gd name="T111" fmla="*/ 40 h 45"/>
                    <a:gd name="T112" fmla="*/ 5 w 48"/>
                    <a:gd name="T113" fmla="*/ 40 h 45"/>
                    <a:gd name="T114" fmla="*/ 8 w 48"/>
                    <a:gd name="T115" fmla="*/ 40 h 45"/>
                    <a:gd name="T116" fmla="*/ 12 w 48"/>
                    <a:gd name="T117" fmla="*/ 42 h 45"/>
                    <a:gd name="T118" fmla="*/ 17 w 48"/>
                    <a:gd name="T119" fmla="*/ 42 h 45"/>
                    <a:gd name="T120" fmla="*/ 19 w 48"/>
                    <a:gd name="T121" fmla="*/ 42 h 45"/>
                    <a:gd name="T122" fmla="*/ 24 w 48"/>
                    <a:gd name="T123"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8" h="45">
                      <a:moveTo>
                        <a:pt x="24" y="45"/>
                      </a:moveTo>
                      <a:lnTo>
                        <a:pt x="24" y="42"/>
                      </a:lnTo>
                      <a:lnTo>
                        <a:pt x="24" y="42"/>
                      </a:lnTo>
                      <a:lnTo>
                        <a:pt x="26" y="40"/>
                      </a:lnTo>
                      <a:lnTo>
                        <a:pt x="29" y="40"/>
                      </a:lnTo>
                      <a:lnTo>
                        <a:pt x="31" y="38"/>
                      </a:lnTo>
                      <a:lnTo>
                        <a:pt x="31" y="38"/>
                      </a:lnTo>
                      <a:lnTo>
                        <a:pt x="34" y="35"/>
                      </a:lnTo>
                      <a:lnTo>
                        <a:pt x="36" y="33"/>
                      </a:lnTo>
                      <a:lnTo>
                        <a:pt x="36" y="31"/>
                      </a:lnTo>
                      <a:lnTo>
                        <a:pt x="36" y="31"/>
                      </a:lnTo>
                      <a:lnTo>
                        <a:pt x="41" y="26"/>
                      </a:lnTo>
                      <a:lnTo>
                        <a:pt x="41" y="26"/>
                      </a:lnTo>
                      <a:lnTo>
                        <a:pt x="45" y="26"/>
                      </a:lnTo>
                      <a:lnTo>
                        <a:pt x="45" y="24"/>
                      </a:lnTo>
                      <a:lnTo>
                        <a:pt x="48" y="24"/>
                      </a:lnTo>
                      <a:lnTo>
                        <a:pt x="48" y="21"/>
                      </a:lnTo>
                      <a:lnTo>
                        <a:pt x="45" y="21"/>
                      </a:lnTo>
                      <a:lnTo>
                        <a:pt x="45" y="21"/>
                      </a:lnTo>
                      <a:lnTo>
                        <a:pt x="43" y="21"/>
                      </a:lnTo>
                      <a:lnTo>
                        <a:pt x="43" y="21"/>
                      </a:lnTo>
                      <a:lnTo>
                        <a:pt x="41" y="21"/>
                      </a:lnTo>
                      <a:lnTo>
                        <a:pt x="41" y="19"/>
                      </a:lnTo>
                      <a:lnTo>
                        <a:pt x="38" y="19"/>
                      </a:lnTo>
                      <a:lnTo>
                        <a:pt x="38" y="19"/>
                      </a:lnTo>
                      <a:lnTo>
                        <a:pt x="36" y="19"/>
                      </a:lnTo>
                      <a:lnTo>
                        <a:pt x="36" y="0"/>
                      </a:lnTo>
                      <a:lnTo>
                        <a:pt x="36" y="0"/>
                      </a:lnTo>
                      <a:lnTo>
                        <a:pt x="17" y="0"/>
                      </a:lnTo>
                      <a:lnTo>
                        <a:pt x="17" y="5"/>
                      </a:lnTo>
                      <a:lnTo>
                        <a:pt x="12" y="5"/>
                      </a:lnTo>
                      <a:lnTo>
                        <a:pt x="12" y="7"/>
                      </a:lnTo>
                      <a:lnTo>
                        <a:pt x="15" y="7"/>
                      </a:lnTo>
                      <a:lnTo>
                        <a:pt x="15" y="9"/>
                      </a:lnTo>
                      <a:lnTo>
                        <a:pt x="17" y="12"/>
                      </a:lnTo>
                      <a:lnTo>
                        <a:pt x="19" y="12"/>
                      </a:lnTo>
                      <a:lnTo>
                        <a:pt x="19" y="12"/>
                      </a:lnTo>
                      <a:lnTo>
                        <a:pt x="19" y="14"/>
                      </a:lnTo>
                      <a:lnTo>
                        <a:pt x="22" y="14"/>
                      </a:lnTo>
                      <a:lnTo>
                        <a:pt x="22" y="14"/>
                      </a:lnTo>
                      <a:lnTo>
                        <a:pt x="24" y="16"/>
                      </a:lnTo>
                      <a:lnTo>
                        <a:pt x="24" y="16"/>
                      </a:lnTo>
                      <a:lnTo>
                        <a:pt x="22" y="19"/>
                      </a:lnTo>
                      <a:lnTo>
                        <a:pt x="8" y="19"/>
                      </a:lnTo>
                      <a:lnTo>
                        <a:pt x="0" y="28"/>
                      </a:lnTo>
                      <a:lnTo>
                        <a:pt x="3" y="31"/>
                      </a:lnTo>
                      <a:lnTo>
                        <a:pt x="3" y="31"/>
                      </a:lnTo>
                      <a:lnTo>
                        <a:pt x="3" y="31"/>
                      </a:lnTo>
                      <a:lnTo>
                        <a:pt x="3" y="33"/>
                      </a:lnTo>
                      <a:lnTo>
                        <a:pt x="3" y="33"/>
                      </a:lnTo>
                      <a:lnTo>
                        <a:pt x="3" y="33"/>
                      </a:lnTo>
                      <a:lnTo>
                        <a:pt x="0" y="33"/>
                      </a:lnTo>
                      <a:lnTo>
                        <a:pt x="0" y="35"/>
                      </a:lnTo>
                      <a:lnTo>
                        <a:pt x="0" y="35"/>
                      </a:lnTo>
                      <a:lnTo>
                        <a:pt x="3" y="38"/>
                      </a:lnTo>
                      <a:lnTo>
                        <a:pt x="3" y="40"/>
                      </a:lnTo>
                      <a:lnTo>
                        <a:pt x="5" y="40"/>
                      </a:lnTo>
                      <a:lnTo>
                        <a:pt x="8" y="40"/>
                      </a:lnTo>
                      <a:lnTo>
                        <a:pt x="12" y="42"/>
                      </a:lnTo>
                      <a:lnTo>
                        <a:pt x="17" y="42"/>
                      </a:lnTo>
                      <a:lnTo>
                        <a:pt x="19" y="42"/>
                      </a:lnTo>
                      <a:lnTo>
                        <a:pt x="24" y="45"/>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9" name="Freeform 184">
                  <a:extLst>
                    <a:ext uri="{FF2B5EF4-FFF2-40B4-BE49-F238E27FC236}">
                      <a16:creationId xmlns:a16="http://schemas.microsoft.com/office/drawing/2014/main" id="{90CFE3D4-2F5F-72FD-0E06-42713EE83F8D}"/>
                    </a:ext>
                  </a:extLst>
                </p:cNvPr>
                <p:cNvSpPr>
                  <a:spLocks noEditPoints="1"/>
                </p:cNvSpPr>
                <p:nvPr/>
              </p:nvSpPr>
              <p:spPr bwMode="auto">
                <a:xfrm>
                  <a:off x="1367" y="2232"/>
                  <a:ext cx="324" cy="218"/>
                </a:xfrm>
                <a:custGeom>
                  <a:avLst/>
                  <a:gdLst>
                    <a:gd name="T0" fmla="*/ 123 w 324"/>
                    <a:gd name="T1" fmla="*/ 22 h 218"/>
                    <a:gd name="T2" fmla="*/ 130 w 324"/>
                    <a:gd name="T3" fmla="*/ 31 h 218"/>
                    <a:gd name="T4" fmla="*/ 135 w 324"/>
                    <a:gd name="T5" fmla="*/ 43 h 218"/>
                    <a:gd name="T6" fmla="*/ 144 w 324"/>
                    <a:gd name="T7" fmla="*/ 50 h 218"/>
                    <a:gd name="T8" fmla="*/ 154 w 324"/>
                    <a:gd name="T9" fmla="*/ 48 h 218"/>
                    <a:gd name="T10" fmla="*/ 168 w 324"/>
                    <a:gd name="T11" fmla="*/ 43 h 218"/>
                    <a:gd name="T12" fmla="*/ 180 w 324"/>
                    <a:gd name="T13" fmla="*/ 57 h 218"/>
                    <a:gd name="T14" fmla="*/ 189 w 324"/>
                    <a:gd name="T15" fmla="*/ 74 h 218"/>
                    <a:gd name="T16" fmla="*/ 203 w 324"/>
                    <a:gd name="T17" fmla="*/ 88 h 218"/>
                    <a:gd name="T18" fmla="*/ 211 w 324"/>
                    <a:gd name="T19" fmla="*/ 93 h 218"/>
                    <a:gd name="T20" fmla="*/ 206 w 324"/>
                    <a:gd name="T21" fmla="*/ 102 h 218"/>
                    <a:gd name="T22" fmla="*/ 201 w 324"/>
                    <a:gd name="T23" fmla="*/ 128 h 218"/>
                    <a:gd name="T24" fmla="*/ 203 w 324"/>
                    <a:gd name="T25" fmla="*/ 145 h 218"/>
                    <a:gd name="T26" fmla="*/ 222 w 324"/>
                    <a:gd name="T27" fmla="*/ 171 h 218"/>
                    <a:gd name="T28" fmla="*/ 246 w 324"/>
                    <a:gd name="T29" fmla="*/ 176 h 218"/>
                    <a:gd name="T30" fmla="*/ 265 w 324"/>
                    <a:gd name="T31" fmla="*/ 178 h 218"/>
                    <a:gd name="T32" fmla="*/ 277 w 324"/>
                    <a:gd name="T33" fmla="*/ 161 h 218"/>
                    <a:gd name="T34" fmla="*/ 305 w 324"/>
                    <a:gd name="T35" fmla="*/ 143 h 218"/>
                    <a:gd name="T36" fmla="*/ 319 w 324"/>
                    <a:gd name="T37" fmla="*/ 152 h 218"/>
                    <a:gd name="T38" fmla="*/ 312 w 324"/>
                    <a:gd name="T39" fmla="*/ 169 h 218"/>
                    <a:gd name="T40" fmla="*/ 308 w 324"/>
                    <a:gd name="T41" fmla="*/ 171 h 218"/>
                    <a:gd name="T42" fmla="*/ 296 w 324"/>
                    <a:gd name="T43" fmla="*/ 183 h 218"/>
                    <a:gd name="T44" fmla="*/ 270 w 324"/>
                    <a:gd name="T45" fmla="*/ 190 h 218"/>
                    <a:gd name="T46" fmla="*/ 263 w 324"/>
                    <a:gd name="T47" fmla="*/ 202 h 218"/>
                    <a:gd name="T48" fmla="*/ 253 w 324"/>
                    <a:gd name="T49" fmla="*/ 216 h 218"/>
                    <a:gd name="T50" fmla="*/ 232 w 324"/>
                    <a:gd name="T51" fmla="*/ 199 h 218"/>
                    <a:gd name="T52" fmla="*/ 229 w 324"/>
                    <a:gd name="T53" fmla="*/ 199 h 218"/>
                    <a:gd name="T54" fmla="*/ 227 w 324"/>
                    <a:gd name="T55" fmla="*/ 202 h 218"/>
                    <a:gd name="T56" fmla="*/ 189 w 324"/>
                    <a:gd name="T57" fmla="*/ 199 h 218"/>
                    <a:gd name="T58" fmla="*/ 163 w 324"/>
                    <a:gd name="T59" fmla="*/ 192 h 218"/>
                    <a:gd name="T60" fmla="*/ 137 w 324"/>
                    <a:gd name="T61" fmla="*/ 178 h 218"/>
                    <a:gd name="T62" fmla="*/ 118 w 324"/>
                    <a:gd name="T63" fmla="*/ 166 h 218"/>
                    <a:gd name="T64" fmla="*/ 114 w 324"/>
                    <a:gd name="T65" fmla="*/ 152 h 218"/>
                    <a:gd name="T66" fmla="*/ 111 w 324"/>
                    <a:gd name="T67" fmla="*/ 131 h 218"/>
                    <a:gd name="T68" fmla="*/ 87 w 324"/>
                    <a:gd name="T69" fmla="*/ 105 h 218"/>
                    <a:gd name="T70" fmla="*/ 76 w 324"/>
                    <a:gd name="T71" fmla="*/ 90 h 218"/>
                    <a:gd name="T72" fmla="*/ 76 w 324"/>
                    <a:gd name="T73" fmla="*/ 81 h 218"/>
                    <a:gd name="T74" fmla="*/ 64 w 324"/>
                    <a:gd name="T75" fmla="*/ 67 h 218"/>
                    <a:gd name="T76" fmla="*/ 52 w 324"/>
                    <a:gd name="T77" fmla="*/ 55 h 218"/>
                    <a:gd name="T78" fmla="*/ 45 w 324"/>
                    <a:gd name="T79" fmla="*/ 38 h 218"/>
                    <a:gd name="T80" fmla="*/ 38 w 324"/>
                    <a:gd name="T81" fmla="*/ 19 h 218"/>
                    <a:gd name="T82" fmla="*/ 24 w 324"/>
                    <a:gd name="T83" fmla="*/ 22 h 218"/>
                    <a:gd name="T84" fmla="*/ 33 w 324"/>
                    <a:gd name="T85" fmla="*/ 48 h 218"/>
                    <a:gd name="T86" fmla="*/ 45 w 324"/>
                    <a:gd name="T87" fmla="*/ 64 h 218"/>
                    <a:gd name="T88" fmla="*/ 52 w 324"/>
                    <a:gd name="T89" fmla="*/ 76 h 218"/>
                    <a:gd name="T90" fmla="*/ 57 w 324"/>
                    <a:gd name="T91" fmla="*/ 95 h 218"/>
                    <a:gd name="T92" fmla="*/ 61 w 324"/>
                    <a:gd name="T93" fmla="*/ 107 h 218"/>
                    <a:gd name="T94" fmla="*/ 66 w 324"/>
                    <a:gd name="T95" fmla="*/ 124 h 218"/>
                    <a:gd name="T96" fmla="*/ 50 w 324"/>
                    <a:gd name="T97" fmla="*/ 105 h 218"/>
                    <a:gd name="T98" fmla="*/ 40 w 324"/>
                    <a:gd name="T99" fmla="*/ 83 h 218"/>
                    <a:gd name="T100" fmla="*/ 28 w 324"/>
                    <a:gd name="T101" fmla="*/ 74 h 218"/>
                    <a:gd name="T102" fmla="*/ 19 w 324"/>
                    <a:gd name="T103" fmla="*/ 62 h 218"/>
                    <a:gd name="T104" fmla="*/ 26 w 324"/>
                    <a:gd name="T105" fmla="*/ 57 h 218"/>
                    <a:gd name="T106" fmla="*/ 12 w 324"/>
                    <a:gd name="T107" fmla="*/ 38 h 218"/>
                    <a:gd name="T108" fmla="*/ 7 w 324"/>
                    <a:gd name="T109" fmla="*/ 19 h 218"/>
                    <a:gd name="T110" fmla="*/ 61 w 324"/>
                    <a:gd name="T111" fmla="*/ 100 h 218"/>
                    <a:gd name="T112" fmla="*/ 61 w 324"/>
                    <a:gd name="T113" fmla="*/ 105 h 218"/>
                    <a:gd name="T114" fmla="*/ 206 w 324"/>
                    <a:gd name="T115" fmla="*/ 10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4" h="218">
                      <a:moveTo>
                        <a:pt x="0" y="3"/>
                      </a:moveTo>
                      <a:lnTo>
                        <a:pt x="28" y="0"/>
                      </a:lnTo>
                      <a:lnTo>
                        <a:pt x="28" y="3"/>
                      </a:lnTo>
                      <a:lnTo>
                        <a:pt x="28" y="3"/>
                      </a:lnTo>
                      <a:lnTo>
                        <a:pt x="66" y="19"/>
                      </a:lnTo>
                      <a:lnTo>
                        <a:pt x="99" y="19"/>
                      </a:lnTo>
                      <a:lnTo>
                        <a:pt x="99" y="17"/>
                      </a:lnTo>
                      <a:lnTo>
                        <a:pt x="118" y="17"/>
                      </a:lnTo>
                      <a:lnTo>
                        <a:pt x="118" y="17"/>
                      </a:lnTo>
                      <a:lnTo>
                        <a:pt x="121" y="19"/>
                      </a:lnTo>
                      <a:lnTo>
                        <a:pt x="123" y="22"/>
                      </a:lnTo>
                      <a:lnTo>
                        <a:pt x="123" y="22"/>
                      </a:lnTo>
                      <a:lnTo>
                        <a:pt x="123" y="22"/>
                      </a:lnTo>
                      <a:lnTo>
                        <a:pt x="125" y="24"/>
                      </a:lnTo>
                      <a:lnTo>
                        <a:pt x="125" y="24"/>
                      </a:lnTo>
                      <a:lnTo>
                        <a:pt x="125" y="24"/>
                      </a:lnTo>
                      <a:lnTo>
                        <a:pt x="128" y="26"/>
                      </a:lnTo>
                      <a:lnTo>
                        <a:pt x="128" y="26"/>
                      </a:lnTo>
                      <a:lnTo>
                        <a:pt x="128" y="29"/>
                      </a:lnTo>
                      <a:lnTo>
                        <a:pt x="128" y="29"/>
                      </a:lnTo>
                      <a:lnTo>
                        <a:pt x="130" y="29"/>
                      </a:lnTo>
                      <a:lnTo>
                        <a:pt x="130" y="31"/>
                      </a:lnTo>
                      <a:lnTo>
                        <a:pt x="130" y="33"/>
                      </a:lnTo>
                      <a:lnTo>
                        <a:pt x="132" y="33"/>
                      </a:lnTo>
                      <a:lnTo>
                        <a:pt x="132" y="33"/>
                      </a:lnTo>
                      <a:lnTo>
                        <a:pt x="132" y="36"/>
                      </a:lnTo>
                      <a:lnTo>
                        <a:pt x="135" y="36"/>
                      </a:lnTo>
                      <a:lnTo>
                        <a:pt x="135" y="38"/>
                      </a:lnTo>
                      <a:lnTo>
                        <a:pt x="135" y="38"/>
                      </a:lnTo>
                      <a:lnTo>
                        <a:pt x="132" y="38"/>
                      </a:lnTo>
                      <a:lnTo>
                        <a:pt x="132" y="38"/>
                      </a:lnTo>
                      <a:lnTo>
                        <a:pt x="135" y="41"/>
                      </a:lnTo>
                      <a:lnTo>
                        <a:pt x="135" y="43"/>
                      </a:lnTo>
                      <a:lnTo>
                        <a:pt x="137" y="43"/>
                      </a:lnTo>
                      <a:lnTo>
                        <a:pt x="137" y="45"/>
                      </a:lnTo>
                      <a:lnTo>
                        <a:pt x="137" y="45"/>
                      </a:lnTo>
                      <a:lnTo>
                        <a:pt x="137" y="45"/>
                      </a:lnTo>
                      <a:lnTo>
                        <a:pt x="140" y="45"/>
                      </a:lnTo>
                      <a:lnTo>
                        <a:pt x="140" y="45"/>
                      </a:lnTo>
                      <a:lnTo>
                        <a:pt x="140" y="48"/>
                      </a:lnTo>
                      <a:lnTo>
                        <a:pt x="140" y="48"/>
                      </a:lnTo>
                      <a:lnTo>
                        <a:pt x="142" y="48"/>
                      </a:lnTo>
                      <a:lnTo>
                        <a:pt x="142" y="48"/>
                      </a:lnTo>
                      <a:lnTo>
                        <a:pt x="144" y="50"/>
                      </a:lnTo>
                      <a:lnTo>
                        <a:pt x="144" y="50"/>
                      </a:lnTo>
                      <a:lnTo>
                        <a:pt x="147" y="50"/>
                      </a:lnTo>
                      <a:lnTo>
                        <a:pt x="149" y="52"/>
                      </a:lnTo>
                      <a:lnTo>
                        <a:pt x="149" y="52"/>
                      </a:lnTo>
                      <a:lnTo>
                        <a:pt x="151" y="52"/>
                      </a:lnTo>
                      <a:lnTo>
                        <a:pt x="151" y="52"/>
                      </a:lnTo>
                      <a:lnTo>
                        <a:pt x="151" y="50"/>
                      </a:lnTo>
                      <a:lnTo>
                        <a:pt x="154" y="50"/>
                      </a:lnTo>
                      <a:lnTo>
                        <a:pt x="154" y="50"/>
                      </a:lnTo>
                      <a:lnTo>
                        <a:pt x="156" y="48"/>
                      </a:lnTo>
                      <a:lnTo>
                        <a:pt x="154" y="48"/>
                      </a:lnTo>
                      <a:lnTo>
                        <a:pt x="156" y="48"/>
                      </a:lnTo>
                      <a:lnTo>
                        <a:pt x="158" y="45"/>
                      </a:lnTo>
                      <a:lnTo>
                        <a:pt x="158" y="43"/>
                      </a:lnTo>
                      <a:lnTo>
                        <a:pt x="161" y="43"/>
                      </a:lnTo>
                      <a:lnTo>
                        <a:pt x="161" y="43"/>
                      </a:lnTo>
                      <a:lnTo>
                        <a:pt x="161" y="43"/>
                      </a:lnTo>
                      <a:lnTo>
                        <a:pt x="161" y="43"/>
                      </a:lnTo>
                      <a:lnTo>
                        <a:pt x="163" y="43"/>
                      </a:lnTo>
                      <a:lnTo>
                        <a:pt x="166" y="43"/>
                      </a:lnTo>
                      <a:lnTo>
                        <a:pt x="166" y="43"/>
                      </a:lnTo>
                      <a:lnTo>
                        <a:pt x="168" y="43"/>
                      </a:lnTo>
                      <a:lnTo>
                        <a:pt x="170" y="43"/>
                      </a:lnTo>
                      <a:lnTo>
                        <a:pt x="170" y="43"/>
                      </a:lnTo>
                      <a:lnTo>
                        <a:pt x="170" y="43"/>
                      </a:lnTo>
                      <a:lnTo>
                        <a:pt x="173" y="43"/>
                      </a:lnTo>
                      <a:lnTo>
                        <a:pt x="175" y="45"/>
                      </a:lnTo>
                      <a:lnTo>
                        <a:pt x="175" y="48"/>
                      </a:lnTo>
                      <a:lnTo>
                        <a:pt x="177" y="50"/>
                      </a:lnTo>
                      <a:lnTo>
                        <a:pt x="180" y="52"/>
                      </a:lnTo>
                      <a:lnTo>
                        <a:pt x="180" y="52"/>
                      </a:lnTo>
                      <a:lnTo>
                        <a:pt x="180" y="55"/>
                      </a:lnTo>
                      <a:lnTo>
                        <a:pt x="180" y="57"/>
                      </a:lnTo>
                      <a:lnTo>
                        <a:pt x="182" y="57"/>
                      </a:lnTo>
                      <a:lnTo>
                        <a:pt x="182" y="57"/>
                      </a:lnTo>
                      <a:lnTo>
                        <a:pt x="182" y="62"/>
                      </a:lnTo>
                      <a:lnTo>
                        <a:pt x="184" y="62"/>
                      </a:lnTo>
                      <a:lnTo>
                        <a:pt x="184" y="64"/>
                      </a:lnTo>
                      <a:lnTo>
                        <a:pt x="187" y="64"/>
                      </a:lnTo>
                      <a:lnTo>
                        <a:pt x="187" y="67"/>
                      </a:lnTo>
                      <a:lnTo>
                        <a:pt x="187" y="69"/>
                      </a:lnTo>
                      <a:lnTo>
                        <a:pt x="189" y="69"/>
                      </a:lnTo>
                      <a:lnTo>
                        <a:pt x="189" y="71"/>
                      </a:lnTo>
                      <a:lnTo>
                        <a:pt x="189" y="74"/>
                      </a:lnTo>
                      <a:lnTo>
                        <a:pt x="189" y="74"/>
                      </a:lnTo>
                      <a:lnTo>
                        <a:pt x="189" y="74"/>
                      </a:lnTo>
                      <a:lnTo>
                        <a:pt x="192" y="81"/>
                      </a:lnTo>
                      <a:lnTo>
                        <a:pt x="192" y="83"/>
                      </a:lnTo>
                      <a:lnTo>
                        <a:pt x="192" y="86"/>
                      </a:lnTo>
                      <a:lnTo>
                        <a:pt x="194" y="86"/>
                      </a:lnTo>
                      <a:lnTo>
                        <a:pt x="194" y="86"/>
                      </a:lnTo>
                      <a:lnTo>
                        <a:pt x="196" y="86"/>
                      </a:lnTo>
                      <a:lnTo>
                        <a:pt x="196" y="86"/>
                      </a:lnTo>
                      <a:lnTo>
                        <a:pt x="199" y="88"/>
                      </a:lnTo>
                      <a:lnTo>
                        <a:pt x="203" y="88"/>
                      </a:lnTo>
                      <a:lnTo>
                        <a:pt x="206" y="90"/>
                      </a:lnTo>
                      <a:lnTo>
                        <a:pt x="206" y="90"/>
                      </a:lnTo>
                      <a:lnTo>
                        <a:pt x="208" y="90"/>
                      </a:lnTo>
                      <a:lnTo>
                        <a:pt x="208" y="93"/>
                      </a:lnTo>
                      <a:lnTo>
                        <a:pt x="208" y="93"/>
                      </a:lnTo>
                      <a:lnTo>
                        <a:pt x="211" y="93"/>
                      </a:lnTo>
                      <a:lnTo>
                        <a:pt x="211" y="88"/>
                      </a:lnTo>
                      <a:lnTo>
                        <a:pt x="213" y="88"/>
                      </a:lnTo>
                      <a:lnTo>
                        <a:pt x="213" y="88"/>
                      </a:lnTo>
                      <a:lnTo>
                        <a:pt x="211" y="93"/>
                      </a:lnTo>
                      <a:lnTo>
                        <a:pt x="211" y="93"/>
                      </a:lnTo>
                      <a:lnTo>
                        <a:pt x="211" y="95"/>
                      </a:lnTo>
                      <a:lnTo>
                        <a:pt x="208" y="97"/>
                      </a:lnTo>
                      <a:lnTo>
                        <a:pt x="208" y="100"/>
                      </a:lnTo>
                      <a:lnTo>
                        <a:pt x="206" y="100"/>
                      </a:lnTo>
                      <a:lnTo>
                        <a:pt x="206" y="97"/>
                      </a:lnTo>
                      <a:lnTo>
                        <a:pt x="208" y="95"/>
                      </a:lnTo>
                      <a:lnTo>
                        <a:pt x="206" y="95"/>
                      </a:lnTo>
                      <a:lnTo>
                        <a:pt x="206" y="100"/>
                      </a:lnTo>
                      <a:lnTo>
                        <a:pt x="203" y="100"/>
                      </a:lnTo>
                      <a:lnTo>
                        <a:pt x="206" y="102"/>
                      </a:lnTo>
                      <a:lnTo>
                        <a:pt x="206" y="102"/>
                      </a:lnTo>
                      <a:lnTo>
                        <a:pt x="203" y="105"/>
                      </a:lnTo>
                      <a:lnTo>
                        <a:pt x="203" y="107"/>
                      </a:lnTo>
                      <a:lnTo>
                        <a:pt x="203" y="109"/>
                      </a:lnTo>
                      <a:lnTo>
                        <a:pt x="203" y="109"/>
                      </a:lnTo>
                      <a:lnTo>
                        <a:pt x="203" y="112"/>
                      </a:lnTo>
                      <a:lnTo>
                        <a:pt x="203" y="112"/>
                      </a:lnTo>
                      <a:lnTo>
                        <a:pt x="201" y="116"/>
                      </a:lnTo>
                      <a:lnTo>
                        <a:pt x="203" y="121"/>
                      </a:lnTo>
                      <a:lnTo>
                        <a:pt x="201" y="126"/>
                      </a:lnTo>
                      <a:lnTo>
                        <a:pt x="201" y="128"/>
                      </a:lnTo>
                      <a:lnTo>
                        <a:pt x="201" y="128"/>
                      </a:lnTo>
                      <a:lnTo>
                        <a:pt x="201" y="133"/>
                      </a:lnTo>
                      <a:lnTo>
                        <a:pt x="201" y="135"/>
                      </a:lnTo>
                      <a:lnTo>
                        <a:pt x="203" y="140"/>
                      </a:lnTo>
                      <a:lnTo>
                        <a:pt x="203" y="143"/>
                      </a:lnTo>
                      <a:lnTo>
                        <a:pt x="203" y="143"/>
                      </a:lnTo>
                      <a:lnTo>
                        <a:pt x="203" y="140"/>
                      </a:lnTo>
                      <a:lnTo>
                        <a:pt x="201" y="138"/>
                      </a:lnTo>
                      <a:lnTo>
                        <a:pt x="201" y="138"/>
                      </a:lnTo>
                      <a:lnTo>
                        <a:pt x="201" y="140"/>
                      </a:lnTo>
                      <a:lnTo>
                        <a:pt x="203" y="145"/>
                      </a:lnTo>
                      <a:lnTo>
                        <a:pt x="203" y="145"/>
                      </a:lnTo>
                      <a:lnTo>
                        <a:pt x="203" y="147"/>
                      </a:lnTo>
                      <a:lnTo>
                        <a:pt x="203" y="150"/>
                      </a:lnTo>
                      <a:lnTo>
                        <a:pt x="206" y="152"/>
                      </a:lnTo>
                      <a:lnTo>
                        <a:pt x="211" y="157"/>
                      </a:lnTo>
                      <a:lnTo>
                        <a:pt x="213" y="159"/>
                      </a:lnTo>
                      <a:lnTo>
                        <a:pt x="213" y="161"/>
                      </a:lnTo>
                      <a:lnTo>
                        <a:pt x="213" y="164"/>
                      </a:lnTo>
                      <a:lnTo>
                        <a:pt x="215" y="166"/>
                      </a:lnTo>
                      <a:lnTo>
                        <a:pt x="220" y="171"/>
                      </a:lnTo>
                      <a:lnTo>
                        <a:pt x="220" y="171"/>
                      </a:lnTo>
                      <a:lnTo>
                        <a:pt x="222" y="171"/>
                      </a:lnTo>
                      <a:lnTo>
                        <a:pt x="225" y="171"/>
                      </a:lnTo>
                      <a:lnTo>
                        <a:pt x="225" y="173"/>
                      </a:lnTo>
                      <a:lnTo>
                        <a:pt x="229" y="173"/>
                      </a:lnTo>
                      <a:lnTo>
                        <a:pt x="232" y="178"/>
                      </a:lnTo>
                      <a:lnTo>
                        <a:pt x="232" y="180"/>
                      </a:lnTo>
                      <a:lnTo>
                        <a:pt x="234" y="178"/>
                      </a:lnTo>
                      <a:lnTo>
                        <a:pt x="239" y="178"/>
                      </a:lnTo>
                      <a:lnTo>
                        <a:pt x="239" y="178"/>
                      </a:lnTo>
                      <a:lnTo>
                        <a:pt x="241" y="178"/>
                      </a:lnTo>
                      <a:lnTo>
                        <a:pt x="246" y="176"/>
                      </a:lnTo>
                      <a:lnTo>
                        <a:pt x="246" y="176"/>
                      </a:lnTo>
                      <a:lnTo>
                        <a:pt x="251" y="176"/>
                      </a:lnTo>
                      <a:lnTo>
                        <a:pt x="253" y="176"/>
                      </a:lnTo>
                      <a:lnTo>
                        <a:pt x="255" y="173"/>
                      </a:lnTo>
                      <a:lnTo>
                        <a:pt x="258" y="173"/>
                      </a:lnTo>
                      <a:lnTo>
                        <a:pt x="260" y="173"/>
                      </a:lnTo>
                      <a:lnTo>
                        <a:pt x="263" y="173"/>
                      </a:lnTo>
                      <a:lnTo>
                        <a:pt x="265" y="173"/>
                      </a:lnTo>
                      <a:lnTo>
                        <a:pt x="263" y="176"/>
                      </a:lnTo>
                      <a:lnTo>
                        <a:pt x="263" y="176"/>
                      </a:lnTo>
                      <a:lnTo>
                        <a:pt x="265" y="178"/>
                      </a:lnTo>
                      <a:lnTo>
                        <a:pt x="265" y="178"/>
                      </a:lnTo>
                      <a:lnTo>
                        <a:pt x="267" y="178"/>
                      </a:lnTo>
                      <a:lnTo>
                        <a:pt x="267" y="178"/>
                      </a:lnTo>
                      <a:lnTo>
                        <a:pt x="270" y="176"/>
                      </a:lnTo>
                      <a:lnTo>
                        <a:pt x="270" y="171"/>
                      </a:lnTo>
                      <a:lnTo>
                        <a:pt x="270" y="171"/>
                      </a:lnTo>
                      <a:lnTo>
                        <a:pt x="267" y="171"/>
                      </a:lnTo>
                      <a:lnTo>
                        <a:pt x="267" y="171"/>
                      </a:lnTo>
                      <a:lnTo>
                        <a:pt x="272" y="169"/>
                      </a:lnTo>
                      <a:lnTo>
                        <a:pt x="274" y="169"/>
                      </a:lnTo>
                      <a:lnTo>
                        <a:pt x="277" y="166"/>
                      </a:lnTo>
                      <a:lnTo>
                        <a:pt x="277" y="161"/>
                      </a:lnTo>
                      <a:lnTo>
                        <a:pt x="281" y="159"/>
                      </a:lnTo>
                      <a:lnTo>
                        <a:pt x="281" y="157"/>
                      </a:lnTo>
                      <a:lnTo>
                        <a:pt x="281" y="152"/>
                      </a:lnTo>
                      <a:lnTo>
                        <a:pt x="286" y="147"/>
                      </a:lnTo>
                      <a:lnTo>
                        <a:pt x="284" y="147"/>
                      </a:lnTo>
                      <a:lnTo>
                        <a:pt x="284" y="145"/>
                      </a:lnTo>
                      <a:lnTo>
                        <a:pt x="291" y="143"/>
                      </a:lnTo>
                      <a:lnTo>
                        <a:pt x="300" y="145"/>
                      </a:lnTo>
                      <a:lnTo>
                        <a:pt x="303" y="143"/>
                      </a:lnTo>
                      <a:lnTo>
                        <a:pt x="305" y="143"/>
                      </a:lnTo>
                      <a:lnTo>
                        <a:pt x="305" y="143"/>
                      </a:lnTo>
                      <a:lnTo>
                        <a:pt x="308" y="140"/>
                      </a:lnTo>
                      <a:lnTo>
                        <a:pt x="308" y="140"/>
                      </a:lnTo>
                      <a:lnTo>
                        <a:pt x="312" y="140"/>
                      </a:lnTo>
                      <a:lnTo>
                        <a:pt x="317" y="140"/>
                      </a:lnTo>
                      <a:lnTo>
                        <a:pt x="319" y="140"/>
                      </a:lnTo>
                      <a:lnTo>
                        <a:pt x="319" y="140"/>
                      </a:lnTo>
                      <a:lnTo>
                        <a:pt x="322" y="140"/>
                      </a:lnTo>
                      <a:lnTo>
                        <a:pt x="324" y="143"/>
                      </a:lnTo>
                      <a:lnTo>
                        <a:pt x="324" y="145"/>
                      </a:lnTo>
                      <a:lnTo>
                        <a:pt x="322" y="147"/>
                      </a:lnTo>
                      <a:lnTo>
                        <a:pt x="319" y="152"/>
                      </a:lnTo>
                      <a:lnTo>
                        <a:pt x="315" y="157"/>
                      </a:lnTo>
                      <a:lnTo>
                        <a:pt x="315" y="157"/>
                      </a:lnTo>
                      <a:lnTo>
                        <a:pt x="315" y="159"/>
                      </a:lnTo>
                      <a:lnTo>
                        <a:pt x="312" y="161"/>
                      </a:lnTo>
                      <a:lnTo>
                        <a:pt x="310" y="161"/>
                      </a:lnTo>
                      <a:lnTo>
                        <a:pt x="312" y="164"/>
                      </a:lnTo>
                      <a:lnTo>
                        <a:pt x="315" y="164"/>
                      </a:lnTo>
                      <a:lnTo>
                        <a:pt x="315" y="164"/>
                      </a:lnTo>
                      <a:lnTo>
                        <a:pt x="312" y="166"/>
                      </a:lnTo>
                      <a:lnTo>
                        <a:pt x="312" y="169"/>
                      </a:lnTo>
                      <a:lnTo>
                        <a:pt x="312" y="169"/>
                      </a:lnTo>
                      <a:lnTo>
                        <a:pt x="315" y="166"/>
                      </a:lnTo>
                      <a:lnTo>
                        <a:pt x="315" y="166"/>
                      </a:lnTo>
                      <a:lnTo>
                        <a:pt x="312" y="169"/>
                      </a:lnTo>
                      <a:lnTo>
                        <a:pt x="312" y="176"/>
                      </a:lnTo>
                      <a:lnTo>
                        <a:pt x="310" y="178"/>
                      </a:lnTo>
                      <a:lnTo>
                        <a:pt x="310" y="178"/>
                      </a:lnTo>
                      <a:lnTo>
                        <a:pt x="308" y="178"/>
                      </a:lnTo>
                      <a:lnTo>
                        <a:pt x="305" y="176"/>
                      </a:lnTo>
                      <a:lnTo>
                        <a:pt x="305" y="176"/>
                      </a:lnTo>
                      <a:lnTo>
                        <a:pt x="308" y="173"/>
                      </a:lnTo>
                      <a:lnTo>
                        <a:pt x="308" y="171"/>
                      </a:lnTo>
                      <a:lnTo>
                        <a:pt x="305" y="173"/>
                      </a:lnTo>
                      <a:lnTo>
                        <a:pt x="303" y="176"/>
                      </a:lnTo>
                      <a:lnTo>
                        <a:pt x="300" y="176"/>
                      </a:lnTo>
                      <a:lnTo>
                        <a:pt x="300" y="176"/>
                      </a:lnTo>
                      <a:lnTo>
                        <a:pt x="300" y="176"/>
                      </a:lnTo>
                      <a:lnTo>
                        <a:pt x="298" y="178"/>
                      </a:lnTo>
                      <a:lnTo>
                        <a:pt x="298" y="178"/>
                      </a:lnTo>
                      <a:lnTo>
                        <a:pt x="298" y="180"/>
                      </a:lnTo>
                      <a:lnTo>
                        <a:pt x="296" y="180"/>
                      </a:lnTo>
                      <a:lnTo>
                        <a:pt x="296" y="180"/>
                      </a:lnTo>
                      <a:lnTo>
                        <a:pt x="296" y="183"/>
                      </a:lnTo>
                      <a:lnTo>
                        <a:pt x="296" y="183"/>
                      </a:lnTo>
                      <a:lnTo>
                        <a:pt x="296" y="183"/>
                      </a:lnTo>
                      <a:lnTo>
                        <a:pt x="296" y="180"/>
                      </a:lnTo>
                      <a:lnTo>
                        <a:pt x="293" y="180"/>
                      </a:lnTo>
                      <a:lnTo>
                        <a:pt x="291" y="183"/>
                      </a:lnTo>
                      <a:lnTo>
                        <a:pt x="291" y="183"/>
                      </a:lnTo>
                      <a:lnTo>
                        <a:pt x="272" y="183"/>
                      </a:lnTo>
                      <a:lnTo>
                        <a:pt x="272" y="188"/>
                      </a:lnTo>
                      <a:lnTo>
                        <a:pt x="267" y="188"/>
                      </a:lnTo>
                      <a:lnTo>
                        <a:pt x="267" y="190"/>
                      </a:lnTo>
                      <a:lnTo>
                        <a:pt x="270" y="190"/>
                      </a:lnTo>
                      <a:lnTo>
                        <a:pt x="270" y="192"/>
                      </a:lnTo>
                      <a:lnTo>
                        <a:pt x="272" y="195"/>
                      </a:lnTo>
                      <a:lnTo>
                        <a:pt x="274" y="195"/>
                      </a:lnTo>
                      <a:lnTo>
                        <a:pt x="274" y="195"/>
                      </a:lnTo>
                      <a:lnTo>
                        <a:pt x="274" y="197"/>
                      </a:lnTo>
                      <a:lnTo>
                        <a:pt x="277" y="197"/>
                      </a:lnTo>
                      <a:lnTo>
                        <a:pt x="277" y="197"/>
                      </a:lnTo>
                      <a:lnTo>
                        <a:pt x="279" y="199"/>
                      </a:lnTo>
                      <a:lnTo>
                        <a:pt x="279" y="199"/>
                      </a:lnTo>
                      <a:lnTo>
                        <a:pt x="277" y="202"/>
                      </a:lnTo>
                      <a:lnTo>
                        <a:pt x="263" y="202"/>
                      </a:lnTo>
                      <a:lnTo>
                        <a:pt x="255" y="211"/>
                      </a:lnTo>
                      <a:lnTo>
                        <a:pt x="258" y="214"/>
                      </a:lnTo>
                      <a:lnTo>
                        <a:pt x="258" y="214"/>
                      </a:lnTo>
                      <a:lnTo>
                        <a:pt x="258" y="214"/>
                      </a:lnTo>
                      <a:lnTo>
                        <a:pt x="258" y="216"/>
                      </a:lnTo>
                      <a:lnTo>
                        <a:pt x="258" y="216"/>
                      </a:lnTo>
                      <a:lnTo>
                        <a:pt x="258" y="216"/>
                      </a:lnTo>
                      <a:lnTo>
                        <a:pt x="255" y="216"/>
                      </a:lnTo>
                      <a:lnTo>
                        <a:pt x="255" y="218"/>
                      </a:lnTo>
                      <a:lnTo>
                        <a:pt x="255" y="218"/>
                      </a:lnTo>
                      <a:lnTo>
                        <a:pt x="253" y="216"/>
                      </a:lnTo>
                      <a:lnTo>
                        <a:pt x="251" y="214"/>
                      </a:lnTo>
                      <a:lnTo>
                        <a:pt x="251" y="214"/>
                      </a:lnTo>
                      <a:lnTo>
                        <a:pt x="248" y="211"/>
                      </a:lnTo>
                      <a:lnTo>
                        <a:pt x="239" y="207"/>
                      </a:lnTo>
                      <a:lnTo>
                        <a:pt x="239" y="204"/>
                      </a:lnTo>
                      <a:lnTo>
                        <a:pt x="239" y="204"/>
                      </a:lnTo>
                      <a:lnTo>
                        <a:pt x="237" y="202"/>
                      </a:lnTo>
                      <a:lnTo>
                        <a:pt x="234" y="199"/>
                      </a:lnTo>
                      <a:lnTo>
                        <a:pt x="234" y="199"/>
                      </a:lnTo>
                      <a:lnTo>
                        <a:pt x="232" y="199"/>
                      </a:lnTo>
                      <a:lnTo>
                        <a:pt x="232" y="199"/>
                      </a:lnTo>
                      <a:lnTo>
                        <a:pt x="232" y="199"/>
                      </a:lnTo>
                      <a:lnTo>
                        <a:pt x="237" y="202"/>
                      </a:lnTo>
                      <a:lnTo>
                        <a:pt x="239" y="204"/>
                      </a:lnTo>
                      <a:lnTo>
                        <a:pt x="239" y="204"/>
                      </a:lnTo>
                      <a:lnTo>
                        <a:pt x="237" y="204"/>
                      </a:lnTo>
                      <a:lnTo>
                        <a:pt x="234" y="202"/>
                      </a:lnTo>
                      <a:lnTo>
                        <a:pt x="232" y="202"/>
                      </a:lnTo>
                      <a:lnTo>
                        <a:pt x="229" y="202"/>
                      </a:lnTo>
                      <a:lnTo>
                        <a:pt x="229" y="199"/>
                      </a:lnTo>
                      <a:lnTo>
                        <a:pt x="229" y="199"/>
                      </a:lnTo>
                      <a:lnTo>
                        <a:pt x="229" y="199"/>
                      </a:lnTo>
                      <a:lnTo>
                        <a:pt x="229" y="199"/>
                      </a:lnTo>
                      <a:lnTo>
                        <a:pt x="229" y="199"/>
                      </a:lnTo>
                      <a:lnTo>
                        <a:pt x="227" y="199"/>
                      </a:lnTo>
                      <a:lnTo>
                        <a:pt x="227" y="199"/>
                      </a:lnTo>
                      <a:lnTo>
                        <a:pt x="227" y="199"/>
                      </a:lnTo>
                      <a:lnTo>
                        <a:pt x="225" y="199"/>
                      </a:lnTo>
                      <a:lnTo>
                        <a:pt x="225" y="199"/>
                      </a:lnTo>
                      <a:lnTo>
                        <a:pt x="227" y="199"/>
                      </a:lnTo>
                      <a:lnTo>
                        <a:pt x="227" y="202"/>
                      </a:lnTo>
                      <a:lnTo>
                        <a:pt x="227" y="202"/>
                      </a:lnTo>
                      <a:lnTo>
                        <a:pt x="227" y="202"/>
                      </a:lnTo>
                      <a:lnTo>
                        <a:pt x="225" y="202"/>
                      </a:lnTo>
                      <a:lnTo>
                        <a:pt x="222" y="202"/>
                      </a:lnTo>
                      <a:lnTo>
                        <a:pt x="220" y="204"/>
                      </a:lnTo>
                      <a:lnTo>
                        <a:pt x="215" y="204"/>
                      </a:lnTo>
                      <a:lnTo>
                        <a:pt x="211" y="207"/>
                      </a:lnTo>
                      <a:lnTo>
                        <a:pt x="208" y="207"/>
                      </a:lnTo>
                      <a:lnTo>
                        <a:pt x="203" y="204"/>
                      </a:lnTo>
                      <a:lnTo>
                        <a:pt x="199" y="202"/>
                      </a:lnTo>
                      <a:lnTo>
                        <a:pt x="196" y="202"/>
                      </a:lnTo>
                      <a:lnTo>
                        <a:pt x="192" y="202"/>
                      </a:lnTo>
                      <a:lnTo>
                        <a:pt x="189" y="199"/>
                      </a:lnTo>
                      <a:lnTo>
                        <a:pt x="189" y="199"/>
                      </a:lnTo>
                      <a:lnTo>
                        <a:pt x="187" y="199"/>
                      </a:lnTo>
                      <a:lnTo>
                        <a:pt x="184" y="199"/>
                      </a:lnTo>
                      <a:lnTo>
                        <a:pt x="182" y="197"/>
                      </a:lnTo>
                      <a:lnTo>
                        <a:pt x="182" y="197"/>
                      </a:lnTo>
                      <a:lnTo>
                        <a:pt x="180" y="197"/>
                      </a:lnTo>
                      <a:lnTo>
                        <a:pt x="177" y="195"/>
                      </a:lnTo>
                      <a:lnTo>
                        <a:pt x="175" y="195"/>
                      </a:lnTo>
                      <a:lnTo>
                        <a:pt x="173" y="192"/>
                      </a:lnTo>
                      <a:lnTo>
                        <a:pt x="170" y="192"/>
                      </a:lnTo>
                      <a:lnTo>
                        <a:pt x="163" y="192"/>
                      </a:lnTo>
                      <a:lnTo>
                        <a:pt x="158" y="190"/>
                      </a:lnTo>
                      <a:lnTo>
                        <a:pt x="156" y="188"/>
                      </a:lnTo>
                      <a:lnTo>
                        <a:pt x="154" y="188"/>
                      </a:lnTo>
                      <a:lnTo>
                        <a:pt x="149" y="180"/>
                      </a:lnTo>
                      <a:lnTo>
                        <a:pt x="149" y="180"/>
                      </a:lnTo>
                      <a:lnTo>
                        <a:pt x="147" y="180"/>
                      </a:lnTo>
                      <a:lnTo>
                        <a:pt x="147" y="180"/>
                      </a:lnTo>
                      <a:lnTo>
                        <a:pt x="144" y="180"/>
                      </a:lnTo>
                      <a:lnTo>
                        <a:pt x="140" y="180"/>
                      </a:lnTo>
                      <a:lnTo>
                        <a:pt x="140" y="180"/>
                      </a:lnTo>
                      <a:lnTo>
                        <a:pt x="137" y="178"/>
                      </a:lnTo>
                      <a:lnTo>
                        <a:pt x="135" y="178"/>
                      </a:lnTo>
                      <a:lnTo>
                        <a:pt x="132" y="178"/>
                      </a:lnTo>
                      <a:lnTo>
                        <a:pt x="132" y="176"/>
                      </a:lnTo>
                      <a:lnTo>
                        <a:pt x="130" y="173"/>
                      </a:lnTo>
                      <a:lnTo>
                        <a:pt x="128" y="171"/>
                      </a:lnTo>
                      <a:lnTo>
                        <a:pt x="123" y="171"/>
                      </a:lnTo>
                      <a:lnTo>
                        <a:pt x="123" y="169"/>
                      </a:lnTo>
                      <a:lnTo>
                        <a:pt x="125" y="169"/>
                      </a:lnTo>
                      <a:lnTo>
                        <a:pt x="123" y="169"/>
                      </a:lnTo>
                      <a:lnTo>
                        <a:pt x="121" y="169"/>
                      </a:lnTo>
                      <a:lnTo>
                        <a:pt x="118" y="166"/>
                      </a:lnTo>
                      <a:lnTo>
                        <a:pt x="118" y="166"/>
                      </a:lnTo>
                      <a:lnTo>
                        <a:pt x="116" y="166"/>
                      </a:lnTo>
                      <a:lnTo>
                        <a:pt x="114" y="166"/>
                      </a:lnTo>
                      <a:lnTo>
                        <a:pt x="114" y="161"/>
                      </a:lnTo>
                      <a:lnTo>
                        <a:pt x="111" y="159"/>
                      </a:lnTo>
                      <a:lnTo>
                        <a:pt x="111" y="159"/>
                      </a:lnTo>
                      <a:lnTo>
                        <a:pt x="109" y="157"/>
                      </a:lnTo>
                      <a:lnTo>
                        <a:pt x="109" y="154"/>
                      </a:lnTo>
                      <a:lnTo>
                        <a:pt x="109" y="152"/>
                      </a:lnTo>
                      <a:lnTo>
                        <a:pt x="109" y="152"/>
                      </a:lnTo>
                      <a:lnTo>
                        <a:pt x="114" y="152"/>
                      </a:lnTo>
                      <a:lnTo>
                        <a:pt x="114" y="152"/>
                      </a:lnTo>
                      <a:lnTo>
                        <a:pt x="111" y="150"/>
                      </a:lnTo>
                      <a:lnTo>
                        <a:pt x="111" y="150"/>
                      </a:lnTo>
                      <a:lnTo>
                        <a:pt x="111" y="150"/>
                      </a:lnTo>
                      <a:lnTo>
                        <a:pt x="114" y="147"/>
                      </a:lnTo>
                      <a:lnTo>
                        <a:pt x="116" y="145"/>
                      </a:lnTo>
                      <a:lnTo>
                        <a:pt x="116" y="143"/>
                      </a:lnTo>
                      <a:lnTo>
                        <a:pt x="114" y="138"/>
                      </a:lnTo>
                      <a:lnTo>
                        <a:pt x="111" y="133"/>
                      </a:lnTo>
                      <a:lnTo>
                        <a:pt x="111" y="133"/>
                      </a:lnTo>
                      <a:lnTo>
                        <a:pt x="111" y="131"/>
                      </a:lnTo>
                      <a:lnTo>
                        <a:pt x="111" y="128"/>
                      </a:lnTo>
                      <a:lnTo>
                        <a:pt x="106" y="124"/>
                      </a:lnTo>
                      <a:lnTo>
                        <a:pt x="106" y="121"/>
                      </a:lnTo>
                      <a:lnTo>
                        <a:pt x="104" y="119"/>
                      </a:lnTo>
                      <a:lnTo>
                        <a:pt x="99" y="114"/>
                      </a:lnTo>
                      <a:lnTo>
                        <a:pt x="97" y="109"/>
                      </a:lnTo>
                      <a:lnTo>
                        <a:pt x="95" y="107"/>
                      </a:lnTo>
                      <a:lnTo>
                        <a:pt x="92" y="107"/>
                      </a:lnTo>
                      <a:lnTo>
                        <a:pt x="92" y="105"/>
                      </a:lnTo>
                      <a:lnTo>
                        <a:pt x="90" y="105"/>
                      </a:lnTo>
                      <a:lnTo>
                        <a:pt x="87" y="105"/>
                      </a:lnTo>
                      <a:lnTo>
                        <a:pt x="87" y="102"/>
                      </a:lnTo>
                      <a:lnTo>
                        <a:pt x="90" y="102"/>
                      </a:lnTo>
                      <a:lnTo>
                        <a:pt x="90" y="100"/>
                      </a:lnTo>
                      <a:lnTo>
                        <a:pt x="90" y="100"/>
                      </a:lnTo>
                      <a:lnTo>
                        <a:pt x="87" y="97"/>
                      </a:lnTo>
                      <a:lnTo>
                        <a:pt x="87" y="95"/>
                      </a:lnTo>
                      <a:lnTo>
                        <a:pt x="85" y="95"/>
                      </a:lnTo>
                      <a:lnTo>
                        <a:pt x="83" y="95"/>
                      </a:lnTo>
                      <a:lnTo>
                        <a:pt x="78" y="93"/>
                      </a:lnTo>
                      <a:lnTo>
                        <a:pt x="78" y="90"/>
                      </a:lnTo>
                      <a:lnTo>
                        <a:pt x="76" y="90"/>
                      </a:lnTo>
                      <a:lnTo>
                        <a:pt x="73" y="90"/>
                      </a:lnTo>
                      <a:lnTo>
                        <a:pt x="73" y="88"/>
                      </a:lnTo>
                      <a:lnTo>
                        <a:pt x="76" y="86"/>
                      </a:lnTo>
                      <a:lnTo>
                        <a:pt x="76" y="83"/>
                      </a:lnTo>
                      <a:lnTo>
                        <a:pt x="78" y="83"/>
                      </a:lnTo>
                      <a:lnTo>
                        <a:pt x="78" y="83"/>
                      </a:lnTo>
                      <a:lnTo>
                        <a:pt x="80" y="83"/>
                      </a:lnTo>
                      <a:lnTo>
                        <a:pt x="80" y="81"/>
                      </a:lnTo>
                      <a:lnTo>
                        <a:pt x="78" y="81"/>
                      </a:lnTo>
                      <a:lnTo>
                        <a:pt x="78" y="81"/>
                      </a:lnTo>
                      <a:lnTo>
                        <a:pt x="76" y="81"/>
                      </a:lnTo>
                      <a:lnTo>
                        <a:pt x="76" y="79"/>
                      </a:lnTo>
                      <a:lnTo>
                        <a:pt x="76" y="76"/>
                      </a:lnTo>
                      <a:lnTo>
                        <a:pt x="73" y="76"/>
                      </a:lnTo>
                      <a:lnTo>
                        <a:pt x="71" y="76"/>
                      </a:lnTo>
                      <a:lnTo>
                        <a:pt x="71" y="76"/>
                      </a:lnTo>
                      <a:lnTo>
                        <a:pt x="71" y="74"/>
                      </a:lnTo>
                      <a:lnTo>
                        <a:pt x="69" y="74"/>
                      </a:lnTo>
                      <a:lnTo>
                        <a:pt x="69" y="74"/>
                      </a:lnTo>
                      <a:lnTo>
                        <a:pt x="64" y="69"/>
                      </a:lnTo>
                      <a:lnTo>
                        <a:pt x="64" y="67"/>
                      </a:lnTo>
                      <a:lnTo>
                        <a:pt x="64" y="67"/>
                      </a:lnTo>
                      <a:lnTo>
                        <a:pt x="64" y="64"/>
                      </a:lnTo>
                      <a:lnTo>
                        <a:pt x="64" y="62"/>
                      </a:lnTo>
                      <a:lnTo>
                        <a:pt x="61" y="64"/>
                      </a:lnTo>
                      <a:lnTo>
                        <a:pt x="61" y="62"/>
                      </a:lnTo>
                      <a:lnTo>
                        <a:pt x="59" y="62"/>
                      </a:lnTo>
                      <a:lnTo>
                        <a:pt x="59" y="62"/>
                      </a:lnTo>
                      <a:lnTo>
                        <a:pt x="57" y="60"/>
                      </a:lnTo>
                      <a:lnTo>
                        <a:pt x="57" y="60"/>
                      </a:lnTo>
                      <a:lnTo>
                        <a:pt x="54" y="57"/>
                      </a:lnTo>
                      <a:lnTo>
                        <a:pt x="54" y="55"/>
                      </a:lnTo>
                      <a:lnTo>
                        <a:pt x="52" y="55"/>
                      </a:lnTo>
                      <a:lnTo>
                        <a:pt x="52" y="52"/>
                      </a:lnTo>
                      <a:lnTo>
                        <a:pt x="52" y="50"/>
                      </a:lnTo>
                      <a:lnTo>
                        <a:pt x="50" y="50"/>
                      </a:lnTo>
                      <a:lnTo>
                        <a:pt x="50" y="48"/>
                      </a:lnTo>
                      <a:lnTo>
                        <a:pt x="50" y="45"/>
                      </a:lnTo>
                      <a:lnTo>
                        <a:pt x="47" y="45"/>
                      </a:lnTo>
                      <a:lnTo>
                        <a:pt x="47" y="45"/>
                      </a:lnTo>
                      <a:lnTo>
                        <a:pt x="47" y="43"/>
                      </a:lnTo>
                      <a:lnTo>
                        <a:pt x="47" y="43"/>
                      </a:lnTo>
                      <a:lnTo>
                        <a:pt x="45" y="38"/>
                      </a:lnTo>
                      <a:lnTo>
                        <a:pt x="45" y="38"/>
                      </a:lnTo>
                      <a:lnTo>
                        <a:pt x="45" y="36"/>
                      </a:lnTo>
                      <a:lnTo>
                        <a:pt x="45" y="33"/>
                      </a:lnTo>
                      <a:lnTo>
                        <a:pt x="43" y="31"/>
                      </a:lnTo>
                      <a:lnTo>
                        <a:pt x="43" y="29"/>
                      </a:lnTo>
                      <a:lnTo>
                        <a:pt x="43" y="26"/>
                      </a:lnTo>
                      <a:lnTo>
                        <a:pt x="43" y="24"/>
                      </a:lnTo>
                      <a:lnTo>
                        <a:pt x="43" y="22"/>
                      </a:lnTo>
                      <a:lnTo>
                        <a:pt x="43" y="22"/>
                      </a:lnTo>
                      <a:lnTo>
                        <a:pt x="40" y="19"/>
                      </a:lnTo>
                      <a:lnTo>
                        <a:pt x="38" y="19"/>
                      </a:lnTo>
                      <a:lnTo>
                        <a:pt x="38" y="19"/>
                      </a:lnTo>
                      <a:lnTo>
                        <a:pt x="35" y="17"/>
                      </a:lnTo>
                      <a:lnTo>
                        <a:pt x="35" y="19"/>
                      </a:lnTo>
                      <a:lnTo>
                        <a:pt x="33" y="19"/>
                      </a:lnTo>
                      <a:lnTo>
                        <a:pt x="31" y="17"/>
                      </a:lnTo>
                      <a:lnTo>
                        <a:pt x="31" y="15"/>
                      </a:lnTo>
                      <a:lnTo>
                        <a:pt x="26" y="12"/>
                      </a:lnTo>
                      <a:lnTo>
                        <a:pt x="26" y="10"/>
                      </a:lnTo>
                      <a:lnTo>
                        <a:pt x="26" y="12"/>
                      </a:lnTo>
                      <a:lnTo>
                        <a:pt x="26" y="15"/>
                      </a:lnTo>
                      <a:lnTo>
                        <a:pt x="26" y="19"/>
                      </a:lnTo>
                      <a:lnTo>
                        <a:pt x="24" y="22"/>
                      </a:lnTo>
                      <a:lnTo>
                        <a:pt x="26" y="26"/>
                      </a:lnTo>
                      <a:lnTo>
                        <a:pt x="26" y="33"/>
                      </a:lnTo>
                      <a:lnTo>
                        <a:pt x="24" y="33"/>
                      </a:lnTo>
                      <a:lnTo>
                        <a:pt x="26" y="36"/>
                      </a:lnTo>
                      <a:lnTo>
                        <a:pt x="26" y="38"/>
                      </a:lnTo>
                      <a:lnTo>
                        <a:pt x="26" y="41"/>
                      </a:lnTo>
                      <a:lnTo>
                        <a:pt x="28" y="41"/>
                      </a:lnTo>
                      <a:lnTo>
                        <a:pt x="28" y="43"/>
                      </a:lnTo>
                      <a:lnTo>
                        <a:pt x="33" y="43"/>
                      </a:lnTo>
                      <a:lnTo>
                        <a:pt x="33" y="48"/>
                      </a:lnTo>
                      <a:lnTo>
                        <a:pt x="33" y="48"/>
                      </a:lnTo>
                      <a:lnTo>
                        <a:pt x="33" y="50"/>
                      </a:lnTo>
                      <a:lnTo>
                        <a:pt x="35" y="50"/>
                      </a:lnTo>
                      <a:lnTo>
                        <a:pt x="35" y="52"/>
                      </a:lnTo>
                      <a:lnTo>
                        <a:pt x="38" y="55"/>
                      </a:lnTo>
                      <a:lnTo>
                        <a:pt x="38" y="55"/>
                      </a:lnTo>
                      <a:lnTo>
                        <a:pt x="40" y="55"/>
                      </a:lnTo>
                      <a:lnTo>
                        <a:pt x="40" y="57"/>
                      </a:lnTo>
                      <a:lnTo>
                        <a:pt x="40" y="60"/>
                      </a:lnTo>
                      <a:lnTo>
                        <a:pt x="40" y="62"/>
                      </a:lnTo>
                      <a:lnTo>
                        <a:pt x="43" y="64"/>
                      </a:lnTo>
                      <a:lnTo>
                        <a:pt x="45" y="64"/>
                      </a:lnTo>
                      <a:lnTo>
                        <a:pt x="45" y="67"/>
                      </a:lnTo>
                      <a:lnTo>
                        <a:pt x="47" y="71"/>
                      </a:lnTo>
                      <a:lnTo>
                        <a:pt x="47" y="71"/>
                      </a:lnTo>
                      <a:lnTo>
                        <a:pt x="47" y="71"/>
                      </a:lnTo>
                      <a:lnTo>
                        <a:pt x="47" y="74"/>
                      </a:lnTo>
                      <a:lnTo>
                        <a:pt x="47" y="76"/>
                      </a:lnTo>
                      <a:lnTo>
                        <a:pt x="50" y="79"/>
                      </a:lnTo>
                      <a:lnTo>
                        <a:pt x="50" y="79"/>
                      </a:lnTo>
                      <a:lnTo>
                        <a:pt x="50" y="76"/>
                      </a:lnTo>
                      <a:lnTo>
                        <a:pt x="50" y="76"/>
                      </a:lnTo>
                      <a:lnTo>
                        <a:pt x="52" y="76"/>
                      </a:lnTo>
                      <a:lnTo>
                        <a:pt x="52" y="76"/>
                      </a:lnTo>
                      <a:lnTo>
                        <a:pt x="52" y="79"/>
                      </a:lnTo>
                      <a:lnTo>
                        <a:pt x="54" y="83"/>
                      </a:lnTo>
                      <a:lnTo>
                        <a:pt x="52" y="83"/>
                      </a:lnTo>
                      <a:lnTo>
                        <a:pt x="54" y="88"/>
                      </a:lnTo>
                      <a:lnTo>
                        <a:pt x="54" y="88"/>
                      </a:lnTo>
                      <a:lnTo>
                        <a:pt x="54" y="90"/>
                      </a:lnTo>
                      <a:lnTo>
                        <a:pt x="54" y="90"/>
                      </a:lnTo>
                      <a:lnTo>
                        <a:pt x="54" y="93"/>
                      </a:lnTo>
                      <a:lnTo>
                        <a:pt x="57" y="93"/>
                      </a:lnTo>
                      <a:lnTo>
                        <a:pt x="57" y="95"/>
                      </a:lnTo>
                      <a:lnTo>
                        <a:pt x="57" y="97"/>
                      </a:lnTo>
                      <a:lnTo>
                        <a:pt x="57" y="100"/>
                      </a:lnTo>
                      <a:lnTo>
                        <a:pt x="57" y="100"/>
                      </a:lnTo>
                      <a:lnTo>
                        <a:pt x="57" y="102"/>
                      </a:lnTo>
                      <a:lnTo>
                        <a:pt x="57" y="105"/>
                      </a:lnTo>
                      <a:lnTo>
                        <a:pt x="59" y="107"/>
                      </a:lnTo>
                      <a:lnTo>
                        <a:pt x="61" y="107"/>
                      </a:lnTo>
                      <a:lnTo>
                        <a:pt x="61" y="109"/>
                      </a:lnTo>
                      <a:lnTo>
                        <a:pt x="61" y="109"/>
                      </a:lnTo>
                      <a:lnTo>
                        <a:pt x="61" y="107"/>
                      </a:lnTo>
                      <a:lnTo>
                        <a:pt x="61" y="107"/>
                      </a:lnTo>
                      <a:lnTo>
                        <a:pt x="64" y="107"/>
                      </a:lnTo>
                      <a:lnTo>
                        <a:pt x="64" y="109"/>
                      </a:lnTo>
                      <a:lnTo>
                        <a:pt x="66" y="109"/>
                      </a:lnTo>
                      <a:lnTo>
                        <a:pt x="66" y="112"/>
                      </a:lnTo>
                      <a:lnTo>
                        <a:pt x="69" y="112"/>
                      </a:lnTo>
                      <a:lnTo>
                        <a:pt x="69" y="114"/>
                      </a:lnTo>
                      <a:lnTo>
                        <a:pt x="69" y="116"/>
                      </a:lnTo>
                      <a:lnTo>
                        <a:pt x="71" y="116"/>
                      </a:lnTo>
                      <a:lnTo>
                        <a:pt x="71" y="119"/>
                      </a:lnTo>
                      <a:lnTo>
                        <a:pt x="69" y="121"/>
                      </a:lnTo>
                      <a:lnTo>
                        <a:pt x="66" y="124"/>
                      </a:lnTo>
                      <a:lnTo>
                        <a:pt x="64" y="124"/>
                      </a:lnTo>
                      <a:lnTo>
                        <a:pt x="64" y="121"/>
                      </a:lnTo>
                      <a:lnTo>
                        <a:pt x="61" y="119"/>
                      </a:lnTo>
                      <a:lnTo>
                        <a:pt x="61" y="119"/>
                      </a:lnTo>
                      <a:lnTo>
                        <a:pt x="61" y="114"/>
                      </a:lnTo>
                      <a:lnTo>
                        <a:pt x="59" y="114"/>
                      </a:lnTo>
                      <a:lnTo>
                        <a:pt x="57" y="114"/>
                      </a:lnTo>
                      <a:lnTo>
                        <a:pt x="57" y="112"/>
                      </a:lnTo>
                      <a:lnTo>
                        <a:pt x="54" y="109"/>
                      </a:lnTo>
                      <a:lnTo>
                        <a:pt x="54" y="109"/>
                      </a:lnTo>
                      <a:lnTo>
                        <a:pt x="50" y="105"/>
                      </a:lnTo>
                      <a:lnTo>
                        <a:pt x="47" y="102"/>
                      </a:lnTo>
                      <a:lnTo>
                        <a:pt x="45" y="102"/>
                      </a:lnTo>
                      <a:lnTo>
                        <a:pt x="45" y="102"/>
                      </a:lnTo>
                      <a:lnTo>
                        <a:pt x="45" y="102"/>
                      </a:lnTo>
                      <a:lnTo>
                        <a:pt x="43" y="100"/>
                      </a:lnTo>
                      <a:lnTo>
                        <a:pt x="40" y="97"/>
                      </a:lnTo>
                      <a:lnTo>
                        <a:pt x="43" y="95"/>
                      </a:lnTo>
                      <a:lnTo>
                        <a:pt x="45" y="93"/>
                      </a:lnTo>
                      <a:lnTo>
                        <a:pt x="43" y="88"/>
                      </a:lnTo>
                      <a:lnTo>
                        <a:pt x="43" y="83"/>
                      </a:lnTo>
                      <a:lnTo>
                        <a:pt x="40" y="83"/>
                      </a:lnTo>
                      <a:lnTo>
                        <a:pt x="40" y="83"/>
                      </a:lnTo>
                      <a:lnTo>
                        <a:pt x="38" y="81"/>
                      </a:lnTo>
                      <a:lnTo>
                        <a:pt x="35" y="79"/>
                      </a:lnTo>
                      <a:lnTo>
                        <a:pt x="33" y="76"/>
                      </a:lnTo>
                      <a:lnTo>
                        <a:pt x="35" y="74"/>
                      </a:lnTo>
                      <a:lnTo>
                        <a:pt x="33" y="74"/>
                      </a:lnTo>
                      <a:lnTo>
                        <a:pt x="31" y="76"/>
                      </a:lnTo>
                      <a:lnTo>
                        <a:pt x="31" y="76"/>
                      </a:lnTo>
                      <a:lnTo>
                        <a:pt x="28" y="76"/>
                      </a:lnTo>
                      <a:lnTo>
                        <a:pt x="28" y="74"/>
                      </a:lnTo>
                      <a:lnTo>
                        <a:pt x="28" y="74"/>
                      </a:lnTo>
                      <a:lnTo>
                        <a:pt x="26" y="74"/>
                      </a:lnTo>
                      <a:lnTo>
                        <a:pt x="26" y="74"/>
                      </a:lnTo>
                      <a:lnTo>
                        <a:pt x="26" y="71"/>
                      </a:lnTo>
                      <a:lnTo>
                        <a:pt x="24" y="71"/>
                      </a:lnTo>
                      <a:lnTo>
                        <a:pt x="21" y="71"/>
                      </a:lnTo>
                      <a:lnTo>
                        <a:pt x="19" y="69"/>
                      </a:lnTo>
                      <a:lnTo>
                        <a:pt x="19" y="67"/>
                      </a:lnTo>
                      <a:lnTo>
                        <a:pt x="17" y="67"/>
                      </a:lnTo>
                      <a:lnTo>
                        <a:pt x="14" y="64"/>
                      </a:lnTo>
                      <a:lnTo>
                        <a:pt x="17" y="62"/>
                      </a:lnTo>
                      <a:lnTo>
                        <a:pt x="19" y="62"/>
                      </a:lnTo>
                      <a:lnTo>
                        <a:pt x="21" y="64"/>
                      </a:lnTo>
                      <a:lnTo>
                        <a:pt x="24" y="64"/>
                      </a:lnTo>
                      <a:lnTo>
                        <a:pt x="24" y="64"/>
                      </a:lnTo>
                      <a:lnTo>
                        <a:pt x="26" y="64"/>
                      </a:lnTo>
                      <a:lnTo>
                        <a:pt x="26" y="62"/>
                      </a:lnTo>
                      <a:lnTo>
                        <a:pt x="24" y="62"/>
                      </a:lnTo>
                      <a:lnTo>
                        <a:pt x="24" y="62"/>
                      </a:lnTo>
                      <a:lnTo>
                        <a:pt x="26" y="60"/>
                      </a:lnTo>
                      <a:lnTo>
                        <a:pt x="26" y="62"/>
                      </a:lnTo>
                      <a:lnTo>
                        <a:pt x="26" y="60"/>
                      </a:lnTo>
                      <a:lnTo>
                        <a:pt x="26" y="57"/>
                      </a:lnTo>
                      <a:lnTo>
                        <a:pt x="26" y="57"/>
                      </a:lnTo>
                      <a:lnTo>
                        <a:pt x="28" y="55"/>
                      </a:lnTo>
                      <a:lnTo>
                        <a:pt x="26" y="52"/>
                      </a:lnTo>
                      <a:lnTo>
                        <a:pt x="26" y="52"/>
                      </a:lnTo>
                      <a:lnTo>
                        <a:pt x="24" y="50"/>
                      </a:lnTo>
                      <a:lnTo>
                        <a:pt x="21" y="48"/>
                      </a:lnTo>
                      <a:lnTo>
                        <a:pt x="21" y="45"/>
                      </a:lnTo>
                      <a:lnTo>
                        <a:pt x="19" y="43"/>
                      </a:lnTo>
                      <a:lnTo>
                        <a:pt x="17" y="41"/>
                      </a:lnTo>
                      <a:lnTo>
                        <a:pt x="14" y="41"/>
                      </a:lnTo>
                      <a:lnTo>
                        <a:pt x="12" y="38"/>
                      </a:lnTo>
                      <a:lnTo>
                        <a:pt x="12" y="36"/>
                      </a:lnTo>
                      <a:lnTo>
                        <a:pt x="12" y="33"/>
                      </a:lnTo>
                      <a:lnTo>
                        <a:pt x="9" y="31"/>
                      </a:lnTo>
                      <a:lnTo>
                        <a:pt x="9" y="31"/>
                      </a:lnTo>
                      <a:lnTo>
                        <a:pt x="9" y="29"/>
                      </a:lnTo>
                      <a:lnTo>
                        <a:pt x="9" y="26"/>
                      </a:lnTo>
                      <a:lnTo>
                        <a:pt x="9" y="26"/>
                      </a:lnTo>
                      <a:lnTo>
                        <a:pt x="7" y="24"/>
                      </a:lnTo>
                      <a:lnTo>
                        <a:pt x="7" y="22"/>
                      </a:lnTo>
                      <a:lnTo>
                        <a:pt x="7" y="22"/>
                      </a:lnTo>
                      <a:lnTo>
                        <a:pt x="7" y="19"/>
                      </a:lnTo>
                      <a:lnTo>
                        <a:pt x="5" y="17"/>
                      </a:lnTo>
                      <a:lnTo>
                        <a:pt x="5" y="15"/>
                      </a:lnTo>
                      <a:lnTo>
                        <a:pt x="5" y="15"/>
                      </a:lnTo>
                      <a:lnTo>
                        <a:pt x="5" y="12"/>
                      </a:lnTo>
                      <a:lnTo>
                        <a:pt x="5" y="12"/>
                      </a:lnTo>
                      <a:lnTo>
                        <a:pt x="2" y="10"/>
                      </a:lnTo>
                      <a:lnTo>
                        <a:pt x="0" y="5"/>
                      </a:lnTo>
                      <a:lnTo>
                        <a:pt x="0" y="3"/>
                      </a:lnTo>
                      <a:lnTo>
                        <a:pt x="0" y="3"/>
                      </a:lnTo>
                      <a:close/>
                      <a:moveTo>
                        <a:pt x="59" y="100"/>
                      </a:moveTo>
                      <a:lnTo>
                        <a:pt x="61" y="100"/>
                      </a:lnTo>
                      <a:lnTo>
                        <a:pt x="59" y="97"/>
                      </a:lnTo>
                      <a:lnTo>
                        <a:pt x="59" y="95"/>
                      </a:lnTo>
                      <a:lnTo>
                        <a:pt x="59" y="97"/>
                      </a:lnTo>
                      <a:lnTo>
                        <a:pt x="59" y="97"/>
                      </a:lnTo>
                      <a:lnTo>
                        <a:pt x="59" y="100"/>
                      </a:lnTo>
                      <a:lnTo>
                        <a:pt x="59" y="100"/>
                      </a:lnTo>
                      <a:close/>
                      <a:moveTo>
                        <a:pt x="61" y="105"/>
                      </a:moveTo>
                      <a:lnTo>
                        <a:pt x="61" y="105"/>
                      </a:lnTo>
                      <a:lnTo>
                        <a:pt x="61" y="105"/>
                      </a:lnTo>
                      <a:lnTo>
                        <a:pt x="61" y="105"/>
                      </a:lnTo>
                      <a:lnTo>
                        <a:pt x="61" y="105"/>
                      </a:lnTo>
                      <a:lnTo>
                        <a:pt x="61" y="105"/>
                      </a:lnTo>
                      <a:close/>
                      <a:moveTo>
                        <a:pt x="206" y="102"/>
                      </a:moveTo>
                      <a:lnTo>
                        <a:pt x="206" y="102"/>
                      </a:lnTo>
                      <a:lnTo>
                        <a:pt x="208" y="100"/>
                      </a:lnTo>
                      <a:lnTo>
                        <a:pt x="206" y="100"/>
                      </a:lnTo>
                      <a:lnTo>
                        <a:pt x="206" y="102"/>
                      </a:lnTo>
                      <a:lnTo>
                        <a:pt x="206" y="102"/>
                      </a:lnTo>
                      <a:close/>
                      <a:moveTo>
                        <a:pt x="206" y="105"/>
                      </a:moveTo>
                      <a:lnTo>
                        <a:pt x="206" y="105"/>
                      </a:lnTo>
                      <a:lnTo>
                        <a:pt x="206" y="102"/>
                      </a:lnTo>
                      <a:lnTo>
                        <a:pt x="206" y="102"/>
                      </a:lnTo>
                      <a:lnTo>
                        <a:pt x="206" y="105"/>
                      </a:lnTo>
                      <a:lnTo>
                        <a:pt x="206" y="105"/>
                      </a:lnTo>
                      <a:close/>
                      <a:moveTo>
                        <a:pt x="203" y="109"/>
                      </a:moveTo>
                      <a:lnTo>
                        <a:pt x="206" y="107"/>
                      </a:lnTo>
                      <a:lnTo>
                        <a:pt x="206" y="105"/>
                      </a:lnTo>
                      <a:lnTo>
                        <a:pt x="203" y="109"/>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0" name="Freeform 185">
                  <a:extLst>
                    <a:ext uri="{FF2B5EF4-FFF2-40B4-BE49-F238E27FC236}">
                      <a16:creationId xmlns:a16="http://schemas.microsoft.com/office/drawing/2014/main" id="{3C9B2FDC-52A0-2497-7091-D23CAA66BCF0}"/>
                    </a:ext>
                  </a:extLst>
                </p:cNvPr>
                <p:cNvSpPr>
                  <a:spLocks noEditPoints="1"/>
                </p:cNvSpPr>
                <p:nvPr/>
              </p:nvSpPr>
              <p:spPr bwMode="auto">
                <a:xfrm>
                  <a:off x="1828" y="2548"/>
                  <a:ext cx="443" cy="421"/>
                </a:xfrm>
                <a:custGeom>
                  <a:avLst/>
                  <a:gdLst>
                    <a:gd name="T0" fmla="*/ 111 w 187"/>
                    <a:gd name="T1" fmla="*/ 24 h 178"/>
                    <a:gd name="T2" fmla="*/ 112 w 187"/>
                    <a:gd name="T3" fmla="*/ 23 h 178"/>
                    <a:gd name="T4" fmla="*/ 114 w 187"/>
                    <a:gd name="T5" fmla="*/ 23 h 178"/>
                    <a:gd name="T6" fmla="*/ 117 w 187"/>
                    <a:gd name="T7" fmla="*/ 24 h 178"/>
                    <a:gd name="T8" fmla="*/ 108 w 187"/>
                    <a:gd name="T9" fmla="*/ 5 h 178"/>
                    <a:gd name="T10" fmla="*/ 101 w 187"/>
                    <a:gd name="T11" fmla="*/ 13 h 178"/>
                    <a:gd name="T12" fmla="*/ 94 w 187"/>
                    <a:gd name="T13" fmla="*/ 15 h 178"/>
                    <a:gd name="T14" fmla="*/ 85 w 187"/>
                    <a:gd name="T15" fmla="*/ 13 h 178"/>
                    <a:gd name="T16" fmla="*/ 81 w 187"/>
                    <a:gd name="T17" fmla="*/ 15 h 178"/>
                    <a:gd name="T18" fmla="*/ 69 w 187"/>
                    <a:gd name="T19" fmla="*/ 17 h 178"/>
                    <a:gd name="T20" fmla="*/ 69 w 187"/>
                    <a:gd name="T21" fmla="*/ 6 h 178"/>
                    <a:gd name="T22" fmla="*/ 63 w 187"/>
                    <a:gd name="T23" fmla="*/ 0 h 178"/>
                    <a:gd name="T24" fmla="*/ 47 w 187"/>
                    <a:gd name="T25" fmla="*/ 6 h 178"/>
                    <a:gd name="T26" fmla="*/ 50 w 187"/>
                    <a:gd name="T27" fmla="*/ 13 h 178"/>
                    <a:gd name="T28" fmla="*/ 32 w 187"/>
                    <a:gd name="T29" fmla="*/ 18 h 178"/>
                    <a:gd name="T30" fmla="*/ 19 w 187"/>
                    <a:gd name="T31" fmla="*/ 17 h 178"/>
                    <a:gd name="T32" fmla="*/ 22 w 187"/>
                    <a:gd name="T33" fmla="*/ 30 h 178"/>
                    <a:gd name="T34" fmla="*/ 10 w 187"/>
                    <a:gd name="T35" fmla="*/ 43 h 178"/>
                    <a:gd name="T36" fmla="*/ 3 w 187"/>
                    <a:gd name="T37" fmla="*/ 53 h 178"/>
                    <a:gd name="T38" fmla="*/ 5 w 187"/>
                    <a:gd name="T39" fmla="*/ 65 h 178"/>
                    <a:gd name="T40" fmla="*/ 16 w 187"/>
                    <a:gd name="T41" fmla="*/ 72 h 178"/>
                    <a:gd name="T42" fmla="*/ 29 w 187"/>
                    <a:gd name="T43" fmla="*/ 71 h 178"/>
                    <a:gd name="T44" fmla="*/ 41 w 187"/>
                    <a:gd name="T45" fmla="*/ 70 h 178"/>
                    <a:gd name="T46" fmla="*/ 54 w 187"/>
                    <a:gd name="T47" fmla="*/ 81 h 178"/>
                    <a:gd name="T48" fmla="*/ 67 w 187"/>
                    <a:gd name="T49" fmla="*/ 93 h 178"/>
                    <a:gd name="T50" fmla="*/ 79 w 187"/>
                    <a:gd name="T51" fmla="*/ 114 h 178"/>
                    <a:gd name="T52" fmla="*/ 90 w 187"/>
                    <a:gd name="T53" fmla="*/ 123 h 178"/>
                    <a:gd name="T54" fmla="*/ 97 w 187"/>
                    <a:gd name="T55" fmla="*/ 136 h 178"/>
                    <a:gd name="T56" fmla="*/ 99 w 187"/>
                    <a:gd name="T57" fmla="*/ 146 h 178"/>
                    <a:gd name="T58" fmla="*/ 89 w 187"/>
                    <a:gd name="T59" fmla="*/ 154 h 178"/>
                    <a:gd name="T60" fmla="*/ 90 w 187"/>
                    <a:gd name="T61" fmla="*/ 161 h 178"/>
                    <a:gd name="T62" fmla="*/ 102 w 187"/>
                    <a:gd name="T63" fmla="*/ 169 h 178"/>
                    <a:gd name="T64" fmla="*/ 109 w 187"/>
                    <a:gd name="T65" fmla="*/ 172 h 178"/>
                    <a:gd name="T66" fmla="*/ 113 w 187"/>
                    <a:gd name="T67" fmla="*/ 163 h 178"/>
                    <a:gd name="T68" fmla="*/ 116 w 187"/>
                    <a:gd name="T69" fmla="*/ 160 h 178"/>
                    <a:gd name="T70" fmla="*/ 112 w 187"/>
                    <a:gd name="T71" fmla="*/ 168 h 178"/>
                    <a:gd name="T72" fmla="*/ 124 w 187"/>
                    <a:gd name="T73" fmla="*/ 151 h 178"/>
                    <a:gd name="T74" fmla="*/ 124 w 187"/>
                    <a:gd name="T75" fmla="*/ 143 h 178"/>
                    <a:gd name="T76" fmla="*/ 128 w 187"/>
                    <a:gd name="T77" fmla="*/ 136 h 178"/>
                    <a:gd name="T78" fmla="*/ 140 w 187"/>
                    <a:gd name="T79" fmla="*/ 128 h 178"/>
                    <a:gd name="T80" fmla="*/ 147 w 187"/>
                    <a:gd name="T81" fmla="*/ 124 h 178"/>
                    <a:gd name="T82" fmla="*/ 151 w 187"/>
                    <a:gd name="T83" fmla="*/ 125 h 178"/>
                    <a:gd name="T84" fmla="*/ 160 w 187"/>
                    <a:gd name="T85" fmla="*/ 117 h 178"/>
                    <a:gd name="T86" fmla="*/ 165 w 187"/>
                    <a:gd name="T87" fmla="*/ 103 h 178"/>
                    <a:gd name="T88" fmla="*/ 168 w 187"/>
                    <a:gd name="T89" fmla="*/ 84 h 178"/>
                    <a:gd name="T90" fmla="*/ 167 w 187"/>
                    <a:gd name="T91" fmla="*/ 78 h 178"/>
                    <a:gd name="T92" fmla="*/ 173 w 187"/>
                    <a:gd name="T93" fmla="*/ 77 h 178"/>
                    <a:gd name="T94" fmla="*/ 186 w 187"/>
                    <a:gd name="T95" fmla="*/ 61 h 178"/>
                    <a:gd name="T96" fmla="*/ 181 w 187"/>
                    <a:gd name="T97" fmla="*/ 45 h 178"/>
                    <a:gd name="T98" fmla="*/ 163 w 187"/>
                    <a:gd name="T99" fmla="*/ 36 h 178"/>
                    <a:gd name="T100" fmla="*/ 153 w 187"/>
                    <a:gd name="T101" fmla="*/ 36 h 178"/>
                    <a:gd name="T102" fmla="*/ 144 w 187"/>
                    <a:gd name="T103" fmla="*/ 34 h 178"/>
                    <a:gd name="T104" fmla="*/ 140 w 187"/>
                    <a:gd name="T105" fmla="*/ 38 h 178"/>
                    <a:gd name="T106" fmla="*/ 136 w 187"/>
                    <a:gd name="T107" fmla="*/ 31 h 178"/>
                    <a:gd name="T108" fmla="*/ 129 w 187"/>
                    <a:gd name="T109" fmla="*/ 27 h 178"/>
                    <a:gd name="T110" fmla="*/ 121 w 187"/>
                    <a:gd name="T111" fmla="*/ 29 h 178"/>
                    <a:gd name="T112" fmla="*/ 115 w 187"/>
                    <a:gd name="T113" fmla="*/ 36 h 178"/>
                    <a:gd name="T114" fmla="*/ 112 w 187"/>
                    <a:gd name="T115" fmla="*/ 31 h 178"/>
                    <a:gd name="T116" fmla="*/ 122 w 187"/>
                    <a:gd name="T117" fmla="*/ 26 h 178"/>
                    <a:gd name="T118" fmla="*/ 111 w 187"/>
                    <a:gd name="T119" fmla="*/ 27 h 178"/>
                    <a:gd name="T120" fmla="*/ 106 w 187"/>
                    <a:gd name="T121" fmla="*/ 27 h 178"/>
                    <a:gd name="T122" fmla="*/ 114 w 187"/>
                    <a:gd name="T123" fmla="*/ 19 h 178"/>
                    <a:gd name="T124" fmla="*/ 109 w 187"/>
                    <a:gd name="T125" fmla="*/ 1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7" h="178">
                      <a:moveTo>
                        <a:pt x="109" y="26"/>
                      </a:moveTo>
                      <a:cubicBezTo>
                        <a:pt x="109" y="26"/>
                        <a:pt x="109" y="26"/>
                        <a:pt x="109" y="26"/>
                      </a:cubicBezTo>
                      <a:cubicBezTo>
                        <a:pt x="110" y="25"/>
                        <a:pt x="110" y="25"/>
                        <a:pt x="110" y="25"/>
                      </a:cubicBezTo>
                      <a:cubicBezTo>
                        <a:pt x="110" y="26"/>
                        <a:pt x="110" y="26"/>
                        <a:pt x="110" y="26"/>
                      </a:cubicBezTo>
                      <a:cubicBezTo>
                        <a:pt x="110" y="26"/>
                        <a:pt x="110" y="26"/>
                        <a:pt x="110" y="26"/>
                      </a:cubicBezTo>
                      <a:cubicBezTo>
                        <a:pt x="109" y="26"/>
                        <a:pt x="109" y="26"/>
                        <a:pt x="109" y="26"/>
                      </a:cubicBezTo>
                      <a:cubicBezTo>
                        <a:pt x="109" y="26"/>
                        <a:pt x="109" y="26"/>
                        <a:pt x="109" y="26"/>
                      </a:cubicBezTo>
                      <a:close/>
                      <a:moveTo>
                        <a:pt x="108" y="26"/>
                      </a:moveTo>
                      <a:cubicBezTo>
                        <a:pt x="109" y="26"/>
                        <a:pt x="109" y="26"/>
                        <a:pt x="109" y="26"/>
                      </a:cubicBezTo>
                      <a:cubicBezTo>
                        <a:pt x="109" y="26"/>
                        <a:pt x="109" y="26"/>
                        <a:pt x="109" y="26"/>
                      </a:cubicBezTo>
                      <a:cubicBezTo>
                        <a:pt x="110" y="25"/>
                        <a:pt x="110" y="25"/>
                        <a:pt x="110" y="25"/>
                      </a:cubicBezTo>
                      <a:cubicBezTo>
                        <a:pt x="110" y="25"/>
                        <a:pt x="110" y="25"/>
                        <a:pt x="110" y="25"/>
                      </a:cubicBezTo>
                      <a:cubicBezTo>
                        <a:pt x="111" y="24"/>
                        <a:pt x="111" y="24"/>
                        <a:pt x="111" y="24"/>
                      </a:cubicBezTo>
                      <a:cubicBezTo>
                        <a:pt x="111" y="24"/>
                        <a:pt x="111" y="24"/>
                        <a:pt x="111" y="24"/>
                      </a:cubicBezTo>
                      <a:cubicBezTo>
                        <a:pt x="110" y="24"/>
                        <a:pt x="110" y="24"/>
                        <a:pt x="110" y="24"/>
                      </a:cubicBezTo>
                      <a:cubicBezTo>
                        <a:pt x="110" y="24"/>
                        <a:pt x="110" y="24"/>
                        <a:pt x="110" y="24"/>
                      </a:cubicBezTo>
                      <a:cubicBezTo>
                        <a:pt x="110" y="24"/>
                        <a:pt x="110" y="24"/>
                        <a:pt x="110" y="24"/>
                      </a:cubicBezTo>
                      <a:cubicBezTo>
                        <a:pt x="109" y="25"/>
                        <a:pt x="109" y="25"/>
                        <a:pt x="109" y="25"/>
                      </a:cubicBezTo>
                      <a:cubicBezTo>
                        <a:pt x="108" y="26"/>
                        <a:pt x="108" y="26"/>
                        <a:pt x="108" y="26"/>
                      </a:cubicBezTo>
                      <a:close/>
                      <a:moveTo>
                        <a:pt x="112" y="23"/>
                      </a:moveTo>
                      <a:cubicBezTo>
                        <a:pt x="112" y="23"/>
                        <a:pt x="112" y="23"/>
                        <a:pt x="112" y="23"/>
                      </a:cubicBezTo>
                      <a:cubicBezTo>
                        <a:pt x="112" y="22"/>
                        <a:pt x="112" y="22"/>
                        <a:pt x="112" y="22"/>
                      </a:cubicBezTo>
                      <a:cubicBezTo>
                        <a:pt x="111" y="23"/>
                        <a:pt x="111" y="23"/>
                        <a:pt x="111" y="23"/>
                      </a:cubicBezTo>
                      <a:cubicBezTo>
                        <a:pt x="112" y="23"/>
                        <a:pt x="112" y="23"/>
                        <a:pt x="112" y="23"/>
                      </a:cubicBezTo>
                      <a:cubicBezTo>
                        <a:pt x="112" y="23"/>
                        <a:pt x="112" y="23"/>
                        <a:pt x="112" y="23"/>
                      </a:cubicBezTo>
                      <a:cubicBezTo>
                        <a:pt x="112" y="23"/>
                        <a:pt x="112" y="23"/>
                        <a:pt x="112" y="23"/>
                      </a:cubicBezTo>
                      <a:close/>
                      <a:moveTo>
                        <a:pt x="112" y="22"/>
                      </a:moveTo>
                      <a:cubicBezTo>
                        <a:pt x="112" y="21"/>
                        <a:pt x="112" y="21"/>
                        <a:pt x="112" y="21"/>
                      </a:cubicBezTo>
                      <a:cubicBezTo>
                        <a:pt x="113" y="21"/>
                        <a:pt x="113" y="21"/>
                        <a:pt x="113" y="21"/>
                      </a:cubicBezTo>
                      <a:cubicBezTo>
                        <a:pt x="113" y="21"/>
                        <a:pt x="113" y="21"/>
                        <a:pt x="113" y="21"/>
                      </a:cubicBezTo>
                      <a:cubicBezTo>
                        <a:pt x="114" y="20"/>
                        <a:pt x="114" y="20"/>
                        <a:pt x="114" y="20"/>
                      </a:cubicBezTo>
                      <a:cubicBezTo>
                        <a:pt x="114" y="20"/>
                        <a:pt x="114" y="20"/>
                        <a:pt x="114" y="20"/>
                      </a:cubicBezTo>
                      <a:cubicBezTo>
                        <a:pt x="114" y="21"/>
                        <a:pt x="114" y="21"/>
                        <a:pt x="114" y="21"/>
                      </a:cubicBezTo>
                      <a:cubicBezTo>
                        <a:pt x="113" y="21"/>
                        <a:pt x="113" y="21"/>
                        <a:pt x="113" y="21"/>
                      </a:cubicBezTo>
                      <a:cubicBezTo>
                        <a:pt x="113" y="22"/>
                        <a:pt x="113" y="22"/>
                        <a:pt x="113" y="22"/>
                      </a:cubicBezTo>
                      <a:cubicBezTo>
                        <a:pt x="112" y="22"/>
                        <a:pt x="112" y="22"/>
                        <a:pt x="112" y="22"/>
                      </a:cubicBezTo>
                      <a:close/>
                      <a:moveTo>
                        <a:pt x="113" y="23"/>
                      </a:moveTo>
                      <a:cubicBezTo>
                        <a:pt x="113" y="23"/>
                        <a:pt x="113" y="23"/>
                        <a:pt x="113" y="23"/>
                      </a:cubicBezTo>
                      <a:cubicBezTo>
                        <a:pt x="114" y="23"/>
                        <a:pt x="114" y="23"/>
                        <a:pt x="114" y="23"/>
                      </a:cubicBezTo>
                      <a:cubicBezTo>
                        <a:pt x="115" y="23"/>
                        <a:pt x="115" y="23"/>
                        <a:pt x="115" y="23"/>
                      </a:cubicBezTo>
                      <a:cubicBezTo>
                        <a:pt x="115" y="23"/>
                        <a:pt x="115" y="23"/>
                        <a:pt x="115" y="23"/>
                      </a:cubicBezTo>
                      <a:cubicBezTo>
                        <a:pt x="115" y="22"/>
                        <a:pt x="115" y="22"/>
                        <a:pt x="115" y="22"/>
                      </a:cubicBezTo>
                      <a:cubicBezTo>
                        <a:pt x="115" y="22"/>
                        <a:pt x="115" y="22"/>
                        <a:pt x="115" y="22"/>
                      </a:cubicBezTo>
                      <a:cubicBezTo>
                        <a:pt x="114" y="22"/>
                        <a:pt x="114" y="22"/>
                        <a:pt x="114" y="22"/>
                      </a:cubicBezTo>
                      <a:cubicBezTo>
                        <a:pt x="113" y="22"/>
                        <a:pt x="113" y="22"/>
                        <a:pt x="113" y="22"/>
                      </a:cubicBezTo>
                      <a:cubicBezTo>
                        <a:pt x="113" y="23"/>
                        <a:pt x="113" y="23"/>
                        <a:pt x="113" y="23"/>
                      </a:cubicBezTo>
                      <a:close/>
                      <a:moveTo>
                        <a:pt x="115" y="24"/>
                      </a:moveTo>
                      <a:cubicBezTo>
                        <a:pt x="116" y="23"/>
                        <a:pt x="116" y="23"/>
                        <a:pt x="116" y="23"/>
                      </a:cubicBezTo>
                      <a:cubicBezTo>
                        <a:pt x="116" y="23"/>
                        <a:pt x="116" y="23"/>
                        <a:pt x="116" y="23"/>
                      </a:cubicBezTo>
                      <a:cubicBezTo>
                        <a:pt x="117" y="23"/>
                        <a:pt x="117" y="23"/>
                        <a:pt x="117" y="23"/>
                      </a:cubicBezTo>
                      <a:cubicBezTo>
                        <a:pt x="117" y="23"/>
                        <a:pt x="117" y="23"/>
                        <a:pt x="117" y="23"/>
                      </a:cubicBezTo>
                      <a:cubicBezTo>
                        <a:pt x="117" y="24"/>
                        <a:pt x="117" y="24"/>
                        <a:pt x="117" y="24"/>
                      </a:cubicBezTo>
                      <a:cubicBezTo>
                        <a:pt x="116" y="24"/>
                        <a:pt x="116" y="24"/>
                        <a:pt x="116" y="24"/>
                      </a:cubicBezTo>
                      <a:cubicBezTo>
                        <a:pt x="115" y="24"/>
                        <a:pt x="115" y="24"/>
                        <a:pt x="115" y="24"/>
                      </a:cubicBezTo>
                      <a:close/>
                      <a:moveTo>
                        <a:pt x="112" y="15"/>
                      </a:moveTo>
                      <a:cubicBezTo>
                        <a:pt x="112" y="14"/>
                        <a:pt x="112" y="14"/>
                        <a:pt x="112" y="14"/>
                      </a:cubicBezTo>
                      <a:cubicBezTo>
                        <a:pt x="111" y="13"/>
                        <a:pt x="111" y="13"/>
                        <a:pt x="111" y="13"/>
                      </a:cubicBezTo>
                      <a:cubicBezTo>
                        <a:pt x="112" y="13"/>
                        <a:pt x="112" y="13"/>
                        <a:pt x="112" y="13"/>
                      </a:cubicBezTo>
                      <a:cubicBezTo>
                        <a:pt x="112" y="13"/>
                        <a:pt x="112" y="13"/>
                        <a:pt x="112" y="13"/>
                      </a:cubicBezTo>
                      <a:cubicBezTo>
                        <a:pt x="113" y="14"/>
                        <a:pt x="113" y="14"/>
                        <a:pt x="113" y="14"/>
                      </a:cubicBezTo>
                      <a:cubicBezTo>
                        <a:pt x="113" y="15"/>
                        <a:pt x="113" y="15"/>
                        <a:pt x="113" y="15"/>
                      </a:cubicBezTo>
                      <a:cubicBezTo>
                        <a:pt x="113" y="15"/>
                        <a:pt x="112" y="15"/>
                        <a:pt x="112" y="15"/>
                      </a:cubicBezTo>
                      <a:close/>
                      <a:moveTo>
                        <a:pt x="108" y="6"/>
                      </a:moveTo>
                      <a:cubicBezTo>
                        <a:pt x="108" y="6"/>
                        <a:pt x="108" y="6"/>
                        <a:pt x="108" y="6"/>
                      </a:cubicBezTo>
                      <a:cubicBezTo>
                        <a:pt x="108" y="5"/>
                        <a:pt x="108" y="5"/>
                        <a:pt x="108" y="5"/>
                      </a:cubicBezTo>
                      <a:cubicBezTo>
                        <a:pt x="107" y="4"/>
                        <a:pt x="107" y="4"/>
                        <a:pt x="107" y="4"/>
                      </a:cubicBezTo>
                      <a:cubicBezTo>
                        <a:pt x="107" y="4"/>
                        <a:pt x="107" y="4"/>
                        <a:pt x="107" y="4"/>
                      </a:cubicBezTo>
                      <a:cubicBezTo>
                        <a:pt x="107" y="5"/>
                        <a:pt x="107" y="5"/>
                        <a:pt x="107" y="5"/>
                      </a:cubicBezTo>
                      <a:cubicBezTo>
                        <a:pt x="106" y="5"/>
                        <a:pt x="106" y="5"/>
                        <a:pt x="106" y="5"/>
                      </a:cubicBezTo>
                      <a:cubicBezTo>
                        <a:pt x="105" y="6"/>
                        <a:pt x="105" y="6"/>
                        <a:pt x="105" y="6"/>
                      </a:cubicBezTo>
                      <a:cubicBezTo>
                        <a:pt x="105" y="6"/>
                        <a:pt x="105" y="6"/>
                        <a:pt x="105" y="6"/>
                      </a:cubicBezTo>
                      <a:cubicBezTo>
                        <a:pt x="105" y="6"/>
                        <a:pt x="105" y="6"/>
                        <a:pt x="105" y="6"/>
                      </a:cubicBezTo>
                      <a:cubicBezTo>
                        <a:pt x="105" y="7"/>
                        <a:pt x="105" y="7"/>
                        <a:pt x="105" y="7"/>
                      </a:cubicBezTo>
                      <a:cubicBezTo>
                        <a:pt x="104" y="8"/>
                        <a:pt x="104" y="8"/>
                        <a:pt x="104" y="8"/>
                      </a:cubicBezTo>
                      <a:cubicBezTo>
                        <a:pt x="103" y="9"/>
                        <a:pt x="103" y="9"/>
                        <a:pt x="103" y="9"/>
                      </a:cubicBezTo>
                      <a:cubicBezTo>
                        <a:pt x="102" y="10"/>
                        <a:pt x="102" y="10"/>
                        <a:pt x="102" y="10"/>
                      </a:cubicBezTo>
                      <a:cubicBezTo>
                        <a:pt x="102" y="12"/>
                        <a:pt x="102" y="12"/>
                        <a:pt x="102" y="12"/>
                      </a:cubicBezTo>
                      <a:cubicBezTo>
                        <a:pt x="101" y="13"/>
                        <a:pt x="101" y="13"/>
                        <a:pt x="101" y="13"/>
                      </a:cubicBezTo>
                      <a:cubicBezTo>
                        <a:pt x="100" y="14"/>
                        <a:pt x="100" y="14"/>
                        <a:pt x="100" y="14"/>
                      </a:cubicBezTo>
                      <a:cubicBezTo>
                        <a:pt x="99" y="14"/>
                        <a:pt x="99" y="14"/>
                        <a:pt x="99" y="14"/>
                      </a:cubicBezTo>
                      <a:cubicBezTo>
                        <a:pt x="99" y="14"/>
                        <a:pt x="99" y="14"/>
                        <a:pt x="99" y="14"/>
                      </a:cubicBezTo>
                      <a:cubicBezTo>
                        <a:pt x="99" y="15"/>
                        <a:pt x="99" y="15"/>
                        <a:pt x="99" y="15"/>
                      </a:cubicBezTo>
                      <a:cubicBezTo>
                        <a:pt x="98" y="16"/>
                        <a:pt x="98" y="16"/>
                        <a:pt x="98" y="16"/>
                      </a:cubicBezTo>
                      <a:cubicBezTo>
                        <a:pt x="97" y="16"/>
                        <a:pt x="97" y="16"/>
                        <a:pt x="97" y="16"/>
                      </a:cubicBezTo>
                      <a:cubicBezTo>
                        <a:pt x="97" y="14"/>
                        <a:pt x="97" y="14"/>
                        <a:pt x="97" y="14"/>
                      </a:cubicBezTo>
                      <a:cubicBezTo>
                        <a:pt x="97" y="14"/>
                        <a:pt x="97" y="14"/>
                        <a:pt x="97" y="14"/>
                      </a:cubicBezTo>
                      <a:cubicBezTo>
                        <a:pt x="97" y="14"/>
                        <a:pt x="97" y="14"/>
                        <a:pt x="97" y="14"/>
                      </a:cubicBezTo>
                      <a:cubicBezTo>
                        <a:pt x="96" y="14"/>
                        <a:pt x="96" y="14"/>
                        <a:pt x="96" y="14"/>
                      </a:cubicBezTo>
                      <a:cubicBezTo>
                        <a:pt x="96" y="14"/>
                        <a:pt x="96" y="14"/>
                        <a:pt x="96" y="14"/>
                      </a:cubicBezTo>
                      <a:cubicBezTo>
                        <a:pt x="95" y="15"/>
                        <a:pt x="95" y="15"/>
                        <a:pt x="95" y="15"/>
                      </a:cubicBezTo>
                      <a:cubicBezTo>
                        <a:pt x="94" y="15"/>
                        <a:pt x="94" y="15"/>
                        <a:pt x="94" y="15"/>
                      </a:cubicBezTo>
                      <a:cubicBezTo>
                        <a:pt x="94" y="14"/>
                        <a:pt x="94" y="14"/>
                        <a:pt x="94" y="14"/>
                      </a:cubicBezTo>
                      <a:cubicBezTo>
                        <a:pt x="94" y="13"/>
                        <a:pt x="94" y="13"/>
                        <a:pt x="94" y="13"/>
                      </a:cubicBezTo>
                      <a:cubicBezTo>
                        <a:pt x="93" y="13"/>
                        <a:pt x="93" y="13"/>
                        <a:pt x="93" y="13"/>
                      </a:cubicBezTo>
                      <a:cubicBezTo>
                        <a:pt x="93" y="13"/>
                        <a:pt x="93" y="13"/>
                        <a:pt x="93" y="13"/>
                      </a:cubicBezTo>
                      <a:cubicBezTo>
                        <a:pt x="93" y="12"/>
                        <a:pt x="93" y="12"/>
                        <a:pt x="93" y="12"/>
                      </a:cubicBezTo>
                      <a:cubicBezTo>
                        <a:pt x="92" y="12"/>
                        <a:pt x="92" y="12"/>
                        <a:pt x="92" y="12"/>
                      </a:cubicBezTo>
                      <a:cubicBezTo>
                        <a:pt x="91" y="11"/>
                        <a:pt x="91" y="11"/>
                        <a:pt x="91" y="11"/>
                      </a:cubicBezTo>
                      <a:cubicBezTo>
                        <a:pt x="90" y="11"/>
                        <a:pt x="90" y="11"/>
                        <a:pt x="90" y="11"/>
                      </a:cubicBezTo>
                      <a:cubicBezTo>
                        <a:pt x="89" y="12"/>
                        <a:pt x="89" y="12"/>
                        <a:pt x="89" y="12"/>
                      </a:cubicBezTo>
                      <a:cubicBezTo>
                        <a:pt x="87" y="12"/>
                        <a:pt x="87" y="12"/>
                        <a:pt x="87" y="12"/>
                      </a:cubicBezTo>
                      <a:cubicBezTo>
                        <a:pt x="86" y="11"/>
                        <a:pt x="86" y="11"/>
                        <a:pt x="86" y="11"/>
                      </a:cubicBezTo>
                      <a:cubicBezTo>
                        <a:pt x="85" y="12"/>
                        <a:pt x="85" y="12"/>
                        <a:pt x="85" y="12"/>
                      </a:cubicBezTo>
                      <a:cubicBezTo>
                        <a:pt x="85" y="13"/>
                        <a:pt x="85" y="13"/>
                        <a:pt x="85" y="13"/>
                      </a:cubicBezTo>
                      <a:cubicBezTo>
                        <a:pt x="86" y="13"/>
                        <a:pt x="86" y="13"/>
                        <a:pt x="86" y="13"/>
                      </a:cubicBezTo>
                      <a:cubicBezTo>
                        <a:pt x="86" y="14"/>
                        <a:pt x="86" y="14"/>
                        <a:pt x="86" y="14"/>
                      </a:cubicBezTo>
                      <a:cubicBezTo>
                        <a:pt x="87" y="15"/>
                        <a:pt x="87" y="15"/>
                        <a:pt x="87" y="15"/>
                      </a:cubicBezTo>
                      <a:cubicBezTo>
                        <a:pt x="86" y="15"/>
                        <a:pt x="86" y="15"/>
                        <a:pt x="86" y="15"/>
                      </a:cubicBezTo>
                      <a:cubicBezTo>
                        <a:pt x="86" y="15"/>
                        <a:pt x="86" y="15"/>
                        <a:pt x="86" y="15"/>
                      </a:cubicBezTo>
                      <a:cubicBezTo>
                        <a:pt x="84" y="15"/>
                        <a:pt x="84" y="15"/>
                        <a:pt x="84" y="15"/>
                      </a:cubicBezTo>
                      <a:cubicBezTo>
                        <a:pt x="84" y="15"/>
                        <a:pt x="84" y="15"/>
                        <a:pt x="84" y="15"/>
                      </a:cubicBezTo>
                      <a:cubicBezTo>
                        <a:pt x="84" y="15"/>
                        <a:pt x="84" y="15"/>
                        <a:pt x="84" y="15"/>
                      </a:cubicBezTo>
                      <a:cubicBezTo>
                        <a:pt x="84" y="15"/>
                        <a:pt x="84" y="15"/>
                        <a:pt x="84" y="15"/>
                      </a:cubicBezTo>
                      <a:cubicBezTo>
                        <a:pt x="84" y="15"/>
                        <a:pt x="84" y="15"/>
                        <a:pt x="84" y="15"/>
                      </a:cubicBezTo>
                      <a:cubicBezTo>
                        <a:pt x="82" y="15"/>
                        <a:pt x="82" y="15"/>
                        <a:pt x="82" y="15"/>
                      </a:cubicBezTo>
                      <a:cubicBezTo>
                        <a:pt x="81" y="15"/>
                        <a:pt x="81" y="15"/>
                        <a:pt x="81" y="15"/>
                      </a:cubicBezTo>
                      <a:cubicBezTo>
                        <a:pt x="81" y="15"/>
                        <a:pt x="81" y="15"/>
                        <a:pt x="81" y="15"/>
                      </a:cubicBezTo>
                      <a:cubicBezTo>
                        <a:pt x="79" y="15"/>
                        <a:pt x="79" y="15"/>
                        <a:pt x="79" y="15"/>
                      </a:cubicBezTo>
                      <a:cubicBezTo>
                        <a:pt x="78" y="15"/>
                        <a:pt x="78" y="15"/>
                        <a:pt x="78" y="15"/>
                      </a:cubicBezTo>
                      <a:cubicBezTo>
                        <a:pt x="78" y="16"/>
                        <a:pt x="78" y="16"/>
                        <a:pt x="78" y="16"/>
                      </a:cubicBezTo>
                      <a:cubicBezTo>
                        <a:pt x="76" y="16"/>
                        <a:pt x="76" y="16"/>
                        <a:pt x="76" y="16"/>
                      </a:cubicBezTo>
                      <a:cubicBezTo>
                        <a:pt x="75" y="17"/>
                        <a:pt x="75" y="17"/>
                        <a:pt x="75" y="17"/>
                      </a:cubicBezTo>
                      <a:cubicBezTo>
                        <a:pt x="75" y="17"/>
                        <a:pt x="75" y="17"/>
                        <a:pt x="75" y="17"/>
                      </a:cubicBezTo>
                      <a:cubicBezTo>
                        <a:pt x="74" y="18"/>
                        <a:pt x="74" y="18"/>
                        <a:pt x="74" y="18"/>
                      </a:cubicBezTo>
                      <a:cubicBezTo>
                        <a:pt x="73" y="18"/>
                        <a:pt x="73" y="18"/>
                        <a:pt x="73" y="18"/>
                      </a:cubicBezTo>
                      <a:cubicBezTo>
                        <a:pt x="73" y="17"/>
                        <a:pt x="73" y="17"/>
                        <a:pt x="73" y="17"/>
                      </a:cubicBezTo>
                      <a:cubicBezTo>
                        <a:pt x="72" y="18"/>
                        <a:pt x="72" y="18"/>
                        <a:pt x="72" y="18"/>
                      </a:cubicBezTo>
                      <a:cubicBezTo>
                        <a:pt x="72" y="18"/>
                        <a:pt x="72" y="18"/>
                        <a:pt x="72" y="18"/>
                      </a:cubicBezTo>
                      <a:cubicBezTo>
                        <a:pt x="71" y="18"/>
                        <a:pt x="71" y="18"/>
                        <a:pt x="71" y="18"/>
                      </a:cubicBezTo>
                      <a:cubicBezTo>
                        <a:pt x="69" y="17"/>
                        <a:pt x="69" y="17"/>
                        <a:pt x="69" y="17"/>
                      </a:cubicBezTo>
                      <a:cubicBezTo>
                        <a:pt x="68" y="16"/>
                        <a:pt x="68" y="16"/>
                        <a:pt x="68" y="16"/>
                      </a:cubicBezTo>
                      <a:cubicBezTo>
                        <a:pt x="68" y="15"/>
                        <a:pt x="68" y="15"/>
                        <a:pt x="68" y="15"/>
                      </a:cubicBezTo>
                      <a:cubicBezTo>
                        <a:pt x="67" y="14"/>
                        <a:pt x="67" y="14"/>
                        <a:pt x="67" y="14"/>
                      </a:cubicBezTo>
                      <a:cubicBezTo>
                        <a:pt x="66" y="13"/>
                        <a:pt x="66" y="13"/>
                        <a:pt x="66" y="13"/>
                      </a:cubicBezTo>
                      <a:cubicBezTo>
                        <a:pt x="66" y="13"/>
                        <a:pt x="66" y="13"/>
                        <a:pt x="66" y="13"/>
                      </a:cubicBezTo>
                      <a:cubicBezTo>
                        <a:pt x="66" y="12"/>
                        <a:pt x="66" y="12"/>
                        <a:pt x="66" y="12"/>
                      </a:cubicBezTo>
                      <a:cubicBezTo>
                        <a:pt x="66" y="12"/>
                        <a:pt x="66" y="12"/>
                        <a:pt x="66" y="12"/>
                      </a:cubicBezTo>
                      <a:cubicBezTo>
                        <a:pt x="66" y="11"/>
                        <a:pt x="66" y="11"/>
                        <a:pt x="66" y="11"/>
                      </a:cubicBezTo>
                      <a:cubicBezTo>
                        <a:pt x="67" y="10"/>
                        <a:pt x="67" y="10"/>
                        <a:pt x="67" y="10"/>
                      </a:cubicBezTo>
                      <a:cubicBezTo>
                        <a:pt x="67" y="9"/>
                        <a:pt x="67" y="9"/>
                        <a:pt x="67" y="9"/>
                      </a:cubicBezTo>
                      <a:cubicBezTo>
                        <a:pt x="68" y="8"/>
                        <a:pt x="68" y="8"/>
                        <a:pt x="68" y="8"/>
                      </a:cubicBezTo>
                      <a:cubicBezTo>
                        <a:pt x="68" y="7"/>
                        <a:pt x="68" y="7"/>
                        <a:pt x="68" y="7"/>
                      </a:cubicBezTo>
                      <a:cubicBezTo>
                        <a:pt x="69" y="6"/>
                        <a:pt x="69" y="6"/>
                        <a:pt x="69" y="6"/>
                      </a:cubicBezTo>
                      <a:cubicBezTo>
                        <a:pt x="69" y="5"/>
                        <a:pt x="69" y="5"/>
                        <a:pt x="69" y="5"/>
                      </a:cubicBezTo>
                      <a:cubicBezTo>
                        <a:pt x="68" y="5"/>
                        <a:pt x="68" y="5"/>
                        <a:pt x="68" y="5"/>
                      </a:cubicBezTo>
                      <a:cubicBezTo>
                        <a:pt x="67" y="5"/>
                        <a:pt x="67" y="5"/>
                        <a:pt x="67" y="5"/>
                      </a:cubicBezTo>
                      <a:cubicBezTo>
                        <a:pt x="67" y="4"/>
                        <a:pt x="67" y="4"/>
                        <a:pt x="67" y="4"/>
                      </a:cubicBezTo>
                      <a:cubicBezTo>
                        <a:pt x="66" y="4"/>
                        <a:pt x="66" y="4"/>
                        <a:pt x="66" y="4"/>
                      </a:cubicBezTo>
                      <a:cubicBezTo>
                        <a:pt x="65" y="4"/>
                        <a:pt x="65" y="4"/>
                        <a:pt x="65" y="4"/>
                      </a:cubicBezTo>
                      <a:cubicBezTo>
                        <a:pt x="66" y="3"/>
                        <a:pt x="66" y="3"/>
                        <a:pt x="66" y="3"/>
                      </a:cubicBezTo>
                      <a:cubicBezTo>
                        <a:pt x="66" y="2"/>
                        <a:pt x="66" y="2"/>
                        <a:pt x="66" y="2"/>
                      </a:cubicBezTo>
                      <a:cubicBezTo>
                        <a:pt x="66" y="1"/>
                        <a:pt x="66" y="1"/>
                        <a:pt x="66" y="1"/>
                      </a:cubicBezTo>
                      <a:cubicBezTo>
                        <a:pt x="65" y="0"/>
                        <a:pt x="65" y="0"/>
                        <a:pt x="65" y="0"/>
                      </a:cubicBezTo>
                      <a:cubicBezTo>
                        <a:pt x="64" y="0"/>
                        <a:pt x="64" y="0"/>
                        <a:pt x="64" y="0"/>
                      </a:cubicBezTo>
                      <a:cubicBezTo>
                        <a:pt x="64" y="0"/>
                        <a:pt x="64" y="0"/>
                        <a:pt x="64" y="0"/>
                      </a:cubicBezTo>
                      <a:cubicBezTo>
                        <a:pt x="63" y="0"/>
                        <a:pt x="63" y="0"/>
                        <a:pt x="63" y="0"/>
                      </a:cubicBezTo>
                      <a:cubicBezTo>
                        <a:pt x="63" y="0"/>
                        <a:pt x="63" y="0"/>
                        <a:pt x="63" y="0"/>
                      </a:cubicBezTo>
                      <a:cubicBezTo>
                        <a:pt x="63" y="1"/>
                        <a:pt x="63" y="1"/>
                        <a:pt x="63" y="1"/>
                      </a:cubicBezTo>
                      <a:cubicBezTo>
                        <a:pt x="63" y="2"/>
                        <a:pt x="63" y="2"/>
                        <a:pt x="63" y="2"/>
                      </a:cubicBezTo>
                      <a:cubicBezTo>
                        <a:pt x="60" y="3"/>
                        <a:pt x="60" y="3"/>
                        <a:pt x="60" y="3"/>
                      </a:cubicBezTo>
                      <a:cubicBezTo>
                        <a:pt x="59" y="4"/>
                        <a:pt x="59" y="4"/>
                        <a:pt x="59" y="4"/>
                      </a:cubicBezTo>
                      <a:cubicBezTo>
                        <a:pt x="56" y="4"/>
                        <a:pt x="56" y="4"/>
                        <a:pt x="56" y="4"/>
                      </a:cubicBezTo>
                      <a:cubicBezTo>
                        <a:pt x="56" y="4"/>
                        <a:pt x="56" y="4"/>
                        <a:pt x="56" y="4"/>
                      </a:cubicBezTo>
                      <a:cubicBezTo>
                        <a:pt x="54" y="4"/>
                        <a:pt x="54" y="4"/>
                        <a:pt x="54" y="4"/>
                      </a:cubicBezTo>
                      <a:cubicBezTo>
                        <a:pt x="53" y="5"/>
                        <a:pt x="53" y="5"/>
                        <a:pt x="53" y="5"/>
                      </a:cubicBezTo>
                      <a:cubicBezTo>
                        <a:pt x="51" y="6"/>
                        <a:pt x="51" y="6"/>
                        <a:pt x="51" y="6"/>
                      </a:cubicBezTo>
                      <a:cubicBezTo>
                        <a:pt x="51" y="6"/>
                        <a:pt x="51" y="6"/>
                        <a:pt x="51" y="6"/>
                      </a:cubicBezTo>
                      <a:cubicBezTo>
                        <a:pt x="49" y="6"/>
                        <a:pt x="49" y="6"/>
                        <a:pt x="49" y="6"/>
                      </a:cubicBezTo>
                      <a:cubicBezTo>
                        <a:pt x="47" y="6"/>
                        <a:pt x="47" y="6"/>
                        <a:pt x="47" y="6"/>
                      </a:cubicBezTo>
                      <a:cubicBezTo>
                        <a:pt x="45" y="5"/>
                        <a:pt x="45" y="5"/>
                        <a:pt x="45" y="5"/>
                      </a:cubicBezTo>
                      <a:cubicBezTo>
                        <a:pt x="44" y="5"/>
                        <a:pt x="44" y="5"/>
                        <a:pt x="44" y="5"/>
                      </a:cubicBezTo>
                      <a:cubicBezTo>
                        <a:pt x="43" y="5"/>
                        <a:pt x="43" y="5"/>
                        <a:pt x="43" y="5"/>
                      </a:cubicBezTo>
                      <a:cubicBezTo>
                        <a:pt x="43" y="6"/>
                        <a:pt x="43" y="6"/>
                        <a:pt x="43" y="6"/>
                      </a:cubicBezTo>
                      <a:cubicBezTo>
                        <a:pt x="44" y="6"/>
                        <a:pt x="44" y="6"/>
                        <a:pt x="44" y="6"/>
                      </a:cubicBezTo>
                      <a:cubicBezTo>
                        <a:pt x="45" y="7"/>
                        <a:pt x="45" y="7"/>
                        <a:pt x="45" y="7"/>
                      </a:cubicBezTo>
                      <a:cubicBezTo>
                        <a:pt x="46" y="8"/>
                        <a:pt x="46" y="8"/>
                        <a:pt x="46" y="8"/>
                      </a:cubicBezTo>
                      <a:cubicBezTo>
                        <a:pt x="44" y="10"/>
                        <a:pt x="44" y="10"/>
                        <a:pt x="44" y="10"/>
                      </a:cubicBezTo>
                      <a:cubicBezTo>
                        <a:pt x="45" y="10"/>
                        <a:pt x="45" y="10"/>
                        <a:pt x="45" y="10"/>
                      </a:cubicBezTo>
                      <a:cubicBezTo>
                        <a:pt x="44" y="12"/>
                        <a:pt x="44" y="12"/>
                        <a:pt x="44" y="12"/>
                      </a:cubicBezTo>
                      <a:cubicBezTo>
                        <a:pt x="47" y="13"/>
                        <a:pt x="47" y="13"/>
                        <a:pt x="47" y="13"/>
                      </a:cubicBezTo>
                      <a:cubicBezTo>
                        <a:pt x="48" y="12"/>
                        <a:pt x="48" y="12"/>
                        <a:pt x="48" y="12"/>
                      </a:cubicBezTo>
                      <a:cubicBezTo>
                        <a:pt x="50" y="13"/>
                        <a:pt x="50" y="13"/>
                        <a:pt x="50" y="13"/>
                      </a:cubicBezTo>
                      <a:cubicBezTo>
                        <a:pt x="50" y="14"/>
                        <a:pt x="50" y="14"/>
                        <a:pt x="50" y="14"/>
                      </a:cubicBezTo>
                      <a:cubicBezTo>
                        <a:pt x="49" y="14"/>
                        <a:pt x="49" y="14"/>
                        <a:pt x="49" y="14"/>
                      </a:cubicBezTo>
                      <a:cubicBezTo>
                        <a:pt x="46" y="14"/>
                        <a:pt x="46" y="14"/>
                        <a:pt x="46" y="14"/>
                      </a:cubicBezTo>
                      <a:cubicBezTo>
                        <a:pt x="46" y="15"/>
                        <a:pt x="46" y="15"/>
                        <a:pt x="46" y="15"/>
                      </a:cubicBezTo>
                      <a:cubicBezTo>
                        <a:pt x="45" y="16"/>
                        <a:pt x="45" y="16"/>
                        <a:pt x="45" y="16"/>
                      </a:cubicBezTo>
                      <a:cubicBezTo>
                        <a:pt x="43" y="17"/>
                        <a:pt x="43" y="17"/>
                        <a:pt x="43" y="17"/>
                      </a:cubicBezTo>
                      <a:cubicBezTo>
                        <a:pt x="42" y="18"/>
                        <a:pt x="42" y="18"/>
                        <a:pt x="42" y="18"/>
                      </a:cubicBezTo>
                      <a:cubicBezTo>
                        <a:pt x="40" y="19"/>
                        <a:pt x="40" y="19"/>
                        <a:pt x="40" y="19"/>
                      </a:cubicBezTo>
                      <a:cubicBezTo>
                        <a:pt x="39" y="20"/>
                        <a:pt x="39" y="20"/>
                        <a:pt x="39" y="20"/>
                      </a:cubicBezTo>
                      <a:cubicBezTo>
                        <a:pt x="37" y="21"/>
                        <a:pt x="37" y="21"/>
                        <a:pt x="37" y="21"/>
                      </a:cubicBezTo>
                      <a:cubicBezTo>
                        <a:pt x="36" y="20"/>
                        <a:pt x="36" y="20"/>
                        <a:pt x="36" y="20"/>
                      </a:cubicBezTo>
                      <a:cubicBezTo>
                        <a:pt x="34" y="19"/>
                        <a:pt x="34" y="19"/>
                        <a:pt x="34" y="19"/>
                      </a:cubicBezTo>
                      <a:cubicBezTo>
                        <a:pt x="32" y="18"/>
                        <a:pt x="32" y="18"/>
                        <a:pt x="32" y="18"/>
                      </a:cubicBezTo>
                      <a:cubicBezTo>
                        <a:pt x="31" y="18"/>
                        <a:pt x="31" y="18"/>
                        <a:pt x="31" y="18"/>
                      </a:cubicBezTo>
                      <a:cubicBezTo>
                        <a:pt x="31" y="17"/>
                        <a:pt x="31" y="17"/>
                        <a:pt x="31" y="17"/>
                      </a:cubicBezTo>
                      <a:cubicBezTo>
                        <a:pt x="31" y="16"/>
                        <a:pt x="31" y="16"/>
                        <a:pt x="31" y="16"/>
                      </a:cubicBezTo>
                      <a:cubicBezTo>
                        <a:pt x="30" y="15"/>
                        <a:pt x="30" y="15"/>
                        <a:pt x="30" y="15"/>
                      </a:cubicBezTo>
                      <a:cubicBezTo>
                        <a:pt x="30" y="14"/>
                        <a:pt x="30" y="14"/>
                        <a:pt x="30" y="14"/>
                      </a:cubicBezTo>
                      <a:cubicBezTo>
                        <a:pt x="29" y="15"/>
                        <a:pt x="29" y="15"/>
                        <a:pt x="29" y="15"/>
                      </a:cubicBezTo>
                      <a:cubicBezTo>
                        <a:pt x="28" y="16"/>
                        <a:pt x="28" y="16"/>
                        <a:pt x="28" y="16"/>
                      </a:cubicBezTo>
                      <a:cubicBezTo>
                        <a:pt x="27" y="16"/>
                        <a:pt x="27" y="16"/>
                        <a:pt x="27" y="16"/>
                      </a:cubicBezTo>
                      <a:cubicBezTo>
                        <a:pt x="27" y="15"/>
                        <a:pt x="27" y="15"/>
                        <a:pt x="27" y="15"/>
                      </a:cubicBezTo>
                      <a:cubicBezTo>
                        <a:pt x="26" y="15"/>
                        <a:pt x="26" y="15"/>
                        <a:pt x="26" y="15"/>
                      </a:cubicBezTo>
                      <a:cubicBezTo>
                        <a:pt x="25" y="16"/>
                        <a:pt x="25" y="16"/>
                        <a:pt x="25" y="16"/>
                      </a:cubicBezTo>
                      <a:cubicBezTo>
                        <a:pt x="20" y="16"/>
                        <a:pt x="20" y="16"/>
                        <a:pt x="20" y="16"/>
                      </a:cubicBezTo>
                      <a:cubicBezTo>
                        <a:pt x="19" y="17"/>
                        <a:pt x="19" y="17"/>
                        <a:pt x="19" y="17"/>
                      </a:cubicBezTo>
                      <a:cubicBezTo>
                        <a:pt x="20" y="18"/>
                        <a:pt x="20" y="18"/>
                        <a:pt x="20" y="18"/>
                      </a:cubicBezTo>
                      <a:cubicBezTo>
                        <a:pt x="22" y="19"/>
                        <a:pt x="22" y="19"/>
                        <a:pt x="22" y="19"/>
                      </a:cubicBezTo>
                      <a:cubicBezTo>
                        <a:pt x="22" y="20"/>
                        <a:pt x="22" y="20"/>
                        <a:pt x="22" y="20"/>
                      </a:cubicBezTo>
                      <a:cubicBezTo>
                        <a:pt x="22" y="20"/>
                        <a:pt x="22" y="20"/>
                        <a:pt x="22" y="20"/>
                      </a:cubicBezTo>
                      <a:cubicBezTo>
                        <a:pt x="22" y="21"/>
                        <a:pt x="22" y="21"/>
                        <a:pt x="22" y="21"/>
                      </a:cubicBezTo>
                      <a:cubicBezTo>
                        <a:pt x="22" y="22"/>
                        <a:pt x="22" y="22"/>
                        <a:pt x="22" y="22"/>
                      </a:cubicBezTo>
                      <a:cubicBezTo>
                        <a:pt x="21" y="21"/>
                        <a:pt x="21" y="21"/>
                        <a:pt x="21" y="21"/>
                      </a:cubicBezTo>
                      <a:cubicBezTo>
                        <a:pt x="18" y="22"/>
                        <a:pt x="18" y="22"/>
                        <a:pt x="18" y="22"/>
                      </a:cubicBezTo>
                      <a:cubicBezTo>
                        <a:pt x="18" y="24"/>
                        <a:pt x="18" y="24"/>
                        <a:pt x="18" y="24"/>
                      </a:cubicBezTo>
                      <a:cubicBezTo>
                        <a:pt x="19" y="25"/>
                        <a:pt x="19" y="25"/>
                        <a:pt x="19" y="25"/>
                      </a:cubicBezTo>
                      <a:cubicBezTo>
                        <a:pt x="21" y="27"/>
                        <a:pt x="21" y="27"/>
                        <a:pt x="21" y="27"/>
                      </a:cubicBezTo>
                      <a:cubicBezTo>
                        <a:pt x="22" y="28"/>
                        <a:pt x="22" y="28"/>
                        <a:pt x="22" y="28"/>
                      </a:cubicBezTo>
                      <a:cubicBezTo>
                        <a:pt x="22" y="30"/>
                        <a:pt x="22" y="30"/>
                        <a:pt x="22" y="30"/>
                      </a:cubicBezTo>
                      <a:cubicBezTo>
                        <a:pt x="22" y="31"/>
                        <a:pt x="22" y="31"/>
                        <a:pt x="22" y="31"/>
                      </a:cubicBezTo>
                      <a:cubicBezTo>
                        <a:pt x="19" y="40"/>
                        <a:pt x="19" y="40"/>
                        <a:pt x="19" y="40"/>
                      </a:cubicBezTo>
                      <a:cubicBezTo>
                        <a:pt x="18" y="42"/>
                        <a:pt x="18" y="42"/>
                        <a:pt x="18" y="42"/>
                      </a:cubicBezTo>
                      <a:cubicBezTo>
                        <a:pt x="18" y="42"/>
                        <a:pt x="18" y="42"/>
                        <a:pt x="18" y="42"/>
                      </a:cubicBezTo>
                      <a:cubicBezTo>
                        <a:pt x="18" y="43"/>
                        <a:pt x="18" y="43"/>
                        <a:pt x="18" y="43"/>
                      </a:cubicBezTo>
                      <a:cubicBezTo>
                        <a:pt x="17" y="43"/>
                        <a:pt x="17" y="43"/>
                        <a:pt x="17" y="43"/>
                      </a:cubicBezTo>
                      <a:cubicBezTo>
                        <a:pt x="17" y="43"/>
                        <a:pt x="17" y="43"/>
                        <a:pt x="17" y="43"/>
                      </a:cubicBezTo>
                      <a:cubicBezTo>
                        <a:pt x="16" y="42"/>
                        <a:pt x="16" y="42"/>
                        <a:pt x="16" y="42"/>
                      </a:cubicBezTo>
                      <a:cubicBezTo>
                        <a:pt x="15" y="42"/>
                        <a:pt x="15" y="42"/>
                        <a:pt x="15" y="42"/>
                      </a:cubicBezTo>
                      <a:cubicBezTo>
                        <a:pt x="14" y="42"/>
                        <a:pt x="14" y="42"/>
                        <a:pt x="14" y="42"/>
                      </a:cubicBezTo>
                      <a:cubicBezTo>
                        <a:pt x="14" y="42"/>
                        <a:pt x="14" y="42"/>
                        <a:pt x="14" y="42"/>
                      </a:cubicBezTo>
                      <a:cubicBezTo>
                        <a:pt x="14" y="43"/>
                        <a:pt x="14" y="43"/>
                        <a:pt x="14" y="43"/>
                      </a:cubicBezTo>
                      <a:cubicBezTo>
                        <a:pt x="10" y="43"/>
                        <a:pt x="10" y="43"/>
                        <a:pt x="10" y="43"/>
                      </a:cubicBezTo>
                      <a:cubicBezTo>
                        <a:pt x="8" y="44"/>
                        <a:pt x="8" y="44"/>
                        <a:pt x="8" y="44"/>
                      </a:cubicBezTo>
                      <a:cubicBezTo>
                        <a:pt x="7" y="45"/>
                        <a:pt x="7" y="45"/>
                        <a:pt x="7" y="45"/>
                      </a:cubicBezTo>
                      <a:cubicBezTo>
                        <a:pt x="7" y="45"/>
                        <a:pt x="7" y="45"/>
                        <a:pt x="7" y="45"/>
                      </a:cubicBezTo>
                      <a:cubicBezTo>
                        <a:pt x="6" y="46"/>
                        <a:pt x="6" y="46"/>
                        <a:pt x="6" y="46"/>
                      </a:cubicBezTo>
                      <a:cubicBezTo>
                        <a:pt x="5" y="46"/>
                        <a:pt x="5" y="46"/>
                        <a:pt x="5" y="46"/>
                      </a:cubicBezTo>
                      <a:cubicBezTo>
                        <a:pt x="4" y="47"/>
                        <a:pt x="4" y="47"/>
                        <a:pt x="4" y="47"/>
                      </a:cubicBezTo>
                      <a:cubicBezTo>
                        <a:pt x="4" y="48"/>
                        <a:pt x="4" y="48"/>
                        <a:pt x="4" y="48"/>
                      </a:cubicBezTo>
                      <a:cubicBezTo>
                        <a:pt x="4" y="48"/>
                        <a:pt x="4" y="48"/>
                        <a:pt x="4" y="48"/>
                      </a:cubicBezTo>
                      <a:cubicBezTo>
                        <a:pt x="4" y="49"/>
                        <a:pt x="4" y="49"/>
                        <a:pt x="4" y="49"/>
                      </a:cubicBezTo>
                      <a:cubicBezTo>
                        <a:pt x="2" y="50"/>
                        <a:pt x="2" y="50"/>
                        <a:pt x="2" y="50"/>
                      </a:cubicBezTo>
                      <a:cubicBezTo>
                        <a:pt x="3" y="52"/>
                        <a:pt x="3" y="52"/>
                        <a:pt x="3" y="52"/>
                      </a:cubicBezTo>
                      <a:cubicBezTo>
                        <a:pt x="3" y="52"/>
                        <a:pt x="3" y="52"/>
                        <a:pt x="3" y="52"/>
                      </a:cubicBezTo>
                      <a:cubicBezTo>
                        <a:pt x="3" y="53"/>
                        <a:pt x="3" y="53"/>
                        <a:pt x="3" y="53"/>
                      </a:cubicBezTo>
                      <a:cubicBezTo>
                        <a:pt x="2" y="53"/>
                        <a:pt x="2" y="53"/>
                        <a:pt x="2" y="53"/>
                      </a:cubicBezTo>
                      <a:cubicBezTo>
                        <a:pt x="0" y="54"/>
                        <a:pt x="0" y="54"/>
                        <a:pt x="0" y="54"/>
                      </a:cubicBezTo>
                      <a:cubicBezTo>
                        <a:pt x="0" y="55"/>
                        <a:pt x="0" y="55"/>
                        <a:pt x="0" y="55"/>
                      </a:cubicBezTo>
                      <a:cubicBezTo>
                        <a:pt x="0" y="55"/>
                        <a:pt x="0" y="55"/>
                        <a:pt x="0" y="55"/>
                      </a:cubicBezTo>
                      <a:cubicBezTo>
                        <a:pt x="0" y="56"/>
                        <a:pt x="0" y="56"/>
                        <a:pt x="0" y="56"/>
                      </a:cubicBezTo>
                      <a:cubicBezTo>
                        <a:pt x="0" y="57"/>
                        <a:pt x="0" y="57"/>
                        <a:pt x="0" y="57"/>
                      </a:cubicBezTo>
                      <a:cubicBezTo>
                        <a:pt x="0" y="57"/>
                        <a:pt x="0" y="57"/>
                        <a:pt x="0" y="57"/>
                      </a:cubicBezTo>
                      <a:cubicBezTo>
                        <a:pt x="0" y="58"/>
                        <a:pt x="0" y="58"/>
                        <a:pt x="0" y="58"/>
                      </a:cubicBezTo>
                      <a:cubicBezTo>
                        <a:pt x="0" y="59"/>
                        <a:pt x="0" y="59"/>
                        <a:pt x="0" y="59"/>
                      </a:cubicBezTo>
                      <a:cubicBezTo>
                        <a:pt x="1" y="60"/>
                        <a:pt x="1" y="60"/>
                        <a:pt x="1" y="60"/>
                      </a:cubicBezTo>
                      <a:cubicBezTo>
                        <a:pt x="3" y="63"/>
                        <a:pt x="3" y="63"/>
                        <a:pt x="3" y="63"/>
                      </a:cubicBezTo>
                      <a:cubicBezTo>
                        <a:pt x="2" y="65"/>
                        <a:pt x="2" y="65"/>
                        <a:pt x="2" y="65"/>
                      </a:cubicBezTo>
                      <a:cubicBezTo>
                        <a:pt x="5" y="65"/>
                        <a:pt x="5" y="65"/>
                        <a:pt x="5" y="65"/>
                      </a:cubicBezTo>
                      <a:cubicBezTo>
                        <a:pt x="7" y="65"/>
                        <a:pt x="7" y="65"/>
                        <a:pt x="7" y="65"/>
                      </a:cubicBezTo>
                      <a:cubicBezTo>
                        <a:pt x="8" y="66"/>
                        <a:pt x="8" y="66"/>
                        <a:pt x="8" y="66"/>
                      </a:cubicBezTo>
                      <a:cubicBezTo>
                        <a:pt x="8" y="67"/>
                        <a:pt x="8" y="67"/>
                        <a:pt x="8" y="67"/>
                      </a:cubicBezTo>
                      <a:cubicBezTo>
                        <a:pt x="10" y="67"/>
                        <a:pt x="10" y="67"/>
                        <a:pt x="10" y="67"/>
                      </a:cubicBezTo>
                      <a:cubicBezTo>
                        <a:pt x="12" y="68"/>
                        <a:pt x="12" y="68"/>
                        <a:pt x="12" y="68"/>
                      </a:cubicBezTo>
                      <a:cubicBezTo>
                        <a:pt x="14" y="66"/>
                        <a:pt x="14" y="66"/>
                        <a:pt x="14" y="66"/>
                      </a:cubicBezTo>
                      <a:cubicBezTo>
                        <a:pt x="16" y="65"/>
                        <a:pt x="16" y="65"/>
                        <a:pt x="16" y="65"/>
                      </a:cubicBezTo>
                      <a:cubicBezTo>
                        <a:pt x="17" y="66"/>
                        <a:pt x="17" y="66"/>
                        <a:pt x="17" y="66"/>
                      </a:cubicBezTo>
                      <a:cubicBezTo>
                        <a:pt x="16" y="66"/>
                        <a:pt x="16" y="66"/>
                        <a:pt x="16" y="66"/>
                      </a:cubicBezTo>
                      <a:cubicBezTo>
                        <a:pt x="16" y="67"/>
                        <a:pt x="16" y="67"/>
                        <a:pt x="16" y="67"/>
                      </a:cubicBezTo>
                      <a:cubicBezTo>
                        <a:pt x="16" y="68"/>
                        <a:pt x="16" y="68"/>
                        <a:pt x="16" y="68"/>
                      </a:cubicBezTo>
                      <a:cubicBezTo>
                        <a:pt x="16" y="71"/>
                        <a:pt x="16" y="71"/>
                        <a:pt x="16" y="71"/>
                      </a:cubicBezTo>
                      <a:cubicBezTo>
                        <a:pt x="16" y="72"/>
                        <a:pt x="16" y="72"/>
                        <a:pt x="16" y="72"/>
                      </a:cubicBezTo>
                      <a:cubicBezTo>
                        <a:pt x="17" y="72"/>
                        <a:pt x="17" y="72"/>
                        <a:pt x="17" y="72"/>
                      </a:cubicBezTo>
                      <a:cubicBezTo>
                        <a:pt x="18" y="72"/>
                        <a:pt x="18" y="72"/>
                        <a:pt x="18" y="72"/>
                      </a:cubicBezTo>
                      <a:cubicBezTo>
                        <a:pt x="19" y="72"/>
                        <a:pt x="19" y="72"/>
                        <a:pt x="19" y="72"/>
                      </a:cubicBezTo>
                      <a:cubicBezTo>
                        <a:pt x="20" y="72"/>
                        <a:pt x="20" y="72"/>
                        <a:pt x="20" y="72"/>
                      </a:cubicBezTo>
                      <a:cubicBezTo>
                        <a:pt x="20" y="72"/>
                        <a:pt x="20" y="72"/>
                        <a:pt x="20" y="72"/>
                      </a:cubicBezTo>
                      <a:cubicBezTo>
                        <a:pt x="21" y="72"/>
                        <a:pt x="21" y="72"/>
                        <a:pt x="21" y="72"/>
                      </a:cubicBezTo>
                      <a:cubicBezTo>
                        <a:pt x="21" y="72"/>
                        <a:pt x="21" y="72"/>
                        <a:pt x="21" y="72"/>
                      </a:cubicBezTo>
                      <a:cubicBezTo>
                        <a:pt x="21" y="72"/>
                        <a:pt x="21" y="72"/>
                        <a:pt x="21" y="72"/>
                      </a:cubicBezTo>
                      <a:cubicBezTo>
                        <a:pt x="24" y="72"/>
                        <a:pt x="24" y="72"/>
                        <a:pt x="24" y="72"/>
                      </a:cubicBezTo>
                      <a:cubicBezTo>
                        <a:pt x="25" y="72"/>
                        <a:pt x="25" y="72"/>
                        <a:pt x="25" y="72"/>
                      </a:cubicBezTo>
                      <a:cubicBezTo>
                        <a:pt x="27" y="72"/>
                        <a:pt x="27" y="72"/>
                        <a:pt x="27" y="72"/>
                      </a:cubicBezTo>
                      <a:cubicBezTo>
                        <a:pt x="28" y="72"/>
                        <a:pt x="28" y="72"/>
                        <a:pt x="28" y="72"/>
                      </a:cubicBezTo>
                      <a:cubicBezTo>
                        <a:pt x="29" y="71"/>
                        <a:pt x="29" y="71"/>
                        <a:pt x="29" y="71"/>
                      </a:cubicBezTo>
                      <a:cubicBezTo>
                        <a:pt x="30" y="71"/>
                        <a:pt x="30" y="71"/>
                        <a:pt x="30" y="71"/>
                      </a:cubicBezTo>
                      <a:cubicBezTo>
                        <a:pt x="31" y="70"/>
                        <a:pt x="31" y="70"/>
                        <a:pt x="31" y="70"/>
                      </a:cubicBezTo>
                      <a:cubicBezTo>
                        <a:pt x="32" y="68"/>
                        <a:pt x="32" y="68"/>
                        <a:pt x="32" y="68"/>
                      </a:cubicBezTo>
                      <a:cubicBezTo>
                        <a:pt x="34" y="67"/>
                        <a:pt x="34" y="67"/>
                        <a:pt x="34" y="67"/>
                      </a:cubicBezTo>
                      <a:cubicBezTo>
                        <a:pt x="36" y="67"/>
                        <a:pt x="36" y="67"/>
                        <a:pt x="36" y="67"/>
                      </a:cubicBezTo>
                      <a:cubicBezTo>
                        <a:pt x="37" y="66"/>
                        <a:pt x="37" y="66"/>
                        <a:pt x="37" y="66"/>
                      </a:cubicBezTo>
                      <a:cubicBezTo>
                        <a:pt x="38" y="66"/>
                        <a:pt x="38" y="66"/>
                        <a:pt x="38" y="66"/>
                      </a:cubicBezTo>
                      <a:cubicBezTo>
                        <a:pt x="39" y="67"/>
                        <a:pt x="39" y="67"/>
                        <a:pt x="39" y="67"/>
                      </a:cubicBezTo>
                      <a:cubicBezTo>
                        <a:pt x="40" y="66"/>
                        <a:pt x="40" y="66"/>
                        <a:pt x="40" y="66"/>
                      </a:cubicBezTo>
                      <a:cubicBezTo>
                        <a:pt x="41" y="67"/>
                        <a:pt x="41" y="67"/>
                        <a:pt x="41" y="67"/>
                      </a:cubicBezTo>
                      <a:cubicBezTo>
                        <a:pt x="41" y="68"/>
                        <a:pt x="41" y="68"/>
                        <a:pt x="41" y="68"/>
                      </a:cubicBezTo>
                      <a:cubicBezTo>
                        <a:pt x="41" y="69"/>
                        <a:pt x="41" y="69"/>
                        <a:pt x="41" y="69"/>
                      </a:cubicBezTo>
                      <a:cubicBezTo>
                        <a:pt x="41" y="70"/>
                        <a:pt x="41" y="70"/>
                        <a:pt x="41" y="70"/>
                      </a:cubicBezTo>
                      <a:cubicBezTo>
                        <a:pt x="41" y="72"/>
                        <a:pt x="41" y="72"/>
                        <a:pt x="41" y="72"/>
                      </a:cubicBezTo>
                      <a:cubicBezTo>
                        <a:pt x="41" y="73"/>
                        <a:pt x="41" y="73"/>
                        <a:pt x="41" y="73"/>
                      </a:cubicBezTo>
                      <a:cubicBezTo>
                        <a:pt x="42" y="75"/>
                        <a:pt x="42" y="75"/>
                        <a:pt x="42" y="75"/>
                      </a:cubicBezTo>
                      <a:cubicBezTo>
                        <a:pt x="43" y="75"/>
                        <a:pt x="43" y="75"/>
                        <a:pt x="43" y="75"/>
                      </a:cubicBezTo>
                      <a:cubicBezTo>
                        <a:pt x="43" y="77"/>
                        <a:pt x="43" y="77"/>
                        <a:pt x="43" y="77"/>
                      </a:cubicBezTo>
                      <a:cubicBezTo>
                        <a:pt x="44" y="77"/>
                        <a:pt x="44" y="77"/>
                        <a:pt x="44" y="77"/>
                      </a:cubicBezTo>
                      <a:cubicBezTo>
                        <a:pt x="46" y="78"/>
                        <a:pt x="46" y="78"/>
                        <a:pt x="46" y="78"/>
                      </a:cubicBezTo>
                      <a:cubicBezTo>
                        <a:pt x="47" y="79"/>
                        <a:pt x="47" y="79"/>
                        <a:pt x="47" y="79"/>
                      </a:cubicBezTo>
                      <a:cubicBezTo>
                        <a:pt x="47" y="79"/>
                        <a:pt x="47" y="79"/>
                        <a:pt x="47" y="79"/>
                      </a:cubicBezTo>
                      <a:cubicBezTo>
                        <a:pt x="49" y="78"/>
                        <a:pt x="49" y="78"/>
                        <a:pt x="49" y="78"/>
                      </a:cubicBezTo>
                      <a:cubicBezTo>
                        <a:pt x="51" y="80"/>
                        <a:pt x="51" y="80"/>
                        <a:pt x="51" y="80"/>
                      </a:cubicBezTo>
                      <a:cubicBezTo>
                        <a:pt x="52" y="79"/>
                        <a:pt x="52" y="79"/>
                        <a:pt x="52" y="79"/>
                      </a:cubicBezTo>
                      <a:cubicBezTo>
                        <a:pt x="54" y="81"/>
                        <a:pt x="54" y="81"/>
                        <a:pt x="54" y="81"/>
                      </a:cubicBezTo>
                      <a:cubicBezTo>
                        <a:pt x="55" y="81"/>
                        <a:pt x="55" y="81"/>
                        <a:pt x="55" y="81"/>
                      </a:cubicBezTo>
                      <a:cubicBezTo>
                        <a:pt x="57" y="82"/>
                        <a:pt x="57" y="82"/>
                        <a:pt x="57" y="82"/>
                      </a:cubicBezTo>
                      <a:cubicBezTo>
                        <a:pt x="58" y="82"/>
                        <a:pt x="58" y="82"/>
                        <a:pt x="58" y="82"/>
                      </a:cubicBezTo>
                      <a:cubicBezTo>
                        <a:pt x="58" y="83"/>
                        <a:pt x="58" y="83"/>
                        <a:pt x="58" y="83"/>
                      </a:cubicBezTo>
                      <a:cubicBezTo>
                        <a:pt x="59" y="83"/>
                        <a:pt x="59" y="83"/>
                        <a:pt x="59" y="83"/>
                      </a:cubicBezTo>
                      <a:cubicBezTo>
                        <a:pt x="60" y="84"/>
                        <a:pt x="60" y="84"/>
                        <a:pt x="60" y="84"/>
                      </a:cubicBezTo>
                      <a:cubicBezTo>
                        <a:pt x="63" y="84"/>
                        <a:pt x="63" y="84"/>
                        <a:pt x="63" y="84"/>
                      </a:cubicBezTo>
                      <a:cubicBezTo>
                        <a:pt x="65" y="85"/>
                        <a:pt x="65" y="85"/>
                        <a:pt x="65" y="85"/>
                      </a:cubicBezTo>
                      <a:cubicBezTo>
                        <a:pt x="66" y="86"/>
                        <a:pt x="66" y="86"/>
                        <a:pt x="66" y="86"/>
                      </a:cubicBezTo>
                      <a:cubicBezTo>
                        <a:pt x="65" y="88"/>
                        <a:pt x="65" y="88"/>
                        <a:pt x="65" y="88"/>
                      </a:cubicBezTo>
                      <a:cubicBezTo>
                        <a:pt x="66" y="89"/>
                        <a:pt x="66" y="89"/>
                        <a:pt x="66" y="89"/>
                      </a:cubicBezTo>
                      <a:cubicBezTo>
                        <a:pt x="65" y="90"/>
                        <a:pt x="65" y="90"/>
                        <a:pt x="65" y="90"/>
                      </a:cubicBezTo>
                      <a:cubicBezTo>
                        <a:pt x="67" y="93"/>
                        <a:pt x="67" y="93"/>
                        <a:pt x="67" y="93"/>
                      </a:cubicBezTo>
                      <a:cubicBezTo>
                        <a:pt x="67" y="95"/>
                        <a:pt x="67" y="95"/>
                        <a:pt x="67" y="95"/>
                      </a:cubicBezTo>
                      <a:cubicBezTo>
                        <a:pt x="75" y="95"/>
                        <a:pt x="75" y="95"/>
                        <a:pt x="75" y="95"/>
                      </a:cubicBezTo>
                      <a:cubicBezTo>
                        <a:pt x="76" y="98"/>
                        <a:pt x="76" y="98"/>
                        <a:pt x="76" y="98"/>
                      </a:cubicBezTo>
                      <a:cubicBezTo>
                        <a:pt x="75" y="100"/>
                        <a:pt x="75" y="100"/>
                        <a:pt x="75" y="100"/>
                      </a:cubicBezTo>
                      <a:cubicBezTo>
                        <a:pt x="78" y="100"/>
                        <a:pt x="78" y="100"/>
                        <a:pt x="78" y="100"/>
                      </a:cubicBezTo>
                      <a:cubicBezTo>
                        <a:pt x="80" y="104"/>
                        <a:pt x="80" y="104"/>
                        <a:pt x="80" y="104"/>
                      </a:cubicBezTo>
                      <a:cubicBezTo>
                        <a:pt x="81" y="106"/>
                        <a:pt x="81" y="106"/>
                        <a:pt x="81" y="106"/>
                      </a:cubicBezTo>
                      <a:cubicBezTo>
                        <a:pt x="78" y="110"/>
                        <a:pt x="78" y="110"/>
                        <a:pt x="78" y="110"/>
                      </a:cubicBezTo>
                      <a:cubicBezTo>
                        <a:pt x="78" y="111"/>
                        <a:pt x="78" y="111"/>
                        <a:pt x="78" y="111"/>
                      </a:cubicBezTo>
                      <a:cubicBezTo>
                        <a:pt x="78" y="112"/>
                        <a:pt x="78" y="112"/>
                        <a:pt x="78" y="112"/>
                      </a:cubicBezTo>
                      <a:cubicBezTo>
                        <a:pt x="78" y="112"/>
                        <a:pt x="78" y="112"/>
                        <a:pt x="78" y="112"/>
                      </a:cubicBezTo>
                      <a:cubicBezTo>
                        <a:pt x="78" y="113"/>
                        <a:pt x="78" y="113"/>
                        <a:pt x="78" y="113"/>
                      </a:cubicBezTo>
                      <a:cubicBezTo>
                        <a:pt x="79" y="114"/>
                        <a:pt x="79" y="114"/>
                        <a:pt x="79" y="114"/>
                      </a:cubicBezTo>
                      <a:cubicBezTo>
                        <a:pt x="79" y="115"/>
                        <a:pt x="79" y="115"/>
                        <a:pt x="79" y="115"/>
                      </a:cubicBezTo>
                      <a:cubicBezTo>
                        <a:pt x="80" y="117"/>
                        <a:pt x="80" y="117"/>
                        <a:pt x="80" y="117"/>
                      </a:cubicBezTo>
                      <a:cubicBezTo>
                        <a:pt x="80" y="119"/>
                        <a:pt x="80" y="119"/>
                        <a:pt x="80" y="119"/>
                      </a:cubicBezTo>
                      <a:cubicBezTo>
                        <a:pt x="80" y="120"/>
                        <a:pt x="80" y="120"/>
                        <a:pt x="80" y="120"/>
                      </a:cubicBezTo>
                      <a:cubicBezTo>
                        <a:pt x="80" y="121"/>
                        <a:pt x="80" y="121"/>
                        <a:pt x="80" y="121"/>
                      </a:cubicBezTo>
                      <a:cubicBezTo>
                        <a:pt x="80" y="122"/>
                        <a:pt x="80" y="122"/>
                        <a:pt x="80" y="122"/>
                      </a:cubicBezTo>
                      <a:cubicBezTo>
                        <a:pt x="82" y="122"/>
                        <a:pt x="82" y="122"/>
                        <a:pt x="82" y="122"/>
                      </a:cubicBezTo>
                      <a:cubicBezTo>
                        <a:pt x="82" y="122"/>
                        <a:pt x="82" y="122"/>
                        <a:pt x="82" y="122"/>
                      </a:cubicBezTo>
                      <a:cubicBezTo>
                        <a:pt x="85" y="122"/>
                        <a:pt x="85" y="122"/>
                        <a:pt x="85" y="122"/>
                      </a:cubicBezTo>
                      <a:cubicBezTo>
                        <a:pt x="86" y="123"/>
                        <a:pt x="86" y="123"/>
                        <a:pt x="86" y="123"/>
                      </a:cubicBezTo>
                      <a:cubicBezTo>
                        <a:pt x="88" y="122"/>
                        <a:pt x="88" y="122"/>
                        <a:pt x="88" y="122"/>
                      </a:cubicBezTo>
                      <a:cubicBezTo>
                        <a:pt x="89" y="123"/>
                        <a:pt x="89" y="123"/>
                        <a:pt x="89" y="123"/>
                      </a:cubicBezTo>
                      <a:cubicBezTo>
                        <a:pt x="90" y="123"/>
                        <a:pt x="90" y="123"/>
                        <a:pt x="90" y="123"/>
                      </a:cubicBezTo>
                      <a:cubicBezTo>
                        <a:pt x="91" y="124"/>
                        <a:pt x="91" y="124"/>
                        <a:pt x="91" y="124"/>
                      </a:cubicBezTo>
                      <a:cubicBezTo>
                        <a:pt x="92" y="129"/>
                        <a:pt x="92" y="129"/>
                        <a:pt x="92" y="129"/>
                      </a:cubicBezTo>
                      <a:cubicBezTo>
                        <a:pt x="93" y="130"/>
                        <a:pt x="93" y="130"/>
                        <a:pt x="93" y="130"/>
                      </a:cubicBezTo>
                      <a:cubicBezTo>
                        <a:pt x="94" y="130"/>
                        <a:pt x="94" y="130"/>
                        <a:pt x="94" y="130"/>
                      </a:cubicBezTo>
                      <a:cubicBezTo>
                        <a:pt x="95" y="129"/>
                        <a:pt x="95" y="129"/>
                        <a:pt x="95" y="129"/>
                      </a:cubicBezTo>
                      <a:cubicBezTo>
                        <a:pt x="96" y="130"/>
                        <a:pt x="96" y="130"/>
                        <a:pt x="96" y="130"/>
                      </a:cubicBezTo>
                      <a:cubicBezTo>
                        <a:pt x="97" y="130"/>
                        <a:pt x="97" y="130"/>
                        <a:pt x="97" y="130"/>
                      </a:cubicBezTo>
                      <a:cubicBezTo>
                        <a:pt x="98" y="131"/>
                        <a:pt x="98" y="131"/>
                        <a:pt x="98" y="131"/>
                      </a:cubicBezTo>
                      <a:cubicBezTo>
                        <a:pt x="97" y="131"/>
                        <a:pt x="97" y="131"/>
                        <a:pt x="97" y="131"/>
                      </a:cubicBezTo>
                      <a:cubicBezTo>
                        <a:pt x="97" y="135"/>
                        <a:pt x="97" y="135"/>
                        <a:pt x="97" y="135"/>
                      </a:cubicBezTo>
                      <a:cubicBezTo>
                        <a:pt x="97" y="136"/>
                        <a:pt x="97" y="136"/>
                        <a:pt x="97" y="136"/>
                      </a:cubicBezTo>
                      <a:cubicBezTo>
                        <a:pt x="97" y="136"/>
                        <a:pt x="97" y="136"/>
                        <a:pt x="97" y="136"/>
                      </a:cubicBezTo>
                      <a:cubicBezTo>
                        <a:pt x="97" y="136"/>
                        <a:pt x="97" y="136"/>
                        <a:pt x="97" y="136"/>
                      </a:cubicBezTo>
                      <a:cubicBezTo>
                        <a:pt x="97" y="137"/>
                        <a:pt x="97" y="137"/>
                        <a:pt x="97" y="137"/>
                      </a:cubicBezTo>
                      <a:cubicBezTo>
                        <a:pt x="97" y="137"/>
                        <a:pt x="97" y="137"/>
                        <a:pt x="97" y="137"/>
                      </a:cubicBezTo>
                      <a:cubicBezTo>
                        <a:pt x="98" y="137"/>
                        <a:pt x="98" y="137"/>
                        <a:pt x="98" y="137"/>
                      </a:cubicBezTo>
                      <a:cubicBezTo>
                        <a:pt x="100" y="137"/>
                        <a:pt x="100" y="137"/>
                        <a:pt x="100" y="137"/>
                      </a:cubicBezTo>
                      <a:cubicBezTo>
                        <a:pt x="100" y="138"/>
                        <a:pt x="100" y="138"/>
                        <a:pt x="100" y="138"/>
                      </a:cubicBezTo>
                      <a:cubicBezTo>
                        <a:pt x="101" y="140"/>
                        <a:pt x="101" y="140"/>
                        <a:pt x="101" y="140"/>
                      </a:cubicBezTo>
                      <a:cubicBezTo>
                        <a:pt x="101" y="141"/>
                        <a:pt x="101" y="141"/>
                        <a:pt x="101" y="141"/>
                      </a:cubicBezTo>
                      <a:cubicBezTo>
                        <a:pt x="101" y="143"/>
                        <a:pt x="101" y="143"/>
                        <a:pt x="101" y="143"/>
                      </a:cubicBezTo>
                      <a:cubicBezTo>
                        <a:pt x="101" y="145"/>
                        <a:pt x="101" y="145"/>
                        <a:pt x="101" y="145"/>
                      </a:cubicBezTo>
                      <a:cubicBezTo>
                        <a:pt x="101" y="145"/>
                        <a:pt x="101" y="145"/>
                        <a:pt x="101" y="145"/>
                      </a:cubicBezTo>
                      <a:cubicBezTo>
                        <a:pt x="100" y="145"/>
                        <a:pt x="100" y="145"/>
                        <a:pt x="100" y="145"/>
                      </a:cubicBezTo>
                      <a:cubicBezTo>
                        <a:pt x="99" y="146"/>
                        <a:pt x="99" y="146"/>
                        <a:pt x="99" y="146"/>
                      </a:cubicBezTo>
                      <a:cubicBezTo>
                        <a:pt x="99" y="146"/>
                        <a:pt x="99" y="146"/>
                        <a:pt x="99" y="146"/>
                      </a:cubicBezTo>
                      <a:cubicBezTo>
                        <a:pt x="98" y="147"/>
                        <a:pt x="98" y="147"/>
                        <a:pt x="98" y="147"/>
                      </a:cubicBezTo>
                      <a:cubicBezTo>
                        <a:pt x="98" y="147"/>
                        <a:pt x="98" y="147"/>
                        <a:pt x="98" y="147"/>
                      </a:cubicBezTo>
                      <a:cubicBezTo>
                        <a:pt x="96" y="148"/>
                        <a:pt x="96" y="148"/>
                        <a:pt x="96" y="148"/>
                      </a:cubicBezTo>
                      <a:cubicBezTo>
                        <a:pt x="95" y="148"/>
                        <a:pt x="95" y="148"/>
                        <a:pt x="95" y="148"/>
                      </a:cubicBezTo>
                      <a:cubicBezTo>
                        <a:pt x="94" y="148"/>
                        <a:pt x="94" y="148"/>
                        <a:pt x="94" y="148"/>
                      </a:cubicBezTo>
                      <a:cubicBezTo>
                        <a:pt x="93" y="150"/>
                        <a:pt x="93" y="150"/>
                        <a:pt x="93" y="150"/>
                      </a:cubicBezTo>
                      <a:cubicBezTo>
                        <a:pt x="92" y="150"/>
                        <a:pt x="92" y="150"/>
                        <a:pt x="92" y="150"/>
                      </a:cubicBezTo>
                      <a:cubicBezTo>
                        <a:pt x="92" y="151"/>
                        <a:pt x="92" y="151"/>
                        <a:pt x="92" y="151"/>
                      </a:cubicBezTo>
                      <a:cubicBezTo>
                        <a:pt x="91" y="151"/>
                        <a:pt x="91" y="151"/>
                        <a:pt x="91" y="151"/>
                      </a:cubicBezTo>
                      <a:cubicBezTo>
                        <a:pt x="91" y="151"/>
                        <a:pt x="91" y="151"/>
                        <a:pt x="91" y="151"/>
                      </a:cubicBezTo>
                      <a:cubicBezTo>
                        <a:pt x="89" y="153"/>
                        <a:pt x="89" y="153"/>
                        <a:pt x="89" y="153"/>
                      </a:cubicBezTo>
                      <a:cubicBezTo>
                        <a:pt x="89" y="153"/>
                        <a:pt x="89" y="153"/>
                        <a:pt x="89" y="153"/>
                      </a:cubicBezTo>
                      <a:cubicBezTo>
                        <a:pt x="89" y="154"/>
                        <a:pt x="89" y="154"/>
                        <a:pt x="89" y="154"/>
                      </a:cubicBezTo>
                      <a:cubicBezTo>
                        <a:pt x="88" y="155"/>
                        <a:pt x="88" y="155"/>
                        <a:pt x="88" y="155"/>
                      </a:cubicBezTo>
                      <a:cubicBezTo>
                        <a:pt x="88" y="155"/>
                        <a:pt x="88" y="155"/>
                        <a:pt x="88" y="155"/>
                      </a:cubicBezTo>
                      <a:cubicBezTo>
                        <a:pt x="87" y="157"/>
                        <a:pt x="87" y="157"/>
                        <a:pt x="87" y="157"/>
                      </a:cubicBezTo>
                      <a:cubicBezTo>
                        <a:pt x="86" y="157"/>
                        <a:pt x="86" y="157"/>
                        <a:pt x="86" y="157"/>
                      </a:cubicBezTo>
                      <a:cubicBezTo>
                        <a:pt x="85" y="159"/>
                        <a:pt x="85" y="159"/>
                        <a:pt x="85" y="159"/>
                      </a:cubicBezTo>
                      <a:cubicBezTo>
                        <a:pt x="85" y="159"/>
                        <a:pt x="85" y="159"/>
                        <a:pt x="85" y="159"/>
                      </a:cubicBezTo>
                      <a:cubicBezTo>
                        <a:pt x="85" y="160"/>
                        <a:pt x="85" y="160"/>
                        <a:pt x="85" y="160"/>
                      </a:cubicBezTo>
                      <a:cubicBezTo>
                        <a:pt x="84" y="160"/>
                        <a:pt x="84" y="160"/>
                        <a:pt x="84" y="160"/>
                      </a:cubicBezTo>
                      <a:cubicBezTo>
                        <a:pt x="85" y="160"/>
                        <a:pt x="85" y="160"/>
                        <a:pt x="85" y="160"/>
                      </a:cubicBezTo>
                      <a:cubicBezTo>
                        <a:pt x="86" y="160"/>
                        <a:pt x="86" y="160"/>
                        <a:pt x="86" y="160"/>
                      </a:cubicBezTo>
                      <a:cubicBezTo>
                        <a:pt x="88" y="160"/>
                        <a:pt x="88" y="160"/>
                        <a:pt x="88" y="160"/>
                      </a:cubicBezTo>
                      <a:cubicBezTo>
                        <a:pt x="89" y="160"/>
                        <a:pt x="89" y="160"/>
                        <a:pt x="89" y="160"/>
                      </a:cubicBezTo>
                      <a:cubicBezTo>
                        <a:pt x="90" y="161"/>
                        <a:pt x="90" y="161"/>
                        <a:pt x="90" y="161"/>
                      </a:cubicBezTo>
                      <a:cubicBezTo>
                        <a:pt x="91" y="162"/>
                        <a:pt x="91" y="162"/>
                        <a:pt x="91" y="162"/>
                      </a:cubicBezTo>
                      <a:cubicBezTo>
                        <a:pt x="92" y="163"/>
                        <a:pt x="92" y="163"/>
                        <a:pt x="92" y="163"/>
                      </a:cubicBezTo>
                      <a:cubicBezTo>
                        <a:pt x="93" y="165"/>
                        <a:pt x="93" y="165"/>
                        <a:pt x="93" y="165"/>
                      </a:cubicBezTo>
                      <a:cubicBezTo>
                        <a:pt x="93" y="165"/>
                        <a:pt x="93" y="165"/>
                        <a:pt x="93" y="165"/>
                      </a:cubicBezTo>
                      <a:cubicBezTo>
                        <a:pt x="94" y="164"/>
                        <a:pt x="94" y="164"/>
                        <a:pt x="94" y="164"/>
                      </a:cubicBezTo>
                      <a:cubicBezTo>
                        <a:pt x="95" y="164"/>
                        <a:pt x="95" y="164"/>
                        <a:pt x="95" y="164"/>
                      </a:cubicBezTo>
                      <a:cubicBezTo>
                        <a:pt x="96" y="166"/>
                        <a:pt x="96" y="166"/>
                        <a:pt x="96" y="166"/>
                      </a:cubicBezTo>
                      <a:cubicBezTo>
                        <a:pt x="97" y="166"/>
                        <a:pt x="97" y="166"/>
                        <a:pt x="97" y="166"/>
                      </a:cubicBezTo>
                      <a:cubicBezTo>
                        <a:pt x="98" y="166"/>
                        <a:pt x="98" y="166"/>
                        <a:pt x="98" y="166"/>
                      </a:cubicBezTo>
                      <a:cubicBezTo>
                        <a:pt x="99" y="167"/>
                        <a:pt x="99" y="167"/>
                        <a:pt x="99" y="167"/>
                      </a:cubicBezTo>
                      <a:cubicBezTo>
                        <a:pt x="100" y="168"/>
                        <a:pt x="100" y="168"/>
                        <a:pt x="100" y="168"/>
                      </a:cubicBezTo>
                      <a:cubicBezTo>
                        <a:pt x="100" y="168"/>
                        <a:pt x="100" y="168"/>
                        <a:pt x="100" y="168"/>
                      </a:cubicBezTo>
                      <a:cubicBezTo>
                        <a:pt x="102" y="169"/>
                        <a:pt x="102" y="169"/>
                        <a:pt x="102" y="169"/>
                      </a:cubicBezTo>
                      <a:cubicBezTo>
                        <a:pt x="103" y="170"/>
                        <a:pt x="103" y="170"/>
                        <a:pt x="103" y="170"/>
                      </a:cubicBezTo>
                      <a:cubicBezTo>
                        <a:pt x="105" y="172"/>
                        <a:pt x="105" y="172"/>
                        <a:pt x="105" y="172"/>
                      </a:cubicBezTo>
                      <a:cubicBezTo>
                        <a:pt x="106" y="173"/>
                        <a:pt x="106" y="173"/>
                        <a:pt x="106" y="173"/>
                      </a:cubicBezTo>
                      <a:cubicBezTo>
                        <a:pt x="105" y="174"/>
                        <a:pt x="105" y="174"/>
                        <a:pt x="105" y="174"/>
                      </a:cubicBezTo>
                      <a:cubicBezTo>
                        <a:pt x="105" y="175"/>
                        <a:pt x="105" y="175"/>
                        <a:pt x="105" y="175"/>
                      </a:cubicBezTo>
                      <a:cubicBezTo>
                        <a:pt x="105" y="176"/>
                        <a:pt x="105" y="176"/>
                        <a:pt x="105" y="176"/>
                      </a:cubicBezTo>
                      <a:cubicBezTo>
                        <a:pt x="105" y="176"/>
                        <a:pt x="105" y="176"/>
                        <a:pt x="105" y="176"/>
                      </a:cubicBezTo>
                      <a:cubicBezTo>
                        <a:pt x="105" y="177"/>
                        <a:pt x="105" y="177"/>
                        <a:pt x="105" y="177"/>
                      </a:cubicBezTo>
                      <a:cubicBezTo>
                        <a:pt x="106" y="177"/>
                        <a:pt x="106" y="177"/>
                        <a:pt x="106" y="177"/>
                      </a:cubicBezTo>
                      <a:cubicBezTo>
                        <a:pt x="106" y="178"/>
                        <a:pt x="106" y="178"/>
                        <a:pt x="106" y="178"/>
                      </a:cubicBezTo>
                      <a:cubicBezTo>
                        <a:pt x="108" y="176"/>
                        <a:pt x="108" y="176"/>
                        <a:pt x="108" y="176"/>
                      </a:cubicBezTo>
                      <a:cubicBezTo>
                        <a:pt x="109" y="175"/>
                        <a:pt x="109" y="175"/>
                        <a:pt x="109" y="175"/>
                      </a:cubicBezTo>
                      <a:cubicBezTo>
                        <a:pt x="109" y="172"/>
                        <a:pt x="109" y="172"/>
                        <a:pt x="109" y="172"/>
                      </a:cubicBezTo>
                      <a:cubicBezTo>
                        <a:pt x="110" y="170"/>
                        <a:pt x="110" y="170"/>
                        <a:pt x="110" y="170"/>
                      </a:cubicBezTo>
                      <a:cubicBezTo>
                        <a:pt x="110" y="169"/>
                        <a:pt x="110" y="169"/>
                        <a:pt x="110" y="169"/>
                      </a:cubicBezTo>
                      <a:cubicBezTo>
                        <a:pt x="110" y="169"/>
                        <a:pt x="110" y="169"/>
                        <a:pt x="110" y="169"/>
                      </a:cubicBezTo>
                      <a:cubicBezTo>
                        <a:pt x="109" y="168"/>
                        <a:pt x="109" y="168"/>
                        <a:pt x="109" y="168"/>
                      </a:cubicBezTo>
                      <a:cubicBezTo>
                        <a:pt x="110" y="167"/>
                        <a:pt x="110" y="167"/>
                        <a:pt x="110" y="167"/>
                      </a:cubicBezTo>
                      <a:cubicBezTo>
                        <a:pt x="110" y="167"/>
                        <a:pt x="110" y="167"/>
                        <a:pt x="110" y="167"/>
                      </a:cubicBezTo>
                      <a:cubicBezTo>
                        <a:pt x="110" y="166"/>
                        <a:pt x="110" y="166"/>
                        <a:pt x="110" y="166"/>
                      </a:cubicBezTo>
                      <a:cubicBezTo>
                        <a:pt x="111" y="165"/>
                        <a:pt x="111" y="165"/>
                        <a:pt x="111" y="165"/>
                      </a:cubicBezTo>
                      <a:cubicBezTo>
                        <a:pt x="111" y="165"/>
                        <a:pt x="111" y="165"/>
                        <a:pt x="111" y="165"/>
                      </a:cubicBezTo>
                      <a:cubicBezTo>
                        <a:pt x="112" y="165"/>
                        <a:pt x="112" y="165"/>
                        <a:pt x="112" y="165"/>
                      </a:cubicBezTo>
                      <a:cubicBezTo>
                        <a:pt x="112" y="165"/>
                        <a:pt x="112" y="165"/>
                        <a:pt x="112" y="165"/>
                      </a:cubicBezTo>
                      <a:cubicBezTo>
                        <a:pt x="113" y="164"/>
                        <a:pt x="113" y="164"/>
                        <a:pt x="113" y="164"/>
                      </a:cubicBezTo>
                      <a:cubicBezTo>
                        <a:pt x="113" y="163"/>
                        <a:pt x="113" y="163"/>
                        <a:pt x="113" y="163"/>
                      </a:cubicBezTo>
                      <a:cubicBezTo>
                        <a:pt x="114" y="163"/>
                        <a:pt x="114" y="163"/>
                        <a:pt x="114" y="163"/>
                      </a:cubicBezTo>
                      <a:cubicBezTo>
                        <a:pt x="114" y="162"/>
                        <a:pt x="114" y="162"/>
                        <a:pt x="114" y="162"/>
                      </a:cubicBezTo>
                      <a:cubicBezTo>
                        <a:pt x="114" y="162"/>
                        <a:pt x="114" y="162"/>
                        <a:pt x="114" y="162"/>
                      </a:cubicBezTo>
                      <a:cubicBezTo>
                        <a:pt x="114" y="162"/>
                        <a:pt x="114" y="162"/>
                        <a:pt x="114" y="162"/>
                      </a:cubicBezTo>
                      <a:cubicBezTo>
                        <a:pt x="115" y="161"/>
                        <a:pt x="115" y="161"/>
                        <a:pt x="115" y="161"/>
                      </a:cubicBezTo>
                      <a:cubicBezTo>
                        <a:pt x="115" y="160"/>
                        <a:pt x="115" y="160"/>
                        <a:pt x="115" y="160"/>
                      </a:cubicBezTo>
                      <a:cubicBezTo>
                        <a:pt x="114" y="160"/>
                        <a:pt x="114" y="160"/>
                        <a:pt x="114" y="160"/>
                      </a:cubicBezTo>
                      <a:cubicBezTo>
                        <a:pt x="114" y="159"/>
                        <a:pt x="114" y="159"/>
                        <a:pt x="114" y="159"/>
                      </a:cubicBezTo>
                      <a:cubicBezTo>
                        <a:pt x="114" y="158"/>
                        <a:pt x="114" y="158"/>
                        <a:pt x="114" y="158"/>
                      </a:cubicBezTo>
                      <a:cubicBezTo>
                        <a:pt x="114" y="158"/>
                        <a:pt x="114" y="158"/>
                        <a:pt x="114" y="158"/>
                      </a:cubicBezTo>
                      <a:cubicBezTo>
                        <a:pt x="115" y="159"/>
                        <a:pt x="115" y="159"/>
                        <a:pt x="115" y="159"/>
                      </a:cubicBezTo>
                      <a:cubicBezTo>
                        <a:pt x="116" y="160"/>
                        <a:pt x="116" y="160"/>
                        <a:pt x="116" y="160"/>
                      </a:cubicBezTo>
                      <a:cubicBezTo>
                        <a:pt x="116" y="160"/>
                        <a:pt x="116" y="160"/>
                        <a:pt x="116" y="160"/>
                      </a:cubicBezTo>
                      <a:cubicBezTo>
                        <a:pt x="117" y="160"/>
                        <a:pt x="117" y="160"/>
                        <a:pt x="117" y="160"/>
                      </a:cubicBezTo>
                      <a:cubicBezTo>
                        <a:pt x="117" y="160"/>
                        <a:pt x="117" y="160"/>
                        <a:pt x="117" y="160"/>
                      </a:cubicBezTo>
                      <a:cubicBezTo>
                        <a:pt x="117" y="161"/>
                        <a:pt x="117" y="161"/>
                        <a:pt x="117" y="161"/>
                      </a:cubicBezTo>
                      <a:cubicBezTo>
                        <a:pt x="117" y="161"/>
                        <a:pt x="117" y="161"/>
                        <a:pt x="117" y="161"/>
                      </a:cubicBezTo>
                      <a:cubicBezTo>
                        <a:pt x="116" y="163"/>
                        <a:pt x="116" y="163"/>
                        <a:pt x="116" y="163"/>
                      </a:cubicBezTo>
                      <a:cubicBezTo>
                        <a:pt x="115" y="165"/>
                        <a:pt x="115" y="165"/>
                        <a:pt x="115" y="165"/>
                      </a:cubicBezTo>
                      <a:cubicBezTo>
                        <a:pt x="114" y="165"/>
                        <a:pt x="114" y="165"/>
                        <a:pt x="114" y="165"/>
                      </a:cubicBezTo>
                      <a:cubicBezTo>
                        <a:pt x="114" y="166"/>
                        <a:pt x="114" y="166"/>
                        <a:pt x="114" y="166"/>
                      </a:cubicBezTo>
                      <a:cubicBezTo>
                        <a:pt x="114" y="166"/>
                        <a:pt x="114" y="166"/>
                        <a:pt x="114" y="166"/>
                      </a:cubicBezTo>
                      <a:cubicBezTo>
                        <a:pt x="113" y="166"/>
                        <a:pt x="113" y="166"/>
                        <a:pt x="113" y="166"/>
                      </a:cubicBezTo>
                      <a:cubicBezTo>
                        <a:pt x="112" y="167"/>
                        <a:pt x="112" y="167"/>
                        <a:pt x="112" y="167"/>
                      </a:cubicBezTo>
                      <a:cubicBezTo>
                        <a:pt x="112" y="167"/>
                        <a:pt x="112" y="167"/>
                        <a:pt x="112" y="167"/>
                      </a:cubicBezTo>
                      <a:cubicBezTo>
                        <a:pt x="112" y="168"/>
                        <a:pt x="112" y="168"/>
                        <a:pt x="112" y="168"/>
                      </a:cubicBezTo>
                      <a:cubicBezTo>
                        <a:pt x="111" y="168"/>
                        <a:pt x="111" y="168"/>
                        <a:pt x="111" y="168"/>
                      </a:cubicBezTo>
                      <a:cubicBezTo>
                        <a:pt x="110" y="168"/>
                        <a:pt x="110" y="168"/>
                        <a:pt x="110" y="168"/>
                      </a:cubicBezTo>
                      <a:cubicBezTo>
                        <a:pt x="111" y="169"/>
                        <a:pt x="111" y="169"/>
                        <a:pt x="111" y="169"/>
                      </a:cubicBezTo>
                      <a:cubicBezTo>
                        <a:pt x="111" y="169"/>
                        <a:pt x="111" y="169"/>
                        <a:pt x="111" y="169"/>
                      </a:cubicBezTo>
                      <a:cubicBezTo>
                        <a:pt x="114" y="167"/>
                        <a:pt x="114" y="167"/>
                        <a:pt x="114" y="167"/>
                      </a:cubicBezTo>
                      <a:cubicBezTo>
                        <a:pt x="116" y="165"/>
                        <a:pt x="116" y="165"/>
                        <a:pt x="116" y="165"/>
                      </a:cubicBezTo>
                      <a:cubicBezTo>
                        <a:pt x="118" y="162"/>
                        <a:pt x="118" y="162"/>
                        <a:pt x="118" y="162"/>
                      </a:cubicBezTo>
                      <a:cubicBezTo>
                        <a:pt x="119" y="160"/>
                        <a:pt x="119" y="160"/>
                        <a:pt x="119" y="160"/>
                      </a:cubicBezTo>
                      <a:cubicBezTo>
                        <a:pt x="120" y="158"/>
                        <a:pt x="120" y="158"/>
                        <a:pt x="120" y="158"/>
                      </a:cubicBezTo>
                      <a:cubicBezTo>
                        <a:pt x="122" y="154"/>
                        <a:pt x="122" y="154"/>
                        <a:pt x="122" y="154"/>
                      </a:cubicBezTo>
                      <a:cubicBezTo>
                        <a:pt x="124" y="152"/>
                        <a:pt x="124" y="152"/>
                        <a:pt x="124" y="152"/>
                      </a:cubicBezTo>
                      <a:cubicBezTo>
                        <a:pt x="125" y="151"/>
                        <a:pt x="125" y="151"/>
                        <a:pt x="125" y="151"/>
                      </a:cubicBezTo>
                      <a:cubicBezTo>
                        <a:pt x="124" y="151"/>
                        <a:pt x="124" y="151"/>
                        <a:pt x="124" y="151"/>
                      </a:cubicBezTo>
                      <a:cubicBezTo>
                        <a:pt x="125" y="150"/>
                        <a:pt x="125" y="150"/>
                        <a:pt x="125" y="150"/>
                      </a:cubicBezTo>
                      <a:cubicBezTo>
                        <a:pt x="125" y="150"/>
                        <a:pt x="125" y="150"/>
                        <a:pt x="125" y="150"/>
                      </a:cubicBezTo>
                      <a:cubicBezTo>
                        <a:pt x="125" y="149"/>
                        <a:pt x="125" y="149"/>
                        <a:pt x="125" y="149"/>
                      </a:cubicBezTo>
                      <a:cubicBezTo>
                        <a:pt x="126" y="149"/>
                        <a:pt x="126" y="149"/>
                        <a:pt x="126" y="149"/>
                      </a:cubicBezTo>
                      <a:cubicBezTo>
                        <a:pt x="126" y="148"/>
                        <a:pt x="126" y="148"/>
                        <a:pt x="126" y="148"/>
                      </a:cubicBezTo>
                      <a:cubicBezTo>
                        <a:pt x="126" y="147"/>
                        <a:pt x="126" y="147"/>
                        <a:pt x="126" y="147"/>
                      </a:cubicBezTo>
                      <a:cubicBezTo>
                        <a:pt x="126" y="147"/>
                        <a:pt x="126" y="147"/>
                        <a:pt x="126" y="147"/>
                      </a:cubicBezTo>
                      <a:cubicBezTo>
                        <a:pt x="125" y="147"/>
                        <a:pt x="125" y="147"/>
                        <a:pt x="125" y="147"/>
                      </a:cubicBezTo>
                      <a:cubicBezTo>
                        <a:pt x="125" y="146"/>
                        <a:pt x="125" y="146"/>
                        <a:pt x="125" y="146"/>
                      </a:cubicBezTo>
                      <a:cubicBezTo>
                        <a:pt x="124" y="145"/>
                        <a:pt x="124" y="145"/>
                        <a:pt x="124" y="145"/>
                      </a:cubicBezTo>
                      <a:cubicBezTo>
                        <a:pt x="124" y="144"/>
                        <a:pt x="124" y="144"/>
                        <a:pt x="124" y="144"/>
                      </a:cubicBezTo>
                      <a:cubicBezTo>
                        <a:pt x="125" y="144"/>
                        <a:pt x="125" y="144"/>
                        <a:pt x="125" y="144"/>
                      </a:cubicBezTo>
                      <a:cubicBezTo>
                        <a:pt x="124" y="143"/>
                        <a:pt x="124" y="143"/>
                        <a:pt x="124" y="143"/>
                      </a:cubicBezTo>
                      <a:cubicBezTo>
                        <a:pt x="124" y="142"/>
                        <a:pt x="124" y="142"/>
                        <a:pt x="124" y="142"/>
                      </a:cubicBezTo>
                      <a:cubicBezTo>
                        <a:pt x="124" y="141"/>
                        <a:pt x="124" y="141"/>
                        <a:pt x="124" y="141"/>
                      </a:cubicBezTo>
                      <a:cubicBezTo>
                        <a:pt x="124" y="140"/>
                        <a:pt x="124" y="140"/>
                        <a:pt x="124" y="140"/>
                      </a:cubicBezTo>
                      <a:cubicBezTo>
                        <a:pt x="125" y="140"/>
                        <a:pt x="125" y="140"/>
                        <a:pt x="125" y="140"/>
                      </a:cubicBezTo>
                      <a:cubicBezTo>
                        <a:pt x="125" y="139"/>
                        <a:pt x="125" y="139"/>
                        <a:pt x="125" y="139"/>
                      </a:cubicBezTo>
                      <a:cubicBezTo>
                        <a:pt x="124" y="139"/>
                        <a:pt x="124" y="139"/>
                        <a:pt x="124" y="139"/>
                      </a:cubicBezTo>
                      <a:cubicBezTo>
                        <a:pt x="126" y="139"/>
                        <a:pt x="126" y="139"/>
                        <a:pt x="126" y="139"/>
                      </a:cubicBezTo>
                      <a:cubicBezTo>
                        <a:pt x="126" y="138"/>
                        <a:pt x="126" y="138"/>
                        <a:pt x="126" y="138"/>
                      </a:cubicBezTo>
                      <a:cubicBezTo>
                        <a:pt x="124" y="137"/>
                        <a:pt x="124" y="137"/>
                        <a:pt x="124" y="137"/>
                      </a:cubicBezTo>
                      <a:cubicBezTo>
                        <a:pt x="125" y="137"/>
                        <a:pt x="125" y="137"/>
                        <a:pt x="125" y="137"/>
                      </a:cubicBezTo>
                      <a:cubicBezTo>
                        <a:pt x="126" y="136"/>
                        <a:pt x="126" y="136"/>
                        <a:pt x="126" y="136"/>
                      </a:cubicBezTo>
                      <a:cubicBezTo>
                        <a:pt x="126" y="137"/>
                        <a:pt x="126" y="137"/>
                        <a:pt x="126" y="137"/>
                      </a:cubicBezTo>
                      <a:cubicBezTo>
                        <a:pt x="128" y="136"/>
                        <a:pt x="128" y="136"/>
                        <a:pt x="128" y="136"/>
                      </a:cubicBezTo>
                      <a:cubicBezTo>
                        <a:pt x="129" y="135"/>
                        <a:pt x="129" y="135"/>
                        <a:pt x="129" y="135"/>
                      </a:cubicBezTo>
                      <a:cubicBezTo>
                        <a:pt x="129" y="135"/>
                        <a:pt x="129" y="135"/>
                        <a:pt x="129" y="135"/>
                      </a:cubicBezTo>
                      <a:cubicBezTo>
                        <a:pt x="130" y="134"/>
                        <a:pt x="130" y="134"/>
                        <a:pt x="130" y="134"/>
                      </a:cubicBezTo>
                      <a:cubicBezTo>
                        <a:pt x="132" y="133"/>
                        <a:pt x="132" y="133"/>
                        <a:pt x="132" y="133"/>
                      </a:cubicBezTo>
                      <a:cubicBezTo>
                        <a:pt x="134" y="131"/>
                        <a:pt x="134" y="131"/>
                        <a:pt x="134" y="131"/>
                      </a:cubicBezTo>
                      <a:cubicBezTo>
                        <a:pt x="135" y="130"/>
                        <a:pt x="135" y="130"/>
                        <a:pt x="135" y="130"/>
                      </a:cubicBezTo>
                      <a:cubicBezTo>
                        <a:pt x="136" y="130"/>
                        <a:pt x="136" y="130"/>
                        <a:pt x="136" y="130"/>
                      </a:cubicBezTo>
                      <a:cubicBezTo>
                        <a:pt x="137" y="129"/>
                        <a:pt x="137" y="129"/>
                        <a:pt x="137" y="129"/>
                      </a:cubicBezTo>
                      <a:cubicBezTo>
                        <a:pt x="138" y="129"/>
                        <a:pt x="138" y="129"/>
                        <a:pt x="138" y="129"/>
                      </a:cubicBezTo>
                      <a:cubicBezTo>
                        <a:pt x="139" y="129"/>
                        <a:pt x="139" y="129"/>
                        <a:pt x="139" y="129"/>
                      </a:cubicBezTo>
                      <a:cubicBezTo>
                        <a:pt x="140" y="130"/>
                        <a:pt x="140" y="130"/>
                        <a:pt x="140" y="130"/>
                      </a:cubicBezTo>
                      <a:cubicBezTo>
                        <a:pt x="140" y="129"/>
                        <a:pt x="140" y="129"/>
                        <a:pt x="140" y="129"/>
                      </a:cubicBezTo>
                      <a:cubicBezTo>
                        <a:pt x="140" y="128"/>
                        <a:pt x="140" y="128"/>
                        <a:pt x="140" y="128"/>
                      </a:cubicBezTo>
                      <a:cubicBezTo>
                        <a:pt x="142" y="127"/>
                        <a:pt x="142" y="127"/>
                        <a:pt x="142" y="127"/>
                      </a:cubicBezTo>
                      <a:cubicBezTo>
                        <a:pt x="143" y="126"/>
                        <a:pt x="143" y="126"/>
                        <a:pt x="143" y="126"/>
                      </a:cubicBezTo>
                      <a:cubicBezTo>
                        <a:pt x="143" y="126"/>
                        <a:pt x="143" y="126"/>
                        <a:pt x="143" y="126"/>
                      </a:cubicBezTo>
                      <a:cubicBezTo>
                        <a:pt x="143" y="126"/>
                        <a:pt x="143" y="126"/>
                        <a:pt x="143" y="126"/>
                      </a:cubicBezTo>
                      <a:cubicBezTo>
                        <a:pt x="142" y="126"/>
                        <a:pt x="142" y="126"/>
                        <a:pt x="142" y="126"/>
                      </a:cubicBezTo>
                      <a:cubicBezTo>
                        <a:pt x="142" y="125"/>
                        <a:pt x="142" y="125"/>
                        <a:pt x="142" y="125"/>
                      </a:cubicBezTo>
                      <a:cubicBezTo>
                        <a:pt x="142" y="125"/>
                        <a:pt x="142" y="125"/>
                        <a:pt x="142" y="125"/>
                      </a:cubicBezTo>
                      <a:cubicBezTo>
                        <a:pt x="144" y="124"/>
                        <a:pt x="144" y="124"/>
                        <a:pt x="144" y="124"/>
                      </a:cubicBezTo>
                      <a:cubicBezTo>
                        <a:pt x="144" y="124"/>
                        <a:pt x="144" y="124"/>
                        <a:pt x="144" y="124"/>
                      </a:cubicBezTo>
                      <a:cubicBezTo>
                        <a:pt x="145" y="124"/>
                        <a:pt x="145" y="124"/>
                        <a:pt x="145" y="124"/>
                      </a:cubicBezTo>
                      <a:cubicBezTo>
                        <a:pt x="146" y="124"/>
                        <a:pt x="146" y="124"/>
                        <a:pt x="146" y="124"/>
                      </a:cubicBezTo>
                      <a:cubicBezTo>
                        <a:pt x="147" y="124"/>
                        <a:pt x="147" y="124"/>
                        <a:pt x="147" y="124"/>
                      </a:cubicBezTo>
                      <a:cubicBezTo>
                        <a:pt x="147" y="124"/>
                        <a:pt x="147" y="124"/>
                        <a:pt x="147" y="124"/>
                      </a:cubicBezTo>
                      <a:cubicBezTo>
                        <a:pt x="145" y="125"/>
                        <a:pt x="145" y="125"/>
                        <a:pt x="145" y="125"/>
                      </a:cubicBezTo>
                      <a:cubicBezTo>
                        <a:pt x="144" y="125"/>
                        <a:pt x="144" y="125"/>
                        <a:pt x="144" y="125"/>
                      </a:cubicBezTo>
                      <a:cubicBezTo>
                        <a:pt x="144" y="125"/>
                        <a:pt x="144" y="125"/>
                        <a:pt x="144" y="125"/>
                      </a:cubicBezTo>
                      <a:cubicBezTo>
                        <a:pt x="144" y="126"/>
                        <a:pt x="144" y="126"/>
                        <a:pt x="144" y="126"/>
                      </a:cubicBezTo>
                      <a:cubicBezTo>
                        <a:pt x="146" y="125"/>
                        <a:pt x="146" y="125"/>
                        <a:pt x="146" y="125"/>
                      </a:cubicBezTo>
                      <a:cubicBezTo>
                        <a:pt x="148" y="124"/>
                        <a:pt x="148" y="124"/>
                        <a:pt x="148" y="124"/>
                      </a:cubicBezTo>
                      <a:cubicBezTo>
                        <a:pt x="148" y="124"/>
                        <a:pt x="148" y="124"/>
                        <a:pt x="148" y="124"/>
                      </a:cubicBezTo>
                      <a:cubicBezTo>
                        <a:pt x="149" y="124"/>
                        <a:pt x="149" y="124"/>
                        <a:pt x="149" y="124"/>
                      </a:cubicBezTo>
                      <a:cubicBezTo>
                        <a:pt x="149" y="124"/>
                        <a:pt x="149" y="124"/>
                        <a:pt x="149" y="124"/>
                      </a:cubicBezTo>
                      <a:cubicBezTo>
                        <a:pt x="149" y="124"/>
                        <a:pt x="149" y="124"/>
                        <a:pt x="149" y="124"/>
                      </a:cubicBezTo>
                      <a:cubicBezTo>
                        <a:pt x="149" y="124"/>
                        <a:pt x="149" y="125"/>
                        <a:pt x="149" y="125"/>
                      </a:cubicBezTo>
                      <a:cubicBezTo>
                        <a:pt x="149" y="125"/>
                        <a:pt x="151" y="125"/>
                        <a:pt x="151" y="125"/>
                      </a:cubicBezTo>
                      <a:cubicBezTo>
                        <a:pt x="151" y="125"/>
                        <a:pt x="151" y="125"/>
                        <a:pt x="151" y="125"/>
                      </a:cubicBezTo>
                      <a:cubicBezTo>
                        <a:pt x="153" y="125"/>
                        <a:pt x="153" y="125"/>
                        <a:pt x="153" y="125"/>
                      </a:cubicBezTo>
                      <a:cubicBezTo>
                        <a:pt x="154" y="125"/>
                        <a:pt x="154" y="125"/>
                        <a:pt x="154" y="125"/>
                      </a:cubicBezTo>
                      <a:cubicBezTo>
                        <a:pt x="155" y="124"/>
                        <a:pt x="155" y="124"/>
                        <a:pt x="155" y="124"/>
                      </a:cubicBezTo>
                      <a:cubicBezTo>
                        <a:pt x="155" y="124"/>
                        <a:pt x="155" y="124"/>
                        <a:pt x="155" y="124"/>
                      </a:cubicBezTo>
                      <a:cubicBezTo>
                        <a:pt x="155" y="124"/>
                        <a:pt x="155" y="124"/>
                        <a:pt x="155" y="124"/>
                      </a:cubicBezTo>
                      <a:cubicBezTo>
                        <a:pt x="155" y="123"/>
                        <a:pt x="155" y="123"/>
                        <a:pt x="155" y="123"/>
                      </a:cubicBezTo>
                      <a:cubicBezTo>
                        <a:pt x="157" y="122"/>
                        <a:pt x="157" y="122"/>
                        <a:pt x="157" y="122"/>
                      </a:cubicBezTo>
                      <a:cubicBezTo>
                        <a:pt x="159" y="121"/>
                        <a:pt x="159" y="121"/>
                        <a:pt x="159" y="121"/>
                      </a:cubicBezTo>
                      <a:cubicBezTo>
                        <a:pt x="160" y="121"/>
                        <a:pt x="160" y="121"/>
                        <a:pt x="160" y="121"/>
                      </a:cubicBezTo>
                      <a:cubicBezTo>
                        <a:pt x="160" y="120"/>
                        <a:pt x="160" y="120"/>
                        <a:pt x="160" y="120"/>
                      </a:cubicBezTo>
                      <a:cubicBezTo>
                        <a:pt x="160" y="120"/>
                        <a:pt x="160" y="120"/>
                        <a:pt x="160" y="120"/>
                      </a:cubicBezTo>
                      <a:cubicBezTo>
                        <a:pt x="159" y="118"/>
                        <a:pt x="159" y="118"/>
                        <a:pt x="159" y="118"/>
                      </a:cubicBezTo>
                      <a:cubicBezTo>
                        <a:pt x="160" y="117"/>
                        <a:pt x="160" y="117"/>
                        <a:pt x="160" y="117"/>
                      </a:cubicBezTo>
                      <a:cubicBezTo>
                        <a:pt x="161" y="116"/>
                        <a:pt x="161" y="116"/>
                        <a:pt x="161" y="116"/>
                      </a:cubicBezTo>
                      <a:cubicBezTo>
                        <a:pt x="161" y="115"/>
                        <a:pt x="161" y="115"/>
                        <a:pt x="161" y="115"/>
                      </a:cubicBezTo>
                      <a:cubicBezTo>
                        <a:pt x="161" y="115"/>
                        <a:pt x="161" y="115"/>
                        <a:pt x="161" y="115"/>
                      </a:cubicBezTo>
                      <a:cubicBezTo>
                        <a:pt x="162" y="115"/>
                        <a:pt x="162" y="115"/>
                        <a:pt x="162" y="115"/>
                      </a:cubicBezTo>
                      <a:cubicBezTo>
                        <a:pt x="162" y="114"/>
                        <a:pt x="162" y="114"/>
                        <a:pt x="162" y="114"/>
                      </a:cubicBezTo>
                      <a:cubicBezTo>
                        <a:pt x="162" y="114"/>
                        <a:pt x="162" y="114"/>
                        <a:pt x="162" y="114"/>
                      </a:cubicBezTo>
                      <a:cubicBezTo>
                        <a:pt x="163" y="112"/>
                        <a:pt x="163" y="112"/>
                        <a:pt x="163" y="112"/>
                      </a:cubicBezTo>
                      <a:cubicBezTo>
                        <a:pt x="165" y="110"/>
                        <a:pt x="165" y="110"/>
                        <a:pt x="165" y="110"/>
                      </a:cubicBezTo>
                      <a:cubicBezTo>
                        <a:pt x="165" y="109"/>
                        <a:pt x="165" y="109"/>
                        <a:pt x="165" y="109"/>
                      </a:cubicBezTo>
                      <a:cubicBezTo>
                        <a:pt x="165" y="106"/>
                        <a:pt x="165" y="106"/>
                        <a:pt x="165" y="106"/>
                      </a:cubicBezTo>
                      <a:cubicBezTo>
                        <a:pt x="164" y="106"/>
                        <a:pt x="164" y="106"/>
                        <a:pt x="164" y="106"/>
                      </a:cubicBezTo>
                      <a:cubicBezTo>
                        <a:pt x="165" y="104"/>
                        <a:pt x="165" y="104"/>
                        <a:pt x="165" y="104"/>
                      </a:cubicBezTo>
                      <a:cubicBezTo>
                        <a:pt x="165" y="103"/>
                        <a:pt x="165" y="103"/>
                        <a:pt x="165" y="103"/>
                      </a:cubicBezTo>
                      <a:cubicBezTo>
                        <a:pt x="165" y="103"/>
                        <a:pt x="165" y="103"/>
                        <a:pt x="165" y="103"/>
                      </a:cubicBezTo>
                      <a:cubicBezTo>
                        <a:pt x="167" y="102"/>
                        <a:pt x="167" y="102"/>
                        <a:pt x="167" y="102"/>
                      </a:cubicBezTo>
                      <a:cubicBezTo>
                        <a:pt x="167" y="101"/>
                        <a:pt x="167" y="101"/>
                        <a:pt x="167" y="101"/>
                      </a:cubicBezTo>
                      <a:cubicBezTo>
                        <a:pt x="167" y="100"/>
                        <a:pt x="167" y="100"/>
                        <a:pt x="167" y="100"/>
                      </a:cubicBezTo>
                      <a:cubicBezTo>
                        <a:pt x="167" y="98"/>
                        <a:pt x="167" y="98"/>
                        <a:pt x="167" y="98"/>
                      </a:cubicBezTo>
                      <a:cubicBezTo>
                        <a:pt x="167" y="96"/>
                        <a:pt x="167" y="96"/>
                        <a:pt x="167" y="96"/>
                      </a:cubicBezTo>
                      <a:cubicBezTo>
                        <a:pt x="168" y="95"/>
                        <a:pt x="168" y="95"/>
                        <a:pt x="168" y="95"/>
                      </a:cubicBezTo>
                      <a:cubicBezTo>
                        <a:pt x="167" y="94"/>
                        <a:pt x="167" y="94"/>
                        <a:pt x="167" y="94"/>
                      </a:cubicBezTo>
                      <a:cubicBezTo>
                        <a:pt x="168" y="93"/>
                        <a:pt x="168" y="93"/>
                        <a:pt x="168" y="93"/>
                      </a:cubicBezTo>
                      <a:cubicBezTo>
                        <a:pt x="167" y="87"/>
                        <a:pt x="167" y="87"/>
                        <a:pt x="167" y="87"/>
                      </a:cubicBezTo>
                      <a:cubicBezTo>
                        <a:pt x="167" y="86"/>
                        <a:pt x="167" y="86"/>
                        <a:pt x="167" y="86"/>
                      </a:cubicBezTo>
                      <a:cubicBezTo>
                        <a:pt x="168" y="85"/>
                        <a:pt x="168" y="85"/>
                        <a:pt x="168" y="85"/>
                      </a:cubicBezTo>
                      <a:cubicBezTo>
                        <a:pt x="168" y="84"/>
                        <a:pt x="168" y="84"/>
                        <a:pt x="168" y="84"/>
                      </a:cubicBezTo>
                      <a:cubicBezTo>
                        <a:pt x="167" y="85"/>
                        <a:pt x="167" y="85"/>
                        <a:pt x="167" y="85"/>
                      </a:cubicBezTo>
                      <a:cubicBezTo>
                        <a:pt x="167" y="84"/>
                        <a:pt x="167" y="84"/>
                        <a:pt x="167" y="84"/>
                      </a:cubicBezTo>
                      <a:cubicBezTo>
                        <a:pt x="167" y="84"/>
                        <a:pt x="167" y="84"/>
                        <a:pt x="167" y="84"/>
                      </a:cubicBezTo>
                      <a:cubicBezTo>
                        <a:pt x="167" y="83"/>
                        <a:pt x="167" y="83"/>
                        <a:pt x="167" y="83"/>
                      </a:cubicBezTo>
                      <a:cubicBezTo>
                        <a:pt x="167" y="82"/>
                        <a:pt x="167" y="82"/>
                        <a:pt x="167" y="82"/>
                      </a:cubicBezTo>
                      <a:cubicBezTo>
                        <a:pt x="167" y="81"/>
                        <a:pt x="167" y="81"/>
                        <a:pt x="167" y="81"/>
                      </a:cubicBezTo>
                      <a:cubicBezTo>
                        <a:pt x="168" y="81"/>
                        <a:pt x="168" y="81"/>
                        <a:pt x="168" y="81"/>
                      </a:cubicBezTo>
                      <a:cubicBezTo>
                        <a:pt x="168" y="80"/>
                        <a:pt x="168" y="80"/>
                        <a:pt x="168" y="80"/>
                      </a:cubicBezTo>
                      <a:cubicBezTo>
                        <a:pt x="167" y="79"/>
                        <a:pt x="167" y="79"/>
                        <a:pt x="167" y="79"/>
                      </a:cubicBezTo>
                      <a:cubicBezTo>
                        <a:pt x="166" y="78"/>
                        <a:pt x="166" y="78"/>
                        <a:pt x="166" y="78"/>
                      </a:cubicBezTo>
                      <a:cubicBezTo>
                        <a:pt x="166" y="78"/>
                        <a:pt x="166" y="78"/>
                        <a:pt x="166" y="78"/>
                      </a:cubicBezTo>
                      <a:cubicBezTo>
                        <a:pt x="167" y="78"/>
                        <a:pt x="167" y="78"/>
                        <a:pt x="167" y="78"/>
                      </a:cubicBezTo>
                      <a:cubicBezTo>
                        <a:pt x="167" y="78"/>
                        <a:pt x="167" y="78"/>
                        <a:pt x="167" y="78"/>
                      </a:cubicBezTo>
                      <a:cubicBezTo>
                        <a:pt x="168" y="79"/>
                        <a:pt x="168" y="79"/>
                        <a:pt x="168" y="79"/>
                      </a:cubicBezTo>
                      <a:cubicBezTo>
                        <a:pt x="168" y="79"/>
                        <a:pt x="168" y="79"/>
                        <a:pt x="168" y="79"/>
                      </a:cubicBezTo>
                      <a:cubicBezTo>
                        <a:pt x="169" y="78"/>
                        <a:pt x="169" y="78"/>
                        <a:pt x="169" y="78"/>
                      </a:cubicBezTo>
                      <a:cubicBezTo>
                        <a:pt x="169" y="78"/>
                        <a:pt x="169" y="78"/>
                        <a:pt x="169" y="78"/>
                      </a:cubicBezTo>
                      <a:cubicBezTo>
                        <a:pt x="170" y="79"/>
                        <a:pt x="170" y="79"/>
                        <a:pt x="170" y="79"/>
                      </a:cubicBezTo>
                      <a:cubicBezTo>
                        <a:pt x="170" y="79"/>
                        <a:pt x="170" y="79"/>
                        <a:pt x="170" y="79"/>
                      </a:cubicBezTo>
                      <a:cubicBezTo>
                        <a:pt x="170" y="80"/>
                        <a:pt x="170" y="80"/>
                        <a:pt x="170" y="80"/>
                      </a:cubicBezTo>
                      <a:cubicBezTo>
                        <a:pt x="169" y="80"/>
                        <a:pt x="169" y="80"/>
                        <a:pt x="169" y="80"/>
                      </a:cubicBezTo>
                      <a:cubicBezTo>
                        <a:pt x="169" y="81"/>
                        <a:pt x="169" y="81"/>
                        <a:pt x="169" y="81"/>
                      </a:cubicBezTo>
                      <a:cubicBezTo>
                        <a:pt x="169" y="81"/>
                        <a:pt x="169" y="81"/>
                        <a:pt x="169" y="81"/>
                      </a:cubicBezTo>
                      <a:cubicBezTo>
                        <a:pt x="170" y="80"/>
                        <a:pt x="170" y="80"/>
                        <a:pt x="170" y="80"/>
                      </a:cubicBezTo>
                      <a:cubicBezTo>
                        <a:pt x="171" y="79"/>
                        <a:pt x="171" y="79"/>
                        <a:pt x="171" y="79"/>
                      </a:cubicBezTo>
                      <a:cubicBezTo>
                        <a:pt x="173" y="77"/>
                        <a:pt x="173" y="77"/>
                        <a:pt x="173" y="77"/>
                      </a:cubicBezTo>
                      <a:cubicBezTo>
                        <a:pt x="174" y="75"/>
                        <a:pt x="174" y="75"/>
                        <a:pt x="174" y="75"/>
                      </a:cubicBezTo>
                      <a:cubicBezTo>
                        <a:pt x="174" y="74"/>
                        <a:pt x="174" y="74"/>
                        <a:pt x="174" y="74"/>
                      </a:cubicBezTo>
                      <a:cubicBezTo>
                        <a:pt x="175" y="74"/>
                        <a:pt x="175" y="74"/>
                        <a:pt x="175" y="74"/>
                      </a:cubicBezTo>
                      <a:cubicBezTo>
                        <a:pt x="175" y="72"/>
                        <a:pt x="175" y="72"/>
                        <a:pt x="175" y="72"/>
                      </a:cubicBezTo>
                      <a:cubicBezTo>
                        <a:pt x="176" y="71"/>
                        <a:pt x="176" y="71"/>
                        <a:pt x="176" y="71"/>
                      </a:cubicBezTo>
                      <a:cubicBezTo>
                        <a:pt x="178" y="69"/>
                        <a:pt x="178" y="69"/>
                        <a:pt x="178" y="69"/>
                      </a:cubicBezTo>
                      <a:cubicBezTo>
                        <a:pt x="179" y="69"/>
                        <a:pt x="179" y="69"/>
                        <a:pt x="179" y="69"/>
                      </a:cubicBezTo>
                      <a:cubicBezTo>
                        <a:pt x="179" y="68"/>
                        <a:pt x="179" y="68"/>
                        <a:pt x="179" y="68"/>
                      </a:cubicBezTo>
                      <a:cubicBezTo>
                        <a:pt x="180" y="68"/>
                        <a:pt x="180" y="68"/>
                        <a:pt x="180" y="68"/>
                      </a:cubicBezTo>
                      <a:cubicBezTo>
                        <a:pt x="182" y="66"/>
                        <a:pt x="182" y="66"/>
                        <a:pt x="182" y="66"/>
                      </a:cubicBezTo>
                      <a:cubicBezTo>
                        <a:pt x="184" y="64"/>
                        <a:pt x="184" y="64"/>
                        <a:pt x="184" y="64"/>
                      </a:cubicBezTo>
                      <a:cubicBezTo>
                        <a:pt x="184" y="63"/>
                        <a:pt x="184" y="63"/>
                        <a:pt x="184" y="63"/>
                      </a:cubicBezTo>
                      <a:cubicBezTo>
                        <a:pt x="186" y="61"/>
                        <a:pt x="186" y="61"/>
                        <a:pt x="186" y="61"/>
                      </a:cubicBezTo>
                      <a:cubicBezTo>
                        <a:pt x="186" y="60"/>
                        <a:pt x="186" y="60"/>
                        <a:pt x="186" y="60"/>
                      </a:cubicBezTo>
                      <a:cubicBezTo>
                        <a:pt x="187" y="59"/>
                        <a:pt x="187" y="59"/>
                        <a:pt x="187" y="59"/>
                      </a:cubicBezTo>
                      <a:cubicBezTo>
                        <a:pt x="187" y="58"/>
                        <a:pt x="187" y="58"/>
                        <a:pt x="187" y="58"/>
                      </a:cubicBezTo>
                      <a:cubicBezTo>
                        <a:pt x="186" y="57"/>
                        <a:pt x="186" y="57"/>
                        <a:pt x="186" y="57"/>
                      </a:cubicBezTo>
                      <a:cubicBezTo>
                        <a:pt x="186" y="56"/>
                        <a:pt x="186" y="56"/>
                        <a:pt x="186" y="56"/>
                      </a:cubicBezTo>
                      <a:cubicBezTo>
                        <a:pt x="187" y="56"/>
                        <a:pt x="187" y="56"/>
                        <a:pt x="187" y="56"/>
                      </a:cubicBezTo>
                      <a:cubicBezTo>
                        <a:pt x="187" y="54"/>
                        <a:pt x="187" y="54"/>
                        <a:pt x="187" y="54"/>
                      </a:cubicBezTo>
                      <a:cubicBezTo>
                        <a:pt x="186" y="54"/>
                        <a:pt x="186" y="54"/>
                        <a:pt x="186" y="54"/>
                      </a:cubicBezTo>
                      <a:cubicBezTo>
                        <a:pt x="186" y="52"/>
                        <a:pt x="186" y="52"/>
                        <a:pt x="186" y="52"/>
                      </a:cubicBezTo>
                      <a:cubicBezTo>
                        <a:pt x="184" y="49"/>
                        <a:pt x="184" y="49"/>
                        <a:pt x="184" y="49"/>
                      </a:cubicBezTo>
                      <a:cubicBezTo>
                        <a:pt x="184" y="48"/>
                        <a:pt x="184" y="48"/>
                        <a:pt x="184" y="48"/>
                      </a:cubicBezTo>
                      <a:cubicBezTo>
                        <a:pt x="184" y="47"/>
                        <a:pt x="184" y="47"/>
                        <a:pt x="184" y="47"/>
                      </a:cubicBezTo>
                      <a:cubicBezTo>
                        <a:pt x="181" y="45"/>
                        <a:pt x="181" y="45"/>
                        <a:pt x="181" y="45"/>
                      </a:cubicBezTo>
                      <a:cubicBezTo>
                        <a:pt x="179" y="46"/>
                        <a:pt x="179" y="46"/>
                        <a:pt x="179" y="46"/>
                      </a:cubicBezTo>
                      <a:cubicBezTo>
                        <a:pt x="178" y="46"/>
                        <a:pt x="178" y="46"/>
                        <a:pt x="178" y="46"/>
                      </a:cubicBezTo>
                      <a:cubicBezTo>
                        <a:pt x="177" y="45"/>
                        <a:pt x="177" y="45"/>
                        <a:pt x="177" y="45"/>
                      </a:cubicBezTo>
                      <a:cubicBezTo>
                        <a:pt x="176" y="45"/>
                        <a:pt x="176" y="45"/>
                        <a:pt x="176" y="45"/>
                      </a:cubicBezTo>
                      <a:cubicBezTo>
                        <a:pt x="175" y="44"/>
                        <a:pt x="175" y="44"/>
                        <a:pt x="175" y="44"/>
                      </a:cubicBezTo>
                      <a:cubicBezTo>
                        <a:pt x="173" y="43"/>
                        <a:pt x="173" y="43"/>
                        <a:pt x="173" y="43"/>
                      </a:cubicBezTo>
                      <a:cubicBezTo>
                        <a:pt x="172" y="43"/>
                        <a:pt x="172" y="43"/>
                        <a:pt x="172" y="43"/>
                      </a:cubicBezTo>
                      <a:cubicBezTo>
                        <a:pt x="170" y="41"/>
                        <a:pt x="170" y="41"/>
                        <a:pt x="170" y="41"/>
                      </a:cubicBezTo>
                      <a:cubicBezTo>
                        <a:pt x="169" y="39"/>
                        <a:pt x="169" y="39"/>
                        <a:pt x="169" y="39"/>
                      </a:cubicBezTo>
                      <a:cubicBezTo>
                        <a:pt x="168" y="38"/>
                        <a:pt x="168" y="38"/>
                        <a:pt x="168" y="38"/>
                      </a:cubicBezTo>
                      <a:cubicBezTo>
                        <a:pt x="167" y="37"/>
                        <a:pt x="167" y="37"/>
                        <a:pt x="167" y="37"/>
                      </a:cubicBezTo>
                      <a:cubicBezTo>
                        <a:pt x="165" y="38"/>
                        <a:pt x="165" y="38"/>
                        <a:pt x="165" y="38"/>
                      </a:cubicBezTo>
                      <a:cubicBezTo>
                        <a:pt x="163" y="36"/>
                        <a:pt x="163" y="36"/>
                        <a:pt x="163" y="36"/>
                      </a:cubicBezTo>
                      <a:cubicBezTo>
                        <a:pt x="161" y="36"/>
                        <a:pt x="161" y="36"/>
                        <a:pt x="161" y="36"/>
                      </a:cubicBezTo>
                      <a:cubicBezTo>
                        <a:pt x="160" y="35"/>
                        <a:pt x="160" y="35"/>
                        <a:pt x="160" y="35"/>
                      </a:cubicBezTo>
                      <a:cubicBezTo>
                        <a:pt x="159" y="36"/>
                        <a:pt x="159" y="36"/>
                        <a:pt x="159" y="36"/>
                      </a:cubicBezTo>
                      <a:cubicBezTo>
                        <a:pt x="158" y="36"/>
                        <a:pt x="158" y="36"/>
                        <a:pt x="158" y="36"/>
                      </a:cubicBezTo>
                      <a:cubicBezTo>
                        <a:pt x="157" y="35"/>
                        <a:pt x="157" y="35"/>
                        <a:pt x="157" y="35"/>
                      </a:cubicBezTo>
                      <a:cubicBezTo>
                        <a:pt x="156" y="36"/>
                        <a:pt x="156" y="36"/>
                        <a:pt x="156" y="36"/>
                      </a:cubicBezTo>
                      <a:cubicBezTo>
                        <a:pt x="155" y="36"/>
                        <a:pt x="155" y="36"/>
                        <a:pt x="155" y="36"/>
                      </a:cubicBezTo>
                      <a:cubicBezTo>
                        <a:pt x="155" y="36"/>
                        <a:pt x="155" y="36"/>
                        <a:pt x="155" y="36"/>
                      </a:cubicBezTo>
                      <a:cubicBezTo>
                        <a:pt x="154" y="35"/>
                        <a:pt x="154" y="35"/>
                        <a:pt x="154" y="35"/>
                      </a:cubicBezTo>
                      <a:cubicBezTo>
                        <a:pt x="153" y="35"/>
                        <a:pt x="153" y="35"/>
                        <a:pt x="153" y="35"/>
                      </a:cubicBezTo>
                      <a:cubicBezTo>
                        <a:pt x="153" y="35"/>
                        <a:pt x="153" y="35"/>
                        <a:pt x="153" y="35"/>
                      </a:cubicBezTo>
                      <a:cubicBezTo>
                        <a:pt x="153" y="35"/>
                        <a:pt x="153" y="35"/>
                        <a:pt x="153" y="35"/>
                      </a:cubicBezTo>
                      <a:cubicBezTo>
                        <a:pt x="153" y="36"/>
                        <a:pt x="153" y="36"/>
                        <a:pt x="153" y="36"/>
                      </a:cubicBezTo>
                      <a:cubicBezTo>
                        <a:pt x="152" y="35"/>
                        <a:pt x="152" y="35"/>
                        <a:pt x="152" y="35"/>
                      </a:cubicBezTo>
                      <a:cubicBezTo>
                        <a:pt x="152" y="35"/>
                        <a:pt x="152" y="35"/>
                        <a:pt x="152" y="35"/>
                      </a:cubicBezTo>
                      <a:cubicBezTo>
                        <a:pt x="151" y="35"/>
                        <a:pt x="151" y="35"/>
                        <a:pt x="151" y="35"/>
                      </a:cubicBezTo>
                      <a:cubicBezTo>
                        <a:pt x="151" y="35"/>
                        <a:pt x="151" y="35"/>
                        <a:pt x="151" y="35"/>
                      </a:cubicBezTo>
                      <a:cubicBezTo>
                        <a:pt x="151" y="35"/>
                        <a:pt x="151" y="35"/>
                        <a:pt x="151" y="35"/>
                      </a:cubicBezTo>
                      <a:cubicBezTo>
                        <a:pt x="150" y="35"/>
                        <a:pt x="150" y="35"/>
                        <a:pt x="150" y="35"/>
                      </a:cubicBezTo>
                      <a:cubicBezTo>
                        <a:pt x="149" y="35"/>
                        <a:pt x="149" y="35"/>
                        <a:pt x="149" y="35"/>
                      </a:cubicBezTo>
                      <a:cubicBezTo>
                        <a:pt x="148" y="34"/>
                        <a:pt x="148" y="34"/>
                        <a:pt x="148" y="34"/>
                      </a:cubicBezTo>
                      <a:cubicBezTo>
                        <a:pt x="145" y="33"/>
                        <a:pt x="145" y="33"/>
                        <a:pt x="145" y="33"/>
                      </a:cubicBezTo>
                      <a:cubicBezTo>
                        <a:pt x="144" y="33"/>
                        <a:pt x="144" y="33"/>
                        <a:pt x="144" y="33"/>
                      </a:cubicBezTo>
                      <a:cubicBezTo>
                        <a:pt x="144" y="34"/>
                        <a:pt x="144" y="34"/>
                        <a:pt x="144" y="34"/>
                      </a:cubicBezTo>
                      <a:cubicBezTo>
                        <a:pt x="144" y="34"/>
                        <a:pt x="144" y="34"/>
                        <a:pt x="144" y="34"/>
                      </a:cubicBezTo>
                      <a:cubicBezTo>
                        <a:pt x="144" y="34"/>
                        <a:pt x="144" y="34"/>
                        <a:pt x="144" y="34"/>
                      </a:cubicBezTo>
                      <a:cubicBezTo>
                        <a:pt x="144" y="34"/>
                        <a:pt x="144" y="34"/>
                        <a:pt x="144" y="34"/>
                      </a:cubicBezTo>
                      <a:cubicBezTo>
                        <a:pt x="143" y="34"/>
                        <a:pt x="143" y="34"/>
                        <a:pt x="143" y="34"/>
                      </a:cubicBezTo>
                      <a:cubicBezTo>
                        <a:pt x="143" y="35"/>
                        <a:pt x="143" y="35"/>
                        <a:pt x="143" y="35"/>
                      </a:cubicBezTo>
                      <a:cubicBezTo>
                        <a:pt x="142" y="35"/>
                        <a:pt x="142" y="35"/>
                        <a:pt x="142" y="35"/>
                      </a:cubicBezTo>
                      <a:cubicBezTo>
                        <a:pt x="142" y="35"/>
                        <a:pt x="142" y="35"/>
                        <a:pt x="142" y="35"/>
                      </a:cubicBezTo>
                      <a:cubicBezTo>
                        <a:pt x="142" y="36"/>
                        <a:pt x="142" y="36"/>
                        <a:pt x="142" y="36"/>
                      </a:cubicBezTo>
                      <a:cubicBezTo>
                        <a:pt x="141" y="36"/>
                        <a:pt x="141" y="36"/>
                        <a:pt x="141" y="36"/>
                      </a:cubicBezTo>
                      <a:cubicBezTo>
                        <a:pt x="141" y="35"/>
                        <a:pt x="141" y="35"/>
                        <a:pt x="141" y="35"/>
                      </a:cubicBezTo>
                      <a:cubicBezTo>
                        <a:pt x="141" y="35"/>
                        <a:pt x="141" y="35"/>
                        <a:pt x="141" y="35"/>
                      </a:cubicBezTo>
                      <a:cubicBezTo>
                        <a:pt x="141" y="36"/>
                        <a:pt x="141" y="36"/>
                        <a:pt x="141" y="36"/>
                      </a:cubicBezTo>
                      <a:cubicBezTo>
                        <a:pt x="140" y="37"/>
                        <a:pt x="140" y="37"/>
                        <a:pt x="140" y="37"/>
                      </a:cubicBezTo>
                      <a:cubicBezTo>
                        <a:pt x="140" y="39"/>
                        <a:pt x="140" y="39"/>
                        <a:pt x="140" y="39"/>
                      </a:cubicBezTo>
                      <a:cubicBezTo>
                        <a:pt x="140" y="38"/>
                        <a:pt x="140" y="38"/>
                        <a:pt x="140" y="38"/>
                      </a:cubicBezTo>
                      <a:cubicBezTo>
                        <a:pt x="140" y="36"/>
                        <a:pt x="140" y="36"/>
                        <a:pt x="140" y="36"/>
                      </a:cubicBezTo>
                      <a:cubicBezTo>
                        <a:pt x="140" y="35"/>
                        <a:pt x="140" y="35"/>
                        <a:pt x="140" y="35"/>
                      </a:cubicBezTo>
                      <a:cubicBezTo>
                        <a:pt x="140" y="34"/>
                        <a:pt x="140" y="34"/>
                        <a:pt x="140" y="34"/>
                      </a:cubicBezTo>
                      <a:cubicBezTo>
                        <a:pt x="141" y="34"/>
                        <a:pt x="141" y="34"/>
                        <a:pt x="141" y="34"/>
                      </a:cubicBezTo>
                      <a:cubicBezTo>
                        <a:pt x="140" y="33"/>
                        <a:pt x="140" y="33"/>
                        <a:pt x="140" y="33"/>
                      </a:cubicBezTo>
                      <a:cubicBezTo>
                        <a:pt x="140" y="33"/>
                        <a:pt x="140" y="33"/>
                        <a:pt x="140" y="33"/>
                      </a:cubicBezTo>
                      <a:cubicBezTo>
                        <a:pt x="141" y="32"/>
                        <a:pt x="141" y="32"/>
                        <a:pt x="141" y="32"/>
                      </a:cubicBezTo>
                      <a:cubicBezTo>
                        <a:pt x="139" y="31"/>
                        <a:pt x="139" y="31"/>
                        <a:pt x="139" y="31"/>
                      </a:cubicBezTo>
                      <a:cubicBezTo>
                        <a:pt x="139" y="30"/>
                        <a:pt x="139" y="30"/>
                        <a:pt x="139" y="30"/>
                      </a:cubicBezTo>
                      <a:cubicBezTo>
                        <a:pt x="138" y="30"/>
                        <a:pt x="138" y="30"/>
                        <a:pt x="138" y="30"/>
                      </a:cubicBezTo>
                      <a:cubicBezTo>
                        <a:pt x="137" y="30"/>
                        <a:pt x="137" y="30"/>
                        <a:pt x="137" y="30"/>
                      </a:cubicBezTo>
                      <a:cubicBezTo>
                        <a:pt x="136" y="31"/>
                        <a:pt x="136" y="31"/>
                        <a:pt x="136" y="31"/>
                      </a:cubicBezTo>
                      <a:cubicBezTo>
                        <a:pt x="136" y="31"/>
                        <a:pt x="136" y="31"/>
                        <a:pt x="136" y="31"/>
                      </a:cubicBezTo>
                      <a:cubicBezTo>
                        <a:pt x="135" y="30"/>
                        <a:pt x="135" y="30"/>
                        <a:pt x="135" y="30"/>
                      </a:cubicBezTo>
                      <a:cubicBezTo>
                        <a:pt x="135" y="30"/>
                        <a:pt x="135" y="30"/>
                        <a:pt x="135" y="30"/>
                      </a:cubicBezTo>
                      <a:cubicBezTo>
                        <a:pt x="135" y="29"/>
                        <a:pt x="135" y="29"/>
                        <a:pt x="135" y="29"/>
                      </a:cubicBezTo>
                      <a:cubicBezTo>
                        <a:pt x="134" y="29"/>
                        <a:pt x="134" y="29"/>
                        <a:pt x="134" y="29"/>
                      </a:cubicBezTo>
                      <a:cubicBezTo>
                        <a:pt x="133" y="29"/>
                        <a:pt x="133" y="29"/>
                        <a:pt x="133" y="29"/>
                      </a:cubicBezTo>
                      <a:cubicBezTo>
                        <a:pt x="133" y="29"/>
                        <a:pt x="133" y="29"/>
                        <a:pt x="133" y="29"/>
                      </a:cubicBezTo>
                      <a:cubicBezTo>
                        <a:pt x="132" y="28"/>
                        <a:pt x="132" y="28"/>
                        <a:pt x="132" y="28"/>
                      </a:cubicBezTo>
                      <a:cubicBezTo>
                        <a:pt x="132" y="29"/>
                        <a:pt x="132" y="29"/>
                        <a:pt x="132" y="29"/>
                      </a:cubicBezTo>
                      <a:cubicBezTo>
                        <a:pt x="132" y="28"/>
                        <a:pt x="132" y="28"/>
                        <a:pt x="132" y="28"/>
                      </a:cubicBezTo>
                      <a:cubicBezTo>
                        <a:pt x="131" y="28"/>
                        <a:pt x="131" y="28"/>
                        <a:pt x="131" y="28"/>
                      </a:cubicBezTo>
                      <a:cubicBezTo>
                        <a:pt x="131" y="28"/>
                        <a:pt x="131" y="28"/>
                        <a:pt x="131" y="28"/>
                      </a:cubicBezTo>
                      <a:cubicBezTo>
                        <a:pt x="130" y="28"/>
                        <a:pt x="130" y="28"/>
                        <a:pt x="130" y="28"/>
                      </a:cubicBezTo>
                      <a:cubicBezTo>
                        <a:pt x="129" y="27"/>
                        <a:pt x="129" y="27"/>
                        <a:pt x="129" y="27"/>
                      </a:cubicBezTo>
                      <a:cubicBezTo>
                        <a:pt x="128" y="27"/>
                        <a:pt x="128" y="27"/>
                        <a:pt x="128" y="27"/>
                      </a:cubicBezTo>
                      <a:cubicBezTo>
                        <a:pt x="128" y="27"/>
                        <a:pt x="128" y="27"/>
                        <a:pt x="128" y="27"/>
                      </a:cubicBezTo>
                      <a:cubicBezTo>
                        <a:pt x="127" y="27"/>
                        <a:pt x="127" y="27"/>
                        <a:pt x="127" y="27"/>
                      </a:cubicBezTo>
                      <a:cubicBezTo>
                        <a:pt x="126" y="27"/>
                        <a:pt x="126" y="27"/>
                        <a:pt x="126" y="27"/>
                      </a:cubicBezTo>
                      <a:cubicBezTo>
                        <a:pt x="126" y="27"/>
                        <a:pt x="126" y="27"/>
                        <a:pt x="126" y="27"/>
                      </a:cubicBezTo>
                      <a:cubicBezTo>
                        <a:pt x="126" y="27"/>
                        <a:pt x="126" y="27"/>
                        <a:pt x="126" y="27"/>
                      </a:cubicBezTo>
                      <a:cubicBezTo>
                        <a:pt x="125" y="27"/>
                        <a:pt x="125" y="27"/>
                        <a:pt x="125" y="27"/>
                      </a:cubicBezTo>
                      <a:cubicBezTo>
                        <a:pt x="125" y="27"/>
                        <a:pt x="125" y="27"/>
                        <a:pt x="125" y="27"/>
                      </a:cubicBezTo>
                      <a:cubicBezTo>
                        <a:pt x="124" y="27"/>
                        <a:pt x="124" y="27"/>
                        <a:pt x="124" y="27"/>
                      </a:cubicBezTo>
                      <a:cubicBezTo>
                        <a:pt x="123" y="27"/>
                        <a:pt x="123" y="27"/>
                        <a:pt x="123" y="27"/>
                      </a:cubicBezTo>
                      <a:cubicBezTo>
                        <a:pt x="122" y="28"/>
                        <a:pt x="122" y="28"/>
                        <a:pt x="122" y="28"/>
                      </a:cubicBezTo>
                      <a:cubicBezTo>
                        <a:pt x="123" y="28"/>
                        <a:pt x="123" y="28"/>
                        <a:pt x="123" y="28"/>
                      </a:cubicBezTo>
                      <a:cubicBezTo>
                        <a:pt x="121" y="29"/>
                        <a:pt x="121" y="29"/>
                        <a:pt x="121" y="29"/>
                      </a:cubicBezTo>
                      <a:cubicBezTo>
                        <a:pt x="120" y="30"/>
                        <a:pt x="120" y="30"/>
                        <a:pt x="120" y="30"/>
                      </a:cubicBezTo>
                      <a:cubicBezTo>
                        <a:pt x="118" y="31"/>
                        <a:pt x="118" y="31"/>
                        <a:pt x="118" y="31"/>
                      </a:cubicBezTo>
                      <a:cubicBezTo>
                        <a:pt x="118" y="32"/>
                        <a:pt x="118" y="32"/>
                        <a:pt x="118" y="32"/>
                      </a:cubicBezTo>
                      <a:cubicBezTo>
                        <a:pt x="117" y="33"/>
                        <a:pt x="117" y="33"/>
                        <a:pt x="117" y="33"/>
                      </a:cubicBezTo>
                      <a:cubicBezTo>
                        <a:pt x="117" y="34"/>
                        <a:pt x="117" y="34"/>
                        <a:pt x="117" y="34"/>
                      </a:cubicBezTo>
                      <a:cubicBezTo>
                        <a:pt x="116" y="35"/>
                        <a:pt x="116" y="35"/>
                        <a:pt x="116" y="35"/>
                      </a:cubicBezTo>
                      <a:cubicBezTo>
                        <a:pt x="116" y="36"/>
                        <a:pt x="116" y="36"/>
                        <a:pt x="116" y="36"/>
                      </a:cubicBezTo>
                      <a:cubicBezTo>
                        <a:pt x="116" y="36"/>
                        <a:pt x="116" y="36"/>
                        <a:pt x="116" y="36"/>
                      </a:cubicBezTo>
                      <a:cubicBezTo>
                        <a:pt x="116" y="37"/>
                        <a:pt x="116" y="37"/>
                        <a:pt x="116" y="37"/>
                      </a:cubicBezTo>
                      <a:cubicBezTo>
                        <a:pt x="116" y="39"/>
                        <a:pt x="116" y="39"/>
                        <a:pt x="116" y="39"/>
                      </a:cubicBezTo>
                      <a:cubicBezTo>
                        <a:pt x="115" y="38"/>
                        <a:pt x="115" y="38"/>
                        <a:pt x="115" y="38"/>
                      </a:cubicBezTo>
                      <a:cubicBezTo>
                        <a:pt x="115" y="37"/>
                        <a:pt x="115" y="37"/>
                        <a:pt x="115" y="37"/>
                      </a:cubicBezTo>
                      <a:cubicBezTo>
                        <a:pt x="115" y="36"/>
                        <a:pt x="115" y="36"/>
                        <a:pt x="115" y="36"/>
                      </a:cubicBezTo>
                      <a:cubicBezTo>
                        <a:pt x="115" y="35"/>
                        <a:pt x="115" y="35"/>
                        <a:pt x="115" y="35"/>
                      </a:cubicBezTo>
                      <a:cubicBezTo>
                        <a:pt x="116" y="35"/>
                        <a:pt x="116" y="35"/>
                        <a:pt x="116" y="35"/>
                      </a:cubicBezTo>
                      <a:cubicBezTo>
                        <a:pt x="116" y="33"/>
                        <a:pt x="116" y="33"/>
                        <a:pt x="116" y="33"/>
                      </a:cubicBezTo>
                      <a:cubicBezTo>
                        <a:pt x="116" y="32"/>
                        <a:pt x="116" y="32"/>
                        <a:pt x="116" y="32"/>
                      </a:cubicBezTo>
                      <a:cubicBezTo>
                        <a:pt x="116" y="32"/>
                        <a:pt x="116" y="32"/>
                        <a:pt x="116" y="32"/>
                      </a:cubicBezTo>
                      <a:cubicBezTo>
                        <a:pt x="116" y="32"/>
                        <a:pt x="116" y="32"/>
                        <a:pt x="116" y="32"/>
                      </a:cubicBezTo>
                      <a:cubicBezTo>
                        <a:pt x="115" y="32"/>
                        <a:pt x="115" y="32"/>
                        <a:pt x="115" y="32"/>
                      </a:cubicBezTo>
                      <a:cubicBezTo>
                        <a:pt x="113" y="32"/>
                        <a:pt x="113" y="32"/>
                        <a:pt x="113" y="32"/>
                      </a:cubicBezTo>
                      <a:cubicBezTo>
                        <a:pt x="112" y="32"/>
                        <a:pt x="112" y="32"/>
                        <a:pt x="112" y="32"/>
                      </a:cubicBezTo>
                      <a:cubicBezTo>
                        <a:pt x="112" y="32"/>
                        <a:pt x="112" y="32"/>
                        <a:pt x="112" y="32"/>
                      </a:cubicBezTo>
                      <a:cubicBezTo>
                        <a:pt x="111" y="32"/>
                        <a:pt x="111" y="32"/>
                        <a:pt x="111" y="32"/>
                      </a:cubicBezTo>
                      <a:cubicBezTo>
                        <a:pt x="112" y="32"/>
                        <a:pt x="112" y="32"/>
                        <a:pt x="112" y="32"/>
                      </a:cubicBezTo>
                      <a:cubicBezTo>
                        <a:pt x="112" y="31"/>
                        <a:pt x="112" y="31"/>
                        <a:pt x="112" y="31"/>
                      </a:cubicBezTo>
                      <a:cubicBezTo>
                        <a:pt x="113" y="31"/>
                        <a:pt x="113" y="31"/>
                        <a:pt x="113" y="31"/>
                      </a:cubicBezTo>
                      <a:cubicBezTo>
                        <a:pt x="115" y="31"/>
                        <a:pt x="115" y="31"/>
                        <a:pt x="115" y="31"/>
                      </a:cubicBezTo>
                      <a:cubicBezTo>
                        <a:pt x="116" y="31"/>
                        <a:pt x="116" y="31"/>
                        <a:pt x="116" y="31"/>
                      </a:cubicBezTo>
                      <a:cubicBezTo>
                        <a:pt x="116" y="30"/>
                        <a:pt x="116" y="30"/>
                        <a:pt x="116" y="30"/>
                      </a:cubicBezTo>
                      <a:cubicBezTo>
                        <a:pt x="117" y="30"/>
                        <a:pt x="117" y="30"/>
                        <a:pt x="117" y="30"/>
                      </a:cubicBezTo>
                      <a:cubicBezTo>
                        <a:pt x="117" y="31"/>
                        <a:pt x="117" y="31"/>
                        <a:pt x="117" y="31"/>
                      </a:cubicBezTo>
                      <a:cubicBezTo>
                        <a:pt x="118" y="30"/>
                        <a:pt x="118" y="30"/>
                        <a:pt x="118" y="30"/>
                      </a:cubicBezTo>
                      <a:cubicBezTo>
                        <a:pt x="118" y="30"/>
                        <a:pt x="118" y="30"/>
                        <a:pt x="118" y="30"/>
                      </a:cubicBezTo>
                      <a:cubicBezTo>
                        <a:pt x="120" y="30"/>
                        <a:pt x="120" y="30"/>
                        <a:pt x="120" y="30"/>
                      </a:cubicBezTo>
                      <a:cubicBezTo>
                        <a:pt x="120" y="29"/>
                        <a:pt x="120" y="29"/>
                        <a:pt x="120" y="29"/>
                      </a:cubicBezTo>
                      <a:cubicBezTo>
                        <a:pt x="121" y="27"/>
                        <a:pt x="121" y="27"/>
                        <a:pt x="121" y="27"/>
                      </a:cubicBezTo>
                      <a:cubicBezTo>
                        <a:pt x="121" y="26"/>
                        <a:pt x="121" y="26"/>
                        <a:pt x="121" y="26"/>
                      </a:cubicBezTo>
                      <a:cubicBezTo>
                        <a:pt x="122" y="26"/>
                        <a:pt x="122" y="26"/>
                        <a:pt x="122" y="26"/>
                      </a:cubicBezTo>
                      <a:cubicBezTo>
                        <a:pt x="122" y="25"/>
                        <a:pt x="122" y="25"/>
                        <a:pt x="122" y="25"/>
                      </a:cubicBezTo>
                      <a:cubicBezTo>
                        <a:pt x="120" y="25"/>
                        <a:pt x="120" y="25"/>
                        <a:pt x="120" y="25"/>
                      </a:cubicBezTo>
                      <a:cubicBezTo>
                        <a:pt x="119" y="24"/>
                        <a:pt x="119" y="24"/>
                        <a:pt x="119" y="24"/>
                      </a:cubicBezTo>
                      <a:cubicBezTo>
                        <a:pt x="118" y="24"/>
                        <a:pt x="118" y="24"/>
                        <a:pt x="118" y="24"/>
                      </a:cubicBezTo>
                      <a:cubicBezTo>
                        <a:pt x="117" y="25"/>
                        <a:pt x="117" y="25"/>
                        <a:pt x="117" y="25"/>
                      </a:cubicBezTo>
                      <a:cubicBezTo>
                        <a:pt x="116" y="25"/>
                        <a:pt x="116" y="25"/>
                        <a:pt x="116" y="25"/>
                      </a:cubicBezTo>
                      <a:cubicBezTo>
                        <a:pt x="114" y="24"/>
                        <a:pt x="114" y="24"/>
                        <a:pt x="114" y="24"/>
                      </a:cubicBezTo>
                      <a:cubicBezTo>
                        <a:pt x="112" y="24"/>
                        <a:pt x="112" y="24"/>
                        <a:pt x="112" y="24"/>
                      </a:cubicBezTo>
                      <a:cubicBezTo>
                        <a:pt x="111" y="25"/>
                        <a:pt x="111" y="25"/>
                        <a:pt x="111" y="25"/>
                      </a:cubicBezTo>
                      <a:cubicBezTo>
                        <a:pt x="111" y="26"/>
                        <a:pt x="111" y="26"/>
                        <a:pt x="111" y="26"/>
                      </a:cubicBezTo>
                      <a:cubicBezTo>
                        <a:pt x="111" y="26"/>
                        <a:pt x="111" y="26"/>
                        <a:pt x="111" y="26"/>
                      </a:cubicBezTo>
                      <a:cubicBezTo>
                        <a:pt x="112" y="26"/>
                        <a:pt x="112" y="26"/>
                        <a:pt x="112" y="26"/>
                      </a:cubicBezTo>
                      <a:cubicBezTo>
                        <a:pt x="111" y="27"/>
                        <a:pt x="111" y="27"/>
                        <a:pt x="111" y="27"/>
                      </a:cubicBezTo>
                      <a:cubicBezTo>
                        <a:pt x="111" y="27"/>
                        <a:pt x="111" y="27"/>
                        <a:pt x="111" y="27"/>
                      </a:cubicBezTo>
                      <a:cubicBezTo>
                        <a:pt x="110" y="27"/>
                        <a:pt x="110" y="27"/>
                        <a:pt x="110" y="27"/>
                      </a:cubicBezTo>
                      <a:cubicBezTo>
                        <a:pt x="110" y="27"/>
                        <a:pt x="110" y="27"/>
                        <a:pt x="110" y="27"/>
                      </a:cubicBezTo>
                      <a:cubicBezTo>
                        <a:pt x="110" y="27"/>
                        <a:pt x="110" y="27"/>
                        <a:pt x="110" y="27"/>
                      </a:cubicBezTo>
                      <a:cubicBezTo>
                        <a:pt x="109" y="27"/>
                        <a:pt x="109" y="27"/>
                        <a:pt x="109" y="27"/>
                      </a:cubicBezTo>
                      <a:cubicBezTo>
                        <a:pt x="108" y="28"/>
                        <a:pt x="108" y="28"/>
                        <a:pt x="108" y="28"/>
                      </a:cubicBezTo>
                      <a:cubicBezTo>
                        <a:pt x="106" y="30"/>
                        <a:pt x="106" y="30"/>
                        <a:pt x="106" y="30"/>
                      </a:cubicBezTo>
                      <a:cubicBezTo>
                        <a:pt x="107" y="29"/>
                        <a:pt x="107" y="29"/>
                        <a:pt x="107" y="29"/>
                      </a:cubicBezTo>
                      <a:cubicBezTo>
                        <a:pt x="107" y="28"/>
                        <a:pt x="107" y="28"/>
                        <a:pt x="107" y="28"/>
                      </a:cubicBezTo>
                      <a:cubicBezTo>
                        <a:pt x="107" y="27"/>
                        <a:pt x="107" y="27"/>
                        <a:pt x="107" y="27"/>
                      </a:cubicBezTo>
                      <a:cubicBezTo>
                        <a:pt x="107" y="27"/>
                        <a:pt x="107" y="27"/>
                        <a:pt x="107" y="27"/>
                      </a:cubicBezTo>
                      <a:cubicBezTo>
                        <a:pt x="107" y="27"/>
                        <a:pt x="107" y="27"/>
                        <a:pt x="107" y="27"/>
                      </a:cubicBezTo>
                      <a:cubicBezTo>
                        <a:pt x="106" y="27"/>
                        <a:pt x="106" y="27"/>
                        <a:pt x="106" y="27"/>
                      </a:cubicBezTo>
                      <a:cubicBezTo>
                        <a:pt x="106" y="28"/>
                        <a:pt x="106" y="28"/>
                        <a:pt x="106" y="28"/>
                      </a:cubicBezTo>
                      <a:cubicBezTo>
                        <a:pt x="105" y="29"/>
                        <a:pt x="105" y="29"/>
                        <a:pt x="105" y="29"/>
                      </a:cubicBezTo>
                      <a:cubicBezTo>
                        <a:pt x="104" y="30"/>
                        <a:pt x="104" y="30"/>
                        <a:pt x="104" y="30"/>
                      </a:cubicBezTo>
                      <a:cubicBezTo>
                        <a:pt x="105" y="29"/>
                        <a:pt x="105" y="29"/>
                        <a:pt x="105" y="29"/>
                      </a:cubicBezTo>
                      <a:cubicBezTo>
                        <a:pt x="105" y="27"/>
                        <a:pt x="105" y="27"/>
                        <a:pt x="105" y="27"/>
                      </a:cubicBezTo>
                      <a:cubicBezTo>
                        <a:pt x="107" y="26"/>
                        <a:pt x="107" y="26"/>
                        <a:pt x="107" y="26"/>
                      </a:cubicBezTo>
                      <a:cubicBezTo>
                        <a:pt x="107" y="24"/>
                        <a:pt x="107" y="24"/>
                        <a:pt x="107" y="24"/>
                      </a:cubicBezTo>
                      <a:cubicBezTo>
                        <a:pt x="108" y="24"/>
                        <a:pt x="108" y="24"/>
                        <a:pt x="108" y="24"/>
                      </a:cubicBezTo>
                      <a:cubicBezTo>
                        <a:pt x="109" y="23"/>
                        <a:pt x="109" y="23"/>
                        <a:pt x="109" y="23"/>
                      </a:cubicBezTo>
                      <a:cubicBezTo>
                        <a:pt x="110" y="22"/>
                        <a:pt x="110" y="22"/>
                        <a:pt x="110" y="22"/>
                      </a:cubicBezTo>
                      <a:cubicBezTo>
                        <a:pt x="111" y="22"/>
                        <a:pt x="111" y="22"/>
                        <a:pt x="111" y="22"/>
                      </a:cubicBezTo>
                      <a:cubicBezTo>
                        <a:pt x="111" y="21"/>
                        <a:pt x="111" y="21"/>
                        <a:pt x="111" y="21"/>
                      </a:cubicBezTo>
                      <a:cubicBezTo>
                        <a:pt x="114" y="19"/>
                        <a:pt x="114" y="19"/>
                        <a:pt x="114" y="19"/>
                      </a:cubicBezTo>
                      <a:cubicBezTo>
                        <a:pt x="114" y="18"/>
                        <a:pt x="114" y="18"/>
                        <a:pt x="114" y="18"/>
                      </a:cubicBezTo>
                      <a:cubicBezTo>
                        <a:pt x="114" y="18"/>
                        <a:pt x="114" y="18"/>
                        <a:pt x="114" y="18"/>
                      </a:cubicBezTo>
                      <a:cubicBezTo>
                        <a:pt x="114" y="17"/>
                        <a:pt x="114" y="17"/>
                        <a:pt x="114" y="17"/>
                      </a:cubicBezTo>
                      <a:cubicBezTo>
                        <a:pt x="114" y="17"/>
                        <a:pt x="114" y="17"/>
                        <a:pt x="114" y="17"/>
                      </a:cubicBezTo>
                      <a:cubicBezTo>
                        <a:pt x="114" y="17"/>
                        <a:pt x="114" y="17"/>
                        <a:pt x="114" y="17"/>
                      </a:cubicBezTo>
                      <a:cubicBezTo>
                        <a:pt x="114" y="16"/>
                        <a:pt x="114" y="16"/>
                        <a:pt x="114" y="16"/>
                      </a:cubicBezTo>
                      <a:cubicBezTo>
                        <a:pt x="113" y="15"/>
                        <a:pt x="113" y="15"/>
                        <a:pt x="113" y="15"/>
                      </a:cubicBezTo>
                      <a:cubicBezTo>
                        <a:pt x="112" y="15"/>
                        <a:pt x="112" y="15"/>
                        <a:pt x="112" y="15"/>
                      </a:cubicBezTo>
                      <a:cubicBezTo>
                        <a:pt x="112" y="16"/>
                        <a:pt x="112" y="16"/>
                        <a:pt x="112" y="16"/>
                      </a:cubicBezTo>
                      <a:cubicBezTo>
                        <a:pt x="112" y="15"/>
                        <a:pt x="112" y="15"/>
                        <a:pt x="112" y="15"/>
                      </a:cubicBezTo>
                      <a:cubicBezTo>
                        <a:pt x="111" y="13"/>
                        <a:pt x="111" y="13"/>
                        <a:pt x="111" y="13"/>
                      </a:cubicBezTo>
                      <a:cubicBezTo>
                        <a:pt x="110" y="11"/>
                        <a:pt x="110" y="11"/>
                        <a:pt x="110" y="11"/>
                      </a:cubicBezTo>
                      <a:cubicBezTo>
                        <a:pt x="109" y="10"/>
                        <a:pt x="109" y="10"/>
                        <a:pt x="109" y="10"/>
                      </a:cubicBezTo>
                      <a:cubicBezTo>
                        <a:pt x="108" y="8"/>
                        <a:pt x="108" y="8"/>
                        <a:pt x="108" y="8"/>
                      </a:cubicBezTo>
                      <a:cubicBezTo>
                        <a:pt x="108" y="7"/>
                        <a:pt x="108" y="7"/>
                        <a:pt x="108" y="7"/>
                      </a:cubicBezTo>
                      <a:lnTo>
                        <a:pt x="108" y="6"/>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1" name="Freeform 186">
                  <a:extLst>
                    <a:ext uri="{FF2B5EF4-FFF2-40B4-BE49-F238E27FC236}">
                      <a16:creationId xmlns:a16="http://schemas.microsoft.com/office/drawing/2014/main" id="{FA893B0F-7A9A-48E0-1F18-56161569DD29}"/>
                    </a:ext>
                  </a:extLst>
                </p:cNvPr>
                <p:cNvSpPr>
                  <a:spLocks/>
                </p:cNvSpPr>
                <p:nvPr/>
              </p:nvSpPr>
              <p:spPr bwMode="auto">
                <a:xfrm>
                  <a:off x="2048" y="2543"/>
                  <a:ext cx="31" cy="42"/>
                </a:xfrm>
                <a:custGeom>
                  <a:avLst/>
                  <a:gdLst>
                    <a:gd name="T0" fmla="*/ 0 w 31"/>
                    <a:gd name="T1" fmla="*/ 33 h 42"/>
                    <a:gd name="T2" fmla="*/ 0 w 31"/>
                    <a:gd name="T3" fmla="*/ 35 h 42"/>
                    <a:gd name="T4" fmla="*/ 0 w 31"/>
                    <a:gd name="T5" fmla="*/ 35 h 42"/>
                    <a:gd name="T6" fmla="*/ 3 w 31"/>
                    <a:gd name="T7" fmla="*/ 35 h 42"/>
                    <a:gd name="T8" fmla="*/ 3 w 31"/>
                    <a:gd name="T9" fmla="*/ 38 h 42"/>
                    <a:gd name="T10" fmla="*/ 3 w 31"/>
                    <a:gd name="T11" fmla="*/ 40 h 42"/>
                    <a:gd name="T12" fmla="*/ 5 w 31"/>
                    <a:gd name="T13" fmla="*/ 40 h 42"/>
                    <a:gd name="T14" fmla="*/ 7 w 31"/>
                    <a:gd name="T15" fmla="*/ 38 h 42"/>
                    <a:gd name="T16" fmla="*/ 7 w 31"/>
                    <a:gd name="T17" fmla="*/ 38 h 42"/>
                    <a:gd name="T18" fmla="*/ 10 w 31"/>
                    <a:gd name="T19" fmla="*/ 38 h 42"/>
                    <a:gd name="T20" fmla="*/ 10 w 31"/>
                    <a:gd name="T21" fmla="*/ 38 h 42"/>
                    <a:gd name="T22" fmla="*/ 10 w 31"/>
                    <a:gd name="T23" fmla="*/ 38 h 42"/>
                    <a:gd name="T24" fmla="*/ 10 w 31"/>
                    <a:gd name="T25" fmla="*/ 42 h 42"/>
                    <a:gd name="T26" fmla="*/ 12 w 31"/>
                    <a:gd name="T27" fmla="*/ 42 h 42"/>
                    <a:gd name="T28" fmla="*/ 15 w 31"/>
                    <a:gd name="T29" fmla="*/ 40 h 42"/>
                    <a:gd name="T30" fmla="*/ 15 w 31"/>
                    <a:gd name="T31" fmla="*/ 38 h 42"/>
                    <a:gd name="T32" fmla="*/ 15 w 31"/>
                    <a:gd name="T33" fmla="*/ 38 h 42"/>
                    <a:gd name="T34" fmla="*/ 17 w 31"/>
                    <a:gd name="T35" fmla="*/ 38 h 42"/>
                    <a:gd name="T36" fmla="*/ 19 w 31"/>
                    <a:gd name="T37" fmla="*/ 35 h 42"/>
                    <a:gd name="T38" fmla="*/ 22 w 31"/>
                    <a:gd name="T39" fmla="*/ 33 h 42"/>
                    <a:gd name="T40" fmla="*/ 22 w 31"/>
                    <a:gd name="T41" fmla="*/ 28 h 42"/>
                    <a:gd name="T42" fmla="*/ 24 w 31"/>
                    <a:gd name="T43" fmla="*/ 26 h 42"/>
                    <a:gd name="T44" fmla="*/ 26 w 31"/>
                    <a:gd name="T45" fmla="*/ 23 h 42"/>
                    <a:gd name="T46" fmla="*/ 29 w 31"/>
                    <a:gd name="T47" fmla="*/ 21 h 42"/>
                    <a:gd name="T48" fmla="*/ 29 w 31"/>
                    <a:gd name="T49" fmla="*/ 19 h 42"/>
                    <a:gd name="T50" fmla="*/ 29 w 31"/>
                    <a:gd name="T51" fmla="*/ 19 h 42"/>
                    <a:gd name="T52" fmla="*/ 31 w 31"/>
                    <a:gd name="T53" fmla="*/ 16 h 42"/>
                    <a:gd name="T54" fmla="*/ 31 w 31"/>
                    <a:gd name="T55" fmla="*/ 14 h 42"/>
                    <a:gd name="T56" fmla="*/ 29 w 31"/>
                    <a:gd name="T57" fmla="*/ 12 h 42"/>
                    <a:gd name="T58" fmla="*/ 29 w 31"/>
                    <a:gd name="T59" fmla="*/ 12 h 42"/>
                    <a:gd name="T60" fmla="*/ 26 w 31"/>
                    <a:gd name="T61" fmla="*/ 12 h 42"/>
                    <a:gd name="T62" fmla="*/ 26 w 31"/>
                    <a:gd name="T63" fmla="*/ 9 h 42"/>
                    <a:gd name="T64" fmla="*/ 22 w 31"/>
                    <a:gd name="T65" fmla="*/ 7 h 42"/>
                    <a:gd name="T66" fmla="*/ 22 w 31"/>
                    <a:gd name="T67" fmla="*/ 7 h 42"/>
                    <a:gd name="T68" fmla="*/ 19 w 31"/>
                    <a:gd name="T69" fmla="*/ 5 h 42"/>
                    <a:gd name="T70" fmla="*/ 12 w 31"/>
                    <a:gd name="T71" fmla="*/ 2 h 42"/>
                    <a:gd name="T72" fmla="*/ 10 w 31"/>
                    <a:gd name="T73" fmla="*/ 0 h 42"/>
                    <a:gd name="T74" fmla="*/ 7 w 31"/>
                    <a:gd name="T75" fmla="*/ 0 h 42"/>
                    <a:gd name="T76" fmla="*/ 5 w 31"/>
                    <a:gd name="T77" fmla="*/ 2 h 42"/>
                    <a:gd name="T78" fmla="*/ 3 w 31"/>
                    <a:gd name="T79" fmla="*/ 2 h 42"/>
                    <a:gd name="T80" fmla="*/ 3 w 31"/>
                    <a:gd name="T81" fmla="*/ 2 h 42"/>
                    <a:gd name="T82" fmla="*/ 3 w 31"/>
                    <a:gd name="T83" fmla="*/ 2 h 42"/>
                    <a:gd name="T84" fmla="*/ 0 w 31"/>
                    <a:gd name="T85" fmla="*/ 5 h 42"/>
                    <a:gd name="T86" fmla="*/ 0 w 31"/>
                    <a:gd name="T87" fmla="*/ 5 h 42"/>
                    <a:gd name="T88" fmla="*/ 0 w 31"/>
                    <a:gd name="T89" fmla="*/ 9 h 42"/>
                    <a:gd name="T90" fmla="*/ 0 w 31"/>
                    <a:gd name="T91" fmla="*/ 12 h 42"/>
                    <a:gd name="T92" fmla="*/ 0 w 31"/>
                    <a:gd name="T93" fmla="*/ 14 h 42"/>
                    <a:gd name="T94" fmla="*/ 0 w 31"/>
                    <a:gd name="T95" fmla="*/ 14 h 42"/>
                    <a:gd name="T96" fmla="*/ 3 w 31"/>
                    <a:gd name="T97" fmla="*/ 16 h 42"/>
                    <a:gd name="T98" fmla="*/ 3 w 31"/>
                    <a:gd name="T99" fmla="*/ 16 h 42"/>
                    <a:gd name="T100" fmla="*/ 5 w 31"/>
                    <a:gd name="T101" fmla="*/ 19 h 42"/>
                    <a:gd name="T102" fmla="*/ 5 w 31"/>
                    <a:gd name="T103" fmla="*/ 21 h 42"/>
                    <a:gd name="T104" fmla="*/ 5 w 31"/>
                    <a:gd name="T105" fmla="*/ 21 h 42"/>
                    <a:gd name="T106" fmla="*/ 5 w 31"/>
                    <a:gd name="T107" fmla="*/ 23 h 42"/>
                    <a:gd name="T108" fmla="*/ 3 w 31"/>
                    <a:gd name="T109" fmla="*/ 26 h 42"/>
                    <a:gd name="T110" fmla="*/ 3 w 31"/>
                    <a:gd name="T111" fmla="*/ 28 h 42"/>
                    <a:gd name="T112" fmla="*/ 5 w 31"/>
                    <a:gd name="T113" fmla="*/ 31 h 42"/>
                    <a:gd name="T114" fmla="*/ 3 w 31"/>
                    <a:gd name="T115" fmla="*/ 31 h 42"/>
                    <a:gd name="T116" fmla="*/ 0 w 31"/>
                    <a:gd name="T117" fmla="*/ 33 h 42"/>
                    <a:gd name="T118" fmla="*/ 0 w 31"/>
                    <a:gd name="T119" fmla="*/ 3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1" h="42">
                      <a:moveTo>
                        <a:pt x="0" y="33"/>
                      </a:moveTo>
                      <a:lnTo>
                        <a:pt x="0" y="35"/>
                      </a:lnTo>
                      <a:lnTo>
                        <a:pt x="0" y="35"/>
                      </a:lnTo>
                      <a:lnTo>
                        <a:pt x="3" y="35"/>
                      </a:lnTo>
                      <a:lnTo>
                        <a:pt x="3" y="38"/>
                      </a:lnTo>
                      <a:lnTo>
                        <a:pt x="3" y="40"/>
                      </a:lnTo>
                      <a:lnTo>
                        <a:pt x="5" y="40"/>
                      </a:lnTo>
                      <a:lnTo>
                        <a:pt x="7" y="38"/>
                      </a:lnTo>
                      <a:lnTo>
                        <a:pt x="7" y="38"/>
                      </a:lnTo>
                      <a:lnTo>
                        <a:pt x="10" y="38"/>
                      </a:lnTo>
                      <a:lnTo>
                        <a:pt x="10" y="38"/>
                      </a:lnTo>
                      <a:lnTo>
                        <a:pt x="10" y="38"/>
                      </a:lnTo>
                      <a:lnTo>
                        <a:pt x="10" y="42"/>
                      </a:lnTo>
                      <a:lnTo>
                        <a:pt x="12" y="42"/>
                      </a:lnTo>
                      <a:lnTo>
                        <a:pt x="15" y="40"/>
                      </a:lnTo>
                      <a:lnTo>
                        <a:pt x="15" y="38"/>
                      </a:lnTo>
                      <a:lnTo>
                        <a:pt x="15" y="38"/>
                      </a:lnTo>
                      <a:lnTo>
                        <a:pt x="17" y="38"/>
                      </a:lnTo>
                      <a:lnTo>
                        <a:pt x="19" y="35"/>
                      </a:lnTo>
                      <a:lnTo>
                        <a:pt x="22" y="33"/>
                      </a:lnTo>
                      <a:lnTo>
                        <a:pt x="22" y="28"/>
                      </a:lnTo>
                      <a:lnTo>
                        <a:pt x="24" y="26"/>
                      </a:lnTo>
                      <a:lnTo>
                        <a:pt x="26" y="23"/>
                      </a:lnTo>
                      <a:lnTo>
                        <a:pt x="29" y="21"/>
                      </a:lnTo>
                      <a:lnTo>
                        <a:pt x="29" y="19"/>
                      </a:lnTo>
                      <a:lnTo>
                        <a:pt x="29" y="19"/>
                      </a:lnTo>
                      <a:lnTo>
                        <a:pt x="31" y="16"/>
                      </a:lnTo>
                      <a:lnTo>
                        <a:pt x="31" y="14"/>
                      </a:lnTo>
                      <a:lnTo>
                        <a:pt x="29" y="12"/>
                      </a:lnTo>
                      <a:lnTo>
                        <a:pt x="29" y="12"/>
                      </a:lnTo>
                      <a:lnTo>
                        <a:pt x="26" y="12"/>
                      </a:lnTo>
                      <a:lnTo>
                        <a:pt x="26" y="9"/>
                      </a:lnTo>
                      <a:lnTo>
                        <a:pt x="22" y="7"/>
                      </a:lnTo>
                      <a:lnTo>
                        <a:pt x="22" y="7"/>
                      </a:lnTo>
                      <a:lnTo>
                        <a:pt x="19" y="5"/>
                      </a:lnTo>
                      <a:lnTo>
                        <a:pt x="12" y="2"/>
                      </a:lnTo>
                      <a:lnTo>
                        <a:pt x="10" y="0"/>
                      </a:lnTo>
                      <a:lnTo>
                        <a:pt x="7" y="0"/>
                      </a:lnTo>
                      <a:lnTo>
                        <a:pt x="5" y="2"/>
                      </a:lnTo>
                      <a:lnTo>
                        <a:pt x="3" y="2"/>
                      </a:lnTo>
                      <a:lnTo>
                        <a:pt x="3" y="2"/>
                      </a:lnTo>
                      <a:lnTo>
                        <a:pt x="3" y="2"/>
                      </a:lnTo>
                      <a:lnTo>
                        <a:pt x="0" y="5"/>
                      </a:lnTo>
                      <a:lnTo>
                        <a:pt x="0" y="5"/>
                      </a:lnTo>
                      <a:lnTo>
                        <a:pt x="0" y="9"/>
                      </a:lnTo>
                      <a:lnTo>
                        <a:pt x="0" y="12"/>
                      </a:lnTo>
                      <a:lnTo>
                        <a:pt x="0" y="14"/>
                      </a:lnTo>
                      <a:lnTo>
                        <a:pt x="0" y="14"/>
                      </a:lnTo>
                      <a:lnTo>
                        <a:pt x="3" y="16"/>
                      </a:lnTo>
                      <a:lnTo>
                        <a:pt x="3" y="16"/>
                      </a:lnTo>
                      <a:lnTo>
                        <a:pt x="5" y="19"/>
                      </a:lnTo>
                      <a:lnTo>
                        <a:pt x="5" y="21"/>
                      </a:lnTo>
                      <a:lnTo>
                        <a:pt x="5" y="21"/>
                      </a:lnTo>
                      <a:lnTo>
                        <a:pt x="5" y="23"/>
                      </a:lnTo>
                      <a:lnTo>
                        <a:pt x="3" y="26"/>
                      </a:lnTo>
                      <a:lnTo>
                        <a:pt x="3" y="28"/>
                      </a:lnTo>
                      <a:lnTo>
                        <a:pt x="5" y="31"/>
                      </a:lnTo>
                      <a:lnTo>
                        <a:pt x="3" y="31"/>
                      </a:lnTo>
                      <a:lnTo>
                        <a:pt x="0" y="33"/>
                      </a:lnTo>
                      <a:lnTo>
                        <a:pt x="0" y="33"/>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2" name="Freeform 187">
                  <a:extLst>
                    <a:ext uri="{FF2B5EF4-FFF2-40B4-BE49-F238E27FC236}">
                      <a16:creationId xmlns:a16="http://schemas.microsoft.com/office/drawing/2014/main" id="{31848E2E-BBB5-DE6E-BF77-5043217E33AF}"/>
                    </a:ext>
                  </a:extLst>
                </p:cNvPr>
                <p:cNvSpPr>
                  <a:spLocks/>
                </p:cNvSpPr>
                <p:nvPr/>
              </p:nvSpPr>
              <p:spPr bwMode="auto">
                <a:xfrm>
                  <a:off x="2008" y="2538"/>
                  <a:ext cx="45" cy="45"/>
                </a:xfrm>
                <a:custGeom>
                  <a:avLst/>
                  <a:gdLst>
                    <a:gd name="T0" fmla="*/ 19 w 45"/>
                    <a:gd name="T1" fmla="*/ 45 h 45"/>
                    <a:gd name="T2" fmla="*/ 19 w 45"/>
                    <a:gd name="T3" fmla="*/ 45 h 45"/>
                    <a:gd name="T4" fmla="*/ 24 w 45"/>
                    <a:gd name="T5" fmla="*/ 45 h 45"/>
                    <a:gd name="T6" fmla="*/ 24 w 45"/>
                    <a:gd name="T7" fmla="*/ 43 h 45"/>
                    <a:gd name="T8" fmla="*/ 21 w 45"/>
                    <a:gd name="T9" fmla="*/ 40 h 45"/>
                    <a:gd name="T10" fmla="*/ 24 w 45"/>
                    <a:gd name="T11" fmla="*/ 36 h 45"/>
                    <a:gd name="T12" fmla="*/ 31 w 45"/>
                    <a:gd name="T13" fmla="*/ 38 h 45"/>
                    <a:gd name="T14" fmla="*/ 36 w 45"/>
                    <a:gd name="T15" fmla="*/ 36 h 45"/>
                    <a:gd name="T16" fmla="*/ 40 w 45"/>
                    <a:gd name="T17" fmla="*/ 38 h 45"/>
                    <a:gd name="T18" fmla="*/ 45 w 45"/>
                    <a:gd name="T19" fmla="*/ 36 h 45"/>
                    <a:gd name="T20" fmla="*/ 43 w 45"/>
                    <a:gd name="T21" fmla="*/ 31 h 45"/>
                    <a:gd name="T22" fmla="*/ 45 w 45"/>
                    <a:gd name="T23" fmla="*/ 26 h 45"/>
                    <a:gd name="T24" fmla="*/ 45 w 45"/>
                    <a:gd name="T25" fmla="*/ 24 h 45"/>
                    <a:gd name="T26" fmla="*/ 43 w 45"/>
                    <a:gd name="T27" fmla="*/ 21 h 45"/>
                    <a:gd name="T28" fmla="*/ 40 w 45"/>
                    <a:gd name="T29" fmla="*/ 19 h 45"/>
                    <a:gd name="T30" fmla="*/ 40 w 45"/>
                    <a:gd name="T31" fmla="*/ 14 h 45"/>
                    <a:gd name="T32" fmla="*/ 40 w 45"/>
                    <a:gd name="T33" fmla="*/ 10 h 45"/>
                    <a:gd name="T34" fmla="*/ 43 w 45"/>
                    <a:gd name="T35" fmla="*/ 7 h 45"/>
                    <a:gd name="T36" fmla="*/ 45 w 45"/>
                    <a:gd name="T37" fmla="*/ 5 h 45"/>
                    <a:gd name="T38" fmla="*/ 38 w 45"/>
                    <a:gd name="T39" fmla="*/ 2 h 45"/>
                    <a:gd name="T40" fmla="*/ 33 w 45"/>
                    <a:gd name="T41" fmla="*/ 0 h 45"/>
                    <a:gd name="T42" fmla="*/ 26 w 45"/>
                    <a:gd name="T43" fmla="*/ 2 h 45"/>
                    <a:gd name="T44" fmla="*/ 19 w 45"/>
                    <a:gd name="T45" fmla="*/ 0 h 45"/>
                    <a:gd name="T46" fmla="*/ 12 w 45"/>
                    <a:gd name="T47" fmla="*/ 2 h 45"/>
                    <a:gd name="T48" fmla="*/ 10 w 45"/>
                    <a:gd name="T49" fmla="*/ 5 h 45"/>
                    <a:gd name="T50" fmla="*/ 10 w 45"/>
                    <a:gd name="T51" fmla="*/ 7 h 45"/>
                    <a:gd name="T52" fmla="*/ 7 w 45"/>
                    <a:gd name="T53" fmla="*/ 12 h 45"/>
                    <a:gd name="T54" fmla="*/ 2 w 45"/>
                    <a:gd name="T55" fmla="*/ 14 h 45"/>
                    <a:gd name="T56" fmla="*/ 0 w 45"/>
                    <a:gd name="T57" fmla="*/ 19 h 45"/>
                    <a:gd name="T58" fmla="*/ 2 w 45"/>
                    <a:gd name="T59" fmla="*/ 21 h 45"/>
                    <a:gd name="T60" fmla="*/ 5 w 45"/>
                    <a:gd name="T61" fmla="*/ 24 h 45"/>
                    <a:gd name="T62" fmla="*/ 5 w 45"/>
                    <a:gd name="T63" fmla="*/ 28 h 45"/>
                    <a:gd name="T64" fmla="*/ 7 w 45"/>
                    <a:gd name="T65" fmla="*/ 28 h 45"/>
                    <a:gd name="T66" fmla="*/ 10 w 45"/>
                    <a:gd name="T67" fmla="*/ 31 h 45"/>
                    <a:gd name="T68" fmla="*/ 10 w 45"/>
                    <a:gd name="T69" fmla="*/ 36 h 45"/>
                    <a:gd name="T70" fmla="*/ 14 w 45"/>
                    <a:gd name="T71" fmla="*/ 38 h 45"/>
                    <a:gd name="T72" fmla="*/ 17 w 45"/>
                    <a:gd name="T73" fmla="*/ 40 h 45"/>
                    <a:gd name="T74" fmla="*/ 17 w 45"/>
                    <a:gd name="T75" fmla="*/ 43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 h="45">
                      <a:moveTo>
                        <a:pt x="19" y="45"/>
                      </a:moveTo>
                      <a:lnTo>
                        <a:pt x="19" y="45"/>
                      </a:lnTo>
                      <a:lnTo>
                        <a:pt x="19" y="45"/>
                      </a:lnTo>
                      <a:lnTo>
                        <a:pt x="19" y="45"/>
                      </a:lnTo>
                      <a:lnTo>
                        <a:pt x="24" y="45"/>
                      </a:lnTo>
                      <a:lnTo>
                        <a:pt x="24" y="45"/>
                      </a:lnTo>
                      <a:lnTo>
                        <a:pt x="26" y="45"/>
                      </a:lnTo>
                      <a:lnTo>
                        <a:pt x="24" y="43"/>
                      </a:lnTo>
                      <a:lnTo>
                        <a:pt x="24" y="40"/>
                      </a:lnTo>
                      <a:lnTo>
                        <a:pt x="21" y="40"/>
                      </a:lnTo>
                      <a:lnTo>
                        <a:pt x="21" y="38"/>
                      </a:lnTo>
                      <a:lnTo>
                        <a:pt x="24" y="36"/>
                      </a:lnTo>
                      <a:lnTo>
                        <a:pt x="26" y="38"/>
                      </a:lnTo>
                      <a:lnTo>
                        <a:pt x="31" y="38"/>
                      </a:lnTo>
                      <a:lnTo>
                        <a:pt x="33" y="36"/>
                      </a:lnTo>
                      <a:lnTo>
                        <a:pt x="36" y="36"/>
                      </a:lnTo>
                      <a:lnTo>
                        <a:pt x="38" y="38"/>
                      </a:lnTo>
                      <a:lnTo>
                        <a:pt x="40" y="38"/>
                      </a:lnTo>
                      <a:lnTo>
                        <a:pt x="43" y="36"/>
                      </a:lnTo>
                      <a:lnTo>
                        <a:pt x="45" y="36"/>
                      </a:lnTo>
                      <a:lnTo>
                        <a:pt x="43" y="33"/>
                      </a:lnTo>
                      <a:lnTo>
                        <a:pt x="43" y="31"/>
                      </a:lnTo>
                      <a:lnTo>
                        <a:pt x="45" y="28"/>
                      </a:lnTo>
                      <a:lnTo>
                        <a:pt x="45" y="26"/>
                      </a:lnTo>
                      <a:lnTo>
                        <a:pt x="45" y="26"/>
                      </a:lnTo>
                      <a:lnTo>
                        <a:pt x="45" y="24"/>
                      </a:lnTo>
                      <a:lnTo>
                        <a:pt x="43" y="21"/>
                      </a:lnTo>
                      <a:lnTo>
                        <a:pt x="43" y="21"/>
                      </a:lnTo>
                      <a:lnTo>
                        <a:pt x="40" y="19"/>
                      </a:lnTo>
                      <a:lnTo>
                        <a:pt x="40" y="19"/>
                      </a:lnTo>
                      <a:lnTo>
                        <a:pt x="40" y="17"/>
                      </a:lnTo>
                      <a:lnTo>
                        <a:pt x="40" y="14"/>
                      </a:lnTo>
                      <a:lnTo>
                        <a:pt x="40" y="10"/>
                      </a:lnTo>
                      <a:lnTo>
                        <a:pt x="40" y="10"/>
                      </a:lnTo>
                      <a:lnTo>
                        <a:pt x="43" y="7"/>
                      </a:lnTo>
                      <a:lnTo>
                        <a:pt x="43" y="7"/>
                      </a:lnTo>
                      <a:lnTo>
                        <a:pt x="45" y="5"/>
                      </a:lnTo>
                      <a:lnTo>
                        <a:pt x="45" y="5"/>
                      </a:lnTo>
                      <a:lnTo>
                        <a:pt x="43" y="2"/>
                      </a:lnTo>
                      <a:lnTo>
                        <a:pt x="38" y="2"/>
                      </a:lnTo>
                      <a:lnTo>
                        <a:pt x="33" y="0"/>
                      </a:lnTo>
                      <a:lnTo>
                        <a:pt x="33" y="0"/>
                      </a:lnTo>
                      <a:lnTo>
                        <a:pt x="31" y="2"/>
                      </a:lnTo>
                      <a:lnTo>
                        <a:pt x="26" y="2"/>
                      </a:lnTo>
                      <a:lnTo>
                        <a:pt x="21" y="2"/>
                      </a:lnTo>
                      <a:lnTo>
                        <a:pt x="19" y="0"/>
                      </a:lnTo>
                      <a:lnTo>
                        <a:pt x="14" y="0"/>
                      </a:lnTo>
                      <a:lnTo>
                        <a:pt x="12" y="2"/>
                      </a:lnTo>
                      <a:lnTo>
                        <a:pt x="10" y="5"/>
                      </a:lnTo>
                      <a:lnTo>
                        <a:pt x="10" y="5"/>
                      </a:lnTo>
                      <a:lnTo>
                        <a:pt x="10" y="7"/>
                      </a:lnTo>
                      <a:lnTo>
                        <a:pt x="10" y="7"/>
                      </a:lnTo>
                      <a:lnTo>
                        <a:pt x="7" y="10"/>
                      </a:lnTo>
                      <a:lnTo>
                        <a:pt x="7" y="12"/>
                      </a:lnTo>
                      <a:lnTo>
                        <a:pt x="2" y="12"/>
                      </a:lnTo>
                      <a:lnTo>
                        <a:pt x="2" y="14"/>
                      </a:lnTo>
                      <a:lnTo>
                        <a:pt x="2" y="17"/>
                      </a:lnTo>
                      <a:lnTo>
                        <a:pt x="0" y="19"/>
                      </a:lnTo>
                      <a:lnTo>
                        <a:pt x="0" y="21"/>
                      </a:lnTo>
                      <a:lnTo>
                        <a:pt x="2" y="21"/>
                      </a:lnTo>
                      <a:lnTo>
                        <a:pt x="2" y="24"/>
                      </a:lnTo>
                      <a:lnTo>
                        <a:pt x="5" y="24"/>
                      </a:lnTo>
                      <a:lnTo>
                        <a:pt x="5" y="26"/>
                      </a:lnTo>
                      <a:lnTo>
                        <a:pt x="5" y="28"/>
                      </a:lnTo>
                      <a:lnTo>
                        <a:pt x="7" y="28"/>
                      </a:lnTo>
                      <a:lnTo>
                        <a:pt x="7" y="28"/>
                      </a:lnTo>
                      <a:lnTo>
                        <a:pt x="10" y="28"/>
                      </a:lnTo>
                      <a:lnTo>
                        <a:pt x="10" y="31"/>
                      </a:lnTo>
                      <a:lnTo>
                        <a:pt x="10" y="33"/>
                      </a:lnTo>
                      <a:lnTo>
                        <a:pt x="10" y="36"/>
                      </a:lnTo>
                      <a:lnTo>
                        <a:pt x="12" y="36"/>
                      </a:lnTo>
                      <a:lnTo>
                        <a:pt x="14" y="38"/>
                      </a:lnTo>
                      <a:lnTo>
                        <a:pt x="14" y="40"/>
                      </a:lnTo>
                      <a:lnTo>
                        <a:pt x="17" y="40"/>
                      </a:lnTo>
                      <a:lnTo>
                        <a:pt x="17" y="43"/>
                      </a:lnTo>
                      <a:lnTo>
                        <a:pt x="17" y="43"/>
                      </a:lnTo>
                      <a:lnTo>
                        <a:pt x="19" y="45"/>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3" name="Freeform 188">
                  <a:extLst>
                    <a:ext uri="{FF2B5EF4-FFF2-40B4-BE49-F238E27FC236}">
                      <a16:creationId xmlns:a16="http://schemas.microsoft.com/office/drawing/2014/main" id="{E3C8A87F-4CB6-085F-6286-A1D77DCF2733}"/>
                    </a:ext>
                  </a:extLst>
                </p:cNvPr>
                <p:cNvSpPr>
                  <a:spLocks/>
                </p:cNvSpPr>
                <p:nvPr/>
              </p:nvSpPr>
              <p:spPr bwMode="auto">
                <a:xfrm>
                  <a:off x="1968" y="2514"/>
                  <a:ext cx="59" cy="76"/>
                </a:xfrm>
                <a:custGeom>
                  <a:avLst/>
                  <a:gdLst>
                    <a:gd name="T0" fmla="*/ 9 w 59"/>
                    <a:gd name="T1" fmla="*/ 34 h 76"/>
                    <a:gd name="T2" fmla="*/ 12 w 59"/>
                    <a:gd name="T3" fmla="*/ 34 h 76"/>
                    <a:gd name="T4" fmla="*/ 16 w 59"/>
                    <a:gd name="T5" fmla="*/ 36 h 76"/>
                    <a:gd name="T6" fmla="*/ 16 w 59"/>
                    <a:gd name="T7" fmla="*/ 41 h 76"/>
                    <a:gd name="T8" fmla="*/ 16 w 59"/>
                    <a:gd name="T9" fmla="*/ 43 h 76"/>
                    <a:gd name="T10" fmla="*/ 19 w 59"/>
                    <a:gd name="T11" fmla="*/ 45 h 76"/>
                    <a:gd name="T12" fmla="*/ 24 w 59"/>
                    <a:gd name="T13" fmla="*/ 45 h 76"/>
                    <a:gd name="T14" fmla="*/ 21 w 59"/>
                    <a:gd name="T15" fmla="*/ 50 h 76"/>
                    <a:gd name="T16" fmla="*/ 19 w 59"/>
                    <a:gd name="T17" fmla="*/ 55 h 76"/>
                    <a:gd name="T18" fmla="*/ 16 w 59"/>
                    <a:gd name="T19" fmla="*/ 60 h 76"/>
                    <a:gd name="T20" fmla="*/ 16 w 59"/>
                    <a:gd name="T21" fmla="*/ 62 h 76"/>
                    <a:gd name="T22" fmla="*/ 16 w 59"/>
                    <a:gd name="T23" fmla="*/ 64 h 76"/>
                    <a:gd name="T24" fmla="*/ 21 w 59"/>
                    <a:gd name="T25" fmla="*/ 69 h 76"/>
                    <a:gd name="T26" fmla="*/ 24 w 59"/>
                    <a:gd name="T27" fmla="*/ 74 h 76"/>
                    <a:gd name="T28" fmla="*/ 31 w 59"/>
                    <a:gd name="T29" fmla="*/ 76 h 76"/>
                    <a:gd name="T30" fmla="*/ 33 w 59"/>
                    <a:gd name="T31" fmla="*/ 74 h 76"/>
                    <a:gd name="T32" fmla="*/ 35 w 59"/>
                    <a:gd name="T33" fmla="*/ 76 h 76"/>
                    <a:gd name="T34" fmla="*/ 38 w 59"/>
                    <a:gd name="T35" fmla="*/ 74 h 76"/>
                    <a:gd name="T36" fmla="*/ 45 w 59"/>
                    <a:gd name="T37" fmla="*/ 71 h 76"/>
                    <a:gd name="T38" fmla="*/ 47 w 59"/>
                    <a:gd name="T39" fmla="*/ 69 h 76"/>
                    <a:gd name="T40" fmla="*/ 52 w 59"/>
                    <a:gd name="T41" fmla="*/ 69 h 76"/>
                    <a:gd name="T42" fmla="*/ 59 w 59"/>
                    <a:gd name="T43" fmla="*/ 69 h 76"/>
                    <a:gd name="T44" fmla="*/ 57 w 59"/>
                    <a:gd name="T45" fmla="*/ 67 h 76"/>
                    <a:gd name="T46" fmla="*/ 54 w 59"/>
                    <a:gd name="T47" fmla="*/ 64 h 76"/>
                    <a:gd name="T48" fmla="*/ 52 w 59"/>
                    <a:gd name="T49" fmla="*/ 60 h 76"/>
                    <a:gd name="T50" fmla="*/ 50 w 59"/>
                    <a:gd name="T51" fmla="*/ 57 h 76"/>
                    <a:gd name="T52" fmla="*/ 50 w 59"/>
                    <a:gd name="T53" fmla="*/ 52 h 76"/>
                    <a:gd name="T54" fmla="*/ 47 w 59"/>
                    <a:gd name="T55" fmla="*/ 52 h 76"/>
                    <a:gd name="T56" fmla="*/ 45 w 59"/>
                    <a:gd name="T57" fmla="*/ 50 h 76"/>
                    <a:gd name="T58" fmla="*/ 42 w 59"/>
                    <a:gd name="T59" fmla="*/ 48 h 76"/>
                    <a:gd name="T60" fmla="*/ 40 w 59"/>
                    <a:gd name="T61" fmla="*/ 45 h 76"/>
                    <a:gd name="T62" fmla="*/ 42 w 59"/>
                    <a:gd name="T63" fmla="*/ 41 h 76"/>
                    <a:gd name="T64" fmla="*/ 42 w 59"/>
                    <a:gd name="T65" fmla="*/ 36 h 76"/>
                    <a:gd name="T66" fmla="*/ 47 w 59"/>
                    <a:gd name="T67" fmla="*/ 34 h 76"/>
                    <a:gd name="T68" fmla="*/ 50 w 59"/>
                    <a:gd name="T69" fmla="*/ 31 h 76"/>
                    <a:gd name="T70" fmla="*/ 50 w 59"/>
                    <a:gd name="T71" fmla="*/ 29 h 76"/>
                    <a:gd name="T72" fmla="*/ 50 w 59"/>
                    <a:gd name="T73" fmla="*/ 26 h 76"/>
                    <a:gd name="T74" fmla="*/ 50 w 59"/>
                    <a:gd name="T75" fmla="*/ 22 h 76"/>
                    <a:gd name="T76" fmla="*/ 40 w 59"/>
                    <a:gd name="T77" fmla="*/ 17 h 76"/>
                    <a:gd name="T78" fmla="*/ 38 w 59"/>
                    <a:gd name="T79" fmla="*/ 17 h 76"/>
                    <a:gd name="T80" fmla="*/ 33 w 59"/>
                    <a:gd name="T81" fmla="*/ 19 h 76"/>
                    <a:gd name="T82" fmla="*/ 33 w 59"/>
                    <a:gd name="T83" fmla="*/ 19 h 76"/>
                    <a:gd name="T84" fmla="*/ 33 w 59"/>
                    <a:gd name="T85" fmla="*/ 15 h 76"/>
                    <a:gd name="T86" fmla="*/ 31 w 59"/>
                    <a:gd name="T87" fmla="*/ 10 h 76"/>
                    <a:gd name="T88" fmla="*/ 24 w 59"/>
                    <a:gd name="T89" fmla="*/ 3 h 76"/>
                    <a:gd name="T90" fmla="*/ 21 w 59"/>
                    <a:gd name="T91" fmla="*/ 0 h 76"/>
                    <a:gd name="T92" fmla="*/ 19 w 59"/>
                    <a:gd name="T93" fmla="*/ 0 h 76"/>
                    <a:gd name="T94" fmla="*/ 14 w 59"/>
                    <a:gd name="T95" fmla="*/ 5 h 76"/>
                    <a:gd name="T96" fmla="*/ 12 w 59"/>
                    <a:gd name="T97" fmla="*/ 5 h 76"/>
                    <a:gd name="T98" fmla="*/ 9 w 59"/>
                    <a:gd name="T99" fmla="*/ 10 h 76"/>
                    <a:gd name="T100" fmla="*/ 12 w 59"/>
                    <a:gd name="T101" fmla="*/ 12 h 76"/>
                    <a:gd name="T102" fmla="*/ 14 w 59"/>
                    <a:gd name="T103" fmla="*/ 17 h 76"/>
                    <a:gd name="T104" fmla="*/ 9 w 59"/>
                    <a:gd name="T105" fmla="*/ 17 h 76"/>
                    <a:gd name="T106" fmla="*/ 5 w 59"/>
                    <a:gd name="T107" fmla="*/ 17 h 76"/>
                    <a:gd name="T108" fmla="*/ 2 w 59"/>
                    <a:gd name="T109" fmla="*/ 22 h 76"/>
                    <a:gd name="T110" fmla="*/ 2 w 59"/>
                    <a:gd name="T111" fmla="*/ 26 h 76"/>
                    <a:gd name="T112" fmla="*/ 9 w 59"/>
                    <a:gd name="T113" fmla="*/ 3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9" h="76">
                      <a:moveTo>
                        <a:pt x="9" y="34"/>
                      </a:moveTo>
                      <a:lnTo>
                        <a:pt x="9" y="34"/>
                      </a:lnTo>
                      <a:lnTo>
                        <a:pt x="12" y="34"/>
                      </a:lnTo>
                      <a:lnTo>
                        <a:pt x="12" y="34"/>
                      </a:lnTo>
                      <a:lnTo>
                        <a:pt x="14" y="34"/>
                      </a:lnTo>
                      <a:lnTo>
                        <a:pt x="16" y="36"/>
                      </a:lnTo>
                      <a:lnTo>
                        <a:pt x="16" y="38"/>
                      </a:lnTo>
                      <a:lnTo>
                        <a:pt x="16" y="41"/>
                      </a:lnTo>
                      <a:lnTo>
                        <a:pt x="14" y="43"/>
                      </a:lnTo>
                      <a:lnTo>
                        <a:pt x="16" y="43"/>
                      </a:lnTo>
                      <a:lnTo>
                        <a:pt x="19" y="43"/>
                      </a:lnTo>
                      <a:lnTo>
                        <a:pt x="19" y="45"/>
                      </a:lnTo>
                      <a:lnTo>
                        <a:pt x="21" y="45"/>
                      </a:lnTo>
                      <a:lnTo>
                        <a:pt x="24" y="45"/>
                      </a:lnTo>
                      <a:lnTo>
                        <a:pt x="24" y="48"/>
                      </a:lnTo>
                      <a:lnTo>
                        <a:pt x="21" y="50"/>
                      </a:lnTo>
                      <a:lnTo>
                        <a:pt x="21" y="52"/>
                      </a:lnTo>
                      <a:lnTo>
                        <a:pt x="19" y="55"/>
                      </a:lnTo>
                      <a:lnTo>
                        <a:pt x="19" y="57"/>
                      </a:lnTo>
                      <a:lnTo>
                        <a:pt x="16" y="60"/>
                      </a:lnTo>
                      <a:lnTo>
                        <a:pt x="16" y="62"/>
                      </a:lnTo>
                      <a:lnTo>
                        <a:pt x="16" y="62"/>
                      </a:lnTo>
                      <a:lnTo>
                        <a:pt x="16" y="64"/>
                      </a:lnTo>
                      <a:lnTo>
                        <a:pt x="16" y="64"/>
                      </a:lnTo>
                      <a:lnTo>
                        <a:pt x="19" y="67"/>
                      </a:lnTo>
                      <a:lnTo>
                        <a:pt x="21" y="69"/>
                      </a:lnTo>
                      <a:lnTo>
                        <a:pt x="21" y="71"/>
                      </a:lnTo>
                      <a:lnTo>
                        <a:pt x="24" y="74"/>
                      </a:lnTo>
                      <a:lnTo>
                        <a:pt x="28" y="76"/>
                      </a:lnTo>
                      <a:lnTo>
                        <a:pt x="31" y="76"/>
                      </a:lnTo>
                      <a:lnTo>
                        <a:pt x="31" y="76"/>
                      </a:lnTo>
                      <a:lnTo>
                        <a:pt x="33" y="74"/>
                      </a:lnTo>
                      <a:lnTo>
                        <a:pt x="33" y="76"/>
                      </a:lnTo>
                      <a:lnTo>
                        <a:pt x="35" y="76"/>
                      </a:lnTo>
                      <a:lnTo>
                        <a:pt x="38" y="74"/>
                      </a:lnTo>
                      <a:lnTo>
                        <a:pt x="38" y="74"/>
                      </a:lnTo>
                      <a:lnTo>
                        <a:pt x="40" y="71"/>
                      </a:lnTo>
                      <a:lnTo>
                        <a:pt x="45" y="71"/>
                      </a:lnTo>
                      <a:lnTo>
                        <a:pt x="45" y="69"/>
                      </a:lnTo>
                      <a:lnTo>
                        <a:pt x="47" y="69"/>
                      </a:lnTo>
                      <a:lnTo>
                        <a:pt x="52" y="69"/>
                      </a:lnTo>
                      <a:lnTo>
                        <a:pt x="52" y="69"/>
                      </a:lnTo>
                      <a:lnTo>
                        <a:pt x="54" y="69"/>
                      </a:lnTo>
                      <a:lnTo>
                        <a:pt x="59" y="69"/>
                      </a:lnTo>
                      <a:lnTo>
                        <a:pt x="57" y="67"/>
                      </a:lnTo>
                      <a:lnTo>
                        <a:pt x="57" y="67"/>
                      </a:lnTo>
                      <a:lnTo>
                        <a:pt x="57" y="64"/>
                      </a:lnTo>
                      <a:lnTo>
                        <a:pt x="54" y="64"/>
                      </a:lnTo>
                      <a:lnTo>
                        <a:pt x="54" y="62"/>
                      </a:lnTo>
                      <a:lnTo>
                        <a:pt x="52" y="60"/>
                      </a:lnTo>
                      <a:lnTo>
                        <a:pt x="50" y="60"/>
                      </a:lnTo>
                      <a:lnTo>
                        <a:pt x="50" y="57"/>
                      </a:lnTo>
                      <a:lnTo>
                        <a:pt x="50" y="55"/>
                      </a:lnTo>
                      <a:lnTo>
                        <a:pt x="50" y="52"/>
                      </a:lnTo>
                      <a:lnTo>
                        <a:pt x="47" y="52"/>
                      </a:lnTo>
                      <a:lnTo>
                        <a:pt x="47" y="52"/>
                      </a:lnTo>
                      <a:lnTo>
                        <a:pt x="45" y="52"/>
                      </a:lnTo>
                      <a:lnTo>
                        <a:pt x="45" y="50"/>
                      </a:lnTo>
                      <a:lnTo>
                        <a:pt x="45" y="48"/>
                      </a:lnTo>
                      <a:lnTo>
                        <a:pt x="42" y="48"/>
                      </a:lnTo>
                      <a:lnTo>
                        <a:pt x="42" y="45"/>
                      </a:lnTo>
                      <a:lnTo>
                        <a:pt x="40" y="45"/>
                      </a:lnTo>
                      <a:lnTo>
                        <a:pt x="40" y="43"/>
                      </a:lnTo>
                      <a:lnTo>
                        <a:pt x="42" y="41"/>
                      </a:lnTo>
                      <a:lnTo>
                        <a:pt x="42" y="38"/>
                      </a:lnTo>
                      <a:lnTo>
                        <a:pt x="42" y="36"/>
                      </a:lnTo>
                      <a:lnTo>
                        <a:pt x="47" y="36"/>
                      </a:lnTo>
                      <a:lnTo>
                        <a:pt x="47" y="34"/>
                      </a:lnTo>
                      <a:lnTo>
                        <a:pt x="50" y="31"/>
                      </a:lnTo>
                      <a:lnTo>
                        <a:pt x="50" y="31"/>
                      </a:lnTo>
                      <a:lnTo>
                        <a:pt x="50" y="29"/>
                      </a:lnTo>
                      <a:lnTo>
                        <a:pt x="50" y="29"/>
                      </a:lnTo>
                      <a:lnTo>
                        <a:pt x="50" y="29"/>
                      </a:lnTo>
                      <a:lnTo>
                        <a:pt x="50" y="26"/>
                      </a:lnTo>
                      <a:lnTo>
                        <a:pt x="50" y="24"/>
                      </a:lnTo>
                      <a:lnTo>
                        <a:pt x="50" y="22"/>
                      </a:lnTo>
                      <a:lnTo>
                        <a:pt x="45" y="22"/>
                      </a:lnTo>
                      <a:lnTo>
                        <a:pt x="40" y="17"/>
                      </a:lnTo>
                      <a:lnTo>
                        <a:pt x="38" y="17"/>
                      </a:lnTo>
                      <a:lnTo>
                        <a:pt x="38" y="17"/>
                      </a:lnTo>
                      <a:lnTo>
                        <a:pt x="35" y="17"/>
                      </a:lnTo>
                      <a:lnTo>
                        <a:pt x="33" y="19"/>
                      </a:lnTo>
                      <a:lnTo>
                        <a:pt x="33" y="22"/>
                      </a:lnTo>
                      <a:lnTo>
                        <a:pt x="33" y="19"/>
                      </a:lnTo>
                      <a:lnTo>
                        <a:pt x="33" y="15"/>
                      </a:lnTo>
                      <a:lnTo>
                        <a:pt x="33" y="15"/>
                      </a:lnTo>
                      <a:lnTo>
                        <a:pt x="33" y="10"/>
                      </a:lnTo>
                      <a:lnTo>
                        <a:pt x="31" y="10"/>
                      </a:lnTo>
                      <a:lnTo>
                        <a:pt x="26" y="7"/>
                      </a:lnTo>
                      <a:lnTo>
                        <a:pt x="24" y="3"/>
                      </a:lnTo>
                      <a:lnTo>
                        <a:pt x="24" y="3"/>
                      </a:lnTo>
                      <a:lnTo>
                        <a:pt x="21" y="0"/>
                      </a:lnTo>
                      <a:lnTo>
                        <a:pt x="19" y="0"/>
                      </a:lnTo>
                      <a:lnTo>
                        <a:pt x="19" y="0"/>
                      </a:lnTo>
                      <a:lnTo>
                        <a:pt x="19" y="0"/>
                      </a:lnTo>
                      <a:lnTo>
                        <a:pt x="14" y="5"/>
                      </a:lnTo>
                      <a:lnTo>
                        <a:pt x="12" y="5"/>
                      </a:lnTo>
                      <a:lnTo>
                        <a:pt x="12" y="5"/>
                      </a:lnTo>
                      <a:lnTo>
                        <a:pt x="7" y="10"/>
                      </a:lnTo>
                      <a:lnTo>
                        <a:pt x="9" y="10"/>
                      </a:lnTo>
                      <a:lnTo>
                        <a:pt x="9" y="12"/>
                      </a:lnTo>
                      <a:lnTo>
                        <a:pt x="12" y="12"/>
                      </a:lnTo>
                      <a:lnTo>
                        <a:pt x="14" y="15"/>
                      </a:lnTo>
                      <a:lnTo>
                        <a:pt x="14" y="17"/>
                      </a:lnTo>
                      <a:lnTo>
                        <a:pt x="12" y="17"/>
                      </a:lnTo>
                      <a:lnTo>
                        <a:pt x="9" y="17"/>
                      </a:lnTo>
                      <a:lnTo>
                        <a:pt x="7" y="17"/>
                      </a:lnTo>
                      <a:lnTo>
                        <a:pt x="5" y="17"/>
                      </a:lnTo>
                      <a:lnTo>
                        <a:pt x="5" y="19"/>
                      </a:lnTo>
                      <a:lnTo>
                        <a:pt x="2" y="22"/>
                      </a:lnTo>
                      <a:lnTo>
                        <a:pt x="0" y="24"/>
                      </a:lnTo>
                      <a:lnTo>
                        <a:pt x="2" y="26"/>
                      </a:lnTo>
                      <a:lnTo>
                        <a:pt x="5" y="31"/>
                      </a:lnTo>
                      <a:lnTo>
                        <a:pt x="9" y="34"/>
                      </a:lnTo>
                      <a:lnTo>
                        <a:pt x="9" y="34"/>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4" name="Freeform 189">
                  <a:extLst>
                    <a:ext uri="{FF2B5EF4-FFF2-40B4-BE49-F238E27FC236}">
                      <a16:creationId xmlns:a16="http://schemas.microsoft.com/office/drawing/2014/main" id="{F2056560-6CC6-350E-4C15-6488219A1A2D}"/>
                    </a:ext>
                  </a:extLst>
                </p:cNvPr>
                <p:cNvSpPr>
                  <a:spLocks noEditPoints="1"/>
                </p:cNvSpPr>
                <p:nvPr/>
              </p:nvSpPr>
              <p:spPr bwMode="auto">
                <a:xfrm>
                  <a:off x="1835" y="2469"/>
                  <a:ext cx="152" cy="128"/>
                </a:xfrm>
                <a:custGeom>
                  <a:avLst/>
                  <a:gdLst>
                    <a:gd name="T0" fmla="*/ 36 w 64"/>
                    <a:gd name="T1" fmla="*/ 53 h 54"/>
                    <a:gd name="T2" fmla="*/ 43 w 64"/>
                    <a:gd name="T3" fmla="*/ 48 h 54"/>
                    <a:gd name="T4" fmla="*/ 45 w 64"/>
                    <a:gd name="T5" fmla="*/ 45 h 54"/>
                    <a:gd name="T6" fmla="*/ 43 w 64"/>
                    <a:gd name="T7" fmla="*/ 41 h 54"/>
                    <a:gd name="T8" fmla="*/ 41 w 64"/>
                    <a:gd name="T9" fmla="*/ 38 h 54"/>
                    <a:gd name="T10" fmla="*/ 48 w 64"/>
                    <a:gd name="T11" fmla="*/ 39 h 54"/>
                    <a:gd name="T12" fmla="*/ 56 w 64"/>
                    <a:gd name="T13" fmla="*/ 37 h 54"/>
                    <a:gd name="T14" fmla="*/ 58 w 64"/>
                    <a:gd name="T15" fmla="*/ 32 h 54"/>
                    <a:gd name="T16" fmla="*/ 58 w 64"/>
                    <a:gd name="T17" fmla="*/ 26 h 54"/>
                    <a:gd name="T18" fmla="*/ 62 w 64"/>
                    <a:gd name="T19" fmla="*/ 25 h 54"/>
                    <a:gd name="T20" fmla="*/ 61 w 64"/>
                    <a:gd name="T21" fmla="*/ 21 h 54"/>
                    <a:gd name="T22" fmla="*/ 64 w 64"/>
                    <a:gd name="T23" fmla="*/ 18 h 54"/>
                    <a:gd name="T24" fmla="*/ 59 w 64"/>
                    <a:gd name="T25" fmla="*/ 18 h 54"/>
                    <a:gd name="T26" fmla="*/ 56 w 64"/>
                    <a:gd name="T27" fmla="*/ 18 h 54"/>
                    <a:gd name="T28" fmla="*/ 59 w 64"/>
                    <a:gd name="T29" fmla="*/ 16 h 54"/>
                    <a:gd name="T30" fmla="*/ 55 w 64"/>
                    <a:gd name="T31" fmla="*/ 13 h 54"/>
                    <a:gd name="T32" fmla="*/ 52 w 64"/>
                    <a:gd name="T33" fmla="*/ 12 h 54"/>
                    <a:gd name="T34" fmla="*/ 49 w 64"/>
                    <a:gd name="T35" fmla="*/ 11 h 54"/>
                    <a:gd name="T36" fmla="*/ 54 w 64"/>
                    <a:gd name="T37" fmla="*/ 9 h 54"/>
                    <a:gd name="T38" fmla="*/ 48 w 64"/>
                    <a:gd name="T39" fmla="*/ 8 h 54"/>
                    <a:gd name="T40" fmla="*/ 42 w 64"/>
                    <a:gd name="T41" fmla="*/ 10 h 54"/>
                    <a:gd name="T42" fmla="*/ 38 w 64"/>
                    <a:gd name="T43" fmla="*/ 11 h 54"/>
                    <a:gd name="T44" fmla="*/ 28 w 64"/>
                    <a:gd name="T45" fmla="*/ 10 h 54"/>
                    <a:gd name="T46" fmla="*/ 25 w 64"/>
                    <a:gd name="T47" fmla="*/ 8 h 54"/>
                    <a:gd name="T48" fmla="*/ 20 w 64"/>
                    <a:gd name="T49" fmla="*/ 6 h 54"/>
                    <a:gd name="T50" fmla="*/ 17 w 64"/>
                    <a:gd name="T51" fmla="*/ 2 h 54"/>
                    <a:gd name="T52" fmla="*/ 15 w 64"/>
                    <a:gd name="T53" fmla="*/ 5 h 54"/>
                    <a:gd name="T54" fmla="*/ 16 w 64"/>
                    <a:gd name="T55" fmla="*/ 6 h 54"/>
                    <a:gd name="T56" fmla="*/ 14 w 64"/>
                    <a:gd name="T57" fmla="*/ 7 h 54"/>
                    <a:gd name="T58" fmla="*/ 9 w 64"/>
                    <a:gd name="T59" fmla="*/ 10 h 54"/>
                    <a:gd name="T60" fmla="*/ 8 w 64"/>
                    <a:gd name="T61" fmla="*/ 16 h 54"/>
                    <a:gd name="T62" fmla="*/ 6 w 64"/>
                    <a:gd name="T63" fmla="*/ 12 h 54"/>
                    <a:gd name="T64" fmla="*/ 8 w 64"/>
                    <a:gd name="T65" fmla="*/ 8 h 54"/>
                    <a:gd name="T66" fmla="*/ 8 w 64"/>
                    <a:gd name="T67" fmla="*/ 5 h 54"/>
                    <a:gd name="T68" fmla="*/ 7 w 64"/>
                    <a:gd name="T69" fmla="*/ 5 h 54"/>
                    <a:gd name="T70" fmla="*/ 3 w 64"/>
                    <a:gd name="T71" fmla="*/ 9 h 54"/>
                    <a:gd name="T72" fmla="*/ 0 w 64"/>
                    <a:gd name="T73" fmla="*/ 15 h 54"/>
                    <a:gd name="T74" fmla="*/ 4 w 64"/>
                    <a:gd name="T75" fmla="*/ 20 h 54"/>
                    <a:gd name="T76" fmla="*/ 4 w 64"/>
                    <a:gd name="T77" fmla="*/ 23 h 54"/>
                    <a:gd name="T78" fmla="*/ 9 w 64"/>
                    <a:gd name="T79" fmla="*/ 25 h 54"/>
                    <a:gd name="T80" fmla="*/ 15 w 64"/>
                    <a:gd name="T81" fmla="*/ 25 h 54"/>
                    <a:gd name="T82" fmla="*/ 21 w 64"/>
                    <a:gd name="T83" fmla="*/ 28 h 54"/>
                    <a:gd name="T84" fmla="*/ 26 w 64"/>
                    <a:gd name="T85" fmla="*/ 29 h 54"/>
                    <a:gd name="T86" fmla="*/ 28 w 64"/>
                    <a:gd name="T87" fmla="*/ 31 h 54"/>
                    <a:gd name="T88" fmla="*/ 26 w 64"/>
                    <a:gd name="T89" fmla="*/ 35 h 54"/>
                    <a:gd name="T90" fmla="*/ 26 w 64"/>
                    <a:gd name="T91" fmla="*/ 39 h 54"/>
                    <a:gd name="T92" fmla="*/ 27 w 64"/>
                    <a:gd name="T93" fmla="*/ 44 h 54"/>
                    <a:gd name="T94" fmla="*/ 28 w 64"/>
                    <a:gd name="T95" fmla="*/ 47 h 54"/>
                    <a:gd name="T96" fmla="*/ 23 w 64"/>
                    <a:gd name="T97" fmla="*/ 2 h 54"/>
                    <a:gd name="T98" fmla="*/ 23 w 64"/>
                    <a:gd name="T99" fmla="*/ 2 h 54"/>
                    <a:gd name="T100" fmla="*/ 21 w 64"/>
                    <a:gd name="T101" fmla="*/ 3 h 54"/>
                    <a:gd name="T102" fmla="*/ 16 w 64"/>
                    <a:gd name="T103" fmla="*/ 1 h 54"/>
                    <a:gd name="T104" fmla="*/ 43 w 64"/>
                    <a:gd name="T105" fmla="*/ 7 h 54"/>
                    <a:gd name="T106" fmla="*/ 44 w 64"/>
                    <a:gd name="T107" fmla="*/ 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4" h="54">
                      <a:moveTo>
                        <a:pt x="29" y="51"/>
                      </a:moveTo>
                      <a:cubicBezTo>
                        <a:pt x="31" y="52"/>
                        <a:pt x="31" y="52"/>
                        <a:pt x="31" y="52"/>
                      </a:cubicBezTo>
                      <a:cubicBezTo>
                        <a:pt x="33" y="53"/>
                        <a:pt x="33" y="53"/>
                        <a:pt x="33" y="53"/>
                      </a:cubicBezTo>
                      <a:cubicBezTo>
                        <a:pt x="34" y="54"/>
                        <a:pt x="34" y="54"/>
                        <a:pt x="34" y="54"/>
                      </a:cubicBezTo>
                      <a:cubicBezTo>
                        <a:pt x="36" y="53"/>
                        <a:pt x="36" y="53"/>
                        <a:pt x="36" y="53"/>
                      </a:cubicBezTo>
                      <a:cubicBezTo>
                        <a:pt x="37" y="52"/>
                        <a:pt x="37" y="52"/>
                        <a:pt x="37" y="52"/>
                      </a:cubicBezTo>
                      <a:cubicBezTo>
                        <a:pt x="39" y="51"/>
                        <a:pt x="39" y="51"/>
                        <a:pt x="39" y="51"/>
                      </a:cubicBezTo>
                      <a:cubicBezTo>
                        <a:pt x="40" y="50"/>
                        <a:pt x="40" y="50"/>
                        <a:pt x="40" y="50"/>
                      </a:cubicBezTo>
                      <a:cubicBezTo>
                        <a:pt x="42" y="49"/>
                        <a:pt x="42" y="49"/>
                        <a:pt x="42" y="49"/>
                      </a:cubicBezTo>
                      <a:cubicBezTo>
                        <a:pt x="43" y="48"/>
                        <a:pt x="43" y="48"/>
                        <a:pt x="43" y="48"/>
                      </a:cubicBezTo>
                      <a:cubicBezTo>
                        <a:pt x="43" y="47"/>
                        <a:pt x="43" y="47"/>
                        <a:pt x="43" y="47"/>
                      </a:cubicBezTo>
                      <a:cubicBezTo>
                        <a:pt x="46" y="47"/>
                        <a:pt x="46" y="47"/>
                        <a:pt x="46" y="47"/>
                      </a:cubicBezTo>
                      <a:cubicBezTo>
                        <a:pt x="47" y="47"/>
                        <a:pt x="47" y="47"/>
                        <a:pt x="47" y="47"/>
                      </a:cubicBezTo>
                      <a:cubicBezTo>
                        <a:pt x="47" y="46"/>
                        <a:pt x="47" y="46"/>
                        <a:pt x="47" y="46"/>
                      </a:cubicBezTo>
                      <a:cubicBezTo>
                        <a:pt x="45" y="45"/>
                        <a:pt x="45" y="45"/>
                        <a:pt x="45" y="45"/>
                      </a:cubicBezTo>
                      <a:cubicBezTo>
                        <a:pt x="44" y="46"/>
                        <a:pt x="44" y="46"/>
                        <a:pt x="44" y="46"/>
                      </a:cubicBezTo>
                      <a:cubicBezTo>
                        <a:pt x="41" y="45"/>
                        <a:pt x="41" y="45"/>
                        <a:pt x="41" y="45"/>
                      </a:cubicBezTo>
                      <a:cubicBezTo>
                        <a:pt x="42" y="43"/>
                        <a:pt x="42" y="43"/>
                        <a:pt x="42" y="43"/>
                      </a:cubicBezTo>
                      <a:cubicBezTo>
                        <a:pt x="41" y="43"/>
                        <a:pt x="41" y="43"/>
                        <a:pt x="41" y="43"/>
                      </a:cubicBezTo>
                      <a:cubicBezTo>
                        <a:pt x="43" y="41"/>
                        <a:pt x="43" y="41"/>
                        <a:pt x="43" y="41"/>
                      </a:cubicBezTo>
                      <a:cubicBezTo>
                        <a:pt x="42" y="40"/>
                        <a:pt x="42" y="40"/>
                        <a:pt x="42" y="40"/>
                      </a:cubicBezTo>
                      <a:cubicBezTo>
                        <a:pt x="41" y="39"/>
                        <a:pt x="41" y="39"/>
                        <a:pt x="41" y="39"/>
                      </a:cubicBezTo>
                      <a:cubicBezTo>
                        <a:pt x="40" y="39"/>
                        <a:pt x="40" y="39"/>
                        <a:pt x="40" y="39"/>
                      </a:cubicBezTo>
                      <a:cubicBezTo>
                        <a:pt x="40" y="38"/>
                        <a:pt x="40" y="38"/>
                        <a:pt x="40" y="38"/>
                      </a:cubicBezTo>
                      <a:cubicBezTo>
                        <a:pt x="41" y="38"/>
                        <a:pt x="41" y="38"/>
                        <a:pt x="41" y="38"/>
                      </a:cubicBezTo>
                      <a:cubicBezTo>
                        <a:pt x="42" y="38"/>
                        <a:pt x="42" y="38"/>
                        <a:pt x="42" y="38"/>
                      </a:cubicBezTo>
                      <a:cubicBezTo>
                        <a:pt x="44" y="39"/>
                        <a:pt x="44" y="39"/>
                        <a:pt x="44" y="39"/>
                      </a:cubicBezTo>
                      <a:cubicBezTo>
                        <a:pt x="46" y="39"/>
                        <a:pt x="46" y="39"/>
                        <a:pt x="46" y="39"/>
                      </a:cubicBezTo>
                      <a:cubicBezTo>
                        <a:pt x="48" y="39"/>
                        <a:pt x="48" y="39"/>
                        <a:pt x="48" y="39"/>
                      </a:cubicBezTo>
                      <a:cubicBezTo>
                        <a:pt x="48" y="39"/>
                        <a:pt x="48" y="39"/>
                        <a:pt x="48" y="39"/>
                      </a:cubicBezTo>
                      <a:cubicBezTo>
                        <a:pt x="50" y="38"/>
                        <a:pt x="50" y="38"/>
                        <a:pt x="50" y="38"/>
                      </a:cubicBezTo>
                      <a:cubicBezTo>
                        <a:pt x="51" y="37"/>
                        <a:pt x="51" y="37"/>
                        <a:pt x="51" y="37"/>
                      </a:cubicBezTo>
                      <a:cubicBezTo>
                        <a:pt x="53" y="37"/>
                        <a:pt x="53" y="37"/>
                        <a:pt x="53" y="37"/>
                      </a:cubicBezTo>
                      <a:cubicBezTo>
                        <a:pt x="53" y="37"/>
                        <a:pt x="53" y="37"/>
                        <a:pt x="53" y="37"/>
                      </a:cubicBezTo>
                      <a:cubicBezTo>
                        <a:pt x="56" y="37"/>
                        <a:pt x="56" y="37"/>
                        <a:pt x="56" y="37"/>
                      </a:cubicBezTo>
                      <a:cubicBezTo>
                        <a:pt x="57" y="36"/>
                        <a:pt x="57" y="36"/>
                        <a:pt x="57" y="36"/>
                      </a:cubicBezTo>
                      <a:cubicBezTo>
                        <a:pt x="60" y="35"/>
                        <a:pt x="60" y="35"/>
                        <a:pt x="60" y="35"/>
                      </a:cubicBezTo>
                      <a:cubicBezTo>
                        <a:pt x="60" y="34"/>
                        <a:pt x="60" y="34"/>
                        <a:pt x="60" y="34"/>
                      </a:cubicBezTo>
                      <a:cubicBezTo>
                        <a:pt x="60" y="33"/>
                        <a:pt x="60" y="33"/>
                        <a:pt x="60" y="33"/>
                      </a:cubicBezTo>
                      <a:cubicBezTo>
                        <a:pt x="58" y="32"/>
                        <a:pt x="58" y="32"/>
                        <a:pt x="58" y="32"/>
                      </a:cubicBezTo>
                      <a:cubicBezTo>
                        <a:pt x="57" y="30"/>
                        <a:pt x="57" y="30"/>
                        <a:pt x="57" y="30"/>
                      </a:cubicBezTo>
                      <a:cubicBezTo>
                        <a:pt x="56" y="29"/>
                        <a:pt x="56" y="29"/>
                        <a:pt x="56" y="29"/>
                      </a:cubicBezTo>
                      <a:cubicBezTo>
                        <a:pt x="57" y="28"/>
                        <a:pt x="57" y="28"/>
                        <a:pt x="57" y="28"/>
                      </a:cubicBezTo>
                      <a:cubicBezTo>
                        <a:pt x="58" y="27"/>
                        <a:pt x="58" y="27"/>
                        <a:pt x="58" y="27"/>
                      </a:cubicBezTo>
                      <a:cubicBezTo>
                        <a:pt x="58" y="26"/>
                        <a:pt x="58" y="26"/>
                        <a:pt x="58" y="26"/>
                      </a:cubicBezTo>
                      <a:cubicBezTo>
                        <a:pt x="59" y="26"/>
                        <a:pt x="59" y="26"/>
                        <a:pt x="59" y="26"/>
                      </a:cubicBezTo>
                      <a:cubicBezTo>
                        <a:pt x="60" y="26"/>
                        <a:pt x="60" y="26"/>
                        <a:pt x="60" y="26"/>
                      </a:cubicBezTo>
                      <a:cubicBezTo>
                        <a:pt x="61" y="26"/>
                        <a:pt x="61" y="26"/>
                        <a:pt x="61" y="26"/>
                      </a:cubicBezTo>
                      <a:cubicBezTo>
                        <a:pt x="62" y="26"/>
                        <a:pt x="62" y="26"/>
                        <a:pt x="62" y="26"/>
                      </a:cubicBezTo>
                      <a:cubicBezTo>
                        <a:pt x="62" y="25"/>
                        <a:pt x="62" y="25"/>
                        <a:pt x="62" y="25"/>
                      </a:cubicBezTo>
                      <a:cubicBezTo>
                        <a:pt x="61" y="24"/>
                        <a:pt x="61" y="24"/>
                        <a:pt x="61" y="24"/>
                      </a:cubicBezTo>
                      <a:cubicBezTo>
                        <a:pt x="60" y="24"/>
                        <a:pt x="60" y="24"/>
                        <a:pt x="60" y="24"/>
                      </a:cubicBezTo>
                      <a:cubicBezTo>
                        <a:pt x="60" y="23"/>
                        <a:pt x="60" y="23"/>
                        <a:pt x="60" y="23"/>
                      </a:cubicBezTo>
                      <a:cubicBezTo>
                        <a:pt x="59" y="23"/>
                        <a:pt x="59" y="23"/>
                        <a:pt x="59" y="23"/>
                      </a:cubicBezTo>
                      <a:cubicBezTo>
                        <a:pt x="61" y="21"/>
                        <a:pt x="61" y="21"/>
                        <a:pt x="61" y="21"/>
                      </a:cubicBezTo>
                      <a:cubicBezTo>
                        <a:pt x="61" y="21"/>
                        <a:pt x="61" y="21"/>
                        <a:pt x="61" y="21"/>
                      </a:cubicBezTo>
                      <a:cubicBezTo>
                        <a:pt x="62" y="21"/>
                        <a:pt x="62" y="21"/>
                        <a:pt x="62" y="21"/>
                      </a:cubicBezTo>
                      <a:cubicBezTo>
                        <a:pt x="64" y="19"/>
                        <a:pt x="64" y="19"/>
                        <a:pt x="64" y="19"/>
                      </a:cubicBezTo>
                      <a:cubicBezTo>
                        <a:pt x="64" y="19"/>
                        <a:pt x="64" y="19"/>
                        <a:pt x="64" y="19"/>
                      </a:cubicBezTo>
                      <a:cubicBezTo>
                        <a:pt x="64" y="18"/>
                        <a:pt x="64" y="18"/>
                        <a:pt x="64" y="18"/>
                      </a:cubicBezTo>
                      <a:cubicBezTo>
                        <a:pt x="62" y="18"/>
                        <a:pt x="62" y="18"/>
                        <a:pt x="62" y="18"/>
                      </a:cubicBezTo>
                      <a:cubicBezTo>
                        <a:pt x="61" y="18"/>
                        <a:pt x="61" y="18"/>
                        <a:pt x="61" y="18"/>
                      </a:cubicBezTo>
                      <a:cubicBezTo>
                        <a:pt x="61" y="18"/>
                        <a:pt x="61" y="18"/>
                        <a:pt x="61" y="18"/>
                      </a:cubicBezTo>
                      <a:cubicBezTo>
                        <a:pt x="60" y="18"/>
                        <a:pt x="60" y="18"/>
                        <a:pt x="60" y="18"/>
                      </a:cubicBezTo>
                      <a:cubicBezTo>
                        <a:pt x="59" y="18"/>
                        <a:pt x="59" y="18"/>
                        <a:pt x="59" y="18"/>
                      </a:cubicBezTo>
                      <a:cubicBezTo>
                        <a:pt x="58" y="18"/>
                        <a:pt x="58" y="18"/>
                        <a:pt x="58" y="18"/>
                      </a:cubicBezTo>
                      <a:cubicBezTo>
                        <a:pt x="57" y="18"/>
                        <a:pt x="57" y="18"/>
                        <a:pt x="57" y="18"/>
                      </a:cubicBezTo>
                      <a:cubicBezTo>
                        <a:pt x="56" y="18"/>
                        <a:pt x="56" y="18"/>
                        <a:pt x="56" y="18"/>
                      </a:cubicBezTo>
                      <a:cubicBezTo>
                        <a:pt x="55" y="18"/>
                        <a:pt x="55" y="18"/>
                        <a:pt x="55" y="18"/>
                      </a:cubicBezTo>
                      <a:cubicBezTo>
                        <a:pt x="56" y="18"/>
                        <a:pt x="56" y="18"/>
                        <a:pt x="56" y="18"/>
                      </a:cubicBezTo>
                      <a:cubicBezTo>
                        <a:pt x="57" y="18"/>
                        <a:pt x="57" y="18"/>
                        <a:pt x="57" y="18"/>
                      </a:cubicBezTo>
                      <a:cubicBezTo>
                        <a:pt x="57" y="18"/>
                        <a:pt x="57" y="18"/>
                        <a:pt x="57" y="18"/>
                      </a:cubicBezTo>
                      <a:cubicBezTo>
                        <a:pt x="58" y="17"/>
                        <a:pt x="58" y="17"/>
                        <a:pt x="58" y="17"/>
                      </a:cubicBezTo>
                      <a:cubicBezTo>
                        <a:pt x="59" y="16"/>
                        <a:pt x="59" y="16"/>
                        <a:pt x="59" y="16"/>
                      </a:cubicBezTo>
                      <a:cubicBezTo>
                        <a:pt x="59" y="16"/>
                        <a:pt x="59" y="16"/>
                        <a:pt x="59" y="16"/>
                      </a:cubicBezTo>
                      <a:cubicBezTo>
                        <a:pt x="58" y="15"/>
                        <a:pt x="58" y="15"/>
                        <a:pt x="58" y="15"/>
                      </a:cubicBezTo>
                      <a:cubicBezTo>
                        <a:pt x="58" y="15"/>
                        <a:pt x="58" y="15"/>
                        <a:pt x="58" y="15"/>
                      </a:cubicBezTo>
                      <a:cubicBezTo>
                        <a:pt x="58" y="14"/>
                        <a:pt x="58" y="14"/>
                        <a:pt x="58" y="14"/>
                      </a:cubicBezTo>
                      <a:cubicBezTo>
                        <a:pt x="57" y="14"/>
                        <a:pt x="57" y="14"/>
                        <a:pt x="57" y="14"/>
                      </a:cubicBezTo>
                      <a:cubicBezTo>
                        <a:pt x="55" y="13"/>
                        <a:pt x="55" y="13"/>
                        <a:pt x="55" y="13"/>
                      </a:cubicBezTo>
                      <a:cubicBezTo>
                        <a:pt x="55" y="13"/>
                        <a:pt x="55" y="13"/>
                        <a:pt x="55" y="13"/>
                      </a:cubicBezTo>
                      <a:cubicBezTo>
                        <a:pt x="54" y="13"/>
                        <a:pt x="54" y="13"/>
                        <a:pt x="54" y="13"/>
                      </a:cubicBezTo>
                      <a:cubicBezTo>
                        <a:pt x="53" y="13"/>
                        <a:pt x="53" y="13"/>
                        <a:pt x="53" y="13"/>
                      </a:cubicBezTo>
                      <a:cubicBezTo>
                        <a:pt x="53" y="12"/>
                        <a:pt x="53" y="12"/>
                        <a:pt x="53" y="12"/>
                      </a:cubicBezTo>
                      <a:cubicBezTo>
                        <a:pt x="52" y="12"/>
                        <a:pt x="52" y="12"/>
                        <a:pt x="52" y="12"/>
                      </a:cubicBezTo>
                      <a:cubicBezTo>
                        <a:pt x="51" y="12"/>
                        <a:pt x="51" y="12"/>
                        <a:pt x="51" y="12"/>
                      </a:cubicBezTo>
                      <a:cubicBezTo>
                        <a:pt x="51" y="13"/>
                        <a:pt x="51" y="13"/>
                        <a:pt x="51" y="13"/>
                      </a:cubicBezTo>
                      <a:cubicBezTo>
                        <a:pt x="51" y="12"/>
                        <a:pt x="51" y="12"/>
                        <a:pt x="51" y="12"/>
                      </a:cubicBezTo>
                      <a:cubicBezTo>
                        <a:pt x="50" y="11"/>
                        <a:pt x="50" y="11"/>
                        <a:pt x="50" y="11"/>
                      </a:cubicBezTo>
                      <a:cubicBezTo>
                        <a:pt x="49" y="11"/>
                        <a:pt x="49" y="11"/>
                        <a:pt x="49" y="11"/>
                      </a:cubicBezTo>
                      <a:cubicBezTo>
                        <a:pt x="49" y="10"/>
                        <a:pt x="49" y="10"/>
                        <a:pt x="49" y="10"/>
                      </a:cubicBezTo>
                      <a:cubicBezTo>
                        <a:pt x="50" y="10"/>
                        <a:pt x="50" y="10"/>
                        <a:pt x="50" y="10"/>
                      </a:cubicBezTo>
                      <a:cubicBezTo>
                        <a:pt x="52" y="10"/>
                        <a:pt x="52" y="10"/>
                        <a:pt x="52" y="10"/>
                      </a:cubicBezTo>
                      <a:cubicBezTo>
                        <a:pt x="53" y="9"/>
                        <a:pt x="53" y="9"/>
                        <a:pt x="53" y="9"/>
                      </a:cubicBezTo>
                      <a:cubicBezTo>
                        <a:pt x="54" y="9"/>
                        <a:pt x="54" y="9"/>
                        <a:pt x="54" y="9"/>
                      </a:cubicBezTo>
                      <a:cubicBezTo>
                        <a:pt x="54" y="9"/>
                        <a:pt x="54" y="9"/>
                        <a:pt x="54" y="9"/>
                      </a:cubicBezTo>
                      <a:cubicBezTo>
                        <a:pt x="53" y="9"/>
                        <a:pt x="53" y="9"/>
                        <a:pt x="53" y="9"/>
                      </a:cubicBezTo>
                      <a:cubicBezTo>
                        <a:pt x="51" y="8"/>
                        <a:pt x="51" y="8"/>
                        <a:pt x="51" y="8"/>
                      </a:cubicBezTo>
                      <a:cubicBezTo>
                        <a:pt x="49" y="9"/>
                        <a:pt x="49" y="9"/>
                        <a:pt x="49" y="9"/>
                      </a:cubicBezTo>
                      <a:cubicBezTo>
                        <a:pt x="48" y="8"/>
                        <a:pt x="48" y="8"/>
                        <a:pt x="48" y="8"/>
                      </a:cubicBezTo>
                      <a:cubicBezTo>
                        <a:pt x="46" y="9"/>
                        <a:pt x="46" y="9"/>
                        <a:pt x="46" y="9"/>
                      </a:cubicBezTo>
                      <a:cubicBezTo>
                        <a:pt x="45" y="9"/>
                        <a:pt x="45" y="9"/>
                        <a:pt x="45" y="9"/>
                      </a:cubicBezTo>
                      <a:cubicBezTo>
                        <a:pt x="44" y="9"/>
                        <a:pt x="44" y="9"/>
                        <a:pt x="44" y="9"/>
                      </a:cubicBezTo>
                      <a:cubicBezTo>
                        <a:pt x="43" y="10"/>
                        <a:pt x="43" y="10"/>
                        <a:pt x="43" y="10"/>
                      </a:cubicBezTo>
                      <a:cubicBezTo>
                        <a:pt x="42" y="10"/>
                        <a:pt x="42" y="10"/>
                        <a:pt x="42" y="10"/>
                      </a:cubicBezTo>
                      <a:cubicBezTo>
                        <a:pt x="41" y="11"/>
                        <a:pt x="41" y="11"/>
                        <a:pt x="41" y="11"/>
                      </a:cubicBezTo>
                      <a:cubicBezTo>
                        <a:pt x="40" y="11"/>
                        <a:pt x="40" y="11"/>
                        <a:pt x="40" y="11"/>
                      </a:cubicBezTo>
                      <a:cubicBezTo>
                        <a:pt x="39" y="11"/>
                        <a:pt x="39" y="11"/>
                        <a:pt x="39" y="11"/>
                      </a:cubicBezTo>
                      <a:cubicBezTo>
                        <a:pt x="38" y="12"/>
                        <a:pt x="38" y="12"/>
                        <a:pt x="38" y="12"/>
                      </a:cubicBezTo>
                      <a:cubicBezTo>
                        <a:pt x="38" y="11"/>
                        <a:pt x="38" y="11"/>
                        <a:pt x="38" y="11"/>
                      </a:cubicBezTo>
                      <a:cubicBezTo>
                        <a:pt x="36" y="10"/>
                        <a:pt x="36" y="10"/>
                        <a:pt x="36" y="10"/>
                      </a:cubicBezTo>
                      <a:cubicBezTo>
                        <a:pt x="35" y="9"/>
                        <a:pt x="35" y="9"/>
                        <a:pt x="35" y="9"/>
                      </a:cubicBezTo>
                      <a:cubicBezTo>
                        <a:pt x="35" y="9"/>
                        <a:pt x="35" y="9"/>
                        <a:pt x="35" y="9"/>
                      </a:cubicBezTo>
                      <a:cubicBezTo>
                        <a:pt x="32" y="9"/>
                        <a:pt x="32" y="9"/>
                        <a:pt x="32" y="9"/>
                      </a:cubicBezTo>
                      <a:cubicBezTo>
                        <a:pt x="28" y="10"/>
                        <a:pt x="28" y="10"/>
                        <a:pt x="28" y="10"/>
                      </a:cubicBezTo>
                      <a:cubicBezTo>
                        <a:pt x="26" y="10"/>
                        <a:pt x="26" y="10"/>
                        <a:pt x="26" y="10"/>
                      </a:cubicBezTo>
                      <a:cubicBezTo>
                        <a:pt x="25" y="10"/>
                        <a:pt x="25" y="10"/>
                        <a:pt x="25" y="10"/>
                      </a:cubicBezTo>
                      <a:cubicBezTo>
                        <a:pt x="24" y="9"/>
                        <a:pt x="24" y="9"/>
                        <a:pt x="24" y="9"/>
                      </a:cubicBezTo>
                      <a:cubicBezTo>
                        <a:pt x="24" y="8"/>
                        <a:pt x="24" y="8"/>
                        <a:pt x="24" y="8"/>
                      </a:cubicBezTo>
                      <a:cubicBezTo>
                        <a:pt x="25" y="8"/>
                        <a:pt x="25" y="8"/>
                        <a:pt x="25" y="8"/>
                      </a:cubicBezTo>
                      <a:cubicBezTo>
                        <a:pt x="25" y="7"/>
                        <a:pt x="25" y="7"/>
                        <a:pt x="25" y="7"/>
                      </a:cubicBezTo>
                      <a:cubicBezTo>
                        <a:pt x="24" y="6"/>
                        <a:pt x="24" y="6"/>
                        <a:pt x="24" y="6"/>
                      </a:cubicBezTo>
                      <a:cubicBezTo>
                        <a:pt x="23" y="6"/>
                        <a:pt x="23" y="6"/>
                        <a:pt x="23" y="6"/>
                      </a:cubicBezTo>
                      <a:cubicBezTo>
                        <a:pt x="21" y="6"/>
                        <a:pt x="21" y="6"/>
                        <a:pt x="21" y="6"/>
                      </a:cubicBezTo>
                      <a:cubicBezTo>
                        <a:pt x="20" y="6"/>
                        <a:pt x="20" y="6"/>
                        <a:pt x="20" y="6"/>
                      </a:cubicBezTo>
                      <a:cubicBezTo>
                        <a:pt x="19" y="6"/>
                        <a:pt x="19" y="6"/>
                        <a:pt x="19" y="6"/>
                      </a:cubicBezTo>
                      <a:cubicBezTo>
                        <a:pt x="18" y="6"/>
                        <a:pt x="18" y="6"/>
                        <a:pt x="18" y="6"/>
                      </a:cubicBezTo>
                      <a:cubicBezTo>
                        <a:pt x="17" y="5"/>
                        <a:pt x="17" y="5"/>
                        <a:pt x="17" y="5"/>
                      </a:cubicBezTo>
                      <a:cubicBezTo>
                        <a:pt x="17" y="3"/>
                        <a:pt x="17" y="3"/>
                        <a:pt x="17" y="3"/>
                      </a:cubicBezTo>
                      <a:cubicBezTo>
                        <a:pt x="17" y="2"/>
                        <a:pt x="17" y="2"/>
                        <a:pt x="17" y="2"/>
                      </a:cubicBezTo>
                      <a:cubicBezTo>
                        <a:pt x="17" y="2"/>
                        <a:pt x="17" y="2"/>
                        <a:pt x="17" y="2"/>
                      </a:cubicBezTo>
                      <a:cubicBezTo>
                        <a:pt x="15" y="2"/>
                        <a:pt x="15" y="2"/>
                        <a:pt x="15" y="2"/>
                      </a:cubicBezTo>
                      <a:cubicBezTo>
                        <a:pt x="14" y="4"/>
                        <a:pt x="14" y="4"/>
                        <a:pt x="14" y="4"/>
                      </a:cubicBezTo>
                      <a:cubicBezTo>
                        <a:pt x="14" y="5"/>
                        <a:pt x="14" y="5"/>
                        <a:pt x="14" y="5"/>
                      </a:cubicBezTo>
                      <a:cubicBezTo>
                        <a:pt x="15" y="5"/>
                        <a:pt x="15" y="5"/>
                        <a:pt x="15" y="5"/>
                      </a:cubicBezTo>
                      <a:cubicBezTo>
                        <a:pt x="16" y="5"/>
                        <a:pt x="16" y="5"/>
                        <a:pt x="16" y="5"/>
                      </a:cubicBezTo>
                      <a:cubicBezTo>
                        <a:pt x="17" y="5"/>
                        <a:pt x="17" y="5"/>
                        <a:pt x="17" y="5"/>
                      </a:cubicBezTo>
                      <a:cubicBezTo>
                        <a:pt x="17" y="5"/>
                        <a:pt x="17" y="5"/>
                        <a:pt x="17" y="5"/>
                      </a:cubicBezTo>
                      <a:cubicBezTo>
                        <a:pt x="17" y="6"/>
                        <a:pt x="17" y="6"/>
                        <a:pt x="17" y="6"/>
                      </a:cubicBezTo>
                      <a:cubicBezTo>
                        <a:pt x="16" y="6"/>
                        <a:pt x="16" y="6"/>
                        <a:pt x="16" y="6"/>
                      </a:cubicBezTo>
                      <a:cubicBezTo>
                        <a:pt x="15" y="6"/>
                        <a:pt x="15" y="6"/>
                        <a:pt x="15" y="6"/>
                      </a:cubicBezTo>
                      <a:cubicBezTo>
                        <a:pt x="15" y="6"/>
                        <a:pt x="15" y="6"/>
                        <a:pt x="15" y="6"/>
                      </a:cubicBezTo>
                      <a:cubicBezTo>
                        <a:pt x="15" y="6"/>
                        <a:pt x="15" y="6"/>
                        <a:pt x="15" y="6"/>
                      </a:cubicBezTo>
                      <a:cubicBezTo>
                        <a:pt x="15" y="6"/>
                        <a:pt x="15" y="6"/>
                        <a:pt x="15" y="6"/>
                      </a:cubicBezTo>
                      <a:cubicBezTo>
                        <a:pt x="14" y="7"/>
                        <a:pt x="14" y="7"/>
                        <a:pt x="14" y="7"/>
                      </a:cubicBezTo>
                      <a:cubicBezTo>
                        <a:pt x="11" y="7"/>
                        <a:pt x="11" y="7"/>
                        <a:pt x="11" y="7"/>
                      </a:cubicBezTo>
                      <a:cubicBezTo>
                        <a:pt x="9" y="8"/>
                        <a:pt x="9" y="8"/>
                        <a:pt x="9" y="8"/>
                      </a:cubicBezTo>
                      <a:cubicBezTo>
                        <a:pt x="9" y="9"/>
                        <a:pt x="9" y="9"/>
                        <a:pt x="9" y="9"/>
                      </a:cubicBezTo>
                      <a:cubicBezTo>
                        <a:pt x="9" y="9"/>
                        <a:pt x="9" y="9"/>
                        <a:pt x="9" y="9"/>
                      </a:cubicBezTo>
                      <a:cubicBezTo>
                        <a:pt x="9" y="10"/>
                        <a:pt x="9" y="10"/>
                        <a:pt x="9" y="10"/>
                      </a:cubicBezTo>
                      <a:cubicBezTo>
                        <a:pt x="9" y="12"/>
                        <a:pt x="9" y="12"/>
                        <a:pt x="9" y="12"/>
                      </a:cubicBezTo>
                      <a:cubicBezTo>
                        <a:pt x="9" y="13"/>
                        <a:pt x="9" y="13"/>
                        <a:pt x="9" y="13"/>
                      </a:cubicBezTo>
                      <a:cubicBezTo>
                        <a:pt x="10" y="14"/>
                        <a:pt x="10" y="14"/>
                        <a:pt x="10" y="14"/>
                      </a:cubicBezTo>
                      <a:cubicBezTo>
                        <a:pt x="9" y="15"/>
                        <a:pt x="9" y="15"/>
                        <a:pt x="9" y="15"/>
                      </a:cubicBezTo>
                      <a:cubicBezTo>
                        <a:pt x="8" y="16"/>
                        <a:pt x="8" y="16"/>
                        <a:pt x="8" y="16"/>
                      </a:cubicBezTo>
                      <a:cubicBezTo>
                        <a:pt x="7" y="16"/>
                        <a:pt x="7" y="16"/>
                        <a:pt x="7" y="16"/>
                      </a:cubicBezTo>
                      <a:cubicBezTo>
                        <a:pt x="7" y="15"/>
                        <a:pt x="7" y="15"/>
                        <a:pt x="7" y="15"/>
                      </a:cubicBezTo>
                      <a:cubicBezTo>
                        <a:pt x="6" y="14"/>
                        <a:pt x="6" y="14"/>
                        <a:pt x="6" y="14"/>
                      </a:cubicBezTo>
                      <a:cubicBezTo>
                        <a:pt x="5" y="13"/>
                        <a:pt x="5" y="13"/>
                        <a:pt x="5" y="13"/>
                      </a:cubicBezTo>
                      <a:cubicBezTo>
                        <a:pt x="6" y="12"/>
                        <a:pt x="6" y="12"/>
                        <a:pt x="6" y="12"/>
                      </a:cubicBezTo>
                      <a:cubicBezTo>
                        <a:pt x="6" y="12"/>
                        <a:pt x="6" y="12"/>
                        <a:pt x="6" y="12"/>
                      </a:cubicBezTo>
                      <a:cubicBezTo>
                        <a:pt x="8" y="10"/>
                        <a:pt x="8" y="10"/>
                        <a:pt x="8" y="10"/>
                      </a:cubicBezTo>
                      <a:cubicBezTo>
                        <a:pt x="8" y="9"/>
                        <a:pt x="8" y="9"/>
                        <a:pt x="8" y="9"/>
                      </a:cubicBezTo>
                      <a:cubicBezTo>
                        <a:pt x="8" y="8"/>
                        <a:pt x="8" y="8"/>
                        <a:pt x="8" y="8"/>
                      </a:cubicBezTo>
                      <a:cubicBezTo>
                        <a:pt x="8" y="8"/>
                        <a:pt x="8" y="8"/>
                        <a:pt x="8" y="8"/>
                      </a:cubicBezTo>
                      <a:cubicBezTo>
                        <a:pt x="8" y="7"/>
                        <a:pt x="8" y="7"/>
                        <a:pt x="8" y="7"/>
                      </a:cubicBezTo>
                      <a:cubicBezTo>
                        <a:pt x="7" y="7"/>
                        <a:pt x="7" y="7"/>
                        <a:pt x="7" y="7"/>
                      </a:cubicBezTo>
                      <a:cubicBezTo>
                        <a:pt x="7" y="6"/>
                        <a:pt x="7" y="6"/>
                        <a:pt x="7" y="6"/>
                      </a:cubicBezTo>
                      <a:cubicBezTo>
                        <a:pt x="7" y="5"/>
                        <a:pt x="7" y="5"/>
                        <a:pt x="7" y="5"/>
                      </a:cubicBezTo>
                      <a:cubicBezTo>
                        <a:pt x="8" y="5"/>
                        <a:pt x="8" y="5"/>
                        <a:pt x="8" y="5"/>
                      </a:cubicBezTo>
                      <a:cubicBezTo>
                        <a:pt x="9" y="5"/>
                        <a:pt x="9" y="5"/>
                        <a:pt x="9" y="5"/>
                      </a:cubicBezTo>
                      <a:cubicBezTo>
                        <a:pt x="10" y="4"/>
                        <a:pt x="10" y="4"/>
                        <a:pt x="10" y="4"/>
                      </a:cubicBezTo>
                      <a:cubicBezTo>
                        <a:pt x="9" y="4"/>
                        <a:pt x="9" y="4"/>
                        <a:pt x="9" y="4"/>
                      </a:cubicBezTo>
                      <a:cubicBezTo>
                        <a:pt x="9" y="4"/>
                        <a:pt x="9" y="4"/>
                        <a:pt x="9" y="4"/>
                      </a:cubicBezTo>
                      <a:cubicBezTo>
                        <a:pt x="7" y="5"/>
                        <a:pt x="7" y="5"/>
                        <a:pt x="7" y="5"/>
                      </a:cubicBezTo>
                      <a:cubicBezTo>
                        <a:pt x="5" y="7"/>
                        <a:pt x="5" y="7"/>
                        <a:pt x="5" y="7"/>
                      </a:cubicBezTo>
                      <a:cubicBezTo>
                        <a:pt x="5" y="7"/>
                        <a:pt x="5" y="7"/>
                        <a:pt x="5" y="7"/>
                      </a:cubicBezTo>
                      <a:cubicBezTo>
                        <a:pt x="4" y="7"/>
                        <a:pt x="4" y="7"/>
                        <a:pt x="4" y="7"/>
                      </a:cubicBezTo>
                      <a:cubicBezTo>
                        <a:pt x="3" y="8"/>
                        <a:pt x="3" y="8"/>
                        <a:pt x="3" y="8"/>
                      </a:cubicBezTo>
                      <a:cubicBezTo>
                        <a:pt x="3" y="9"/>
                        <a:pt x="3" y="9"/>
                        <a:pt x="3" y="9"/>
                      </a:cubicBezTo>
                      <a:cubicBezTo>
                        <a:pt x="1" y="11"/>
                        <a:pt x="1" y="11"/>
                        <a:pt x="1" y="11"/>
                      </a:cubicBezTo>
                      <a:cubicBezTo>
                        <a:pt x="1" y="12"/>
                        <a:pt x="1" y="12"/>
                        <a:pt x="1" y="12"/>
                      </a:cubicBezTo>
                      <a:cubicBezTo>
                        <a:pt x="1" y="12"/>
                        <a:pt x="1" y="12"/>
                        <a:pt x="1" y="12"/>
                      </a:cubicBezTo>
                      <a:cubicBezTo>
                        <a:pt x="1" y="14"/>
                        <a:pt x="1" y="14"/>
                        <a:pt x="1" y="14"/>
                      </a:cubicBezTo>
                      <a:cubicBezTo>
                        <a:pt x="0" y="15"/>
                        <a:pt x="0" y="15"/>
                        <a:pt x="0" y="15"/>
                      </a:cubicBezTo>
                      <a:cubicBezTo>
                        <a:pt x="0" y="16"/>
                        <a:pt x="0" y="16"/>
                        <a:pt x="0" y="16"/>
                      </a:cubicBezTo>
                      <a:cubicBezTo>
                        <a:pt x="1" y="16"/>
                        <a:pt x="1" y="16"/>
                        <a:pt x="1" y="16"/>
                      </a:cubicBezTo>
                      <a:cubicBezTo>
                        <a:pt x="2" y="16"/>
                        <a:pt x="2" y="16"/>
                        <a:pt x="2" y="16"/>
                      </a:cubicBezTo>
                      <a:cubicBezTo>
                        <a:pt x="3" y="19"/>
                        <a:pt x="3" y="19"/>
                        <a:pt x="3" y="19"/>
                      </a:cubicBezTo>
                      <a:cubicBezTo>
                        <a:pt x="4" y="20"/>
                        <a:pt x="4" y="20"/>
                        <a:pt x="4" y="20"/>
                      </a:cubicBezTo>
                      <a:cubicBezTo>
                        <a:pt x="5" y="21"/>
                        <a:pt x="5" y="21"/>
                        <a:pt x="5" y="21"/>
                      </a:cubicBezTo>
                      <a:cubicBezTo>
                        <a:pt x="4" y="22"/>
                        <a:pt x="4" y="22"/>
                        <a:pt x="4" y="22"/>
                      </a:cubicBezTo>
                      <a:cubicBezTo>
                        <a:pt x="4" y="22"/>
                        <a:pt x="4" y="22"/>
                        <a:pt x="4" y="22"/>
                      </a:cubicBezTo>
                      <a:cubicBezTo>
                        <a:pt x="4" y="23"/>
                        <a:pt x="4" y="23"/>
                        <a:pt x="4" y="23"/>
                      </a:cubicBezTo>
                      <a:cubicBezTo>
                        <a:pt x="4" y="23"/>
                        <a:pt x="4" y="23"/>
                        <a:pt x="4" y="23"/>
                      </a:cubicBezTo>
                      <a:cubicBezTo>
                        <a:pt x="5" y="24"/>
                        <a:pt x="5" y="24"/>
                        <a:pt x="5" y="24"/>
                      </a:cubicBezTo>
                      <a:cubicBezTo>
                        <a:pt x="6" y="25"/>
                        <a:pt x="6" y="25"/>
                        <a:pt x="6" y="25"/>
                      </a:cubicBezTo>
                      <a:cubicBezTo>
                        <a:pt x="7" y="25"/>
                        <a:pt x="7" y="25"/>
                        <a:pt x="7" y="25"/>
                      </a:cubicBezTo>
                      <a:cubicBezTo>
                        <a:pt x="8" y="25"/>
                        <a:pt x="8" y="25"/>
                        <a:pt x="8" y="25"/>
                      </a:cubicBezTo>
                      <a:cubicBezTo>
                        <a:pt x="9" y="25"/>
                        <a:pt x="9" y="25"/>
                        <a:pt x="9" y="25"/>
                      </a:cubicBezTo>
                      <a:cubicBezTo>
                        <a:pt x="10" y="25"/>
                        <a:pt x="10" y="25"/>
                        <a:pt x="10" y="25"/>
                      </a:cubicBezTo>
                      <a:cubicBezTo>
                        <a:pt x="11" y="25"/>
                        <a:pt x="11" y="25"/>
                        <a:pt x="11" y="25"/>
                      </a:cubicBezTo>
                      <a:cubicBezTo>
                        <a:pt x="12" y="25"/>
                        <a:pt x="12" y="25"/>
                        <a:pt x="12" y="25"/>
                      </a:cubicBezTo>
                      <a:cubicBezTo>
                        <a:pt x="13" y="25"/>
                        <a:pt x="13" y="25"/>
                        <a:pt x="13" y="25"/>
                      </a:cubicBezTo>
                      <a:cubicBezTo>
                        <a:pt x="15" y="25"/>
                        <a:pt x="15" y="25"/>
                        <a:pt x="15" y="25"/>
                      </a:cubicBezTo>
                      <a:cubicBezTo>
                        <a:pt x="15" y="25"/>
                        <a:pt x="15" y="25"/>
                        <a:pt x="15" y="25"/>
                      </a:cubicBezTo>
                      <a:cubicBezTo>
                        <a:pt x="19" y="29"/>
                        <a:pt x="19" y="29"/>
                        <a:pt x="19" y="29"/>
                      </a:cubicBezTo>
                      <a:cubicBezTo>
                        <a:pt x="20" y="28"/>
                        <a:pt x="20" y="28"/>
                        <a:pt x="20" y="28"/>
                      </a:cubicBezTo>
                      <a:cubicBezTo>
                        <a:pt x="21" y="29"/>
                        <a:pt x="21" y="29"/>
                        <a:pt x="21" y="29"/>
                      </a:cubicBezTo>
                      <a:cubicBezTo>
                        <a:pt x="21" y="28"/>
                        <a:pt x="21" y="28"/>
                        <a:pt x="21" y="28"/>
                      </a:cubicBezTo>
                      <a:cubicBezTo>
                        <a:pt x="22" y="29"/>
                        <a:pt x="22" y="29"/>
                        <a:pt x="22" y="29"/>
                      </a:cubicBezTo>
                      <a:cubicBezTo>
                        <a:pt x="23" y="29"/>
                        <a:pt x="23" y="29"/>
                        <a:pt x="23" y="29"/>
                      </a:cubicBezTo>
                      <a:cubicBezTo>
                        <a:pt x="24" y="29"/>
                        <a:pt x="24" y="29"/>
                        <a:pt x="24" y="29"/>
                      </a:cubicBezTo>
                      <a:cubicBezTo>
                        <a:pt x="24" y="29"/>
                        <a:pt x="24" y="29"/>
                        <a:pt x="24" y="29"/>
                      </a:cubicBezTo>
                      <a:cubicBezTo>
                        <a:pt x="26" y="29"/>
                        <a:pt x="26" y="29"/>
                        <a:pt x="26" y="29"/>
                      </a:cubicBezTo>
                      <a:cubicBezTo>
                        <a:pt x="26" y="28"/>
                        <a:pt x="26" y="28"/>
                        <a:pt x="26" y="28"/>
                      </a:cubicBezTo>
                      <a:cubicBezTo>
                        <a:pt x="27" y="28"/>
                        <a:pt x="27" y="28"/>
                        <a:pt x="27" y="28"/>
                      </a:cubicBezTo>
                      <a:cubicBezTo>
                        <a:pt x="28" y="29"/>
                        <a:pt x="28" y="29"/>
                        <a:pt x="28" y="29"/>
                      </a:cubicBezTo>
                      <a:cubicBezTo>
                        <a:pt x="28" y="30"/>
                        <a:pt x="28" y="30"/>
                        <a:pt x="28" y="30"/>
                      </a:cubicBezTo>
                      <a:cubicBezTo>
                        <a:pt x="28" y="31"/>
                        <a:pt x="28" y="31"/>
                        <a:pt x="28" y="31"/>
                      </a:cubicBezTo>
                      <a:cubicBezTo>
                        <a:pt x="28" y="32"/>
                        <a:pt x="28" y="32"/>
                        <a:pt x="28" y="32"/>
                      </a:cubicBezTo>
                      <a:cubicBezTo>
                        <a:pt x="27" y="32"/>
                        <a:pt x="27" y="32"/>
                        <a:pt x="27" y="32"/>
                      </a:cubicBezTo>
                      <a:cubicBezTo>
                        <a:pt x="26" y="33"/>
                        <a:pt x="26" y="33"/>
                        <a:pt x="26" y="33"/>
                      </a:cubicBezTo>
                      <a:cubicBezTo>
                        <a:pt x="26" y="33"/>
                        <a:pt x="26" y="33"/>
                        <a:pt x="26" y="33"/>
                      </a:cubicBezTo>
                      <a:cubicBezTo>
                        <a:pt x="26" y="35"/>
                        <a:pt x="26" y="35"/>
                        <a:pt x="26" y="35"/>
                      </a:cubicBezTo>
                      <a:cubicBezTo>
                        <a:pt x="26" y="35"/>
                        <a:pt x="26" y="35"/>
                        <a:pt x="26" y="35"/>
                      </a:cubicBezTo>
                      <a:cubicBezTo>
                        <a:pt x="26" y="36"/>
                        <a:pt x="26" y="36"/>
                        <a:pt x="26" y="36"/>
                      </a:cubicBezTo>
                      <a:cubicBezTo>
                        <a:pt x="26" y="38"/>
                        <a:pt x="26" y="38"/>
                        <a:pt x="26" y="38"/>
                      </a:cubicBezTo>
                      <a:cubicBezTo>
                        <a:pt x="26" y="39"/>
                        <a:pt x="26" y="39"/>
                        <a:pt x="26" y="39"/>
                      </a:cubicBezTo>
                      <a:cubicBezTo>
                        <a:pt x="26" y="39"/>
                        <a:pt x="26" y="39"/>
                        <a:pt x="26" y="39"/>
                      </a:cubicBezTo>
                      <a:cubicBezTo>
                        <a:pt x="27" y="41"/>
                        <a:pt x="27" y="41"/>
                        <a:pt x="27" y="41"/>
                      </a:cubicBezTo>
                      <a:cubicBezTo>
                        <a:pt x="26" y="44"/>
                        <a:pt x="26" y="44"/>
                        <a:pt x="26" y="44"/>
                      </a:cubicBezTo>
                      <a:cubicBezTo>
                        <a:pt x="26" y="45"/>
                        <a:pt x="26" y="45"/>
                        <a:pt x="26" y="45"/>
                      </a:cubicBezTo>
                      <a:cubicBezTo>
                        <a:pt x="26" y="45"/>
                        <a:pt x="26" y="45"/>
                        <a:pt x="26" y="45"/>
                      </a:cubicBezTo>
                      <a:cubicBezTo>
                        <a:pt x="27" y="44"/>
                        <a:pt x="27" y="44"/>
                        <a:pt x="27" y="44"/>
                      </a:cubicBezTo>
                      <a:cubicBezTo>
                        <a:pt x="27" y="45"/>
                        <a:pt x="27" y="45"/>
                        <a:pt x="27" y="45"/>
                      </a:cubicBezTo>
                      <a:cubicBezTo>
                        <a:pt x="27" y="45"/>
                        <a:pt x="27" y="45"/>
                        <a:pt x="27" y="45"/>
                      </a:cubicBezTo>
                      <a:cubicBezTo>
                        <a:pt x="28" y="45"/>
                        <a:pt x="28" y="45"/>
                        <a:pt x="28" y="45"/>
                      </a:cubicBezTo>
                      <a:cubicBezTo>
                        <a:pt x="28" y="46"/>
                        <a:pt x="28" y="46"/>
                        <a:pt x="28" y="46"/>
                      </a:cubicBezTo>
                      <a:cubicBezTo>
                        <a:pt x="28" y="47"/>
                        <a:pt x="28" y="47"/>
                        <a:pt x="28" y="47"/>
                      </a:cubicBezTo>
                      <a:cubicBezTo>
                        <a:pt x="28" y="48"/>
                        <a:pt x="28" y="48"/>
                        <a:pt x="28" y="48"/>
                      </a:cubicBezTo>
                      <a:cubicBezTo>
                        <a:pt x="29" y="50"/>
                        <a:pt x="29" y="50"/>
                        <a:pt x="29" y="50"/>
                      </a:cubicBezTo>
                      <a:cubicBezTo>
                        <a:pt x="29" y="51"/>
                        <a:pt x="29" y="51"/>
                        <a:pt x="29" y="51"/>
                      </a:cubicBezTo>
                      <a:cubicBezTo>
                        <a:pt x="29" y="51"/>
                        <a:pt x="29" y="51"/>
                        <a:pt x="29" y="51"/>
                      </a:cubicBezTo>
                      <a:close/>
                      <a:moveTo>
                        <a:pt x="23" y="2"/>
                      </a:moveTo>
                      <a:cubicBezTo>
                        <a:pt x="24" y="2"/>
                        <a:pt x="24" y="2"/>
                        <a:pt x="24" y="2"/>
                      </a:cubicBezTo>
                      <a:cubicBezTo>
                        <a:pt x="25" y="2"/>
                        <a:pt x="25" y="2"/>
                        <a:pt x="25" y="2"/>
                      </a:cubicBezTo>
                      <a:cubicBezTo>
                        <a:pt x="25" y="3"/>
                        <a:pt x="25" y="3"/>
                        <a:pt x="25" y="3"/>
                      </a:cubicBezTo>
                      <a:cubicBezTo>
                        <a:pt x="24" y="2"/>
                        <a:pt x="24" y="2"/>
                        <a:pt x="24" y="2"/>
                      </a:cubicBezTo>
                      <a:cubicBezTo>
                        <a:pt x="23" y="2"/>
                        <a:pt x="23" y="2"/>
                        <a:pt x="23" y="2"/>
                      </a:cubicBezTo>
                      <a:cubicBezTo>
                        <a:pt x="23" y="2"/>
                        <a:pt x="23" y="2"/>
                        <a:pt x="23" y="2"/>
                      </a:cubicBezTo>
                      <a:close/>
                      <a:moveTo>
                        <a:pt x="20" y="1"/>
                      </a:moveTo>
                      <a:cubicBezTo>
                        <a:pt x="21" y="2"/>
                        <a:pt x="21" y="2"/>
                        <a:pt x="21" y="2"/>
                      </a:cubicBezTo>
                      <a:cubicBezTo>
                        <a:pt x="22" y="2"/>
                        <a:pt x="22" y="2"/>
                        <a:pt x="22" y="2"/>
                      </a:cubicBezTo>
                      <a:cubicBezTo>
                        <a:pt x="21" y="3"/>
                        <a:pt x="21" y="3"/>
                        <a:pt x="21" y="3"/>
                      </a:cubicBezTo>
                      <a:cubicBezTo>
                        <a:pt x="20" y="3"/>
                        <a:pt x="20" y="3"/>
                        <a:pt x="20" y="3"/>
                      </a:cubicBezTo>
                      <a:cubicBezTo>
                        <a:pt x="20" y="2"/>
                        <a:pt x="20" y="2"/>
                        <a:pt x="20" y="2"/>
                      </a:cubicBezTo>
                      <a:cubicBezTo>
                        <a:pt x="20" y="1"/>
                        <a:pt x="20" y="1"/>
                        <a:pt x="20" y="1"/>
                      </a:cubicBezTo>
                      <a:close/>
                      <a:moveTo>
                        <a:pt x="15" y="0"/>
                      </a:moveTo>
                      <a:cubicBezTo>
                        <a:pt x="16" y="1"/>
                        <a:pt x="16" y="1"/>
                        <a:pt x="16" y="1"/>
                      </a:cubicBezTo>
                      <a:cubicBezTo>
                        <a:pt x="17" y="1"/>
                        <a:pt x="17" y="1"/>
                        <a:pt x="17" y="1"/>
                      </a:cubicBezTo>
                      <a:cubicBezTo>
                        <a:pt x="16" y="0"/>
                        <a:pt x="16" y="0"/>
                        <a:pt x="16" y="0"/>
                      </a:cubicBezTo>
                      <a:cubicBezTo>
                        <a:pt x="15" y="0"/>
                        <a:pt x="15" y="0"/>
                        <a:pt x="15" y="0"/>
                      </a:cubicBezTo>
                      <a:close/>
                      <a:moveTo>
                        <a:pt x="42" y="8"/>
                      </a:moveTo>
                      <a:cubicBezTo>
                        <a:pt x="43" y="7"/>
                        <a:pt x="43" y="7"/>
                        <a:pt x="43" y="7"/>
                      </a:cubicBezTo>
                      <a:cubicBezTo>
                        <a:pt x="44" y="8"/>
                        <a:pt x="44" y="8"/>
                        <a:pt x="44" y="8"/>
                      </a:cubicBezTo>
                      <a:cubicBezTo>
                        <a:pt x="45" y="7"/>
                        <a:pt x="45" y="7"/>
                        <a:pt x="45" y="7"/>
                      </a:cubicBezTo>
                      <a:cubicBezTo>
                        <a:pt x="46" y="7"/>
                        <a:pt x="46" y="7"/>
                        <a:pt x="46" y="7"/>
                      </a:cubicBezTo>
                      <a:cubicBezTo>
                        <a:pt x="45" y="8"/>
                        <a:pt x="45" y="8"/>
                        <a:pt x="45" y="8"/>
                      </a:cubicBezTo>
                      <a:cubicBezTo>
                        <a:pt x="44" y="8"/>
                        <a:pt x="44" y="8"/>
                        <a:pt x="44" y="8"/>
                      </a:cubicBezTo>
                      <a:cubicBezTo>
                        <a:pt x="43" y="8"/>
                        <a:pt x="43" y="8"/>
                        <a:pt x="43" y="8"/>
                      </a:cubicBezTo>
                      <a:cubicBezTo>
                        <a:pt x="43" y="8"/>
                        <a:pt x="42" y="8"/>
                        <a:pt x="42" y="8"/>
                      </a:cubicBez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5" name="Freeform 190">
                  <a:extLst>
                    <a:ext uri="{FF2B5EF4-FFF2-40B4-BE49-F238E27FC236}">
                      <a16:creationId xmlns:a16="http://schemas.microsoft.com/office/drawing/2014/main" id="{B821D65B-4EF0-209E-243F-5DFD65607238}"/>
                    </a:ext>
                  </a:extLst>
                </p:cNvPr>
                <p:cNvSpPr>
                  <a:spLocks/>
                </p:cNvSpPr>
                <p:nvPr/>
              </p:nvSpPr>
              <p:spPr bwMode="auto">
                <a:xfrm>
                  <a:off x="1769" y="2472"/>
                  <a:ext cx="135" cy="175"/>
                </a:xfrm>
                <a:custGeom>
                  <a:avLst/>
                  <a:gdLst>
                    <a:gd name="T0" fmla="*/ 111 w 135"/>
                    <a:gd name="T1" fmla="*/ 142 h 175"/>
                    <a:gd name="T2" fmla="*/ 109 w 135"/>
                    <a:gd name="T3" fmla="*/ 125 h 175"/>
                    <a:gd name="T4" fmla="*/ 111 w 135"/>
                    <a:gd name="T5" fmla="*/ 121 h 175"/>
                    <a:gd name="T6" fmla="*/ 121 w 135"/>
                    <a:gd name="T7" fmla="*/ 111 h 175"/>
                    <a:gd name="T8" fmla="*/ 130 w 135"/>
                    <a:gd name="T9" fmla="*/ 109 h 175"/>
                    <a:gd name="T10" fmla="*/ 135 w 135"/>
                    <a:gd name="T11" fmla="*/ 118 h 175"/>
                    <a:gd name="T12" fmla="*/ 133 w 135"/>
                    <a:gd name="T13" fmla="*/ 104 h 175"/>
                    <a:gd name="T14" fmla="*/ 128 w 135"/>
                    <a:gd name="T15" fmla="*/ 104 h 175"/>
                    <a:gd name="T16" fmla="*/ 128 w 135"/>
                    <a:gd name="T17" fmla="*/ 87 h 175"/>
                    <a:gd name="T18" fmla="*/ 128 w 135"/>
                    <a:gd name="T19" fmla="*/ 76 h 175"/>
                    <a:gd name="T20" fmla="*/ 133 w 135"/>
                    <a:gd name="T21" fmla="*/ 66 h 175"/>
                    <a:gd name="T22" fmla="*/ 123 w 135"/>
                    <a:gd name="T23" fmla="*/ 66 h 175"/>
                    <a:gd name="T24" fmla="*/ 114 w 135"/>
                    <a:gd name="T25" fmla="*/ 64 h 175"/>
                    <a:gd name="T26" fmla="*/ 95 w 135"/>
                    <a:gd name="T27" fmla="*/ 57 h 175"/>
                    <a:gd name="T28" fmla="*/ 83 w 135"/>
                    <a:gd name="T29" fmla="*/ 57 h 175"/>
                    <a:gd name="T30" fmla="*/ 76 w 135"/>
                    <a:gd name="T31" fmla="*/ 49 h 175"/>
                    <a:gd name="T32" fmla="*/ 71 w 135"/>
                    <a:gd name="T33" fmla="*/ 35 h 175"/>
                    <a:gd name="T34" fmla="*/ 69 w 135"/>
                    <a:gd name="T35" fmla="*/ 26 h 175"/>
                    <a:gd name="T36" fmla="*/ 76 w 135"/>
                    <a:gd name="T37" fmla="*/ 14 h 175"/>
                    <a:gd name="T38" fmla="*/ 88 w 135"/>
                    <a:gd name="T39" fmla="*/ 7 h 175"/>
                    <a:gd name="T40" fmla="*/ 90 w 135"/>
                    <a:gd name="T41" fmla="*/ 2 h 175"/>
                    <a:gd name="T42" fmla="*/ 83 w 135"/>
                    <a:gd name="T43" fmla="*/ 2 h 175"/>
                    <a:gd name="T44" fmla="*/ 78 w 135"/>
                    <a:gd name="T45" fmla="*/ 4 h 175"/>
                    <a:gd name="T46" fmla="*/ 66 w 135"/>
                    <a:gd name="T47" fmla="*/ 12 h 175"/>
                    <a:gd name="T48" fmla="*/ 57 w 135"/>
                    <a:gd name="T49" fmla="*/ 16 h 175"/>
                    <a:gd name="T50" fmla="*/ 55 w 135"/>
                    <a:gd name="T51" fmla="*/ 16 h 175"/>
                    <a:gd name="T52" fmla="*/ 45 w 135"/>
                    <a:gd name="T53" fmla="*/ 16 h 175"/>
                    <a:gd name="T54" fmla="*/ 38 w 135"/>
                    <a:gd name="T55" fmla="*/ 26 h 175"/>
                    <a:gd name="T56" fmla="*/ 36 w 135"/>
                    <a:gd name="T57" fmla="*/ 30 h 175"/>
                    <a:gd name="T58" fmla="*/ 26 w 135"/>
                    <a:gd name="T59" fmla="*/ 38 h 175"/>
                    <a:gd name="T60" fmla="*/ 26 w 135"/>
                    <a:gd name="T61" fmla="*/ 47 h 175"/>
                    <a:gd name="T62" fmla="*/ 21 w 135"/>
                    <a:gd name="T63" fmla="*/ 42 h 175"/>
                    <a:gd name="T64" fmla="*/ 19 w 135"/>
                    <a:gd name="T65" fmla="*/ 45 h 175"/>
                    <a:gd name="T66" fmla="*/ 14 w 135"/>
                    <a:gd name="T67" fmla="*/ 54 h 175"/>
                    <a:gd name="T68" fmla="*/ 17 w 135"/>
                    <a:gd name="T69" fmla="*/ 61 h 175"/>
                    <a:gd name="T70" fmla="*/ 19 w 135"/>
                    <a:gd name="T71" fmla="*/ 66 h 175"/>
                    <a:gd name="T72" fmla="*/ 19 w 135"/>
                    <a:gd name="T73" fmla="*/ 73 h 175"/>
                    <a:gd name="T74" fmla="*/ 17 w 135"/>
                    <a:gd name="T75" fmla="*/ 87 h 175"/>
                    <a:gd name="T76" fmla="*/ 21 w 135"/>
                    <a:gd name="T77" fmla="*/ 90 h 175"/>
                    <a:gd name="T78" fmla="*/ 14 w 135"/>
                    <a:gd name="T79" fmla="*/ 102 h 175"/>
                    <a:gd name="T80" fmla="*/ 0 w 135"/>
                    <a:gd name="T81" fmla="*/ 113 h 175"/>
                    <a:gd name="T82" fmla="*/ 14 w 135"/>
                    <a:gd name="T83" fmla="*/ 123 h 175"/>
                    <a:gd name="T84" fmla="*/ 24 w 135"/>
                    <a:gd name="T85" fmla="*/ 130 h 175"/>
                    <a:gd name="T86" fmla="*/ 33 w 135"/>
                    <a:gd name="T87" fmla="*/ 128 h 175"/>
                    <a:gd name="T88" fmla="*/ 40 w 135"/>
                    <a:gd name="T89" fmla="*/ 132 h 175"/>
                    <a:gd name="T90" fmla="*/ 50 w 135"/>
                    <a:gd name="T91" fmla="*/ 135 h 175"/>
                    <a:gd name="T92" fmla="*/ 57 w 135"/>
                    <a:gd name="T93" fmla="*/ 144 h 175"/>
                    <a:gd name="T94" fmla="*/ 66 w 135"/>
                    <a:gd name="T95" fmla="*/ 151 h 175"/>
                    <a:gd name="T96" fmla="*/ 71 w 135"/>
                    <a:gd name="T97" fmla="*/ 156 h 175"/>
                    <a:gd name="T98" fmla="*/ 85 w 135"/>
                    <a:gd name="T99" fmla="*/ 156 h 175"/>
                    <a:gd name="T100" fmla="*/ 95 w 135"/>
                    <a:gd name="T101" fmla="*/ 156 h 175"/>
                    <a:gd name="T102" fmla="*/ 95 w 135"/>
                    <a:gd name="T103" fmla="*/ 170 h 175"/>
                    <a:gd name="T104" fmla="*/ 102 w 135"/>
                    <a:gd name="T105" fmla="*/ 17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5" h="175">
                      <a:moveTo>
                        <a:pt x="102" y="175"/>
                      </a:moveTo>
                      <a:lnTo>
                        <a:pt x="104" y="170"/>
                      </a:lnTo>
                      <a:lnTo>
                        <a:pt x="111" y="149"/>
                      </a:lnTo>
                      <a:lnTo>
                        <a:pt x="111" y="147"/>
                      </a:lnTo>
                      <a:lnTo>
                        <a:pt x="111" y="142"/>
                      </a:lnTo>
                      <a:lnTo>
                        <a:pt x="109" y="140"/>
                      </a:lnTo>
                      <a:lnTo>
                        <a:pt x="104" y="135"/>
                      </a:lnTo>
                      <a:lnTo>
                        <a:pt x="102" y="132"/>
                      </a:lnTo>
                      <a:lnTo>
                        <a:pt x="102" y="128"/>
                      </a:lnTo>
                      <a:lnTo>
                        <a:pt x="109" y="125"/>
                      </a:lnTo>
                      <a:lnTo>
                        <a:pt x="111" y="128"/>
                      </a:lnTo>
                      <a:lnTo>
                        <a:pt x="111" y="125"/>
                      </a:lnTo>
                      <a:lnTo>
                        <a:pt x="111" y="123"/>
                      </a:lnTo>
                      <a:lnTo>
                        <a:pt x="111" y="123"/>
                      </a:lnTo>
                      <a:lnTo>
                        <a:pt x="111" y="121"/>
                      </a:lnTo>
                      <a:lnTo>
                        <a:pt x="107" y="118"/>
                      </a:lnTo>
                      <a:lnTo>
                        <a:pt x="104" y="116"/>
                      </a:lnTo>
                      <a:lnTo>
                        <a:pt x="107" y="113"/>
                      </a:lnTo>
                      <a:lnTo>
                        <a:pt x="118" y="113"/>
                      </a:lnTo>
                      <a:lnTo>
                        <a:pt x="121" y="111"/>
                      </a:lnTo>
                      <a:lnTo>
                        <a:pt x="123" y="111"/>
                      </a:lnTo>
                      <a:lnTo>
                        <a:pt x="123" y="113"/>
                      </a:lnTo>
                      <a:lnTo>
                        <a:pt x="126" y="113"/>
                      </a:lnTo>
                      <a:lnTo>
                        <a:pt x="128" y="111"/>
                      </a:lnTo>
                      <a:lnTo>
                        <a:pt x="130" y="109"/>
                      </a:lnTo>
                      <a:lnTo>
                        <a:pt x="130" y="111"/>
                      </a:lnTo>
                      <a:lnTo>
                        <a:pt x="133" y="113"/>
                      </a:lnTo>
                      <a:lnTo>
                        <a:pt x="133" y="116"/>
                      </a:lnTo>
                      <a:lnTo>
                        <a:pt x="133" y="118"/>
                      </a:lnTo>
                      <a:lnTo>
                        <a:pt x="135" y="118"/>
                      </a:lnTo>
                      <a:lnTo>
                        <a:pt x="135" y="116"/>
                      </a:lnTo>
                      <a:lnTo>
                        <a:pt x="133" y="111"/>
                      </a:lnTo>
                      <a:lnTo>
                        <a:pt x="133" y="109"/>
                      </a:lnTo>
                      <a:lnTo>
                        <a:pt x="133" y="106"/>
                      </a:lnTo>
                      <a:lnTo>
                        <a:pt x="133" y="104"/>
                      </a:lnTo>
                      <a:lnTo>
                        <a:pt x="130" y="104"/>
                      </a:lnTo>
                      <a:lnTo>
                        <a:pt x="130" y="104"/>
                      </a:lnTo>
                      <a:lnTo>
                        <a:pt x="130" y="102"/>
                      </a:lnTo>
                      <a:lnTo>
                        <a:pt x="128" y="104"/>
                      </a:lnTo>
                      <a:lnTo>
                        <a:pt x="128" y="104"/>
                      </a:lnTo>
                      <a:lnTo>
                        <a:pt x="128" y="102"/>
                      </a:lnTo>
                      <a:lnTo>
                        <a:pt x="130" y="94"/>
                      </a:lnTo>
                      <a:lnTo>
                        <a:pt x="128" y="90"/>
                      </a:lnTo>
                      <a:lnTo>
                        <a:pt x="128" y="90"/>
                      </a:lnTo>
                      <a:lnTo>
                        <a:pt x="128" y="87"/>
                      </a:lnTo>
                      <a:lnTo>
                        <a:pt x="128" y="83"/>
                      </a:lnTo>
                      <a:lnTo>
                        <a:pt x="128" y="80"/>
                      </a:lnTo>
                      <a:lnTo>
                        <a:pt x="128" y="80"/>
                      </a:lnTo>
                      <a:lnTo>
                        <a:pt x="128" y="76"/>
                      </a:lnTo>
                      <a:lnTo>
                        <a:pt x="128" y="76"/>
                      </a:lnTo>
                      <a:lnTo>
                        <a:pt x="130" y="73"/>
                      </a:lnTo>
                      <a:lnTo>
                        <a:pt x="133" y="73"/>
                      </a:lnTo>
                      <a:lnTo>
                        <a:pt x="133" y="71"/>
                      </a:lnTo>
                      <a:lnTo>
                        <a:pt x="133" y="68"/>
                      </a:lnTo>
                      <a:lnTo>
                        <a:pt x="133" y="66"/>
                      </a:lnTo>
                      <a:lnTo>
                        <a:pt x="130" y="64"/>
                      </a:lnTo>
                      <a:lnTo>
                        <a:pt x="128" y="64"/>
                      </a:lnTo>
                      <a:lnTo>
                        <a:pt x="128" y="66"/>
                      </a:lnTo>
                      <a:lnTo>
                        <a:pt x="123" y="66"/>
                      </a:lnTo>
                      <a:lnTo>
                        <a:pt x="123" y="66"/>
                      </a:lnTo>
                      <a:lnTo>
                        <a:pt x="121" y="66"/>
                      </a:lnTo>
                      <a:lnTo>
                        <a:pt x="118" y="66"/>
                      </a:lnTo>
                      <a:lnTo>
                        <a:pt x="116" y="64"/>
                      </a:lnTo>
                      <a:lnTo>
                        <a:pt x="116" y="66"/>
                      </a:lnTo>
                      <a:lnTo>
                        <a:pt x="114" y="64"/>
                      </a:lnTo>
                      <a:lnTo>
                        <a:pt x="111" y="66"/>
                      </a:lnTo>
                      <a:lnTo>
                        <a:pt x="102" y="57"/>
                      </a:lnTo>
                      <a:lnTo>
                        <a:pt x="102" y="57"/>
                      </a:lnTo>
                      <a:lnTo>
                        <a:pt x="97" y="57"/>
                      </a:lnTo>
                      <a:lnTo>
                        <a:pt x="95" y="57"/>
                      </a:lnTo>
                      <a:lnTo>
                        <a:pt x="92" y="57"/>
                      </a:lnTo>
                      <a:lnTo>
                        <a:pt x="90" y="57"/>
                      </a:lnTo>
                      <a:lnTo>
                        <a:pt x="88" y="57"/>
                      </a:lnTo>
                      <a:lnTo>
                        <a:pt x="85" y="57"/>
                      </a:lnTo>
                      <a:lnTo>
                        <a:pt x="83" y="57"/>
                      </a:lnTo>
                      <a:lnTo>
                        <a:pt x="81" y="57"/>
                      </a:lnTo>
                      <a:lnTo>
                        <a:pt x="78" y="54"/>
                      </a:lnTo>
                      <a:lnTo>
                        <a:pt x="76" y="52"/>
                      </a:lnTo>
                      <a:lnTo>
                        <a:pt x="76" y="52"/>
                      </a:lnTo>
                      <a:lnTo>
                        <a:pt x="76" y="49"/>
                      </a:lnTo>
                      <a:lnTo>
                        <a:pt x="76" y="49"/>
                      </a:lnTo>
                      <a:lnTo>
                        <a:pt x="78" y="47"/>
                      </a:lnTo>
                      <a:lnTo>
                        <a:pt x="76" y="45"/>
                      </a:lnTo>
                      <a:lnTo>
                        <a:pt x="74" y="42"/>
                      </a:lnTo>
                      <a:lnTo>
                        <a:pt x="71" y="35"/>
                      </a:lnTo>
                      <a:lnTo>
                        <a:pt x="69" y="35"/>
                      </a:lnTo>
                      <a:lnTo>
                        <a:pt x="66" y="35"/>
                      </a:lnTo>
                      <a:lnTo>
                        <a:pt x="66" y="33"/>
                      </a:lnTo>
                      <a:lnTo>
                        <a:pt x="69" y="30"/>
                      </a:lnTo>
                      <a:lnTo>
                        <a:pt x="69" y="26"/>
                      </a:lnTo>
                      <a:lnTo>
                        <a:pt x="69" y="26"/>
                      </a:lnTo>
                      <a:lnTo>
                        <a:pt x="69" y="23"/>
                      </a:lnTo>
                      <a:lnTo>
                        <a:pt x="74" y="19"/>
                      </a:lnTo>
                      <a:lnTo>
                        <a:pt x="74" y="16"/>
                      </a:lnTo>
                      <a:lnTo>
                        <a:pt x="76" y="14"/>
                      </a:lnTo>
                      <a:lnTo>
                        <a:pt x="78" y="14"/>
                      </a:lnTo>
                      <a:lnTo>
                        <a:pt x="78" y="14"/>
                      </a:lnTo>
                      <a:lnTo>
                        <a:pt x="83" y="9"/>
                      </a:lnTo>
                      <a:lnTo>
                        <a:pt x="88" y="7"/>
                      </a:lnTo>
                      <a:lnTo>
                        <a:pt x="88" y="7"/>
                      </a:lnTo>
                      <a:lnTo>
                        <a:pt x="90" y="7"/>
                      </a:lnTo>
                      <a:lnTo>
                        <a:pt x="90" y="4"/>
                      </a:lnTo>
                      <a:lnTo>
                        <a:pt x="92" y="4"/>
                      </a:lnTo>
                      <a:lnTo>
                        <a:pt x="92" y="4"/>
                      </a:lnTo>
                      <a:lnTo>
                        <a:pt x="90" y="2"/>
                      </a:lnTo>
                      <a:lnTo>
                        <a:pt x="88" y="0"/>
                      </a:lnTo>
                      <a:lnTo>
                        <a:pt x="85" y="0"/>
                      </a:lnTo>
                      <a:lnTo>
                        <a:pt x="85" y="0"/>
                      </a:lnTo>
                      <a:lnTo>
                        <a:pt x="85" y="2"/>
                      </a:lnTo>
                      <a:lnTo>
                        <a:pt x="83" y="2"/>
                      </a:lnTo>
                      <a:lnTo>
                        <a:pt x="83" y="2"/>
                      </a:lnTo>
                      <a:lnTo>
                        <a:pt x="81" y="2"/>
                      </a:lnTo>
                      <a:lnTo>
                        <a:pt x="78" y="2"/>
                      </a:lnTo>
                      <a:lnTo>
                        <a:pt x="78" y="4"/>
                      </a:lnTo>
                      <a:lnTo>
                        <a:pt x="78" y="4"/>
                      </a:lnTo>
                      <a:lnTo>
                        <a:pt x="78" y="7"/>
                      </a:lnTo>
                      <a:lnTo>
                        <a:pt x="76" y="7"/>
                      </a:lnTo>
                      <a:lnTo>
                        <a:pt x="71" y="9"/>
                      </a:lnTo>
                      <a:lnTo>
                        <a:pt x="69" y="12"/>
                      </a:lnTo>
                      <a:lnTo>
                        <a:pt x="66" y="12"/>
                      </a:lnTo>
                      <a:lnTo>
                        <a:pt x="62" y="12"/>
                      </a:lnTo>
                      <a:lnTo>
                        <a:pt x="59" y="12"/>
                      </a:lnTo>
                      <a:lnTo>
                        <a:pt x="57" y="12"/>
                      </a:lnTo>
                      <a:lnTo>
                        <a:pt x="57" y="14"/>
                      </a:lnTo>
                      <a:lnTo>
                        <a:pt x="57" y="16"/>
                      </a:lnTo>
                      <a:lnTo>
                        <a:pt x="57" y="16"/>
                      </a:lnTo>
                      <a:lnTo>
                        <a:pt x="55" y="19"/>
                      </a:lnTo>
                      <a:lnTo>
                        <a:pt x="55" y="19"/>
                      </a:lnTo>
                      <a:lnTo>
                        <a:pt x="55" y="16"/>
                      </a:lnTo>
                      <a:lnTo>
                        <a:pt x="55" y="16"/>
                      </a:lnTo>
                      <a:lnTo>
                        <a:pt x="55" y="16"/>
                      </a:lnTo>
                      <a:lnTo>
                        <a:pt x="52" y="14"/>
                      </a:lnTo>
                      <a:lnTo>
                        <a:pt x="50" y="14"/>
                      </a:lnTo>
                      <a:lnTo>
                        <a:pt x="50" y="14"/>
                      </a:lnTo>
                      <a:lnTo>
                        <a:pt x="45" y="16"/>
                      </a:lnTo>
                      <a:lnTo>
                        <a:pt x="45" y="16"/>
                      </a:lnTo>
                      <a:lnTo>
                        <a:pt x="43" y="21"/>
                      </a:lnTo>
                      <a:lnTo>
                        <a:pt x="38" y="26"/>
                      </a:lnTo>
                      <a:lnTo>
                        <a:pt x="38" y="26"/>
                      </a:lnTo>
                      <a:lnTo>
                        <a:pt x="38" y="26"/>
                      </a:lnTo>
                      <a:lnTo>
                        <a:pt x="40" y="28"/>
                      </a:lnTo>
                      <a:lnTo>
                        <a:pt x="40" y="28"/>
                      </a:lnTo>
                      <a:lnTo>
                        <a:pt x="40" y="30"/>
                      </a:lnTo>
                      <a:lnTo>
                        <a:pt x="38" y="30"/>
                      </a:lnTo>
                      <a:lnTo>
                        <a:pt x="36" y="30"/>
                      </a:lnTo>
                      <a:lnTo>
                        <a:pt x="33" y="33"/>
                      </a:lnTo>
                      <a:lnTo>
                        <a:pt x="31" y="35"/>
                      </a:lnTo>
                      <a:lnTo>
                        <a:pt x="31" y="35"/>
                      </a:lnTo>
                      <a:lnTo>
                        <a:pt x="29" y="38"/>
                      </a:lnTo>
                      <a:lnTo>
                        <a:pt x="26" y="38"/>
                      </a:lnTo>
                      <a:lnTo>
                        <a:pt x="24" y="38"/>
                      </a:lnTo>
                      <a:lnTo>
                        <a:pt x="26" y="40"/>
                      </a:lnTo>
                      <a:lnTo>
                        <a:pt x="26" y="42"/>
                      </a:lnTo>
                      <a:lnTo>
                        <a:pt x="26" y="45"/>
                      </a:lnTo>
                      <a:lnTo>
                        <a:pt x="26" y="47"/>
                      </a:lnTo>
                      <a:lnTo>
                        <a:pt x="24" y="47"/>
                      </a:lnTo>
                      <a:lnTo>
                        <a:pt x="24" y="45"/>
                      </a:lnTo>
                      <a:lnTo>
                        <a:pt x="24" y="45"/>
                      </a:lnTo>
                      <a:lnTo>
                        <a:pt x="24" y="45"/>
                      </a:lnTo>
                      <a:lnTo>
                        <a:pt x="21" y="42"/>
                      </a:lnTo>
                      <a:lnTo>
                        <a:pt x="21" y="42"/>
                      </a:lnTo>
                      <a:lnTo>
                        <a:pt x="19" y="40"/>
                      </a:lnTo>
                      <a:lnTo>
                        <a:pt x="19" y="40"/>
                      </a:lnTo>
                      <a:lnTo>
                        <a:pt x="19" y="42"/>
                      </a:lnTo>
                      <a:lnTo>
                        <a:pt x="19" y="45"/>
                      </a:lnTo>
                      <a:lnTo>
                        <a:pt x="19" y="47"/>
                      </a:lnTo>
                      <a:lnTo>
                        <a:pt x="17" y="49"/>
                      </a:lnTo>
                      <a:lnTo>
                        <a:pt x="17" y="52"/>
                      </a:lnTo>
                      <a:lnTo>
                        <a:pt x="14" y="52"/>
                      </a:lnTo>
                      <a:lnTo>
                        <a:pt x="14" y="54"/>
                      </a:lnTo>
                      <a:lnTo>
                        <a:pt x="14" y="54"/>
                      </a:lnTo>
                      <a:lnTo>
                        <a:pt x="14" y="57"/>
                      </a:lnTo>
                      <a:lnTo>
                        <a:pt x="14" y="59"/>
                      </a:lnTo>
                      <a:lnTo>
                        <a:pt x="17" y="61"/>
                      </a:lnTo>
                      <a:lnTo>
                        <a:pt x="17" y="61"/>
                      </a:lnTo>
                      <a:lnTo>
                        <a:pt x="19" y="61"/>
                      </a:lnTo>
                      <a:lnTo>
                        <a:pt x="19" y="61"/>
                      </a:lnTo>
                      <a:lnTo>
                        <a:pt x="19" y="64"/>
                      </a:lnTo>
                      <a:lnTo>
                        <a:pt x="19" y="66"/>
                      </a:lnTo>
                      <a:lnTo>
                        <a:pt x="19" y="66"/>
                      </a:lnTo>
                      <a:lnTo>
                        <a:pt x="19" y="68"/>
                      </a:lnTo>
                      <a:lnTo>
                        <a:pt x="19" y="71"/>
                      </a:lnTo>
                      <a:lnTo>
                        <a:pt x="19" y="71"/>
                      </a:lnTo>
                      <a:lnTo>
                        <a:pt x="17" y="73"/>
                      </a:lnTo>
                      <a:lnTo>
                        <a:pt x="19" y="73"/>
                      </a:lnTo>
                      <a:lnTo>
                        <a:pt x="19" y="76"/>
                      </a:lnTo>
                      <a:lnTo>
                        <a:pt x="19" y="78"/>
                      </a:lnTo>
                      <a:lnTo>
                        <a:pt x="19" y="83"/>
                      </a:lnTo>
                      <a:lnTo>
                        <a:pt x="17" y="85"/>
                      </a:lnTo>
                      <a:lnTo>
                        <a:pt x="17" y="87"/>
                      </a:lnTo>
                      <a:lnTo>
                        <a:pt x="19" y="87"/>
                      </a:lnTo>
                      <a:lnTo>
                        <a:pt x="21" y="87"/>
                      </a:lnTo>
                      <a:lnTo>
                        <a:pt x="21" y="90"/>
                      </a:lnTo>
                      <a:lnTo>
                        <a:pt x="21" y="90"/>
                      </a:lnTo>
                      <a:lnTo>
                        <a:pt x="21" y="90"/>
                      </a:lnTo>
                      <a:lnTo>
                        <a:pt x="24" y="92"/>
                      </a:lnTo>
                      <a:lnTo>
                        <a:pt x="21" y="92"/>
                      </a:lnTo>
                      <a:lnTo>
                        <a:pt x="21" y="94"/>
                      </a:lnTo>
                      <a:lnTo>
                        <a:pt x="17" y="99"/>
                      </a:lnTo>
                      <a:lnTo>
                        <a:pt x="14" y="102"/>
                      </a:lnTo>
                      <a:lnTo>
                        <a:pt x="12" y="104"/>
                      </a:lnTo>
                      <a:lnTo>
                        <a:pt x="7" y="104"/>
                      </a:lnTo>
                      <a:lnTo>
                        <a:pt x="5" y="106"/>
                      </a:lnTo>
                      <a:lnTo>
                        <a:pt x="3" y="111"/>
                      </a:lnTo>
                      <a:lnTo>
                        <a:pt x="0" y="113"/>
                      </a:lnTo>
                      <a:lnTo>
                        <a:pt x="0" y="116"/>
                      </a:lnTo>
                      <a:lnTo>
                        <a:pt x="5" y="118"/>
                      </a:lnTo>
                      <a:lnTo>
                        <a:pt x="7" y="121"/>
                      </a:lnTo>
                      <a:lnTo>
                        <a:pt x="12" y="123"/>
                      </a:lnTo>
                      <a:lnTo>
                        <a:pt x="14" y="123"/>
                      </a:lnTo>
                      <a:lnTo>
                        <a:pt x="17" y="125"/>
                      </a:lnTo>
                      <a:lnTo>
                        <a:pt x="17" y="128"/>
                      </a:lnTo>
                      <a:lnTo>
                        <a:pt x="17" y="128"/>
                      </a:lnTo>
                      <a:lnTo>
                        <a:pt x="21" y="128"/>
                      </a:lnTo>
                      <a:lnTo>
                        <a:pt x="24" y="130"/>
                      </a:lnTo>
                      <a:lnTo>
                        <a:pt x="26" y="130"/>
                      </a:lnTo>
                      <a:lnTo>
                        <a:pt x="29" y="132"/>
                      </a:lnTo>
                      <a:lnTo>
                        <a:pt x="31" y="130"/>
                      </a:lnTo>
                      <a:lnTo>
                        <a:pt x="31" y="128"/>
                      </a:lnTo>
                      <a:lnTo>
                        <a:pt x="33" y="128"/>
                      </a:lnTo>
                      <a:lnTo>
                        <a:pt x="33" y="128"/>
                      </a:lnTo>
                      <a:lnTo>
                        <a:pt x="36" y="128"/>
                      </a:lnTo>
                      <a:lnTo>
                        <a:pt x="38" y="130"/>
                      </a:lnTo>
                      <a:lnTo>
                        <a:pt x="38" y="130"/>
                      </a:lnTo>
                      <a:lnTo>
                        <a:pt x="40" y="132"/>
                      </a:lnTo>
                      <a:lnTo>
                        <a:pt x="40" y="132"/>
                      </a:lnTo>
                      <a:lnTo>
                        <a:pt x="43" y="132"/>
                      </a:lnTo>
                      <a:lnTo>
                        <a:pt x="43" y="132"/>
                      </a:lnTo>
                      <a:lnTo>
                        <a:pt x="47" y="132"/>
                      </a:lnTo>
                      <a:lnTo>
                        <a:pt x="50" y="135"/>
                      </a:lnTo>
                      <a:lnTo>
                        <a:pt x="50" y="135"/>
                      </a:lnTo>
                      <a:lnTo>
                        <a:pt x="52" y="137"/>
                      </a:lnTo>
                      <a:lnTo>
                        <a:pt x="52" y="140"/>
                      </a:lnTo>
                      <a:lnTo>
                        <a:pt x="55" y="144"/>
                      </a:lnTo>
                      <a:lnTo>
                        <a:pt x="57" y="144"/>
                      </a:lnTo>
                      <a:lnTo>
                        <a:pt x="62" y="144"/>
                      </a:lnTo>
                      <a:lnTo>
                        <a:pt x="64" y="147"/>
                      </a:lnTo>
                      <a:lnTo>
                        <a:pt x="64" y="149"/>
                      </a:lnTo>
                      <a:lnTo>
                        <a:pt x="64" y="151"/>
                      </a:lnTo>
                      <a:lnTo>
                        <a:pt x="66" y="151"/>
                      </a:lnTo>
                      <a:lnTo>
                        <a:pt x="69" y="154"/>
                      </a:lnTo>
                      <a:lnTo>
                        <a:pt x="66" y="154"/>
                      </a:lnTo>
                      <a:lnTo>
                        <a:pt x="66" y="156"/>
                      </a:lnTo>
                      <a:lnTo>
                        <a:pt x="69" y="156"/>
                      </a:lnTo>
                      <a:lnTo>
                        <a:pt x="71" y="156"/>
                      </a:lnTo>
                      <a:lnTo>
                        <a:pt x="74" y="156"/>
                      </a:lnTo>
                      <a:lnTo>
                        <a:pt x="76" y="156"/>
                      </a:lnTo>
                      <a:lnTo>
                        <a:pt x="78" y="156"/>
                      </a:lnTo>
                      <a:lnTo>
                        <a:pt x="81" y="154"/>
                      </a:lnTo>
                      <a:lnTo>
                        <a:pt x="85" y="156"/>
                      </a:lnTo>
                      <a:lnTo>
                        <a:pt x="88" y="156"/>
                      </a:lnTo>
                      <a:lnTo>
                        <a:pt x="90" y="154"/>
                      </a:lnTo>
                      <a:lnTo>
                        <a:pt x="92" y="154"/>
                      </a:lnTo>
                      <a:lnTo>
                        <a:pt x="95" y="156"/>
                      </a:lnTo>
                      <a:lnTo>
                        <a:pt x="95" y="156"/>
                      </a:lnTo>
                      <a:lnTo>
                        <a:pt x="97" y="156"/>
                      </a:lnTo>
                      <a:lnTo>
                        <a:pt x="100" y="158"/>
                      </a:lnTo>
                      <a:lnTo>
                        <a:pt x="102" y="158"/>
                      </a:lnTo>
                      <a:lnTo>
                        <a:pt x="102" y="158"/>
                      </a:lnTo>
                      <a:lnTo>
                        <a:pt x="95" y="170"/>
                      </a:lnTo>
                      <a:lnTo>
                        <a:pt x="95" y="173"/>
                      </a:lnTo>
                      <a:lnTo>
                        <a:pt x="97" y="170"/>
                      </a:lnTo>
                      <a:lnTo>
                        <a:pt x="100" y="170"/>
                      </a:lnTo>
                      <a:lnTo>
                        <a:pt x="102" y="173"/>
                      </a:lnTo>
                      <a:lnTo>
                        <a:pt x="102" y="175"/>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6" name="Freeform 191">
                  <a:extLst>
                    <a:ext uri="{FF2B5EF4-FFF2-40B4-BE49-F238E27FC236}">
                      <a16:creationId xmlns:a16="http://schemas.microsoft.com/office/drawing/2014/main" id="{4AC119FF-BFA8-1D34-5522-303A987EB927}"/>
                    </a:ext>
                  </a:extLst>
                </p:cNvPr>
                <p:cNvSpPr>
                  <a:spLocks noEditPoints="1"/>
                </p:cNvSpPr>
                <p:nvPr/>
              </p:nvSpPr>
              <p:spPr bwMode="auto">
                <a:xfrm>
                  <a:off x="1745" y="2588"/>
                  <a:ext cx="67" cy="66"/>
                </a:xfrm>
                <a:custGeom>
                  <a:avLst/>
                  <a:gdLst>
                    <a:gd name="T0" fmla="*/ 64 w 67"/>
                    <a:gd name="T1" fmla="*/ 16 h 66"/>
                    <a:gd name="T2" fmla="*/ 62 w 67"/>
                    <a:gd name="T3" fmla="*/ 14 h 66"/>
                    <a:gd name="T4" fmla="*/ 57 w 67"/>
                    <a:gd name="T5" fmla="*/ 12 h 66"/>
                    <a:gd name="T6" fmla="*/ 55 w 67"/>
                    <a:gd name="T7" fmla="*/ 12 h 66"/>
                    <a:gd name="T8" fmla="*/ 53 w 67"/>
                    <a:gd name="T9" fmla="*/ 16 h 66"/>
                    <a:gd name="T10" fmla="*/ 48 w 67"/>
                    <a:gd name="T11" fmla="*/ 14 h 66"/>
                    <a:gd name="T12" fmla="*/ 41 w 67"/>
                    <a:gd name="T13" fmla="*/ 12 h 66"/>
                    <a:gd name="T14" fmla="*/ 41 w 67"/>
                    <a:gd name="T15" fmla="*/ 9 h 66"/>
                    <a:gd name="T16" fmla="*/ 36 w 67"/>
                    <a:gd name="T17" fmla="*/ 7 h 66"/>
                    <a:gd name="T18" fmla="*/ 29 w 67"/>
                    <a:gd name="T19" fmla="*/ 2 h 66"/>
                    <a:gd name="T20" fmla="*/ 24 w 67"/>
                    <a:gd name="T21" fmla="*/ 2 h 66"/>
                    <a:gd name="T22" fmla="*/ 15 w 67"/>
                    <a:gd name="T23" fmla="*/ 7 h 66"/>
                    <a:gd name="T24" fmla="*/ 10 w 67"/>
                    <a:gd name="T25" fmla="*/ 7 h 66"/>
                    <a:gd name="T26" fmla="*/ 10 w 67"/>
                    <a:gd name="T27" fmla="*/ 12 h 66"/>
                    <a:gd name="T28" fmla="*/ 12 w 67"/>
                    <a:gd name="T29" fmla="*/ 16 h 66"/>
                    <a:gd name="T30" fmla="*/ 8 w 67"/>
                    <a:gd name="T31" fmla="*/ 21 h 66"/>
                    <a:gd name="T32" fmla="*/ 5 w 67"/>
                    <a:gd name="T33" fmla="*/ 26 h 66"/>
                    <a:gd name="T34" fmla="*/ 0 w 67"/>
                    <a:gd name="T35" fmla="*/ 28 h 66"/>
                    <a:gd name="T36" fmla="*/ 3 w 67"/>
                    <a:gd name="T37" fmla="*/ 33 h 66"/>
                    <a:gd name="T38" fmla="*/ 3 w 67"/>
                    <a:gd name="T39" fmla="*/ 38 h 66"/>
                    <a:gd name="T40" fmla="*/ 0 w 67"/>
                    <a:gd name="T41" fmla="*/ 40 h 66"/>
                    <a:gd name="T42" fmla="*/ 5 w 67"/>
                    <a:gd name="T43" fmla="*/ 42 h 66"/>
                    <a:gd name="T44" fmla="*/ 8 w 67"/>
                    <a:gd name="T45" fmla="*/ 45 h 66"/>
                    <a:gd name="T46" fmla="*/ 10 w 67"/>
                    <a:gd name="T47" fmla="*/ 42 h 66"/>
                    <a:gd name="T48" fmla="*/ 12 w 67"/>
                    <a:gd name="T49" fmla="*/ 40 h 66"/>
                    <a:gd name="T50" fmla="*/ 12 w 67"/>
                    <a:gd name="T51" fmla="*/ 42 h 66"/>
                    <a:gd name="T52" fmla="*/ 12 w 67"/>
                    <a:gd name="T53" fmla="*/ 40 h 66"/>
                    <a:gd name="T54" fmla="*/ 15 w 67"/>
                    <a:gd name="T55" fmla="*/ 42 h 66"/>
                    <a:gd name="T56" fmla="*/ 15 w 67"/>
                    <a:gd name="T57" fmla="*/ 47 h 66"/>
                    <a:gd name="T58" fmla="*/ 10 w 67"/>
                    <a:gd name="T59" fmla="*/ 52 h 66"/>
                    <a:gd name="T60" fmla="*/ 12 w 67"/>
                    <a:gd name="T61" fmla="*/ 57 h 66"/>
                    <a:gd name="T62" fmla="*/ 8 w 67"/>
                    <a:gd name="T63" fmla="*/ 59 h 66"/>
                    <a:gd name="T64" fmla="*/ 10 w 67"/>
                    <a:gd name="T65" fmla="*/ 61 h 66"/>
                    <a:gd name="T66" fmla="*/ 15 w 67"/>
                    <a:gd name="T67" fmla="*/ 61 h 66"/>
                    <a:gd name="T68" fmla="*/ 19 w 67"/>
                    <a:gd name="T69" fmla="*/ 64 h 66"/>
                    <a:gd name="T70" fmla="*/ 24 w 67"/>
                    <a:gd name="T71" fmla="*/ 66 h 66"/>
                    <a:gd name="T72" fmla="*/ 36 w 67"/>
                    <a:gd name="T73" fmla="*/ 50 h 66"/>
                    <a:gd name="T74" fmla="*/ 48 w 67"/>
                    <a:gd name="T75" fmla="*/ 45 h 66"/>
                    <a:gd name="T76" fmla="*/ 62 w 67"/>
                    <a:gd name="T77" fmla="*/ 33 h 66"/>
                    <a:gd name="T78" fmla="*/ 67 w 67"/>
                    <a:gd name="T79" fmla="*/ 28 h 66"/>
                    <a:gd name="T80" fmla="*/ 67 w 67"/>
                    <a:gd name="T81" fmla="*/ 24 h 66"/>
                    <a:gd name="T82" fmla="*/ 64 w 67"/>
                    <a:gd name="T83" fmla="*/ 19 h 66"/>
                    <a:gd name="T84" fmla="*/ 64 w 67"/>
                    <a:gd name="T85" fmla="*/ 16 h 66"/>
                    <a:gd name="T86" fmla="*/ 64 w 67"/>
                    <a:gd name="T87" fmla="*/ 16 h 66"/>
                    <a:gd name="T88" fmla="*/ 8 w 67"/>
                    <a:gd name="T89" fmla="*/ 47 h 66"/>
                    <a:gd name="T90" fmla="*/ 12 w 67"/>
                    <a:gd name="T91" fmla="*/ 45 h 66"/>
                    <a:gd name="T92" fmla="*/ 12 w 67"/>
                    <a:gd name="T93" fmla="*/ 47 h 66"/>
                    <a:gd name="T94" fmla="*/ 10 w 67"/>
                    <a:gd name="T95" fmla="*/ 50 h 66"/>
                    <a:gd name="T96" fmla="*/ 8 w 67"/>
                    <a:gd name="T97" fmla="*/ 5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7" h="66">
                      <a:moveTo>
                        <a:pt x="64" y="16"/>
                      </a:moveTo>
                      <a:lnTo>
                        <a:pt x="64" y="16"/>
                      </a:lnTo>
                      <a:lnTo>
                        <a:pt x="62" y="14"/>
                      </a:lnTo>
                      <a:lnTo>
                        <a:pt x="62" y="14"/>
                      </a:lnTo>
                      <a:lnTo>
                        <a:pt x="60" y="12"/>
                      </a:lnTo>
                      <a:lnTo>
                        <a:pt x="57" y="12"/>
                      </a:lnTo>
                      <a:lnTo>
                        <a:pt x="57" y="12"/>
                      </a:lnTo>
                      <a:lnTo>
                        <a:pt x="55" y="12"/>
                      </a:lnTo>
                      <a:lnTo>
                        <a:pt x="55" y="14"/>
                      </a:lnTo>
                      <a:lnTo>
                        <a:pt x="53" y="16"/>
                      </a:lnTo>
                      <a:lnTo>
                        <a:pt x="50" y="14"/>
                      </a:lnTo>
                      <a:lnTo>
                        <a:pt x="48" y="14"/>
                      </a:lnTo>
                      <a:lnTo>
                        <a:pt x="45" y="12"/>
                      </a:lnTo>
                      <a:lnTo>
                        <a:pt x="41" y="12"/>
                      </a:lnTo>
                      <a:lnTo>
                        <a:pt x="41" y="12"/>
                      </a:lnTo>
                      <a:lnTo>
                        <a:pt x="41" y="9"/>
                      </a:lnTo>
                      <a:lnTo>
                        <a:pt x="38" y="7"/>
                      </a:lnTo>
                      <a:lnTo>
                        <a:pt x="36" y="7"/>
                      </a:lnTo>
                      <a:lnTo>
                        <a:pt x="31" y="5"/>
                      </a:lnTo>
                      <a:lnTo>
                        <a:pt x="29" y="2"/>
                      </a:lnTo>
                      <a:lnTo>
                        <a:pt x="24" y="0"/>
                      </a:lnTo>
                      <a:lnTo>
                        <a:pt x="24" y="2"/>
                      </a:lnTo>
                      <a:lnTo>
                        <a:pt x="19" y="2"/>
                      </a:lnTo>
                      <a:lnTo>
                        <a:pt x="15" y="7"/>
                      </a:lnTo>
                      <a:lnTo>
                        <a:pt x="12" y="7"/>
                      </a:lnTo>
                      <a:lnTo>
                        <a:pt x="10" y="7"/>
                      </a:lnTo>
                      <a:lnTo>
                        <a:pt x="10" y="9"/>
                      </a:lnTo>
                      <a:lnTo>
                        <a:pt x="10" y="12"/>
                      </a:lnTo>
                      <a:lnTo>
                        <a:pt x="12" y="14"/>
                      </a:lnTo>
                      <a:lnTo>
                        <a:pt x="12" y="16"/>
                      </a:lnTo>
                      <a:lnTo>
                        <a:pt x="8" y="19"/>
                      </a:lnTo>
                      <a:lnTo>
                        <a:pt x="8" y="21"/>
                      </a:lnTo>
                      <a:lnTo>
                        <a:pt x="8" y="24"/>
                      </a:lnTo>
                      <a:lnTo>
                        <a:pt x="5" y="26"/>
                      </a:lnTo>
                      <a:lnTo>
                        <a:pt x="3" y="26"/>
                      </a:lnTo>
                      <a:lnTo>
                        <a:pt x="0" y="28"/>
                      </a:lnTo>
                      <a:lnTo>
                        <a:pt x="3" y="31"/>
                      </a:lnTo>
                      <a:lnTo>
                        <a:pt x="3" y="33"/>
                      </a:lnTo>
                      <a:lnTo>
                        <a:pt x="3" y="33"/>
                      </a:lnTo>
                      <a:lnTo>
                        <a:pt x="3" y="38"/>
                      </a:lnTo>
                      <a:lnTo>
                        <a:pt x="3" y="38"/>
                      </a:lnTo>
                      <a:lnTo>
                        <a:pt x="0" y="40"/>
                      </a:lnTo>
                      <a:lnTo>
                        <a:pt x="3" y="42"/>
                      </a:lnTo>
                      <a:lnTo>
                        <a:pt x="5" y="42"/>
                      </a:lnTo>
                      <a:lnTo>
                        <a:pt x="8" y="45"/>
                      </a:lnTo>
                      <a:lnTo>
                        <a:pt x="8" y="45"/>
                      </a:lnTo>
                      <a:lnTo>
                        <a:pt x="10" y="45"/>
                      </a:lnTo>
                      <a:lnTo>
                        <a:pt x="10" y="42"/>
                      </a:lnTo>
                      <a:lnTo>
                        <a:pt x="12" y="40"/>
                      </a:lnTo>
                      <a:lnTo>
                        <a:pt x="12" y="40"/>
                      </a:lnTo>
                      <a:lnTo>
                        <a:pt x="12" y="42"/>
                      </a:lnTo>
                      <a:lnTo>
                        <a:pt x="12" y="42"/>
                      </a:lnTo>
                      <a:lnTo>
                        <a:pt x="15" y="42"/>
                      </a:lnTo>
                      <a:lnTo>
                        <a:pt x="12" y="40"/>
                      </a:lnTo>
                      <a:lnTo>
                        <a:pt x="15" y="40"/>
                      </a:lnTo>
                      <a:lnTo>
                        <a:pt x="15" y="42"/>
                      </a:lnTo>
                      <a:lnTo>
                        <a:pt x="15" y="47"/>
                      </a:lnTo>
                      <a:lnTo>
                        <a:pt x="15" y="47"/>
                      </a:lnTo>
                      <a:lnTo>
                        <a:pt x="15" y="50"/>
                      </a:lnTo>
                      <a:lnTo>
                        <a:pt x="10" y="52"/>
                      </a:lnTo>
                      <a:lnTo>
                        <a:pt x="12" y="52"/>
                      </a:lnTo>
                      <a:lnTo>
                        <a:pt x="12" y="57"/>
                      </a:lnTo>
                      <a:lnTo>
                        <a:pt x="10" y="57"/>
                      </a:lnTo>
                      <a:lnTo>
                        <a:pt x="8" y="59"/>
                      </a:lnTo>
                      <a:lnTo>
                        <a:pt x="8" y="61"/>
                      </a:lnTo>
                      <a:lnTo>
                        <a:pt x="10" y="61"/>
                      </a:lnTo>
                      <a:lnTo>
                        <a:pt x="15" y="59"/>
                      </a:lnTo>
                      <a:lnTo>
                        <a:pt x="15" y="61"/>
                      </a:lnTo>
                      <a:lnTo>
                        <a:pt x="17" y="61"/>
                      </a:lnTo>
                      <a:lnTo>
                        <a:pt x="19" y="64"/>
                      </a:lnTo>
                      <a:lnTo>
                        <a:pt x="24" y="66"/>
                      </a:lnTo>
                      <a:lnTo>
                        <a:pt x="24" y="66"/>
                      </a:lnTo>
                      <a:lnTo>
                        <a:pt x="27" y="66"/>
                      </a:lnTo>
                      <a:lnTo>
                        <a:pt x="36" y="50"/>
                      </a:lnTo>
                      <a:lnTo>
                        <a:pt x="38" y="47"/>
                      </a:lnTo>
                      <a:lnTo>
                        <a:pt x="48" y="45"/>
                      </a:lnTo>
                      <a:lnTo>
                        <a:pt x="55" y="40"/>
                      </a:lnTo>
                      <a:lnTo>
                        <a:pt x="62" y="33"/>
                      </a:lnTo>
                      <a:lnTo>
                        <a:pt x="64" y="28"/>
                      </a:lnTo>
                      <a:lnTo>
                        <a:pt x="67" y="28"/>
                      </a:lnTo>
                      <a:lnTo>
                        <a:pt x="67" y="26"/>
                      </a:lnTo>
                      <a:lnTo>
                        <a:pt x="67" y="24"/>
                      </a:lnTo>
                      <a:lnTo>
                        <a:pt x="67" y="21"/>
                      </a:lnTo>
                      <a:lnTo>
                        <a:pt x="64" y="19"/>
                      </a:lnTo>
                      <a:lnTo>
                        <a:pt x="64" y="16"/>
                      </a:lnTo>
                      <a:lnTo>
                        <a:pt x="64" y="16"/>
                      </a:lnTo>
                      <a:lnTo>
                        <a:pt x="64" y="16"/>
                      </a:lnTo>
                      <a:lnTo>
                        <a:pt x="64" y="16"/>
                      </a:lnTo>
                      <a:close/>
                      <a:moveTo>
                        <a:pt x="8" y="50"/>
                      </a:moveTo>
                      <a:lnTo>
                        <a:pt x="8" y="47"/>
                      </a:lnTo>
                      <a:lnTo>
                        <a:pt x="10" y="45"/>
                      </a:lnTo>
                      <a:lnTo>
                        <a:pt x="12" y="45"/>
                      </a:lnTo>
                      <a:lnTo>
                        <a:pt x="12" y="45"/>
                      </a:lnTo>
                      <a:lnTo>
                        <a:pt x="12" y="47"/>
                      </a:lnTo>
                      <a:lnTo>
                        <a:pt x="12" y="47"/>
                      </a:lnTo>
                      <a:lnTo>
                        <a:pt x="10" y="50"/>
                      </a:lnTo>
                      <a:lnTo>
                        <a:pt x="10" y="50"/>
                      </a:lnTo>
                      <a:lnTo>
                        <a:pt x="8" y="50"/>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7" name="Freeform 192">
                  <a:extLst>
                    <a:ext uri="{FF2B5EF4-FFF2-40B4-BE49-F238E27FC236}">
                      <a16:creationId xmlns:a16="http://schemas.microsoft.com/office/drawing/2014/main" id="{8C809A53-BE6F-2E14-A4A1-76F4CDB6CBAE}"/>
                    </a:ext>
                  </a:extLst>
                </p:cNvPr>
                <p:cNvSpPr>
                  <a:spLocks/>
                </p:cNvSpPr>
                <p:nvPr/>
              </p:nvSpPr>
              <p:spPr bwMode="auto">
                <a:xfrm>
                  <a:off x="1743" y="2604"/>
                  <a:ext cx="144" cy="195"/>
                </a:xfrm>
                <a:custGeom>
                  <a:avLst/>
                  <a:gdLst>
                    <a:gd name="T0" fmla="*/ 133 w 144"/>
                    <a:gd name="T1" fmla="*/ 114 h 195"/>
                    <a:gd name="T2" fmla="*/ 123 w 144"/>
                    <a:gd name="T3" fmla="*/ 114 h 195"/>
                    <a:gd name="T4" fmla="*/ 123 w 144"/>
                    <a:gd name="T5" fmla="*/ 100 h 195"/>
                    <a:gd name="T6" fmla="*/ 114 w 144"/>
                    <a:gd name="T7" fmla="*/ 105 h 195"/>
                    <a:gd name="T8" fmla="*/ 102 w 144"/>
                    <a:gd name="T9" fmla="*/ 98 h 195"/>
                    <a:gd name="T10" fmla="*/ 88 w 144"/>
                    <a:gd name="T11" fmla="*/ 86 h 195"/>
                    <a:gd name="T12" fmla="*/ 85 w 144"/>
                    <a:gd name="T13" fmla="*/ 79 h 195"/>
                    <a:gd name="T14" fmla="*/ 85 w 144"/>
                    <a:gd name="T15" fmla="*/ 72 h 195"/>
                    <a:gd name="T16" fmla="*/ 92 w 144"/>
                    <a:gd name="T17" fmla="*/ 67 h 195"/>
                    <a:gd name="T18" fmla="*/ 95 w 144"/>
                    <a:gd name="T19" fmla="*/ 57 h 195"/>
                    <a:gd name="T20" fmla="*/ 102 w 144"/>
                    <a:gd name="T21" fmla="*/ 50 h 195"/>
                    <a:gd name="T22" fmla="*/ 118 w 144"/>
                    <a:gd name="T23" fmla="*/ 45 h 195"/>
                    <a:gd name="T24" fmla="*/ 123 w 144"/>
                    <a:gd name="T25" fmla="*/ 43 h 195"/>
                    <a:gd name="T26" fmla="*/ 128 w 144"/>
                    <a:gd name="T27" fmla="*/ 43 h 195"/>
                    <a:gd name="T28" fmla="*/ 121 w 144"/>
                    <a:gd name="T29" fmla="*/ 41 h 195"/>
                    <a:gd name="T30" fmla="*/ 126 w 144"/>
                    <a:gd name="T31" fmla="*/ 26 h 195"/>
                    <a:gd name="T32" fmla="*/ 118 w 144"/>
                    <a:gd name="T33" fmla="*/ 22 h 195"/>
                    <a:gd name="T34" fmla="*/ 107 w 144"/>
                    <a:gd name="T35" fmla="*/ 22 h 195"/>
                    <a:gd name="T36" fmla="*/ 97 w 144"/>
                    <a:gd name="T37" fmla="*/ 24 h 195"/>
                    <a:gd name="T38" fmla="*/ 95 w 144"/>
                    <a:gd name="T39" fmla="*/ 22 h 195"/>
                    <a:gd name="T40" fmla="*/ 90 w 144"/>
                    <a:gd name="T41" fmla="*/ 15 h 195"/>
                    <a:gd name="T42" fmla="*/ 78 w 144"/>
                    <a:gd name="T43" fmla="*/ 8 h 195"/>
                    <a:gd name="T44" fmla="*/ 73 w 144"/>
                    <a:gd name="T45" fmla="*/ 0 h 195"/>
                    <a:gd name="T46" fmla="*/ 66 w 144"/>
                    <a:gd name="T47" fmla="*/ 0 h 195"/>
                    <a:gd name="T48" fmla="*/ 69 w 144"/>
                    <a:gd name="T49" fmla="*/ 10 h 195"/>
                    <a:gd name="T50" fmla="*/ 57 w 144"/>
                    <a:gd name="T51" fmla="*/ 24 h 195"/>
                    <a:gd name="T52" fmla="*/ 29 w 144"/>
                    <a:gd name="T53" fmla="*/ 50 h 195"/>
                    <a:gd name="T54" fmla="*/ 19 w 144"/>
                    <a:gd name="T55" fmla="*/ 45 h 195"/>
                    <a:gd name="T56" fmla="*/ 10 w 144"/>
                    <a:gd name="T57" fmla="*/ 45 h 195"/>
                    <a:gd name="T58" fmla="*/ 14 w 144"/>
                    <a:gd name="T59" fmla="*/ 36 h 195"/>
                    <a:gd name="T60" fmla="*/ 5 w 144"/>
                    <a:gd name="T61" fmla="*/ 41 h 195"/>
                    <a:gd name="T62" fmla="*/ 0 w 144"/>
                    <a:gd name="T63" fmla="*/ 50 h 195"/>
                    <a:gd name="T64" fmla="*/ 0 w 144"/>
                    <a:gd name="T65" fmla="*/ 55 h 195"/>
                    <a:gd name="T66" fmla="*/ 2 w 144"/>
                    <a:gd name="T67" fmla="*/ 62 h 195"/>
                    <a:gd name="T68" fmla="*/ 5 w 144"/>
                    <a:gd name="T69" fmla="*/ 67 h 195"/>
                    <a:gd name="T70" fmla="*/ 17 w 144"/>
                    <a:gd name="T71" fmla="*/ 72 h 195"/>
                    <a:gd name="T72" fmla="*/ 21 w 144"/>
                    <a:gd name="T73" fmla="*/ 81 h 195"/>
                    <a:gd name="T74" fmla="*/ 31 w 144"/>
                    <a:gd name="T75" fmla="*/ 93 h 195"/>
                    <a:gd name="T76" fmla="*/ 36 w 144"/>
                    <a:gd name="T77" fmla="*/ 102 h 195"/>
                    <a:gd name="T78" fmla="*/ 40 w 144"/>
                    <a:gd name="T79" fmla="*/ 112 h 195"/>
                    <a:gd name="T80" fmla="*/ 45 w 144"/>
                    <a:gd name="T81" fmla="*/ 119 h 195"/>
                    <a:gd name="T82" fmla="*/ 50 w 144"/>
                    <a:gd name="T83" fmla="*/ 128 h 195"/>
                    <a:gd name="T84" fmla="*/ 57 w 144"/>
                    <a:gd name="T85" fmla="*/ 138 h 195"/>
                    <a:gd name="T86" fmla="*/ 59 w 144"/>
                    <a:gd name="T87" fmla="*/ 145 h 195"/>
                    <a:gd name="T88" fmla="*/ 62 w 144"/>
                    <a:gd name="T89" fmla="*/ 147 h 195"/>
                    <a:gd name="T90" fmla="*/ 66 w 144"/>
                    <a:gd name="T91" fmla="*/ 154 h 195"/>
                    <a:gd name="T92" fmla="*/ 73 w 144"/>
                    <a:gd name="T93" fmla="*/ 159 h 195"/>
                    <a:gd name="T94" fmla="*/ 81 w 144"/>
                    <a:gd name="T95" fmla="*/ 162 h 195"/>
                    <a:gd name="T96" fmla="*/ 85 w 144"/>
                    <a:gd name="T97" fmla="*/ 166 h 195"/>
                    <a:gd name="T98" fmla="*/ 92 w 144"/>
                    <a:gd name="T99" fmla="*/ 171 h 195"/>
                    <a:gd name="T100" fmla="*/ 104 w 144"/>
                    <a:gd name="T101" fmla="*/ 176 h 195"/>
                    <a:gd name="T102" fmla="*/ 109 w 144"/>
                    <a:gd name="T103" fmla="*/ 178 h 195"/>
                    <a:gd name="T104" fmla="*/ 116 w 144"/>
                    <a:gd name="T105" fmla="*/ 185 h 195"/>
                    <a:gd name="T106" fmla="*/ 121 w 144"/>
                    <a:gd name="T107" fmla="*/ 188 h 195"/>
                    <a:gd name="T108" fmla="*/ 130 w 144"/>
                    <a:gd name="T109" fmla="*/ 195 h 195"/>
                    <a:gd name="T110" fmla="*/ 140 w 144"/>
                    <a:gd name="T111" fmla="*/ 190 h 195"/>
                    <a:gd name="T112" fmla="*/ 140 w 144"/>
                    <a:gd name="T113" fmla="*/ 183 h 195"/>
                    <a:gd name="T114" fmla="*/ 137 w 144"/>
                    <a:gd name="T115" fmla="*/ 181 h 195"/>
                    <a:gd name="T116" fmla="*/ 144 w 144"/>
                    <a:gd name="T117" fmla="*/ 171 h 195"/>
                    <a:gd name="T118" fmla="*/ 142 w 144"/>
                    <a:gd name="T119" fmla="*/ 159 h 195"/>
                    <a:gd name="T120" fmla="*/ 144 w 144"/>
                    <a:gd name="T121" fmla="*/ 145 h 195"/>
                    <a:gd name="T122" fmla="*/ 144 w 144"/>
                    <a:gd name="T123" fmla="*/ 128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4" h="195">
                      <a:moveTo>
                        <a:pt x="135" y="114"/>
                      </a:moveTo>
                      <a:lnTo>
                        <a:pt x="135" y="114"/>
                      </a:lnTo>
                      <a:lnTo>
                        <a:pt x="133" y="114"/>
                      </a:lnTo>
                      <a:lnTo>
                        <a:pt x="133" y="114"/>
                      </a:lnTo>
                      <a:lnTo>
                        <a:pt x="130" y="114"/>
                      </a:lnTo>
                      <a:lnTo>
                        <a:pt x="128" y="114"/>
                      </a:lnTo>
                      <a:lnTo>
                        <a:pt x="126" y="114"/>
                      </a:lnTo>
                      <a:lnTo>
                        <a:pt x="123" y="114"/>
                      </a:lnTo>
                      <a:lnTo>
                        <a:pt x="123" y="112"/>
                      </a:lnTo>
                      <a:lnTo>
                        <a:pt x="123" y="105"/>
                      </a:lnTo>
                      <a:lnTo>
                        <a:pt x="123" y="102"/>
                      </a:lnTo>
                      <a:lnTo>
                        <a:pt x="123" y="100"/>
                      </a:lnTo>
                      <a:lnTo>
                        <a:pt x="126" y="100"/>
                      </a:lnTo>
                      <a:lnTo>
                        <a:pt x="123" y="98"/>
                      </a:lnTo>
                      <a:lnTo>
                        <a:pt x="118" y="100"/>
                      </a:lnTo>
                      <a:lnTo>
                        <a:pt x="114" y="105"/>
                      </a:lnTo>
                      <a:lnTo>
                        <a:pt x="109" y="102"/>
                      </a:lnTo>
                      <a:lnTo>
                        <a:pt x="104" y="102"/>
                      </a:lnTo>
                      <a:lnTo>
                        <a:pt x="104" y="100"/>
                      </a:lnTo>
                      <a:lnTo>
                        <a:pt x="102" y="98"/>
                      </a:lnTo>
                      <a:lnTo>
                        <a:pt x="97" y="98"/>
                      </a:lnTo>
                      <a:lnTo>
                        <a:pt x="90" y="98"/>
                      </a:lnTo>
                      <a:lnTo>
                        <a:pt x="92" y="93"/>
                      </a:lnTo>
                      <a:lnTo>
                        <a:pt x="88" y="86"/>
                      </a:lnTo>
                      <a:lnTo>
                        <a:pt x="85" y="83"/>
                      </a:lnTo>
                      <a:lnTo>
                        <a:pt x="85" y="81"/>
                      </a:lnTo>
                      <a:lnTo>
                        <a:pt x="85" y="79"/>
                      </a:lnTo>
                      <a:lnTo>
                        <a:pt x="85" y="79"/>
                      </a:lnTo>
                      <a:lnTo>
                        <a:pt x="85" y="76"/>
                      </a:lnTo>
                      <a:lnTo>
                        <a:pt x="85" y="74"/>
                      </a:lnTo>
                      <a:lnTo>
                        <a:pt x="85" y="74"/>
                      </a:lnTo>
                      <a:lnTo>
                        <a:pt x="85" y="72"/>
                      </a:lnTo>
                      <a:lnTo>
                        <a:pt x="90" y="69"/>
                      </a:lnTo>
                      <a:lnTo>
                        <a:pt x="92" y="69"/>
                      </a:lnTo>
                      <a:lnTo>
                        <a:pt x="92" y="67"/>
                      </a:lnTo>
                      <a:lnTo>
                        <a:pt x="92" y="67"/>
                      </a:lnTo>
                      <a:lnTo>
                        <a:pt x="90" y="62"/>
                      </a:lnTo>
                      <a:lnTo>
                        <a:pt x="95" y="60"/>
                      </a:lnTo>
                      <a:lnTo>
                        <a:pt x="95" y="57"/>
                      </a:lnTo>
                      <a:lnTo>
                        <a:pt x="95" y="57"/>
                      </a:lnTo>
                      <a:lnTo>
                        <a:pt x="95" y="55"/>
                      </a:lnTo>
                      <a:lnTo>
                        <a:pt x="97" y="53"/>
                      </a:lnTo>
                      <a:lnTo>
                        <a:pt x="100" y="53"/>
                      </a:lnTo>
                      <a:lnTo>
                        <a:pt x="102" y="50"/>
                      </a:lnTo>
                      <a:lnTo>
                        <a:pt x="102" y="50"/>
                      </a:lnTo>
                      <a:lnTo>
                        <a:pt x="104" y="48"/>
                      </a:lnTo>
                      <a:lnTo>
                        <a:pt x="109" y="45"/>
                      </a:lnTo>
                      <a:lnTo>
                        <a:pt x="118" y="45"/>
                      </a:lnTo>
                      <a:lnTo>
                        <a:pt x="118" y="43"/>
                      </a:lnTo>
                      <a:lnTo>
                        <a:pt x="118" y="43"/>
                      </a:lnTo>
                      <a:lnTo>
                        <a:pt x="121" y="43"/>
                      </a:lnTo>
                      <a:lnTo>
                        <a:pt x="123" y="43"/>
                      </a:lnTo>
                      <a:lnTo>
                        <a:pt x="126" y="45"/>
                      </a:lnTo>
                      <a:lnTo>
                        <a:pt x="126" y="45"/>
                      </a:lnTo>
                      <a:lnTo>
                        <a:pt x="128" y="45"/>
                      </a:lnTo>
                      <a:lnTo>
                        <a:pt x="128" y="43"/>
                      </a:lnTo>
                      <a:lnTo>
                        <a:pt x="128" y="41"/>
                      </a:lnTo>
                      <a:lnTo>
                        <a:pt x="126" y="38"/>
                      </a:lnTo>
                      <a:lnTo>
                        <a:pt x="123" y="38"/>
                      </a:lnTo>
                      <a:lnTo>
                        <a:pt x="121" y="41"/>
                      </a:lnTo>
                      <a:lnTo>
                        <a:pt x="121" y="38"/>
                      </a:lnTo>
                      <a:lnTo>
                        <a:pt x="128" y="26"/>
                      </a:lnTo>
                      <a:lnTo>
                        <a:pt x="128" y="26"/>
                      </a:lnTo>
                      <a:lnTo>
                        <a:pt x="126" y="26"/>
                      </a:lnTo>
                      <a:lnTo>
                        <a:pt x="123" y="24"/>
                      </a:lnTo>
                      <a:lnTo>
                        <a:pt x="121" y="24"/>
                      </a:lnTo>
                      <a:lnTo>
                        <a:pt x="121" y="24"/>
                      </a:lnTo>
                      <a:lnTo>
                        <a:pt x="118" y="22"/>
                      </a:lnTo>
                      <a:lnTo>
                        <a:pt x="116" y="22"/>
                      </a:lnTo>
                      <a:lnTo>
                        <a:pt x="114" y="24"/>
                      </a:lnTo>
                      <a:lnTo>
                        <a:pt x="111" y="24"/>
                      </a:lnTo>
                      <a:lnTo>
                        <a:pt x="107" y="22"/>
                      </a:lnTo>
                      <a:lnTo>
                        <a:pt x="104" y="24"/>
                      </a:lnTo>
                      <a:lnTo>
                        <a:pt x="102" y="24"/>
                      </a:lnTo>
                      <a:lnTo>
                        <a:pt x="100" y="24"/>
                      </a:lnTo>
                      <a:lnTo>
                        <a:pt x="97" y="24"/>
                      </a:lnTo>
                      <a:lnTo>
                        <a:pt x="95" y="24"/>
                      </a:lnTo>
                      <a:lnTo>
                        <a:pt x="92" y="24"/>
                      </a:lnTo>
                      <a:lnTo>
                        <a:pt x="92" y="22"/>
                      </a:lnTo>
                      <a:lnTo>
                        <a:pt x="95" y="22"/>
                      </a:lnTo>
                      <a:lnTo>
                        <a:pt x="92" y="19"/>
                      </a:lnTo>
                      <a:lnTo>
                        <a:pt x="90" y="19"/>
                      </a:lnTo>
                      <a:lnTo>
                        <a:pt x="90" y="17"/>
                      </a:lnTo>
                      <a:lnTo>
                        <a:pt x="90" y="15"/>
                      </a:lnTo>
                      <a:lnTo>
                        <a:pt x="88" y="12"/>
                      </a:lnTo>
                      <a:lnTo>
                        <a:pt x="83" y="12"/>
                      </a:lnTo>
                      <a:lnTo>
                        <a:pt x="81" y="12"/>
                      </a:lnTo>
                      <a:lnTo>
                        <a:pt x="78" y="8"/>
                      </a:lnTo>
                      <a:lnTo>
                        <a:pt x="78" y="5"/>
                      </a:lnTo>
                      <a:lnTo>
                        <a:pt x="76" y="3"/>
                      </a:lnTo>
                      <a:lnTo>
                        <a:pt x="76" y="3"/>
                      </a:lnTo>
                      <a:lnTo>
                        <a:pt x="73" y="0"/>
                      </a:lnTo>
                      <a:lnTo>
                        <a:pt x="69" y="0"/>
                      </a:lnTo>
                      <a:lnTo>
                        <a:pt x="69" y="0"/>
                      </a:lnTo>
                      <a:lnTo>
                        <a:pt x="66" y="0"/>
                      </a:lnTo>
                      <a:lnTo>
                        <a:pt x="66" y="0"/>
                      </a:lnTo>
                      <a:lnTo>
                        <a:pt x="66" y="3"/>
                      </a:lnTo>
                      <a:lnTo>
                        <a:pt x="69" y="5"/>
                      </a:lnTo>
                      <a:lnTo>
                        <a:pt x="69" y="8"/>
                      </a:lnTo>
                      <a:lnTo>
                        <a:pt x="69" y="10"/>
                      </a:lnTo>
                      <a:lnTo>
                        <a:pt x="69" y="12"/>
                      </a:lnTo>
                      <a:lnTo>
                        <a:pt x="66" y="12"/>
                      </a:lnTo>
                      <a:lnTo>
                        <a:pt x="64" y="17"/>
                      </a:lnTo>
                      <a:lnTo>
                        <a:pt x="57" y="24"/>
                      </a:lnTo>
                      <a:lnTo>
                        <a:pt x="50" y="29"/>
                      </a:lnTo>
                      <a:lnTo>
                        <a:pt x="40" y="31"/>
                      </a:lnTo>
                      <a:lnTo>
                        <a:pt x="38" y="34"/>
                      </a:lnTo>
                      <a:lnTo>
                        <a:pt x="29" y="50"/>
                      </a:lnTo>
                      <a:lnTo>
                        <a:pt x="26" y="50"/>
                      </a:lnTo>
                      <a:lnTo>
                        <a:pt x="26" y="50"/>
                      </a:lnTo>
                      <a:lnTo>
                        <a:pt x="21" y="48"/>
                      </a:lnTo>
                      <a:lnTo>
                        <a:pt x="19" y="45"/>
                      </a:lnTo>
                      <a:lnTo>
                        <a:pt x="17" y="45"/>
                      </a:lnTo>
                      <a:lnTo>
                        <a:pt x="17" y="43"/>
                      </a:lnTo>
                      <a:lnTo>
                        <a:pt x="12" y="45"/>
                      </a:lnTo>
                      <a:lnTo>
                        <a:pt x="10" y="45"/>
                      </a:lnTo>
                      <a:lnTo>
                        <a:pt x="10" y="43"/>
                      </a:lnTo>
                      <a:lnTo>
                        <a:pt x="12" y="41"/>
                      </a:lnTo>
                      <a:lnTo>
                        <a:pt x="14" y="41"/>
                      </a:lnTo>
                      <a:lnTo>
                        <a:pt x="14" y="36"/>
                      </a:lnTo>
                      <a:lnTo>
                        <a:pt x="12" y="36"/>
                      </a:lnTo>
                      <a:lnTo>
                        <a:pt x="12" y="36"/>
                      </a:lnTo>
                      <a:lnTo>
                        <a:pt x="7" y="38"/>
                      </a:lnTo>
                      <a:lnTo>
                        <a:pt x="5" y="41"/>
                      </a:lnTo>
                      <a:lnTo>
                        <a:pt x="0" y="43"/>
                      </a:lnTo>
                      <a:lnTo>
                        <a:pt x="0" y="45"/>
                      </a:lnTo>
                      <a:lnTo>
                        <a:pt x="0" y="48"/>
                      </a:lnTo>
                      <a:lnTo>
                        <a:pt x="0" y="50"/>
                      </a:lnTo>
                      <a:lnTo>
                        <a:pt x="0" y="50"/>
                      </a:lnTo>
                      <a:lnTo>
                        <a:pt x="2" y="53"/>
                      </a:lnTo>
                      <a:lnTo>
                        <a:pt x="0" y="53"/>
                      </a:lnTo>
                      <a:lnTo>
                        <a:pt x="0" y="55"/>
                      </a:lnTo>
                      <a:lnTo>
                        <a:pt x="2" y="55"/>
                      </a:lnTo>
                      <a:lnTo>
                        <a:pt x="5" y="60"/>
                      </a:lnTo>
                      <a:lnTo>
                        <a:pt x="5" y="62"/>
                      </a:lnTo>
                      <a:lnTo>
                        <a:pt x="2" y="62"/>
                      </a:lnTo>
                      <a:lnTo>
                        <a:pt x="0" y="62"/>
                      </a:lnTo>
                      <a:lnTo>
                        <a:pt x="0" y="64"/>
                      </a:lnTo>
                      <a:lnTo>
                        <a:pt x="2" y="64"/>
                      </a:lnTo>
                      <a:lnTo>
                        <a:pt x="5" y="67"/>
                      </a:lnTo>
                      <a:lnTo>
                        <a:pt x="7" y="69"/>
                      </a:lnTo>
                      <a:lnTo>
                        <a:pt x="10" y="69"/>
                      </a:lnTo>
                      <a:lnTo>
                        <a:pt x="14" y="72"/>
                      </a:lnTo>
                      <a:lnTo>
                        <a:pt x="17" y="72"/>
                      </a:lnTo>
                      <a:lnTo>
                        <a:pt x="17" y="74"/>
                      </a:lnTo>
                      <a:lnTo>
                        <a:pt x="21" y="76"/>
                      </a:lnTo>
                      <a:lnTo>
                        <a:pt x="21" y="79"/>
                      </a:lnTo>
                      <a:lnTo>
                        <a:pt x="21" y="81"/>
                      </a:lnTo>
                      <a:lnTo>
                        <a:pt x="26" y="83"/>
                      </a:lnTo>
                      <a:lnTo>
                        <a:pt x="29" y="88"/>
                      </a:lnTo>
                      <a:lnTo>
                        <a:pt x="29" y="90"/>
                      </a:lnTo>
                      <a:lnTo>
                        <a:pt x="31" y="93"/>
                      </a:lnTo>
                      <a:lnTo>
                        <a:pt x="31" y="95"/>
                      </a:lnTo>
                      <a:lnTo>
                        <a:pt x="33" y="98"/>
                      </a:lnTo>
                      <a:lnTo>
                        <a:pt x="33" y="98"/>
                      </a:lnTo>
                      <a:lnTo>
                        <a:pt x="36" y="102"/>
                      </a:lnTo>
                      <a:lnTo>
                        <a:pt x="36" y="105"/>
                      </a:lnTo>
                      <a:lnTo>
                        <a:pt x="36" y="105"/>
                      </a:lnTo>
                      <a:lnTo>
                        <a:pt x="38" y="109"/>
                      </a:lnTo>
                      <a:lnTo>
                        <a:pt x="40" y="112"/>
                      </a:lnTo>
                      <a:lnTo>
                        <a:pt x="43" y="114"/>
                      </a:lnTo>
                      <a:lnTo>
                        <a:pt x="43" y="117"/>
                      </a:lnTo>
                      <a:lnTo>
                        <a:pt x="43" y="119"/>
                      </a:lnTo>
                      <a:lnTo>
                        <a:pt x="45" y="119"/>
                      </a:lnTo>
                      <a:lnTo>
                        <a:pt x="47" y="121"/>
                      </a:lnTo>
                      <a:lnTo>
                        <a:pt x="50" y="124"/>
                      </a:lnTo>
                      <a:lnTo>
                        <a:pt x="50" y="126"/>
                      </a:lnTo>
                      <a:lnTo>
                        <a:pt x="50" y="128"/>
                      </a:lnTo>
                      <a:lnTo>
                        <a:pt x="52" y="128"/>
                      </a:lnTo>
                      <a:lnTo>
                        <a:pt x="55" y="131"/>
                      </a:lnTo>
                      <a:lnTo>
                        <a:pt x="57" y="136"/>
                      </a:lnTo>
                      <a:lnTo>
                        <a:pt x="57" y="138"/>
                      </a:lnTo>
                      <a:lnTo>
                        <a:pt x="62" y="143"/>
                      </a:lnTo>
                      <a:lnTo>
                        <a:pt x="62" y="145"/>
                      </a:lnTo>
                      <a:lnTo>
                        <a:pt x="62" y="145"/>
                      </a:lnTo>
                      <a:lnTo>
                        <a:pt x="59" y="145"/>
                      </a:lnTo>
                      <a:lnTo>
                        <a:pt x="59" y="145"/>
                      </a:lnTo>
                      <a:lnTo>
                        <a:pt x="59" y="147"/>
                      </a:lnTo>
                      <a:lnTo>
                        <a:pt x="59" y="150"/>
                      </a:lnTo>
                      <a:lnTo>
                        <a:pt x="62" y="147"/>
                      </a:lnTo>
                      <a:lnTo>
                        <a:pt x="62" y="150"/>
                      </a:lnTo>
                      <a:lnTo>
                        <a:pt x="64" y="150"/>
                      </a:lnTo>
                      <a:lnTo>
                        <a:pt x="62" y="152"/>
                      </a:lnTo>
                      <a:lnTo>
                        <a:pt x="66" y="154"/>
                      </a:lnTo>
                      <a:lnTo>
                        <a:pt x="71" y="154"/>
                      </a:lnTo>
                      <a:lnTo>
                        <a:pt x="71" y="157"/>
                      </a:lnTo>
                      <a:lnTo>
                        <a:pt x="71" y="159"/>
                      </a:lnTo>
                      <a:lnTo>
                        <a:pt x="73" y="159"/>
                      </a:lnTo>
                      <a:lnTo>
                        <a:pt x="76" y="159"/>
                      </a:lnTo>
                      <a:lnTo>
                        <a:pt x="76" y="162"/>
                      </a:lnTo>
                      <a:lnTo>
                        <a:pt x="78" y="162"/>
                      </a:lnTo>
                      <a:lnTo>
                        <a:pt x="81" y="162"/>
                      </a:lnTo>
                      <a:lnTo>
                        <a:pt x="81" y="162"/>
                      </a:lnTo>
                      <a:lnTo>
                        <a:pt x="81" y="164"/>
                      </a:lnTo>
                      <a:lnTo>
                        <a:pt x="83" y="164"/>
                      </a:lnTo>
                      <a:lnTo>
                        <a:pt x="85" y="166"/>
                      </a:lnTo>
                      <a:lnTo>
                        <a:pt x="88" y="169"/>
                      </a:lnTo>
                      <a:lnTo>
                        <a:pt x="88" y="169"/>
                      </a:lnTo>
                      <a:lnTo>
                        <a:pt x="90" y="171"/>
                      </a:lnTo>
                      <a:lnTo>
                        <a:pt x="92" y="171"/>
                      </a:lnTo>
                      <a:lnTo>
                        <a:pt x="95" y="171"/>
                      </a:lnTo>
                      <a:lnTo>
                        <a:pt x="95" y="171"/>
                      </a:lnTo>
                      <a:lnTo>
                        <a:pt x="100" y="173"/>
                      </a:lnTo>
                      <a:lnTo>
                        <a:pt x="104" y="176"/>
                      </a:lnTo>
                      <a:lnTo>
                        <a:pt x="104" y="176"/>
                      </a:lnTo>
                      <a:lnTo>
                        <a:pt x="107" y="176"/>
                      </a:lnTo>
                      <a:lnTo>
                        <a:pt x="107" y="178"/>
                      </a:lnTo>
                      <a:lnTo>
                        <a:pt x="109" y="178"/>
                      </a:lnTo>
                      <a:lnTo>
                        <a:pt x="111" y="181"/>
                      </a:lnTo>
                      <a:lnTo>
                        <a:pt x="114" y="183"/>
                      </a:lnTo>
                      <a:lnTo>
                        <a:pt x="116" y="183"/>
                      </a:lnTo>
                      <a:lnTo>
                        <a:pt x="116" y="185"/>
                      </a:lnTo>
                      <a:lnTo>
                        <a:pt x="116" y="185"/>
                      </a:lnTo>
                      <a:lnTo>
                        <a:pt x="116" y="188"/>
                      </a:lnTo>
                      <a:lnTo>
                        <a:pt x="118" y="188"/>
                      </a:lnTo>
                      <a:lnTo>
                        <a:pt x="121" y="188"/>
                      </a:lnTo>
                      <a:lnTo>
                        <a:pt x="126" y="190"/>
                      </a:lnTo>
                      <a:lnTo>
                        <a:pt x="128" y="192"/>
                      </a:lnTo>
                      <a:lnTo>
                        <a:pt x="130" y="195"/>
                      </a:lnTo>
                      <a:lnTo>
                        <a:pt x="130" y="195"/>
                      </a:lnTo>
                      <a:lnTo>
                        <a:pt x="133" y="192"/>
                      </a:lnTo>
                      <a:lnTo>
                        <a:pt x="135" y="192"/>
                      </a:lnTo>
                      <a:lnTo>
                        <a:pt x="137" y="192"/>
                      </a:lnTo>
                      <a:lnTo>
                        <a:pt x="140" y="190"/>
                      </a:lnTo>
                      <a:lnTo>
                        <a:pt x="140" y="190"/>
                      </a:lnTo>
                      <a:lnTo>
                        <a:pt x="137" y="188"/>
                      </a:lnTo>
                      <a:lnTo>
                        <a:pt x="137" y="185"/>
                      </a:lnTo>
                      <a:lnTo>
                        <a:pt x="140" y="183"/>
                      </a:lnTo>
                      <a:lnTo>
                        <a:pt x="142" y="183"/>
                      </a:lnTo>
                      <a:lnTo>
                        <a:pt x="140" y="183"/>
                      </a:lnTo>
                      <a:lnTo>
                        <a:pt x="140" y="183"/>
                      </a:lnTo>
                      <a:lnTo>
                        <a:pt x="137" y="181"/>
                      </a:lnTo>
                      <a:lnTo>
                        <a:pt x="140" y="178"/>
                      </a:lnTo>
                      <a:lnTo>
                        <a:pt x="142" y="176"/>
                      </a:lnTo>
                      <a:lnTo>
                        <a:pt x="144" y="173"/>
                      </a:lnTo>
                      <a:lnTo>
                        <a:pt x="144" y="171"/>
                      </a:lnTo>
                      <a:lnTo>
                        <a:pt x="142" y="164"/>
                      </a:lnTo>
                      <a:lnTo>
                        <a:pt x="142" y="164"/>
                      </a:lnTo>
                      <a:lnTo>
                        <a:pt x="142" y="162"/>
                      </a:lnTo>
                      <a:lnTo>
                        <a:pt x="142" y="159"/>
                      </a:lnTo>
                      <a:lnTo>
                        <a:pt x="142" y="157"/>
                      </a:lnTo>
                      <a:lnTo>
                        <a:pt x="142" y="157"/>
                      </a:lnTo>
                      <a:lnTo>
                        <a:pt x="144" y="152"/>
                      </a:lnTo>
                      <a:lnTo>
                        <a:pt x="144" y="145"/>
                      </a:lnTo>
                      <a:lnTo>
                        <a:pt x="142" y="143"/>
                      </a:lnTo>
                      <a:lnTo>
                        <a:pt x="144" y="140"/>
                      </a:lnTo>
                      <a:lnTo>
                        <a:pt x="144" y="133"/>
                      </a:lnTo>
                      <a:lnTo>
                        <a:pt x="144" y="128"/>
                      </a:lnTo>
                      <a:lnTo>
                        <a:pt x="144" y="128"/>
                      </a:lnTo>
                      <a:lnTo>
                        <a:pt x="135" y="114"/>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8" name="Freeform 193">
                  <a:extLst>
                    <a:ext uri="{FF2B5EF4-FFF2-40B4-BE49-F238E27FC236}">
                      <a16:creationId xmlns:a16="http://schemas.microsoft.com/office/drawing/2014/main" id="{73A39130-65F9-0763-C680-8AFB96B55EBC}"/>
                    </a:ext>
                  </a:extLst>
                </p:cNvPr>
                <p:cNvSpPr>
                  <a:spLocks/>
                </p:cNvSpPr>
                <p:nvPr/>
              </p:nvSpPr>
              <p:spPr bwMode="auto">
                <a:xfrm>
                  <a:off x="1878" y="2704"/>
                  <a:ext cx="142" cy="142"/>
                </a:xfrm>
                <a:custGeom>
                  <a:avLst/>
                  <a:gdLst>
                    <a:gd name="T0" fmla="*/ 135 w 142"/>
                    <a:gd name="T1" fmla="*/ 104 h 142"/>
                    <a:gd name="T2" fmla="*/ 135 w 142"/>
                    <a:gd name="T3" fmla="*/ 81 h 142"/>
                    <a:gd name="T4" fmla="*/ 128 w 142"/>
                    <a:gd name="T5" fmla="*/ 69 h 142"/>
                    <a:gd name="T6" fmla="*/ 104 w 142"/>
                    <a:gd name="T7" fmla="*/ 57 h 142"/>
                    <a:gd name="T8" fmla="*/ 106 w 142"/>
                    <a:gd name="T9" fmla="*/ 47 h 142"/>
                    <a:gd name="T10" fmla="*/ 92 w 142"/>
                    <a:gd name="T11" fmla="*/ 43 h 142"/>
                    <a:gd name="T12" fmla="*/ 88 w 142"/>
                    <a:gd name="T13" fmla="*/ 38 h 142"/>
                    <a:gd name="T14" fmla="*/ 78 w 142"/>
                    <a:gd name="T15" fmla="*/ 36 h 142"/>
                    <a:gd name="T16" fmla="*/ 66 w 142"/>
                    <a:gd name="T17" fmla="*/ 28 h 142"/>
                    <a:gd name="T18" fmla="*/ 59 w 142"/>
                    <a:gd name="T19" fmla="*/ 28 h 142"/>
                    <a:gd name="T20" fmla="*/ 52 w 142"/>
                    <a:gd name="T21" fmla="*/ 21 h 142"/>
                    <a:gd name="T22" fmla="*/ 47 w 142"/>
                    <a:gd name="T23" fmla="*/ 14 h 142"/>
                    <a:gd name="T24" fmla="*/ 47 w 142"/>
                    <a:gd name="T25" fmla="*/ 5 h 142"/>
                    <a:gd name="T26" fmla="*/ 43 w 142"/>
                    <a:gd name="T27" fmla="*/ 2 h 142"/>
                    <a:gd name="T28" fmla="*/ 35 w 142"/>
                    <a:gd name="T29" fmla="*/ 2 h 142"/>
                    <a:gd name="T30" fmla="*/ 24 w 142"/>
                    <a:gd name="T31" fmla="*/ 9 h 142"/>
                    <a:gd name="T32" fmla="*/ 17 w 142"/>
                    <a:gd name="T33" fmla="*/ 14 h 142"/>
                    <a:gd name="T34" fmla="*/ 7 w 142"/>
                    <a:gd name="T35" fmla="*/ 14 h 142"/>
                    <a:gd name="T36" fmla="*/ 9 w 142"/>
                    <a:gd name="T37" fmla="*/ 28 h 142"/>
                    <a:gd name="T38" fmla="*/ 7 w 142"/>
                    <a:gd name="T39" fmla="*/ 43 h 142"/>
                    <a:gd name="T40" fmla="*/ 7 w 142"/>
                    <a:gd name="T41" fmla="*/ 57 h 142"/>
                    <a:gd name="T42" fmla="*/ 7 w 142"/>
                    <a:gd name="T43" fmla="*/ 62 h 142"/>
                    <a:gd name="T44" fmla="*/ 9 w 142"/>
                    <a:gd name="T45" fmla="*/ 71 h 142"/>
                    <a:gd name="T46" fmla="*/ 5 w 142"/>
                    <a:gd name="T47" fmla="*/ 78 h 142"/>
                    <a:gd name="T48" fmla="*/ 5 w 142"/>
                    <a:gd name="T49" fmla="*/ 83 h 142"/>
                    <a:gd name="T50" fmla="*/ 7 w 142"/>
                    <a:gd name="T51" fmla="*/ 88 h 142"/>
                    <a:gd name="T52" fmla="*/ 9 w 142"/>
                    <a:gd name="T53" fmla="*/ 92 h 142"/>
                    <a:gd name="T54" fmla="*/ 12 w 142"/>
                    <a:gd name="T55" fmla="*/ 97 h 142"/>
                    <a:gd name="T56" fmla="*/ 19 w 142"/>
                    <a:gd name="T57" fmla="*/ 107 h 142"/>
                    <a:gd name="T58" fmla="*/ 14 w 142"/>
                    <a:gd name="T59" fmla="*/ 116 h 142"/>
                    <a:gd name="T60" fmla="*/ 31 w 142"/>
                    <a:gd name="T61" fmla="*/ 142 h 142"/>
                    <a:gd name="T62" fmla="*/ 35 w 142"/>
                    <a:gd name="T63" fmla="*/ 142 h 142"/>
                    <a:gd name="T64" fmla="*/ 40 w 142"/>
                    <a:gd name="T65" fmla="*/ 137 h 142"/>
                    <a:gd name="T66" fmla="*/ 50 w 142"/>
                    <a:gd name="T67" fmla="*/ 133 h 142"/>
                    <a:gd name="T68" fmla="*/ 57 w 142"/>
                    <a:gd name="T69" fmla="*/ 133 h 142"/>
                    <a:gd name="T70" fmla="*/ 64 w 142"/>
                    <a:gd name="T71" fmla="*/ 135 h 142"/>
                    <a:gd name="T72" fmla="*/ 69 w 142"/>
                    <a:gd name="T73" fmla="*/ 140 h 142"/>
                    <a:gd name="T74" fmla="*/ 69 w 142"/>
                    <a:gd name="T75" fmla="*/ 135 h 142"/>
                    <a:gd name="T76" fmla="*/ 83 w 142"/>
                    <a:gd name="T77" fmla="*/ 133 h 142"/>
                    <a:gd name="T78" fmla="*/ 90 w 142"/>
                    <a:gd name="T79" fmla="*/ 126 h 142"/>
                    <a:gd name="T80" fmla="*/ 88 w 142"/>
                    <a:gd name="T81" fmla="*/ 118 h 142"/>
                    <a:gd name="T82" fmla="*/ 92 w 142"/>
                    <a:gd name="T83" fmla="*/ 107 h 142"/>
                    <a:gd name="T84" fmla="*/ 123 w 142"/>
                    <a:gd name="T85" fmla="*/ 102 h 142"/>
                    <a:gd name="T86" fmla="*/ 135 w 142"/>
                    <a:gd name="T87" fmla="*/ 109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2" h="142">
                      <a:moveTo>
                        <a:pt x="135" y="109"/>
                      </a:moveTo>
                      <a:lnTo>
                        <a:pt x="135" y="107"/>
                      </a:lnTo>
                      <a:lnTo>
                        <a:pt x="135" y="104"/>
                      </a:lnTo>
                      <a:lnTo>
                        <a:pt x="142" y="95"/>
                      </a:lnTo>
                      <a:lnTo>
                        <a:pt x="140" y="90"/>
                      </a:lnTo>
                      <a:lnTo>
                        <a:pt x="135" y="81"/>
                      </a:lnTo>
                      <a:lnTo>
                        <a:pt x="128" y="81"/>
                      </a:lnTo>
                      <a:lnTo>
                        <a:pt x="130" y="76"/>
                      </a:lnTo>
                      <a:lnTo>
                        <a:pt x="128" y="69"/>
                      </a:lnTo>
                      <a:lnTo>
                        <a:pt x="109" y="69"/>
                      </a:lnTo>
                      <a:lnTo>
                        <a:pt x="109" y="64"/>
                      </a:lnTo>
                      <a:lnTo>
                        <a:pt x="104" y="57"/>
                      </a:lnTo>
                      <a:lnTo>
                        <a:pt x="106" y="54"/>
                      </a:lnTo>
                      <a:lnTo>
                        <a:pt x="104" y="52"/>
                      </a:lnTo>
                      <a:lnTo>
                        <a:pt x="106" y="47"/>
                      </a:lnTo>
                      <a:lnTo>
                        <a:pt x="104" y="45"/>
                      </a:lnTo>
                      <a:lnTo>
                        <a:pt x="99" y="43"/>
                      </a:lnTo>
                      <a:lnTo>
                        <a:pt x="92" y="43"/>
                      </a:lnTo>
                      <a:lnTo>
                        <a:pt x="90" y="40"/>
                      </a:lnTo>
                      <a:lnTo>
                        <a:pt x="88" y="40"/>
                      </a:lnTo>
                      <a:lnTo>
                        <a:pt x="88" y="38"/>
                      </a:lnTo>
                      <a:lnTo>
                        <a:pt x="85" y="38"/>
                      </a:lnTo>
                      <a:lnTo>
                        <a:pt x="80" y="36"/>
                      </a:lnTo>
                      <a:lnTo>
                        <a:pt x="78" y="36"/>
                      </a:lnTo>
                      <a:lnTo>
                        <a:pt x="73" y="31"/>
                      </a:lnTo>
                      <a:lnTo>
                        <a:pt x="71" y="33"/>
                      </a:lnTo>
                      <a:lnTo>
                        <a:pt x="66" y="28"/>
                      </a:lnTo>
                      <a:lnTo>
                        <a:pt x="62" y="31"/>
                      </a:lnTo>
                      <a:lnTo>
                        <a:pt x="62" y="31"/>
                      </a:lnTo>
                      <a:lnTo>
                        <a:pt x="59" y="28"/>
                      </a:lnTo>
                      <a:lnTo>
                        <a:pt x="54" y="26"/>
                      </a:lnTo>
                      <a:lnTo>
                        <a:pt x="52" y="26"/>
                      </a:lnTo>
                      <a:lnTo>
                        <a:pt x="52" y="21"/>
                      </a:lnTo>
                      <a:lnTo>
                        <a:pt x="50" y="21"/>
                      </a:lnTo>
                      <a:lnTo>
                        <a:pt x="47" y="17"/>
                      </a:lnTo>
                      <a:lnTo>
                        <a:pt x="47" y="14"/>
                      </a:lnTo>
                      <a:lnTo>
                        <a:pt x="47" y="9"/>
                      </a:lnTo>
                      <a:lnTo>
                        <a:pt x="47" y="7"/>
                      </a:lnTo>
                      <a:lnTo>
                        <a:pt x="47" y="5"/>
                      </a:lnTo>
                      <a:lnTo>
                        <a:pt x="47" y="2"/>
                      </a:lnTo>
                      <a:lnTo>
                        <a:pt x="45" y="0"/>
                      </a:lnTo>
                      <a:lnTo>
                        <a:pt x="43" y="2"/>
                      </a:lnTo>
                      <a:lnTo>
                        <a:pt x="40" y="0"/>
                      </a:lnTo>
                      <a:lnTo>
                        <a:pt x="38" y="0"/>
                      </a:lnTo>
                      <a:lnTo>
                        <a:pt x="35" y="2"/>
                      </a:lnTo>
                      <a:lnTo>
                        <a:pt x="31" y="2"/>
                      </a:lnTo>
                      <a:lnTo>
                        <a:pt x="26" y="5"/>
                      </a:lnTo>
                      <a:lnTo>
                        <a:pt x="24" y="9"/>
                      </a:lnTo>
                      <a:lnTo>
                        <a:pt x="21" y="12"/>
                      </a:lnTo>
                      <a:lnTo>
                        <a:pt x="19" y="12"/>
                      </a:lnTo>
                      <a:lnTo>
                        <a:pt x="17" y="14"/>
                      </a:lnTo>
                      <a:lnTo>
                        <a:pt x="14" y="14"/>
                      </a:lnTo>
                      <a:lnTo>
                        <a:pt x="9" y="14"/>
                      </a:lnTo>
                      <a:lnTo>
                        <a:pt x="7" y="14"/>
                      </a:lnTo>
                      <a:lnTo>
                        <a:pt x="0" y="14"/>
                      </a:lnTo>
                      <a:lnTo>
                        <a:pt x="9" y="28"/>
                      </a:lnTo>
                      <a:lnTo>
                        <a:pt x="9" y="28"/>
                      </a:lnTo>
                      <a:lnTo>
                        <a:pt x="9" y="33"/>
                      </a:lnTo>
                      <a:lnTo>
                        <a:pt x="9" y="40"/>
                      </a:lnTo>
                      <a:lnTo>
                        <a:pt x="7" y="43"/>
                      </a:lnTo>
                      <a:lnTo>
                        <a:pt x="9" y="45"/>
                      </a:lnTo>
                      <a:lnTo>
                        <a:pt x="9" y="52"/>
                      </a:lnTo>
                      <a:lnTo>
                        <a:pt x="7" y="57"/>
                      </a:lnTo>
                      <a:lnTo>
                        <a:pt x="7" y="57"/>
                      </a:lnTo>
                      <a:lnTo>
                        <a:pt x="7" y="59"/>
                      </a:lnTo>
                      <a:lnTo>
                        <a:pt x="7" y="62"/>
                      </a:lnTo>
                      <a:lnTo>
                        <a:pt x="7" y="64"/>
                      </a:lnTo>
                      <a:lnTo>
                        <a:pt x="7" y="64"/>
                      </a:lnTo>
                      <a:lnTo>
                        <a:pt x="9" y="71"/>
                      </a:lnTo>
                      <a:lnTo>
                        <a:pt x="9" y="73"/>
                      </a:lnTo>
                      <a:lnTo>
                        <a:pt x="7" y="76"/>
                      </a:lnTo>
                      <a:lnTo>
                        <a:pt x="5" y="78"/>
                      </a:lnTo>
                      <a:lnTo>
                        <a:pt x="2" y="81"/>
                      </a:lnTo>
                      <a:lnTo>
                        <a:pt x="5" y="83"/>
                      </a:lnTo>
                      <a:lnTo>
                        <a:pt x="5" y="83"/>
                      </a:lnTo>
                      <a:lnTo>
                        <a:pt x="7" y="83"/>
                      </a:lnTo>
                      <a:lnTo>
                        <a:pt x="7" y="85"/>
                      </a:lnTo>
                      <a:lnTo>
                        <a:pt x="7" y="88"/>
                      </a:lnTo>
                      <a:lnTo>
                        <a:pt x="9" y="88"/>
                      </a:lnTo>
                      <a:lnTo>
                        <a:pt x="9" y="90"/>
                      </a:lnTo>
                      <a:lnTo>
                        <a:pt x="9" y="92"/>
                      </a:lnTo>
                      <a:lnTo>
                        <a:pt x="9" y="92"/>
                      </a:lnTo>
                      <a:lnTo>
                        <a:pt x="9" y="95"/>
                      </a:lnTo>
                      <a:lnTo>
                        <a:pt x="12" y="97"/>
                      </a:lnTo>
                      <a:lnTo>
                        <a:pt x="12" y="100"/>
                      </a:lnTo>
                      <a:lnTo>
                        <a:pt x="19" y="104"/>
                      </a:lnTo>
                      <a:lnTo>
                        <a:pt x="19" y="107"/>
                      </a:lnTo>
                      <a:lnTo>
                        <a:pt x="17" y="109"/>
                      </a:lnTo>
                      <a:lnTo>
                        <a:pt x="19" y="111"/>
                      </a:lnTo>
                      <a:lnTo>
                        <a:pt x="14" y="116"/>
                      </a:lnTo>
                      <a:lnTo>
                        <a:pt x="17" y="118"/>
                      </a:lnTo>
                      <a:lnTo>
                        <a:pt x="21" y="123"/>
                      </a:lnTo>
                      <a:lnTo>
                        <a:pt x="31" y="142"/>
                      </a:lnTo>
                      <a:lnTo>
                        <a:pt x="33" y="142"/>
                      </a:lnTo>
                      <a:lnTo>
                        <a:pt x="35" y="142"/>
                      </a:lnTo>
                      <a:lnTo>
                        <a:pt x="35" y="142"/>
                      </a:lnTo>
                      <a:lnTo>
                        <a:pt x="35" y="142"/>
                      </a:lnTo>
                      <a:lnTo>
                        <a:pt x="38" y="140"/>
                      </a:lnTo>
                      <a:lnTo>
                        <a:pt x="40" y="137"/>
                      </a:lnTo>
                      <a:lnTo>
                        <a:pt x="45" y="133"/>
                      </a:lnTo>
                      <a:lnTo>
                        <a:pt x="47" y="130"/>
                      </a:lnTo>
                      <a:lnTo>
                        <a:pt x="50" y="133"/>
                      </a:lnTo>
                      <a:lnTo>
                        <a:pt x="52" y="133"/>
                      </a:lnTo>
                      <a:lnTo>
                        <a:pt x="54" y="133"/>
                      </a:lnTo>
                      <a:lnTo>
                        <a:pt x="57" y="133"/>
                      </a:lnTo>
                      <a:lnTo>
                        <a:pt x="62" y="133"/>
                      </a:lnTo>
                      <a:lnTo>
                        <a:pt x="64" y="133"/>
                      </a:lnTo>
                      <a:lnTo>
                        <a:pt x="64" y="135"/>
                      </a:lnTo>
                      <a:lnTo>
                        <a:pt x="66" y="140"/>
                      </a:lnTo>
                      <a:lnTo>
                        <a:pt x="66" y="142"/>
                      </a:lnTo>
                      <a:lnTo>
                        <a:pt x="69" y="140"/>
                      </a:lnTo>
                      <a:lnTo>
                        <a:pt x="69" y="137"/>
                      </a:lnTo>
                      <a:lnTo>
                        <a:pt x="69" y="135"/>
                      </a:lnTo>
                      <a:lnTo>
                        <a:pt x="69" y="135"/>
                      </a:lnTo>
                      <a:lnTo>
                        <a:pt x="71" y="133"/>
                      </a:lnTo>
                      <a:lnTo>
                        <a:pt x="78" y="133"/>
                      </a:lnTo>
                      <a:lnTo>
                        <a:pt x="83" y="133"/>
                      </a:lnTo>
                      <a:lnTo>
                        <a:pt x="85" y="133"/>
                      </a:lnTo>
                      <a:lnTo>
                        <a:pt x="85" y="130"/>
                      </a:lnTo>
                      <a:lnTo>
                        <a:pt x="90" y="126"/>
                      </a:lnTo>
                      <a:lnTo>
                        <a:pt x="90" y="121"/>
                      </a:lnTo>
                      <a:lnTo>
                        <a:pt x="88" y="118"/>
                      </a:lnTo>
                      <a:lnTo>
                        <a:pt x="88" y="118"/>
                      </a:lnTo>
                      <a:lnTo>
                        <a:pt x="92" y="114"/>
                      </a:lnTo>
                      <a:lnTo>
                        <a:pt x="92" y="109"/>
                      </a:lnTo>
                      <a:lnTo>
                        <a:pt x="92" y="107"/>
                      </a:lnTo>
                      <a:lnTo>
                        <a:pt x="95" y="107"/>
                      </a:lnTo>
                      <a:lnTo>
                        <a:pt x="111" y="102"/>
                      </a:lnTo>
                      <a:lnTo>
                        <a:pt x="123" y="102"/>
                      </a:lnTo>
                      <a:lnTo>
                        <a:pt x="130" y="107"/>
                      </a:lnTo>
                      <a:lnTo>
                        <a:pt x="132" y="107"/>
                      </a:lnTo>
                      <a:lnTo>
                        <a:pt x="135" y="109"/>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 name="Freeform 194">
                  <a:extLst>
                    <a:ext uri="{FF2B5EF4-FFF2-40B4-BE49-F238E27FC236}">
                      <a16:creationId xmlns:a16="http://schemas.microsoft.com/office/drawing/2014/main" id="{001463CF-E6F5-C87F-0E0D-C149B8F9A4E5}"/>
                    </a:ext>
                  </a:extLst>
                </p:cNvPr>
                <p:cNvSpPr>
                  <a:spLocks/>
                </p:cNvSpPr>
                <p:nvPr/>
              </p:nvSpPr>
              <p:spPr bwMode="auto">
                <a:xfrm>
                  <a:off x="1963" y="2806"/>
                  <a:ext cx="97" cy="92"/>
                </a:xfrm>
                <a:custGeom>
                  <a:avLst/>
                  <a:gdLst>
                    <a:gd name="T0" fmla="*/ 0 w 97"/>
                    <a:gd name="T1" fmla="*/ 28 h 92"/>
                    <a:gd name="T2" fmla="*/ 5 w 97"/>
                    <a:gd name="T3" fmla="*/ 19 h 92"/>
                    <a:gd name="T4" fmla="*/ 3 w 97"/>
                    <a:gd name="T5" fmla="*/ 16 h 92"/>
                    <a:gd name="T6" fmla="*/ 7 w 97"/>
                    <a:gd name="T7" fmla="*/ 7 h 92"/>
                    <a:gd name="T8" fmla="*/ 10 w 97"/>
                    <a:gd name="T9" fmla="*/ 5 h 92"/>
                    <a:gd name="T10" fmla="*/ 38 w 97"/>
                    <a:gd name="T11" fmla="*/ 0 h 92"/>
                    <a:gd name="T12" fmla="*/ 47 w 97"/>
                    <a:gd name="T13" fmla="*/ 5 h 92"/>
                    <a:gd name="T14" fmla="*/ 50 w 97"/>
                    <a:gd name="T15" fmla="*/ 9 h 92"/>
                    <a:gd name="T16" fmla="*/ 52 w 97"/>
                    <a:gd name="T17" fmla="*/ 14 h 92"/>
                    <a:gd name="T18" fmla="*/ 55 w 97"/>
                    <a:gd name="T19" fmla="*/ 24 h 92"/>
                    <a:gd name="T20" fmla="*/ 55 w 97"/>
                    <a:gd name="T21" fmla="*/ 28 h 92"/>
                    <a:gd name="T22" fmla="*/ 59 w 97"/>
                    <a:gd name="T23" fmla="*/ 31 h 92"/>
                    <a:gd name="T24" fmla="*/ 66 w 97"/>
                    <a:gd name="T25" fmla="*/ 31 h 92"/>
                    <a:gd name="T26" fmla="*/ 74 w 97"/>
                    <a:gd name="T27" fmla="*/ 31 h 92"/>
                    <a:gd name="T28" fmla="*/ 78 w 97"/>
                    <a:gd name="T29" fmla="*/ 33 h 92"/>
                    <a:gd name="T30" fmla="*/ 83 w 97"/>
                    <a:gd name="T31" fmla="*/ 47 h 92"/>
                    <a:gd name="T32" fmla="*/ 88 w 97"/>
                    <a:gd name="T33" fmla="*/ 50 h 92"/>
                    <a:gd name="T34" fmla="*/ 92 w 97"/>
                    <a:gd name="T35" fmla="*/ 50 h 92"/>
                    <a:gd name="T36" fmla="*/ 97 w 97"/>
                    <a:gd name="T37" fmla="*/ 52 h 92"/>
                    <a:gd name="T38" fmla="*/ 95 w 97"/>
                    <a:gd name="T39" fmla="*/ 62 h 92"/>
                    <a:gd name="T40" fmla="*/ 95 w 97"/>
                    <a:gd name="T41" fmla="*/ 64 h 92"/>
                    <a:gd name="T42" fmla="*/ 95 w 97"/>
                    <a:gd name="T43" fmla="*/ 66 h 92"/>
                    <a:gd name="T44" fmla="*/ 95 w 97"/>
                    <a:gd name="T45" fmla="*/ 69 h 92"/>
                    <a:gd name="T46" fmla="*/ 95 w 97"/>
                    <a:gd name="T47" fmla="*/ 71 h 92"/>
                    <a:gd name="T48" fmla="*/ 92 w 97"/>
                    <a:gd name="T49" fmla="*/ 78 h 92"/>
                    <a:gd name="T50" fmla="*/ 90 w 97"/>
                    <a:gd name="T51" fmla="*/ 83 h 92"/>
                    <a:gd name="T52" fmla="*/ 83 w 97"/>
                    <a:gd name="T53" fmla="*/ 88 h 92"/>
                    <a:gd name="T54" fmla="*/ 78 w 97"/>
                    <a:gd name="T55" fmla="*/ 90 h 92"/>
                    <a:gd name="T56" fmla="*/ 76 w 97"/>
                    <a:gd name="T57" fmla="*/ 92 h 92"/>
                    <a:gd name="T58" fmla="*/ 74 w 97"/>
                    <a:gd name="T59" fmla="*/ 92 h 92"/>
                    <a:gd name="T60" fmla="*/ 66 w 97"/>
                    <a:gd name="T61" fmla="*/ 90 h 92"/>
                    <a:gd name="T62" fmla="*/ 50 w 97"/>
                    <a:gd name="T63" fmla="*/ 90 h 92"/>
                    <a:gd name="T64" fmla="*/ 50 w 97"/>
                    <a:gd name="T65" fmla="*/ 88 h 92"/>
                    <a:gd name="T66" fmla="*/ 55 w 97"/>
                    <a:gd name="T67" fmla="*/ 80 h 92"/>
                    <a:gd name="T68" fmla="*/ 55 w 97"/>
                    <a:gd name="T69" fmla="*/ 76 h 92"/>
                    <a:gd name="T70" fmla="*/ 59 w 97"/>
                    <a:gd name="T71" fmla="*/ 71 h 92"/>
                    <a:gd name="T72" fmla="*/ 59 w 97"/>
                    <a:gd name="T73" fmla="*/ 66 h 92"/>
                    <a:gd name="T74" fmla="*/ 52 w 97"/>
                    <a:gd name="T75" fmla="*/ 62 h 92"/>
                    <a:gd name="T76" fmla="*/ 40 w 97"/>
                    <a:gd name="T77" fmla="*/ 59 h 92"/>
                    <a:gd name="T78" fmla="*/ 33 w 97"/>
                    <a:gd name="T79" fmla="*/ 54 h 92"/>
                    <a:gd name="T80" fmla="*/ 21 w 97"/>
                    <a:gd name="T81" fmla="*/ 52 h 92"/>
                    <a:gd name="T82" fmla="*/ 17 w 97"/>
                    <a:gd name="T83" fmla="*/ 47 h 92"/>
                    <a:gd name="T84" fmla="*/ 7 w 97"/>
                    <a:gd name="T85" fmla="*/ 40 h 92"/>
                    <a:gd name="T86" fmla="*/ 3 w 97"/>
                    <a:gd name="T87" fmla="*/ 35 h 92"/>
                    <a:gd name="T88" fmla="*/ 0 w 97"/>
                    <a:gd name="T89" fmla="*/ 31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7" h="92">
                      <a:moveTo>
                        <a:pt x="0" y="31"/>
                      </a:moveTo>
                      <a:lnTo>
                        <a:pt x="0" y="28"/>
                      </a:lnTo>
                      <a:lnTo>
                        <a:pt x="5" y="24"/>
                      </a:lnTo>
                      <a:lnTo>
                        <a:pt x="5" y="19"/>
                      </a:lnTo>
                      <a:lnTo>
                        <a:pt x="3" y="16"/>
                      </a:lnTo>
                      <a:lnTo>
                        <a:pt x="3" y="16"/>
                      </a:lnTo>
                      <a:lnTo>
                        <a:pt x="7" y="12"/>
                      </a:lnTo>
                      <a:lnTo>
                        <a:pt x="7" y="7"/>
                      </a:lnTo>
                      <a:lnTo>
                        <a:pt x="7" y="5"/>
                      </a:lnTo>
                      <a:lnTo>
                        <a:pt x="10" y="5"/>
                      </a:lnTo>
                      <a:lnTo>
                        <a:pt x="26" y="0"/>
                      </a:lnTo>
                      <a:lnTo>
                        <a:pt x="38" y="0"/>
                      </a:lnTo>
                      <a:lnTo>
                        <a:pt x="45" y="5"/>
                      </a:lnTo>
                      <a:lnTo>
                        <a:pt x="47" y="5"/>
                      </a:lnTo>
                      <a:lnTo>
                        <a:pt x="50" y="7"/>
                      </a:lnTo>
                      <a:lnTo>
                        <a:pt x="50" y="9"/>
                      </a:lnTo>
                      <a:lnTo>
                        <a:pt x="52" y="12"/>
                      </a:lnTo>
                      <a:lnTo>
                        <a:pt x="52" y="14"/>
                      </a:lnTo>
                      <a:lnTo>
                        <a:pt x="55" y="19"/>
                      </a:lnTo>
                      <a:lnTo>
                        <a:pt x="55" y="24"/>
                      </a:lnTo>
                      <a:lnTo>
                        <a:pt x="55" y="26"/>
                      </a:lnTo>
                      <a:lnTo>
                        <a:pt x="55" y="28"/>
                      </a:lnTo>
                      <a:lnTo>
                        <a:pt x="55" y="31"/>
                      </a:lnTo>
                      <a:lnTo>
                        <a:pt x="59" y="31"/>
                      </a:lnTo>
                      <a:lnTo>
                        <a:pt x="59" y="31"/>
                      </a:lnTo>
                      <a:lnTo>
                        <a:pt x="66" y="31"/>
                      </a:lnTo>
                      <a:lnTo>
                        <a:pt x="69" y="33"/>
                      </a:lnTo>
                      <a:lnTo>
                        <a:pt x="74" y="31"/>
                      </a:lnTo>
                      <a:lnTo>
                        <a:pt x="76" y="33"/>
                      </a:lnTo>
                      <a:lnTo>
                        <a:pt x="78" y="33"/>
                      </a:lnTo>
                      <a:lnTo>
                        <a:pt x="81" y="35"/>
                      </a:lnTo>
                      <a:lnTo>
                        <a:pt x="83" y="47"/>
                      </a:lnTo>
                      <a:lnTo>
                        <a:pt x="85" y="50"/>
                      </a:lnTo>
                      <a:lnTo>
                        <a:pt x="88" y="50"/>
                      </a:lnTo>
                      <a:lnTo>
                        <a:pt x="90" y="47"/>
                      </a:lnTo>
                      <a:lnTo>
                        <a:pt x="92" y="50"/>
                      </a:lnTo>
                      <a:lnTo>
                        <a:pt x="95" y="50"/>
                      </a:lnTo>
                      <a:lnTo>
                        <a:pt x="97" y="52"/>
                      </a:lnTo>
                      <a:lnTo>
                        <a:pt x="95" y="52"/>
                      </a:lnTo>
                      <a:lnTo>
                        <a:pt x="95" y="62"/>
                      </a:lnTo>
                      <a:lnTo>
                        <a:pt x="95" y="64"/>
                      </a:lnTo>
                      <a:lnTo>
                        <a:pt x="95" y="64"/>
                      </a:lnTo>
                      <a:lnTo>
                        <a:pt x="95" y="64"/>
                      </a:lnTo>
                      <a:lnTo>
                        <a:pt x="95" y="66"/>
                      </a:lnTo>
                      <a:lnTo>
                        <a:pt x="95" y="66"/>
                      </a:lnTo>
                      <a:lnTo>
                        <a:pt x="95" y="69"/>
                      </a:lnTo>
                      <a:lnTo>
                        <a:pt x="92" y="71"/>
                      </a:lnTo>
                      <a:lnTo>
                        <a:pt x="95" y="71"/>
                      </a:lnTo>
                      <a:lnTo>
                        <a:pt x="92" y="76"/>
                      </a:lnTo>
                      <a:lnTo>
                        <a:pt x="92" y="78"/>
                      </a:lnTo>
                      <a:lnTo>
                        <a:pt x="90" y="80"/>
                      </a:lnTo>
                      <a:lnTo>
                        <a:pt x="90" y="83"/>
                      </a:lnTo>
                      <a:lnTo>
                        <a:pt x="85" y="85"/>
                      </a:lnTo>
                      <a:lnTo>
                        <a:pt x="83" y="88"/>
                      </a:lnTo>
                      <a:lnTo>
                        <a:pt x="81" y="90"/>
                      </a:lnTo>
                      <a:lnTo>
                        <a:pt x="78" y="90"/>
                      </a:lnTo>
                      <a:lnTo>
                        <a:pt x="78" y="90"/>
                      </a:lnTo>
                      <a:lnTo>
                        <a:pt x="76" y="92"/>
                      </a:lnTo>
                      <a:lnTo>
                        <a:pt x="74" y="92"/>
                      </a:lnTo>
                      <a:lnTo>
                        <a:pt x="74" y="92"/>
                      </a:lnTo>
                      <a:lnTo>
                        <a:pt x="71" y="92"/>
                      </a:lnTo>
                      <a:lnTo>
                        <a:pt x="66" y="90"/>
                      </a:lnTo>
                      <a:lnTo>
                        <a:pt x="59" y="88"/>
                      </a:lnTo>
                      <a:lnTo>
                        <a:pt x="50" y="90"/>
                      </a:lnTo>
                      <a:lnTo>
                        <a:pt x="50" y="90"/>
                      </a:lnTo>
                      <a:lnTo>
                        <a:pt x="50" y="88"/>
                      </a:lnTo>
                      <a:lnTo>
                        <a:pt x="52" y="83"/>
                      </a:lnTo>
                      <a:lnTo>
                        <a:pt x="55" y="80"/>
                      </a:lnTo>
                      <a:lnTo>
                        <a:pt x="55" y="78"/>
                      </a:lnTo>
                      <a:lnTo>
                        <a:pt x="55" y="76"/>
                      </a:lnTo>
                      <a:lnTo>
                        <a:pt x="57" y="73"/>
                      </a:lnTo>
                      <a:lnTo>
                        <a:pt x="59" y="71"/>
                      </a:lnTo>
                      <a:lnTo>
                        <a:pt x="59" y="69"/>
                      </a:lnTo>
                      <a:lnTo>
                        <a:pt x="59" y="66"/>
                      </a:lnTo>
                      <a:lnTo>
                        <a:pt x="55" y="64"/>
                      </a:lnTo>
                      <a:lnTo>
                        <a:pt x="52" y="62"/>
                      </a:lnTo>
                      <a:lnTo>
                        <a:pt x="45" y="62"/>
                      </a:lnTo>
                      <a:lnTo>
                        <a:pt x="40" y="59"/>
                      </a:lnTo>
                      <a:lnTo>
                        <a:pt x="36" y="54"/>
                      </a:lnTo>
                      <a:lnTo>
                        <a:pt x="33" y="54"/>
                      </a:lnTo>
                      <a:lnTo>
                        <a:pt x="29" y="52"/>
                      </a:lnTo>
                      <a:lnTo>
                        <a:pt x="21" y="52"/>
                      </a:lnTo>
                      <a:lnTo>
                        <a:pt x="21" y="47"/>
                      </a:lnTo>
                      <a:lnTo>
                        <a:pt x="17" y="47"/>
                      </a:lnTo>
                      <a:lnTo>
                        <a:pt x="14" y="45"/>
                      </a:lnTo>
                      <a:lnTo>
                        <a:pt x="7" y="40"/>
                      </a:lnTo>
                      <a:lnTo>
                        <a:pt x="5" y="35"/>
                      </a:lnTo>
                      <a:lnTo>
                        <a:pt x="3" y="35"/>
                      </a:lnTo>
                      <a:lnTo>
                        <a:pt x="0" y="33"/>
                      </a:lnTo>
                      <a:lnTo>
                        <a:pt x="0" y="31"/>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0" name="Freeform 195">
                  <a:extLst>
                    <a:ext uri="{FF2B5EF4-FFF2-40B4-BE49-F238E27FC236}">
                      <a16:creationId xmlns:a16="http://schemas.microsoft.com/office/drawing/2014/main" id="{46CEA8DB-92E3-6353-BA4D-AEFA2018E36E}"/>
                    </a:ext>
                  </a:extLst>
                </p:cNvPr>
                <p:cNvSpPr>
                  <a:spLocks/>
                </p:cNvSpPr>
                <p:nvPr/>
              </p:nvSpPr>
              <p:spPr bwMode="auto">
                <a:xfrm>
                  <a:off x="2022" y="2927"/>
                  <a:ext cx="57" cy="57"/>
                </a:xfrm>
                <a:custGeom>
                  <a:avLst/>
                  <a:gdLst>
                    <a:gd name="T0" fmla="*/ 7 w 57"/>
                    <a:gd name="T1" fmla="*/ 0 h 57"/>
                    <a:gd name="T2" fmla="*/ 15 w 57"/>
                    <a:gd name="T3" fmla="*/ 0 h 57"/>
                    <a:gd name="T4" fmla="*/ 19 w 57"/>
                    <a:gd name="T5" fmla="*/ 2 h 57"/>
                    <a:gd name="T6" fmla="*/ 24 w 57"/>
                    <a:gd name="T7" fmla="*/ 7 h 57"/>
                    <a:gd name="T8" fmla="*/ 26 w 57"/>
                    <a:gd name="T9" fmla="*/ 12 h 57"/>
                    <a:gd name="T10" fmla="*/ 31 w 57"/>
                    <a:gd name="T11" fmla="*/ 9 h 57"/>
                    <a:gd name="T12" fmla="*/ 36 w 57"/>
                    <a:gd name="T13" fmla="*/ 14 h 57"/>
                    <a:gd name="T14" fmla="*/ 41 w 57"/>
                    <a:gd name="T15" fmla="*/ 16 h 57"/>
                    <a:gd name="T16" fmla="*/ 43 w 57"/>
                    <a:gd name="T17" fmla="*/ 19 h 57"/>
                    <a:gd name="T18" fmla="*/ 50 w 57"/>
                    <a:gd name="T19" fmla="*/ 23 h 57"/>
                    <a:gd name="T20" fmla="*/ 57 w 57"/>
                    <a:gd name="T21" fmla="*/ 31 h 57"/>
                    <a:gd name="T22" fmla="*/ 55 w 57"/>
                    <a:gd name="T23" fmla="*/ 35 h 57"/>
                    <a:gd name="T24" fmla="*/ 55 w 57"/>
                    <a:gd name="T25" fmla="*/ 38 h 57"/>
                    <a:gd name="T26" fmla="*/ 57 w 57"/>
                    <a:gd name="T27" fmla="*/ 40 h 57"/>
                    <a:gd name="T28" fmla="*/ 57 w 57"/>
                    <a:gd name="T29" fmla="*/ 42 h 57"/>
                    <a:gd name="T30" fmla="*/ 55 w 57"/>
                    <a:gd name="T31" fmla="*/ 47 h 57"/>
                    <a:gd name="T32" fmla="*/ 52 w 57"/>
                    <a:gd name="T33" fmla="*/ 50 h 57"/>
                    <a:gd name="T34" fmla="*/ 50 w 57"/>
                    <a:gd name="T35" fmla="*/ 52 h 57"/>
                    <a:gd name="T36" fmla="*/ 45 w 57"/>
                    <a:gd name="T37" fmla="*/ 57 h 57"/>
                    <a:gd name="T38" fmla="*/ 43 w 57"/>
                    <a:gd name="T39" fmla="*/ 57 h 57"/>
                    <a:gd name="T40" fmla="*/ 41 w 57"/>
                    <a:gd name="T41" fmla="*/ 57 h 57"/>
                    <a:gd name="T42" fmla="*/ 38 w 57"/>
                    <a:gd name="T43" fmla="*/ 57 h 57"/>
                    <a:gd name="T44" fmla="*/ 36 w 57"/>
                    <a:gd name="T45" fmla="*/ 57 h 57"/>
                    <a:gd name="T46" fmla="*/ 31 w 57"/>
                    <a:gd name="T47" fmla="*/ 57 h 57"/>
                    <a:gd name="T48" fmla="*/ 26 w 57"/>
                    <a:gd name="T49" fmla="*/ 57 h 57"/>
                    <a:gd name="T50" fmla="*/ 26 w 57"/>
                    <a:gd name="T51" fmla="*/ 57 h 57"/>
                    <a:gd name="T52" fmla="*/ 24 w 57"/>
                    <a:gd name="T53" fmla="*/ 54 h 57"/>
                    <a:gd name="T54" fmla="*/ 19 w 57"/>
                    <a:gd name="T55" fmla="*/ 52 h 57"/>
                    <a:gd name="T56" fmla="*/ 10 w 57"/>
                    <a:gd name="T57" fmla="*/ 54 h 57"/>
                    <a:gd name="T58" fmla="*/ 5 w 57"/>
                    <a:gd name="T59" fmla="*/ 50 h 57"/>
                    <a:gd name="T60" fmla="*/ 3 w 57"/>
                    <a:gd name="T61" fmla="*/ 45 h 57"/>
                    <a:gd name="T62" fmla="*/ 0 w 57"/>
                    <a:gd name="T63" fmla="*/ 38 h 57"/>
                    <a:gd name="T64" fmla="*/ 0 w 57"/>
                    <a:gd name="T65" fmla="*/ 38 h 57"/>
                    <a:gd name="T66" fmla="*/ 3 w 57"/>
                    <a:gd name="T67" fmla="*/ 33 h 57"/>
                    <a:gd name="T68" fmla="*/ 0 w 57"/>
                    <a:gd name="T69" fmla="*/ 26 h 57"/>
                    <a:gd name="T70" fmla="*/ 0 w 57"/>
                    <a:gd name="T71" fmla="*/ 21 h 57"/>
                    <a:gd name="T72" fmla="*/ 3 w 57"/>
                    <a:gd name="T73" fmla="*/ 16 h 57"/>
                    <a:gd name="T74" fmla="*/ 3 w 57"/>
                    <a:gd name="T75" fmla="*/ 12 h 57"/>
                    <a:gd name="T76" fmla="*/ 3 w 57"/>
                    <a:gd name="T77" fmla="*/ 7 h 57"/>
                    <a:gd name="T78" fmla="*/ 5 w 57"/>
                    <a:gd name="T79" fmla="*/ 2 h 57"/>
                    <a:gd name="T80" fmla="*/ 5 w 57"/>
                    <a:gd name="T81"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7" h="57">
                      <a:moveTo>
                        <a:pt x="5" y="0"/>
                      </a:moveTo>
                      <a:lnTo>
                        <a:pt x="7" y="0"/>
                      </a:lnTo>
                      <a:lnTo>
                        <a:pt x="10" y="0"/>
                      </a:lnTo>
                      <a:lnTo>
                        <a:pt x="15" y="0"/>
                      </a:lnTo>
                      <a:lnTo>
                        <a:pt x="17" y="0"/>
                      </a:lnTo>
                      <a:lnTo>
                        <a:pt x="19" y="2"/>
                      </a:lnTo>
                      <a:lnTo>
                        <a:pt x="22" y="5"/>
                      </a:lnTo>
                      <a:lnTo>
                        <a:pt x="24" y="7"/>
                      </a:lnTo>
                      <a:lnTo>
                        <a:pt x="26" y="12"/>
                      </a:lnTo>
                      <a:lnTo>
                        <a:pt x="26" y="12"/>
                      </a:lnTo>
                      <a:lnTo>
                        <a:pt x="29" y="9"/>
                      </a:lnTo>
                      <a:lnTo>
                        <a:pt x="31" y="9"/>
                      </a:lnTo>
                      <a:lnTo>
                        <a:pt x="33" y="14"/>
                      </a:lnTo>
                      <a:lnTo>
                        <a:pt x="36" y="14"/>
                      </a:lnTo>
                      <a:lnTo>
                        <a:pt x="38" y="14"/>
                      </a:lnTo>
                      <a:lnTo>
                        <a:pt x="41" y="16"/>
                      </a:lnTo>
                      <a:lnTo>
                        <a:pt x="43" y="19"/>
                      </a:lnTo>
                      <a:lnTo>
                        <a:pt x="43" y="19"/>
                      </a:lnTo>
                      <a:lnTo>
                        <a:pt x="48" y="21"/>
                      </a:lnTo>
                      <a:lnTo>
                        <a:pt x="50" y="23"/>
                      </a:lnTo>
                      <a:lnTo>
                        <a:pt x="55" y="28"/>
                      </a:lnTo>
                      <a:lnTo>
                        <a:pt x="57" y="31"/>
                      </a:lnTo>
                      <a:lnTo>
                        <a:pt x="55" y="33"/>
                      </a:lnTo>
                      <a:lnTo>
                        <a:pt x="55" y="35"/>
                      </a:lnTo>
                      <a:lnTo>
                        <a:pt x="55" y="38"/>
                      </a:lnTo>
                      <a:lnTo>
                        <a:pt x="55" y="38"/>
                      </a:lnTo>
                      <a:lnTo>
                        <a:pt x="55" y="40"/>
                      </a:lnTo>
                      <a:lnTo>
                        <a:pt x="57" y="40"/>
                      </a:lnTo>
                      <a:lnTo>
                        <a:pt x="57" y="42"/>
                      </a:lnTo>
                      <a:lnTo>
                        <a:pt x="57" y="42"/>
                      </a:lnTo>
                      <a:lnTo>
                        <a:pt x="55" y="45"/>
                      </a:lnTo>
                      <a:lnTo>
                        <a:pt x="55" y="47"/>
                      </a:lnTo>
                      <a:lnTo>
                        <a:pt x="52" y="50"/>
                      </a:lnTo>
                      <a:lnTo>
                        <a:pt x="52" y="50"/>
                      </a:lnTo>
                      <a:lnTo>
                        <a:pt x="52" y="50"/>
                      </a:lnTo>
                      <a:lnTo>
                        <a:pt x="50" y="52"/>
                      </a:lnTo>
                      <a:lnTo>
                        <a:pt x="48" y="54"/>
                      </a:lnTo>
                      <a:lnTo>
                        <a:pt x="45" y="57"/>
                      </a:lnTo>
                      <a:lnTo>
                        <a:pt x="43" y="54"/>
                      </a:lnTo>
                      <a:lnTo>
                        <a:pt x="43" y="57"/>
                      </a:lnTo>
                      <a:lnTo>
                        <a:pt x="43" y="57"/>
                      </a:lnTo>
                      <a:lnTo>
                        <a:pt x="41" y="57"/>
                      </a:lnTo>
                      <a:lnTo>
                        <a:pt x="41" y="57"/>
                      </a:lnTo>
                      <a:lnTo>
                        <a:pt x="38" y="57"/>
                      </a:lnTo>
                      <a:lnTo>
                        <a:pt x="36" y="57"/>
                      </a:lnTo>
                      <a:lnTo>
                        <a:pt x="36" y="57"/>
                      </a:lnTo>
                      <a:lnTo>
                        <a:pt x="33" y="57"/>
                      </a:lnTo>
                      <a:lnTo>
                        <a:pt x="31" y="57"/>
                      </a:lnTo>
                      <a:lnTo>
                        <a:pt x="26" y="57"/>
                      </a:lnTo>
                      <a:lnTo>
                        <a:pt x="26" y="57"/>
                      </a:lnTo>
                      <a:lnTo>
                        <a:pt x="26" y="57"/>
                      </a:lnTo>
                      <a:lnTo>
                        <a:pt x="26" y="57"/>
                      </a:lnTo>
                      <a:lnTo>
                        <a:pt x="24" y="54"/>
                      </a:lnTo>
                      <a:lnTo>
                        <a:pt x="24" y="54"/>
                      </a:lnTo>
                      <a:lnTo>
                        <a:pt x="22" y="54"/>
                      </a:lnTo>
                      <a:lnTo>
                        <a:pt x="19" y="52"/>
                      </a:lnTo>
                      <a:lnTo>
                        <a:pt x="17" y="52"/>
                      </a:lnTo>
                      <a:lnTo>
                        <a:pt x="10" y="54"/>
                      </a:lnTo>
                      <a:lnTo>
                        <a:pt x="10" y="52"/>
                      </a:lnTo>
                      <a:lnTo>
                        <a:pt x="5" y="50"/>
                      </a:lnTo>
                      <a:lnTo>
                        <a:pt x="5" y="50"/>
                      </a:lnTo>
                      <a:lnTo>
                        <a:pt x="3" y="45"/>
                      </a:lnTo>
                      <a:lnTo>
                        <a:pt x="0" y="42"/>
                      </a:lnTo>
                      <a:lnTo>
                        <a:pt x="0" y="38"/>
                      </a:lnTo>
                      <a:lnTo>
                        <a:pt x="0" y="38"/>
                      </a:lnTo>
                      <a:lnTo>
                        <a:pt x="0" y="38"/>
                      </a:lnTo>
                      <a:lnTo>
                        <a:pt x="3" y="35"/>
                      </a:lnTo>
                      <a:lnTo>
                        <a:pt x="3" y="33"/>
                      </a:lnTo>
                      <a:lnTo>
                        <a:pt x="3" y="31"/>
                      </a:lnTo>
                      <a:lnTo>
                        <a:pt x="0" y="26"/>
                      </a:lnTo>
                      <a:lnTo>
                        <a:pt x="3" y="23"/>
                      </a:lnTo>
                      <a:lnTo>
                        <a:pt x="0" y="21"/>
                      </a:lnTo>
                      <a:lnTo>
                        <a:pt x="3" y="19"/>
                      </a:lnTo>
                      <a:lnTo>
                        <a:pt x="3" y="16"/>
                      </a:lnTo>
                      <a:lnTo>
                        <a:pt x="3" y="16"/>
                      </a:lnTo>
                      <a:lnTo>
                        <a:pt x="3" y="12"/>
                      </a:lnTo>
                      <a:lnTo>
                        <a:pt x="3" y="9"/>
                      </a:lnTo>
                      <a:lnTo>
                        <a:pt x="3" y="7"/>
                      </a:lnTo>
                      <a:lnTo>
                        <a:pt x="3" y="5"/>
                      </a:lnTo>
                      <a:lnTo>
                        <a:pt x="5" y="2"/>
                      </a:lnTo>
                      <a:lnTo>
                        <a:pt x="5" y="0"/>
                      </a:lnTo>
                      <a:lnTo>
                        <a:pt x="5" y="0"/>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1" name="Freeform 196">
                  <a:extLst>
                    <a:ext uri="{FF2B5EF4-FFF2-40B4-BE49-F238E27FC236}">
                      <a16:creationId xmlns:a16="http://schemas.microsoft.com/office/drawing/2014/main" id="{76288B8A-27FB-8B98-2F33-F547D4773947}"/>
                    </a:ext>
                  </a:extLst>
                </p:cNvPr>
                <p:cNvSpPr>
                  <a:spLocks noEditPoints="1"/>
                </p:cNvSpPr>
                <p:nvPr/>
              </p:nvSpPr>
              <p:spPr bwMode="auto">
                <a:xfrm>
                  <a:off x="1885" y="2834"/>
                  <a:ext cx="182" cy="427"/>
                </a:xfrm>
                <a:custGeom>
                  <a:avLst/>
                  <a:gdLst>
                    <a:gd name="T0" fmla="*/ 47 w 182"/>
                    <a:gd name="T1" fmla="*/ 3 h 427"/>
                    <a:gd name="T2" fmla="*/ 62 w 182"/>
                    <a:gd name="T3" fmla="*/ 7 h 427"/>
                    <a:gd name="T4" fmla="*/ 83 w 182"/>
                    <a:gd name="T5" fmla="*/ 7 h 427"/>
                    <a:gd name="T6" fmla="*/ 114 w 182"/>
                    <a:gd name="T7" fmla="*/ 26 h 427"/>
                    <a:gd name="T8" fmla="*/ 135 w 182"/>
                    <a:gd name="T9" fmla="*/ 45 h 427"/>
                    <a:gd name="T10" fmla="*/ 137 w 182"/>
                    <a:gd name="T11" fmla="*/ 60 h 427"/>
                    <a:gd name="T12" fmla="*/ 159 w 182"/>
                    <a:gd name="T13" fmla="*/ 62 h 427"/>
                    <a:gd name="T14" fmla="*/ 170 w 182"/>
                    <a:gd name="T15" fmla="*/ 43 h 427"/>
                    <a:gd name="T16" fmla="*/ 182 w 182"/>
                    <a:gd name="T17" fmla="*/ 57 h 427"/>
                    <a:gd name="T18" fmla="*/ 168 w 182"/>
                    <a:gd name="T19" fmla="*/ 64 h 427"/>
                    <a:gd name="T20" fmla="*/ 154 w 182"/>
                    <a:gd name="T21" fmla="*/ 76 h 427"/>
                    <a:gd name="T22" fmla="*/ 144 w 182"/>
                    <a:gd name="T23" fmla="*/ 93 h 427"/>
                    <a:gd name="T24" fmla="*/ 140 w 182"/>
                    <a:gd name="T25" fmla="*/ 109 h 427"/>
                    <a:gd name="T26" fmla="*/ 137 w 182"/>
                    <a:gd name="T27" fmla="*/ 131 h 427"/>
                    <a:gd name="T28" fmla="*/ 137 w 182"/>
                    <a:gd name="T29" fmla="*/ 143 h 427"/>
                    <a:gd name="T30" fmla="*/ 152 w 182"/>
                    <a:gd name="T31" fmla="*/ 162 h 427"/>
                    <a:gd name="T32" fmla="*/ 161 w 182"/>
                    <a:gd name="T33" fmla="*/ 173 h 427"/>
                    <a:gd name="T34" fmla="*/ 156 w 182"/>
                    <a:gd name="T35" fmla="*/ 188 h 427"/>
                    <a:gd name="T36" fmla="*/ 123 w 182"/>
                    <a:gd name="T37" fmla="*/ 199 h 427"/>
                    <a:gd name="T38" fmla="*/ 104 w 182"/>
                    <a:gd name="T39" fmla="*/ 197 h 427"/>
                    <a:gd name="T40" fmla="*/ 109 w 182"/>
                    <a:gd name="T41" fmla="*/ 209 h 427"/>
                    <a:gd name="T42" fmla="*/ 109 w 182"/>
                    <a:gd name="T43" fmla="*/ 218 h 427"/>
                    <a:gd name="T44" fmla="*/ 95 w 182"/>
                    <a:gd name="T45" fmla="*/ 230 h 427"/>
                    <a:gd name="T46" fmla="*/ 76 w 182"/>
                    <a:gd name="T47" fmla="*/ 226 h 427"/>
                    <a:gd name="T48" fmla="*/ 88 w 182"/>
                    <a:gd name="T49" fmla="*/ 244 h 427"/>
                    <a:gd name="T50" fmla="*/ 90 w 182"/>
                    <a:gd name="T51" fmla="*/ 242 h 427"/>
                    <a:gd name="T52" fmla="*/ 97 w 182"/>
                    <a:gd name="T53" fmla="*/ 249 h 427"/>
                    <a:gd name="T54" fmla="*/ 85 w 182"/>
                    <a:gd name="T55" fmla="*/ 249 h 427"/>
                    <a:gd name="T56" fmla="*/ 83 w 182"/>
                    <a:gd name="T57" fmla="*/ 259 h 427"/>
                    <a:gd name="T58" fmla="*/ 81 w 182"/>
                    <a:gd name="T59" fmla="*/ 271 h 427"/>
                    <a:gd name="T60" fmla="*/ 83 w 182"/>
                    <a:gd name="T61" fmla="*/ 280 h 427"/>
                    <a:gd name="T62" fmla="*/ 66 w 182"/>
                    <a:gd name="T63" fmla="*/ 287 h 427"/>
                    <a:gd name="T64" fmla="*/ 66 w 182"/>
                    <a:gd name="T65" fmla="*/ 301 h 427"/>
                    <a:gd name="T66" fmla="*/ 85 w 182"/>
                    <a:gd name="T67" fmla="*/ 311 h 427"/>
                    <a:gd name="T68" fmla="*/ 88 w 182"/>
                    <a:gd name="T69" fmla="*/ 320 h 427"/>
                    <a:gd name="T70" fmla="*/ 81 w 182"/>
                    <a:gd name="T71" fmla="*/ 330 h 427"/>
                    <a:gd name="T72" fmla="*/ 71 w 182"/>
                    <a:gd name="T73" fmla="*/ 342 h 427"/>
                    <a:gd name="T74" fmla="*/ 66 w 182"/>
                    <a:gd name="T75" fmla="*/ 351 h 427"/>
                    <a:gd name="T76" fmla="*/ 62 w 182"/>
                    <a:gd name="T77" fmla="*/ 363 h 427"/>
                    <a:gd name="T78" fmla="*/ 66 w 182"/>
                    <a:gd name="T79" fmla="*/ 377 h 427"/>
                    <a:gd name="T80" fmla="*/ 69 w 182"/>
                    <a:gd name="T81" fmla="*/ 382 h 427"/>
                    <a:gd name="T82" fmla="*/ 31 w 182"/>
                    <a:gd name="T83" fmla="*/ 372 h 427"/>
                    <a:gd name="T84" fmla="*/ 14 w 182"/>
                    <a:gd name="T85" fmla="*/ 356 h 427"/>
                    <a:gd name="T86" fmla="*/ 19 w 182"/>
                    <a:gd name="T87" fmla="*/ 318 h 427"/>
                    <a:gd name="T88" fmla="*/ 19 w 182"/>
                    <a:gd name="T89" fmla="*/ 292 h 427"/>
                    <a:gd name="T90" fmla="*/ 12 w 182"/>
                    <a:gd name="T91" fmla="*/ 280 h 427"/>
                    <a:gd name="T92" fmla="*/ 12 w 182"/>
                    <a:gd name="T93" fmla="*/ 266 h 427"/>
                    <a:gd name="T94" fmla="*/ 7 w 182"/>
                    <a:gd name="T95" fmla="*/ 240 h 427"/>
                    <a:gd name="T96" fmla="*/ 7 w 182"/>
                    <a:gd name="T97" fmla="*/ 204 h 427"/>
                    <a:gd name="T98" fmla="*/ 12 w 182"/>
                    <a:gd name="T99" fmla="*/ 169 h 427"/>
                    <a:gd name="T100" fmla="*/ 14 w 182"/>
                    <a:gd name="T101" fmla="*/ 143 h 427"/>
                    <a:gd name="T102" fmla="*/ 0 w 182"/>
                    <a:gd name="T103" fmla="*/ 109 h 427"/>
                    <a:gd name="T104" fmla="*/ 7 w 182"/>
                    <a:gd name="T105" fmla="*/ 83 h 427"/>
                    <a:gd name="T106" fmla="*/ 17 w 182"/>
                    <a:gd name="T107" fmla="*/ 55 h 427"/>
                    <a:gd name="T108" fmla="*/ 17 w 182"/>
                    <a:gd name="T109" fmla="*/ 38 h 427"/>
                    <a:gd name="T110" fmla="*/ 123 w 182"/>
                    <a:gd name="T111" fmla="*/ 420 h 427"/>
                    <a:gd name="T112" fmla="*/ 123 w 182"/>
                    <a:gd name="T113" fmla="*/ 420 h 427"/>
                    <a:gd name="T114" fmla="*/ 76 w 182"/>
                    <a:gd name="T115" fmla="*/ 399 h 427"/>
                    <a:gd name="T116" fmla="*/ 83 w 182"/>
                    <a:gd name="T117" fmla="*/ 406 h 427"/>
                    <a:gd name="T118" fmla="*/ 107 w 182"/>
                    <a:gd name="T119" fmla="*/ 418 h 427"/>
                    <a:gd name="T120" fmla="*/ 109 w 182"/>
                    <a:gd name="T121" fmla="*/ 422 h 427"/>
                    <a:gd name="T122" fmla="*/ 83 w 182"/>
                    <a:gd name="T123" fmla="*/ 425 h 427"/>
                    <a:gd name="T124" fmla="*/ 85 w 182"/>
                    <a:gd name="T125" fmla="*/ 420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2" h="427">
                      <a:moveTo>
                        <a:pt x="28" y="12"/>
                      </a:moveTo>
                      <a:lnTo>
                        <a:pt x="31" y="10"/>
                      </a:lnTo>
                      <a:lnTo>
                        <a:pt x="33" y="7"/>
                      </a:lnTo>
                      <a:lnTo>
                        <a:pt x="38" y="3"/>
                      </a:lnTo>
                      <a:lnTo>
                        <a:pt x="40" y="0"/>
                      </a:lnTo>
                      <a:lnTo>
                        <a:pt x="43" y="3"/>
                      </a:lnTo>
                      <a:lnTo>
                        <a:pt x="45" y="3"/>
                      </a:lnTo>
                      <a:lnTo>
                        <a:pt x="47" y="3"/>
                      </a:lnTo>
                      <a:lnTo>
                        <a:pt x="50" y="3"/>
                      </a:lnTo>
                      <a:lnTo>
                        <a:pt x="55" y="3"/>
                      </a:lnTo>
                      <a:lnTo>
                        <a:pt x="57" y="3"/>
                      </a:lnTo>
                      <a:lnTo>
                        <a:pt x="57" y="5"/>
                      </a:lnTo>
                      <a:lnTo>
                        <a:pt x="59" y="10"/>
                      </a:lnTo>
                      <a:lnTo>
                        <a:pt x="59" y="12"/>
                      </a:lnTo>
                      <a:lnTo>
                        <a:pt x="62" y="10"/>
                      </a:lnTo>
                      <a:lnTo>
                        <a:pt x="62" y="7"/>
                      </a:lnTo>
                      <a:lnTo>
                        <a:pt x="62" y="5"/>
                      </a:lnTo>
                      <a:lnTo>
                        <a:pt x="62" y="5"/>
                      </a:lnTo>
                      <a:lnTo>
                        <a:pt x="64" y="3"/>
                      </a:lnTo>
                      <a:lnTo>
                        <a:pt x="71" y="3"/>
                      </a:lnTo>
                      <a:lnTo>
                        <a:pt x="76" y="3"/>
                      </a:lnTo>
                      <a:lnTo>
                        <a:pt x="78" y="5"/>
                      </a:lnTo>
                      <a:lnTo>
                        <a:pt x="81" y="7"/>
                      </a:lnTo>
                      <a:lnTo>
                        <a:pt x="83" y="7"/>
                      </a:lnTo>
                      <a:lnTo>
                        <a:pt x="85" y="12"/>
                      </a:lnTo>
                      <a:lnTo>
                        <a:pt x="92" y="17"/>
                      </a:lnTo>
                      <a:lnTo>
                        <a:pt x="95" y="19"/>
                      </a:lnTo>
                      <a:lnTo>
                        <a:pt x="99" y="19"/>
                      </a:lnTo>
                      <a:lnTo>
                        <a:pt x="99" y="24"/>
                      </a:lnTo>
                      <a:lnTo>
                        <a:pt x="107" y="24"/>
                      </a:lnTo>
                      <a:lnTo>
                        <a:pt x="111" y="26"/>
                      </a:lnTo>
                      <a:lnTo>
                        <a:pt x="114" y="26"/>
                      </a:lnTo>
                      <a:lnTo>
                        <a:pt x="118" y="31"/>
                      </a:lnTo>
                      <a:lnTo>
                        <a:pt x="123" y="34"/>
                      </a:lnTo>
                      <a:lnTo>
                        <a:pt x="130" y="34"/>
                      </a:lnTo>
                      <a:lnTo>
                        <a:pt x="133" y="36"/>
                      </a:lnTo>
                      <a:lnTo>
                        <a:pt x="137" y="38"/>
                      </a:lnTo>
                      <a:lnTo>
                        <a:pt x="137" y="41"/>
                      </a:lnTo>
                      <a:lnTo>
                        <a:pt x="137" y="43"/>
                      </a:lnTo>
                      <a:lnTo>
                        <a:pt x="135" y="45"/>
                      </a:lnTo>
                      <a:lnTo>
                        <a:pt x="133" y="48"/>
                      </a:lnTo>
                      <a:lnTo>
                        <a:pt x="133" y="50"/>
                      </a:lnTo>
                      <a:lnTo>
                        <a:pt x="133" y="52"/>
                      </a:lnTo>
                      <a:lnTo>
                        <a:pt x="130" y="55"/>
                      </a:lnTo>
                      <a:lnTo>
                        <a:pt x="128" y="60"/>
                      </a:lnTo>
                      <a:lnTo>
                        <a:pt x="128" y="62"/>
                      </a:lnTo>
                      <a:lnTo>
                        <a:pt x="128" y="62"/>
                      </a:lnTo>
                      <a:lnTo>
                        <a:pt x="137" y="60"/>
                      </a:lnTo>
                      <a:lnTo>
                        <a:pt x="144" y="62"/>
                      </a:lnTo>
                      <a:lnTo>
                        <a:pt x="149" y="64"/>
                      </a:lnTo>
                      <a:lnTo>
                        <a:pt x="152" y="64"/>
                      </a:lnTo>
                      <a:lnTo>
                        <a:pt x="152" y="64"/>
                      </a:lnTo>
                      <a:lnTo>
                        <a:pt x="154" y="64"/>
                      </a:lnTo>
                      <a:lnTo>
                        <a:pt x="156" y="62"/>
                      </a:lnTo>
                      <a:lnTo>
                        <a:pt x="156" y="62"/>
                      </a:lnTo>
                      <a:lnTo>
                        <a:pt x="159" y="62"/>
                      </a:lnTo>
                      <a:lnTo>
                        <a:pt x="161" y="60"/>
                      </a:lnTo>
                      <a:lnTo>
                        <a:pt x="163" y="57"/>
                      </a:lnTo>
                      <a:lnTo>
                        <a:pt x="168" y="55"/>
                      </a:lnTo>
                      <a:lnTo>
                        <a:pt x="168" y="52"/>
                      </a:lnTo>
                      <a:lnTo>
                        <a:pt x="170" y="50"/>
                      </a:lnTo>
                      <a:lnTo>
                        <a:pt x="170" y="48"/>
                      </a:lnTo>
                      <a:lnTo>
                        <a:pt x="173" y="43"/>
                      </a:lnTo>
                      <a:lnTo>
                        <a:pt x="170" y="43"/>
                      </a:lnTo>
                      <a:lnTo>
                        <a:pt x="173" y="41"/>
                      </a:lnTo>
                      <a:lnTo>
                        <a:pt x="175" y="38"/>
                      </a:lnTo>
                      <a:lnTo>
                        <a:pt x="180" y="38"/>
                      </a:lnTo>
                      <a:lnTo>
                        <a:pt x="180" y="41"/>
                      </a:lnTo>
                      <a:lnTo>
                        <a:pt x="182" y="45"/>
                      </a:lnTo>
                      <a:lnTo>
                        <a:pt x="182" y="48"/>
                      </a:lnTo>
                      <a:lnTo>
                        <a:pt x="182" y="52"/>
                      </a:lnTo>
                      <a:lnTo>
                        <a:pt x="182" y="57"/>
                      </a:lnTo>
                      <a:lnTo>
                        <a:pt x="182" y="57"/>
                      </a:lnTo>
                      <a:lnTo>
                        <a:pt x="180" y="57"/>
                      </a:lnTo>
                      <a:lnTo>
                        <a:pt x="178" y="60"/>
                      </a:lnTo>
                      <a:lnTo>
                        <a:pt x="178" y="60"/>
                      </a:lnTo>
                      <a:lnTo>
                        <a:pt x="175" y="62"/>
                      </a:lnTo>
                      <a:lnTo>
                        <a:pt x="175" y="62"/>
                      </a:lnTo>
                      <a:lnTo>
                        <a:pt x="170" y="64"/>
                      </a:lnTo>
                      <a:lnTo>
                        <a:pt x="168" y="64"/>
                      </a:lnTo>
                      <a:lnTo>
                        <a:pt x="166" y="64"/>
                      </a:lnTo>
                      <a:lnTo>
                        <a:pt x="163" y="69"/>
                      </a:lnTo>
                      <a:lnTo>
                        <a:pt x="161" y="69"/>
                      </a:lnTo>
                      <a:lnTo>
                        <a:pt x="161" y="71"/>
                      </a:lnTo>
                      <a:lnTo>
                        <a:pt x="159" y="71"/>
                      </a:lnTo>
                      <a:lnTo>
                        <a:pt x="159" y="71"/>
                      </a:lnTo>
                      <a:lnTo>
                        <a:pt x="154" y="76"/>
                      </a:lnTo>
                      <a:lnTo>
                        <a:pt x="154" y="76"/>
                      </a:lnTo>
                      <a:lnTo>
                        <a:pt x="154" y="79"/>
                      </a:lnTo>
                      <a:lnTo>
                        <a:pt x="152" y="81"/>
                      </a:lnTo>
                      <a:lnTo>
                        <a:pt x="152" y="81"/>
                      </a:lnTo>
                      <a:lnTo>
                        <a:pt x="149" y="86"/>
                      </a:lnTo>
                      <a:lnTo>
                        <a:pt x="147" y="86"/>
                      </a:lnTo>
                      <a:lnTo>
                        <a:pt x="144" y="90"/>
                      </a:lnTo>
                      <a:lnTo>
                        <a:pt x="144" y="90"/>
                      </a:lnTo>
                      <a:lnTo>
                        <a:pt x="144" y="93"/>
                      </a:lnTo>
                      <a:lnTo>
                        <a:pt x="142" y="93"/>
                      </a:lnTo>
                      <a:lnTo>
                        <a:pt x="142" y="95"/>
                      </a:lnTo>
                      <a:lnTo>
                        <a:pt x="140" y="98"/>
                      </a:lnTo>
                      <a:lnTo>
                        <a:pt x="140" y="100"/>
                      </a:lnTo>
                      <a:lnTo>
                        <a:pt x="140" y="102"/>
                      </a:lnTo>
                      <a:lnTo>
                        <a:pt x="140" y="105"/>
                      </a:lnTo>
                      <a:lnTo>
                        <a:pt x="140" y="109"/>
                      </a:lnTo>
                      <a:lnTo>
                        <a:pt x="140" y="109"/>
                      </a:lnTo>
                      <a:lnTo>
                        <a:pt x="140" y="112"/>
                      </a:lnTo>
                      <a:lnTo>
                        <a:pt x="137" y="114"/>
                      </a:lnTo>
                      <a:lnTo>
                        <a:pt x="140" y="116"/>
                      </a:lnTo>
                      <a:lnTo>
                        <a:pt x="137" y="119"/>
                      </a:lnTo>
                      <a:lnTo>
                        <a:pt x="140" y="124"/>
                      </a:lnTo>
                      <a:lnTo>
                        <a:pt x="140" y="126"/>
                      </a:lnTo>
                      <a:lnTo>
                        <a:pt x="140" y="128"/>
                      </a:lnTo>
                      <a:lnTo>
                        <a:pt x="137" y="131"/>
                      </a:lnTo>
                      <a:lnTo>
                        <a:pt x="137" y="131"/>
                      </a:lnTo>
                      <a:lnTo>
                        <a:pt x="137" y="131"/>
                      </a:lnTo>
                      <a:lnTo>
                        <a:pt x="137" y="131"/>
                      </a:lnTo>
                      <a:lnTo>
                        <a:pt x="137" y="135"/>
                      </a:lnTo>
                      <a:lnTo>
                        <a:pt x="137" y="138"/>
                      </a:lnTo>
                      <a:lnTo>
                        <a:pt x="137" y="140"/>
                      </a:lnTo>
                      <a:lnTo>
                        <a:pt x="137" y="140"/>
                      </a:lnTo>
                      <a:lnTo>
                        <a:pt x="137" y="143"/>
                      </a:lnTo>
                      <a:lnTo>
                        <a:pt x="137" y="143"/>
                      </a:lnTo>
                      <a:lnTo>
                        <a:pt x="140" y="145"/>
                      </a:lnTo>
                      <a:lnTo>
                        <a:pt x="144" y="147"/>
                      </a:lnTo>
                      <a:lnTo>
                        <a:pt x="149" y="150"/>
                      </a:lnTo>
                      <a:lnTo>
                        <a:pt x="154" y="154"/>
                      </a:lnTo>
                      <a:lnTo>
                        <a:pt x="156" y="157"/>
                      </a:lnTo>
                      <a:lnTo>
                        <a:pt x="156" y="157"/>
                      </a:lnTo>
                      <a:lnTo>
                        <a:pt x="152" y="162"/>
                      </a:lnTo>
                      <a:lnTo>
                        <a:pt x="152" y="164"/>
                      </a:lnTo>
                      <a:lnTo>
                        <a:pt x="154" y="166"/>
                      </a:lnTo>
                      <a:lnTo>
                        <a:pt x="156" y="169"/>
                      </a:lnTo>
                      <a:lnTo>
                        <a:pt x="159" y="169"/>
                      </a:lnTo>
                      <a:lnTo>
                        <a:pt x="161" y="169"/>
                      </a:lnTo>
                      <a:lnTo>
                        <a:pt x="161" y="169"/>
                      </a:lnTo>
                      <a:lnTo>
                        <a:pt x="161" y="169"/>
                      </a:lnTo>
                      <a:lnTo>
                        <a:pt x="161" y="173"/>
                      </a:lnTo>
                      <a:lnTo>
                        <a:pt x="161" y="176"/>
                      </a:lnTo>
                      <a:lnTo>
                        <a:pt x="159" y="178"/>
                      </a:lnTo>
                      <a:lnTo>
                        <a:pt x="159" y="183"/>
                      </a:lnTo>
                      <a:lnTo>
                        <a:pt x="159" y="183"/>
                      </a:lnTo>
                      <a:lnTo>
                        <a:pt x="156" y="183"/>
                      </a:lnTo>
                      <a:lnTo>
                        <a:pt x="156" y="183"/>
                      </a:lnTo>
                      <a:lnTo>
                        <a:pt x="156" y="185"/>
                      </a:lnTo>
                      <a:lnTo>
                        <a:pt x="156" y="188"/>
                      </a:lnTo>
                      <a:lnTo>
                        <a:pt x="154" y="190"/>
                      </a:lnTo>
                      <a:lnTo>
                        <a:pt x="149" y="195"/>
                      </a:lnTo>
                      <a:lnTo>
                        <a:pt x="144" y="195"/>
                      </a:lnTo>
                      <a:lnTo>
                        <a:pt x="142" y="195"/>
                      </a:lnTo>
                      <a:lnTo>
                        <a:pt x="142" y="195"/>
                      </a:lnTo>
                      <a:lnTo>
                        <a:pt x="135" y="197"/>
                      </a:lnTo>
                      <a:lnTo>
                        <a:pt x="128" y="199"/>
                      </a:lnTo>
                      <a:lnTo>
                        <a:pt x="123" y="199"/>
                      </a:lnTo>
                      <a:lnTo>
                        <a:pt x="118" y="199"/>
                      </a:lnTo>
                      <a:lnTo>
                        <a:pt x="116" y="199"/>
                      </a:lnTo>
                      <a:lnTo>
                        <a:pt x="114" y="199"/>
                      </a:lnTo>
                      <a:lnTo>
                        <a:pt x="111" y="199"/>
                      </a:lnTo>
                      <a:lnTo>
                        <a:pt x="109" y="197"/>
                      </a:lnTo>
                      <a:lnTo>
                        <a:pt x="107" y="197"/>
                      </a:lnTo>
                      <a:lnTo>
                        <a:pt x="107" y="197"/>
                      </a:lnTo>
                      <a:lnTo>
                        <a:pt x="104" y="197"/>
                      </a:lnTo>
                      <a:lnTo>
                        <a:pt x="104" y="199"/>
                      </a:lnTo>
                      <a:lnTo>
                        <a:pt x="107" y="199"/>
                      </a:lnTo>
                      <a:lnTo>
                        <a:pt x="107" y="204"/>
                      </a:lnTo>
                      <a:lnTo>
                        <a:pt x="107" y="204"/>
                      </a:lnTo>
                      <a:lnTo>
                        <a:pt x="107" y="207"/>
                      </a:lnTo>
                      <a:lnTo>
                        <a:pt x="109" y="207"/>
                      </a:lnTo>
                      <a:lnTo>
                        <a:pt x="109" y="209"/>
                      </a:lnTo>
                      <a:lnTo>
                        <a:pt x="109" y="209"/>
                      </a:lnTo>
                      <a:lnTo>
                        <a:pt x="107" y="209"/>
                      </a:lnTo>
                      <a:lnTo>
                        <a:pt x="107" y="211"/>
                      </a:lnTo>
                      <a:lnTo>
                        <a:pt x="107" y="211"/>
                      </a:lnTo>
                      <a:lnTo>
                        <a:pt x="107" y="214"/>
                      </a:lnTo>
                      <a:lnTo>
                        <a:pt x="104" y="214"/>
                      </a:lnTo>
                      <a:lnTo>
                        <a:pt x="104" y="216"/>
                      </a:lnTo>
                      <a:lnTo>
                        <a:pt x="107" y="218"/>
                      </a:lnTo>
                      <a:lnTo>
                        <a:pt x="109" y="218"/>
                      </a:lnTo>
                      <a:lnTo>
                        <a:pt x="109" y="221"/>
                      </a:lnTo>
                      <a:lnTo>
                        <a:pt x="107" y="221"/>
                      </a:lnTo>
                      <a:lnTo>
                        <a:pt x="107" y="223"/>
                      </a:lnTo>
                      <a:lnTo>
                        <a:pt x="107" y="226"/>
                      </a:lnTo>
                      <a:lnTo>
                        <a:pt x="104" y="228"/>
                      </a:lnTo>
                      <a:lnTo>
                        <a:pt x="104" y="228"/>
                      </a:lnTo>
                      <a:lnTo>
                        <a:pt x="102" y="230"/>
                      </a:lnTo>
                      <a:lnTo>
                        <a:pt x="95" y="230"/>
                      </a:lnTo>
                      <a:lnTo>
                        <a:pt x="92" y="230"/>
                      </a:lnTo>
                      <a:lnTo>
                        <a:pt x="88" y="226"/>
                      </a:lnTo>
                      <a:lnTo>
                        <a:pt x="83" y="226"/>
                      </a:lnTo>
                      <a:lnTo>
                        <a:pt x="81" y="226"/>
                      </a:lnTo>
                      <a:lnTo>
                        <a:pt x="81" y="226"/>
                      </a:lnTo>
                      <a:lnTo>
                        <a:pt x="81" y="223"/>
                      </a:lnTo>
                      <a:lnTo>
                        <a:pt x="78" y="223"/>
                      </a:lnTo>
                      <a:lnTo>
                        <a:pt x="76" y="226"/>
                      </a:lnTo>
                      <a:lnTo>
                        <a:pt x="76" y="230"/>
                      </a:lnTo>
                      <a:lnTo>
                        <a:pt x="78" y="230"/>
                      </a:lnTo>
                      <a:lnTo>
                        <a:pt x="81" y="235"/>
                      </a:lnTo>
                      <a:lnTo>
                        <a:pt x="81" y="240"/>
                      </a:lnTo>
                      <a:lnTo>
                        <a:pt x="81" y="242"/>
                      </a:lnTo>
                      <a:lnTo>
                        <a:pt x="83" y="242"/>
                      </a:lnTo>
                      <a:lnTo>
                        <a:pt x="88" y="242"/>
                      </a:lnTo>
                      <a:lnTo>
                        <a:pt x="88" y="244"/>
                      </a:lnTo>
                      <a:lnTo>
                        <a:pt x="85" y="244"/>
                      </a:lnTo>
                      <a:lnTo>
                        <a:pt x="85" y="244"/>
                      </a:lnTo>
                      <a:lnTo>
                        <a:pt x="88" y="247"/>
                      </a:lnTo>
                      <a:lnTo>
                        <a:pt x="90" y="244"/>
                      </a:lnTo>
                      <a:lnTo>
                        <a:pt x="90" y="244"/>
                      </a:lnTo>
                      <a:lnTo>
                        <a:pt x="90" y="242"/>
                      </a:lnTo>
                      <a:lnTo>
                        <a:pt x="88" y="242"/>
                      </a:lnTo>
                      <a:lnTo>
                        <a:pt x="90" y="242"/>
                      </a:lnTo>
                      <a:lnTo>
                        <a:pt x="92" y="242"/>
                      </a:lnTo>
                      <a:lnTo>
                        <a:pt x="92" y="240"/>
                      </a:lnTo>
                      <a:lnTo>
                        <a:pt x="95" y="240"/>
                      </a:lnTo>
                      <a:lnTo>
                        <a:pt x="97" y="242"/>
                      </a:lnTo>
                      <a:lnTo>
                        <a:pt x="97" y="244"/>
                      </a:lnTo>
                      <a:lnTo>
                        <a:pt x="95" y="244"/>
                      </a:lnTo>
                      <a:lnTo>
                        <a:pt x="97" y="247"/>
                      </a:lnTo>
                      <a:lnTo>
                        <a:pt x="97" y="249"/>
                      </a:lnTo>
                      <a:lnTo>
                        <a:pt x="97" y="252"/>
                      </a:lnTo>
                      <a:lnTo>
                        <a:pt x="92" y="254"/>
                      </a:lnTo>
                      <a:lnTo>
                        <a:pt x="92" y="252"/>
                      </a:lnTo>
                      <a:lnTo>
                        <a:pt x="90" y="252"/>
                      </a:lnTo>
                      <a:lnTo>
                        <a:pt x="90" y="249"/>
                      </a:lnTo>
                      <a:lnTo>
                        <a:pt x="90" y="249"/>
                      </a:lnTo>
                      <a:lnTo>
                        <a:pt x="88" y="247"/>
                      </a:lnTo>
                      <a:lnTo>
                        <a:pt x="85" y="249"/>
                      </a:lnTo>
                      <a:lnTo>
                        <a:pt x="83" y="249"/>
                      </a:lnTo>
                      <a:lnTo>
                        <a:pt x="83" y="252"/>
                      </a:lnTo>
                      <a:lnTo>
                        <a:pt x="83" y="252"/>
                      </a:lnTo>
                      <a:lnTo>
                        <a:pt x="85" y="252"/>
                      </a:lnTo>
                      <a:lnTo>
                        <a:pt x="90" y="254"/>
                      </a:lnTo>
                      <a:lnTo>
                        <a:pt x="90" y="254"/>
                      </a:lnTo>
                      <a:lnTo>
                        <a:pt x="88" y="256"/>
                      </a:lnTo>
                      <a:lnTo>
                        <a:pt x="83" y="259"/>
                      </a:lnTo>
                      <a:lnTo>
                        <a:pt x="83" y="259"/>
                      </a:lnTo>
                      <a:lnTo>
                        <a:pt x="83" y="259"/>
                      </a:lnTo>
                      <a:lnTo>
                        <a:pt x="83" y="261"/>
                      </a:lnTo>
                      <a:lnTo>
                        <a:pt x="81" y="263"/>
                      </a:lnTo>
                      <a:lnTo>
                        <a:pt x="81" y="266"/>
                      </a:lnTo>
                      <a:lnTo>
                        <a:pt x="81" y="268"/>
                      </a:lnTo>
                      <a:lnTo>
                        <a:pt x="81" y="268"/>
                      </a:lnTo>
                      <a:lnTo>
                        <a:pt x="81" y="271"/>
                      </a:lnTo>
                      <a:lnTo>
                        <a:pt x="83" y="273"/>
                      </a:lnTo>
                      <a:lnTo>
                        <a:pt x="83" y="273"/>
                      </a:lnTo>
                      <a:lnTo>
                        <a:pt x="83" y="275"/>
                      </a:lnTo>
                      <a:lnTo>
                        <a:pt x="83" y="275"/>
                      </a:lnTo>
                      <a:lnTo>
                        <a:pt x="81" y="278"/>
                      </a:lnTo>
                      <a:lnTo>
                        <a:pt x="81" y="278"/>
                      </a:lnTo>
                      <a:lnTo>
                        <a:pt x="81" y="280"/>
                      </a:lnTo>
                      <a:lnTo>
                        <a:pt x="83" y="280"/>
                      </a:lnTo>
                      <a:lnTo>
                        <a:pt x="83" y="282"/>
                      </a:lnTo>
                      <a:lnTo>
                        <a:pt x="83" y="282"/>
                      </a:lnTo>
                      <a:lnTo>
                        <a:pt x="78" y="282"/>
                      </a:lnTo>
                      <a:lnTo>
                        <a:pt x="78" y="282"/>
                      </a:lnTo>
                      <a:lnTo>
                        <a:pt x="73" y="282"/>
                      </a:lnTo>
                      <a:lnTo>
                        <a:pt x="71" y="285"/>
                      </a:lnTo>
                      <a:lnTo>
                        <a:pt x="69" y="285"/>
                      </a:lnTo>
                      <a:lnTo>
                        <a:pt x="66" y="287"/>
                      </a:lnTo>
                      <a:lnTo>
                        <a:pt x="66" y="287"/>
                      </a:lnTo>
                      <a:lnTo>
                        <a:pt x="64" y="290"/>
                      </a:lnTo>
                      <a:lnTo>
                        <a:pt x="64" y="292"/>
                      </a:lnTo>
                      <a:lnTo>
                        <a:pt x="62" y="294"/>
                      </a:lnTo>
                      <a:lnTo>
                        <a:pt x="62" y="294"/>
                      </a:lnTo>
                      <a:lnTo>
                        <a:pt x="62" y="297"/>
                      </a:lnTo>
                      <a:lnTo>
                        <a:pt x="62" y="299"/>
                      </a:lnTo>
                      <a:lnTo>
                        <a:pt x="66" y="301"/>
                      </a:lnTo>
                      <a:lnTo>
                        <a:pt x="66" y="304"/>
                      </a:lnTo>
                      <a:lnTo>
                        <a:pt x="69" y="304"/>
                      </a:lnTo>
                      <a:lnTo>
                        <a:pt x="71" y="306"/>
                      </a:lnTo>
                      <a:lnTo>
                        <a:pt x="76" y="311"/>
                      </a:lnTo>
                      <a:lnTo>
                        <a:pt x="81" y="311"/>
                      </a:lnTo>
                      <a:lnTo>
                        <a:pt x="83" y="311"/>
                      </a:lnTo>
                      <a:lnTo>
                        <a:pt x="83" y="311"/>
                      </a:lnTo>
                      <a:lnTo>
                        <a:pt x="85" y="311"/>
                      </a:lnTo>
                      <a:lnTo>
                        <a:pt x="85" y="311"/>
                      </a:lnTo>
                      <a:lnTo>
                        <a:pt x="85" y="313"/>
                      </a:lnTo>
                      <a:lnTo>
                        <a:pt x="85" y="313"/>
                      </a:lnTo>
                      <a:lnTo>
                        <a:pt x="85" y="316"/>
                      </a:lnTo>
                      <a:lnTo>
                        <a:pt x="85" y="318"/>
                      </a:lnTo>
                      <a:lnTo>
                        <a:pt x="85" y="320"/>
                      </a:lnTo>
                      <a:lnTo>
                        <a:pt x="85" y="320"/>
                      </a:lnTo>
                      <a:lnTo>
                        <a:pt x="88" y="320"/>
                      </a:lnTo>
                      <a:lnTo>
                        <a:pt x="85" y="323"/>
                      </a:lnTo>
                      <a:lnTo>
                        <a:pt x="85" y="323"/>
                      </a:lnTo>
                      <a:lnTo>
                        <a:pt x="85" y="323"/>
                      </a:lnTo>
                      <a:lnTo>
                        <a:pt x="85" y="325"/>
                      </a:lnTo>
                      <a:lnTo>
                        <a:pt x="83" y="327"/>
                      </a:lnTo>
                      <a:lnTo>
                        <a:pt x="83" y="327"/>
                      </a:lnTo>
                      <a:lnTo>
                        <a:pt x="81" y="327"/>
                      </a:lnTo>
                      <a:lnTo>
                        <a:pt x="81" y="330"/>
                      </a:lnTo>
                      <a:lnTo>
                        <a:pt x="78" y="332"/>
                      </a:lnTo>
                      <a:lnTo>
                        <a:pt x="76" y="332"/>
                      </a:lnTo>
                      <a:lnTo>
                        <a:pt x="73" y="335"/>
                      </a:lnTo>
                      <a:lnTo>
                        <a:pt x="73" y="337"/>
                      </a:lnTo>
                      <a:lnTo>
                        <a:pt x="73" y="339"/>
                      </a:lnTo>
                      <a:lnTo>
                        <a:pt x="71" y="342"/>
                      </a:lnTo>
                      <a:lnTo>
                        <a:pt x="71" y="342"/>
                      </a:lnTo>
                      <a:lnTo>
                        <a:pt x="71" y="342"/>
                      </a:lnTo>
                      <a:lnTo>
                        <a:pt x="73" y="342"/>
                      </a:lnTo>
                      <a:lnTo>
                        <a:pt x="73" y="346"/>
                      </a:lnTo>
                      <a:lnTo>
                        <a:pt x="73" y="346"/>
                      </a:lnTo>
                      <a:lnTo>
                        <a:pt x="71" y="349"/>
                      </a:lnTo>
                      <a:lnTo>
                        <a:pt x="71" y="351"/>
                      </a:lnTo>
                      <a:lnTo>
                        <a:pt x="69" y="354"/>
                      </a:lnTo>
                      <a:lnTo>
                        <a:pt x="66" y="351"/>
                      </a:lnTo>
                      <a:lnTo>
                        <a:pt x="66" y="351"/>
                      </a:lnTo>
                      <a:lnTo>
                        <a:pt x="64" y="351"/>
                      </a:lnTo>
                      <a:lnTo>
                        <a:pt x="64" y="351"/>
                      </a:lnTo>
                      <a:lnTo>
                        <a:pt x="64" y="354"/>
                      </a:lnTo>
                      <a:lnTo>
                        <a:pt x="66" y="354"/>
                      </a:lnTo>
                      <a:lnTo>
                        <a:pt x="64" y="356"/>
                      </a:lnTo>
                      <a:lnTo>
                        <a:pt x="62" y="358"/>
                      </a:lnTo>
                      <a:lnTo>
                        <a:pt x="62" y="361"/>
                      </a:lnTo>
                      <a:lnTo>
                        <a:pt x="62" y="363"/>
                      </a:lnTo>
                      <a:lnTo>
                        <a:pt x="64" y="368"/>
                      </a:lnTo>
                      <a:lnTo>
                        <a:pt x="64" y="372"/>
                      </a:lnTo>
                      <a:lnTo>
                        <a:pt x="64" y="372"/>
                      </a:lnTo>
                      <a:lnTo>
                        <a:pt x="66" y="372"/>
                      </a:lnTo>
                      <a:lnTo>
                        <a:pt x="66" y="375"/>
                      </a:lnTo>
                      <a:lnTo>
                        <a:pt x="64" y="375"/>
                      </a:lnTo>
                      <a:lnTo>
                        <a:pt x="64" y="377"/>
                      </a:lnTo>
                      <a:lnTo>
                        <a:pt x="66" y="377"/>
                      </a:lnTo>
                      <a:lnTo>
                        <a:pt x="69" y="377"/>
                      </a:lnTo>
                      <a:lnTo>
                        <a:pt x="69" y="380"/>
                      </a:lnTo>
                      <a:lnTo>
                        <a:pt x="73" y="382"/>
                      </a:lnTo>
                      <a:lnTo>
                        <a:pt x="76" y="384"/>
                      </a:lnTo>
                      <a:lnTo>
                        <a:pt x="76" y="387"/>
                      </a:lnTo>
                      <a:lnTo>
                        <a:pt x="73" y="387"/>
                      </a:lnTo>
                      <a:lnTo>
                        <a:pt x="71" y="384"/>
                      </a:lnTo>
                      <a:lnTo>
                        <a:pt x="69" y="382"/>
                      </a:lnTo>
                      <a:lnTo>
                        <a:pt x="66" y="382"/>
                      </a:lnTo>
                      <a:lnTo>
                        <a:pt x="64" y="382"/>
                      </a:lnTo>
                      <a:lnTo>
                        <a:pt x="50" y="382"/>
                      </a:lnTo>
                      <a:lnTo>
                        <a:pt x="43" y="382"/>
                      </a:lnTo>
                      <a:lnTo>
                        <a:pt x="40" y="382"/>
                      </a:lnTo>
                      <a:lnTo>
                        <a:pt x="36" y="382"/>
                      </a:lnTo>
                      <a:lnTo>
                        <a:pt x="33" y="377"/>
                      </a:lnTo>
                      <a:lnTo>
                        <a:pt x="31" y="372"/>
                      </a:lnTo>
                      <a:lnTo>
                        <a:pt x="28" y="370"/>
                      </a:lnTo>
                      <a:lnTo>
                        <a:pt x="28" y="365"/>
                      </a:lnTo>
                      <a:lnTo>
                        <a:pt x="28" y="363"/>
                      </a:lnTo>
                      <a:lnTo>
                        <a:pt x="26" y="363"/>
                      </a:lnTo>
                      <a:lnTo>
                        <a:pt x="24" y="363"/>
                      </a:lnTo>
                      <a:lnTo>
                        <a:pt x="21" y="365"/>
                      </a:lnTo>
                      <a:lnTo>
                        <a:pt x="19" y="365"/>
                      </a:lnTo>
                      <a:lnTo>
                        <a:pt x="14" y="356"/>
                      </a:lnTo>
                      <a:lnTo>
                        <a:pt x="12" y="354"/>
                      </a:lnTo>
                      <a:lnTo>
                        <a:pt x="14" y="344"/>
                      </a:lnTo>
                      <a:lnTo>
                        <a:pt x="17" y="342"/>
                      </a:lnTo>
                      <a:lnTo>
                        <a:pt x="21" y="337"/>
                      </a:lnTo>
                      <a:lnTo>
                        <a:pt x="21" y="332"/>
                      </a:lnTo>
                      <a:lnTo>
                        <a:pt x="21" y="327"/>
                      </a:lnTo>
                      <a:lnTo>
                        <a:pt x="19" y="323"/>
                      </a:lnTo>
                      <a:lnTo>
                        <a:pt x="19" y="318"/>
                      </a:lnTo>
                      <a:lnTo>
                        <a:pt x="21" y="316"/>
                      </a:lnTo>
                      <a:lnTo>
                        <a:pt x="19" y="311"/>
                      </a:lnTo>
                      <a:lnTo>
                        <a:pt x="21" y="308"/>
                      </a:lnTo>
                      <a:lnTo>
                        <a:pt x="21" y="306"/>
                      </a:lnTo>
                      <a:lnTo>
                        <a:pt x="21" y="304"/>
                      </a:lnTo>
                      <a:lnTo>
                        <a:pt x="21" y="297"/>
                      </a:lnTo>
                      <a:lnTo>
                        <a:pt x="19" y="294"/>
                      </a:lnTo>
                      <a:lnTo>
                        <a:pt x="19" y="292"/>
                      </a:lnTo>
                      <a:lnTo>
                        <a:pt x="21" y="290"/>
                      </a:lnTo>
                      <a:lnTo>
                        <a:pt x="21" y="287"/>
                      </a:lnTo>
                      <a:lnTo>
                        <a:pt x="19" y="285"/>
                      </a:lnTo>
                      <a:lnTo>
                        <a:pt x="17" y="282"/>
                      </a:lnTo>
                      <a:lnTo>
                        <a:pt x="14" y="282"/>
                      </a:lnTo>
                      <a:lnTo>
                        <a:pt x="12" y="282"/>
                      </a:lnTo>
                      <a:lnTo>
                        <a:pt x="12" y="280"/>
                      </a:lnTo>
                      <a:lnTo>
                        <a:pt x="12" y="280"/>
                      </a:lnTo>
                      <a:lnTo>
                        <a:pt x="17" y="280"/>
                      </a:lnTo>
                      <a:lnTo>
                        <a:pt x="19" y="278"/>
                      </a:lnTo>
                      <a:lnTo>
                        <a:pt x="19" y="275"/>
                      </a:lnTo>
                      <a:lnTo>
                        <a:pt x="19" y="273"/>
                      </a:lnTo>
                      <a:lnTo>
                        <a:pt x="17" y="275"/>
                      </a:lnTo>
                      <a:lnTo>
                        <a:pt x="14" y="275"/>
                      </a:lnTo>
                      <a:lnTo>
                        <a:pt x="14" y="271"/>
                      </a:lnTo>
                      <a:lnTo>
                        <a:pt x="12" y="266"/>
                      </a:lnTo>
                      <a:lnTo>
                        <a:pt x="12" y="263"/>
                      </a:lnTo>
                      <a:lnTo>
                        <a:pt x="12" y="259"/>
                      </a:lnTo>
                      <a:lnTo>
                        <a:pt x="7" y="259"/>
                      </a:lnTo>
                      <a:lnTo>
                        <a:pt x="7" y="254"/>
                      </a:lnTo>
                      <a:lnTo>
                        <a:pt x="5" y="247"/>
                      </a:lnTo>
                      <a:lnTo>
                        <a:pt x="10" y="244"/>
                      </a:lnTo>
                      <a:lnTo>
                        <a:pt x="10" y="242"/>
                      </a:lnTo>
                      <a:lnTo>
                        <a:pt x="7" y="240"/>
                      </a:lnTo>
                      <a:lnTo>
                        <a:pt x="5" y="240"/>
                      </a:lnTo>
                      <a:lnTo>
                        <a:pt x="5" y="235"/>
                      </a:lnTo>
                      <a:lnTo>
                        <a:pt x="5" y="228"/>
                      </a:lnTo>
                      <a:lnTo>
                        <a:pt x="5" y="221"/>
                      </a:lnTo>
                      <a:lnTo>
                        <a:pt x="2" y="218"/>
                      </a:lnTo>
                      <a:lnTo>
                        <a:pt x="2" y="214"/>
                      </a:lnTo>
                      <a:lnTo>
                        <a:pt x="7" y="209"/>
                      </a:lnTo>
                      <a:lnTo>
                        <a:pt x="7" y="204"/>
                      </a:lnTo>
                      <a:lnTo>
                        <a:pt x="10" y="202"/>
                      </a:lnTo>
                      <a:lnTo>
                        <a:pt x="12" y="199"/>
                      </a:lnTo>
                      <a:lnTo>
                        <a:pt x="5" y="188"/>
                      </a:lnTo>
                      <a:lnTo>
                        <a:pt x="7" y="185"/>
                      </a:lnTo>
                      <a:lnTo>
                        <a:pt x="7" y="180"/>
                      </a:lnTo>
                      <a:lnTo>
                        <a:pt x="5" y="173"/>
                      </a:lnTo>
                      <a:lnTo>
                        <a:pt x="7" y="171"/>
                      </a:lnTo>
                      <a:lnTo>
                        <a:pt x="12" y="169"/>
                      </a:lnTo>
                      <a:lnTo>
                        <a:pt x="10" y="164"/>
                      </a:lnTo>
                      <a:lnTo>
                        <a:pt x="7" y="162"/>
                      </a:lnTo>
                      <a:lnTo>
                        <a:pt x="7" y="159"/>
                      </a:lnTo>
                      <a:lnTo>
                        <a:pt x="10" y="157"/>
                      </a:lnTo>
                      <a:lnTo>
                        <a:pt x="10" y="152"/>
                      </a:lnTo>
                      <a:lnTo>
                        <a:pt x="10" y="147"/>
                      </a:lnTo>
                      <a:lnTo>
                        <a:pt x="12" y="147"/>
                      </a:lnTo>
                      <a:lnTo>
                        <a:pt x="14" y="143"/>
                      </a:lnTo>
                      <a:lnTo>
                        <a:pt x="12" y="133"/>
                      </a:lnTo>
                      <a:lnTo>
                        <a:pt x="10" y="133"/>
                      </a:lnTo>
                      <a:lnTo>
                        <a:pt x="10" y="126"/>
                      </a:lnTo>
                      <a:lnTo>
                        <a:pt x="7" y="124"/>
                      </a:lnTo>
                      <a:lnTo>
                        <a:pt x="5" y="119"/>
                      </a:lnTo>
                      <a:lnTo>
                        <a:pt x="5" y="119"/>
                      </a:lnTo>
                      <a:lnTo>
                        <a:pt x="2" y="116"/>
                      </a:lnTo>
                      <a:lnTo>
                        <a:pt x="0" y="109"/>
                      </a:lnTo>
                      <a:lnTo>
                        <a:pt x="2" y="107"/>
                      </a:lnTo>
                      <a:lnTo>
                        <a:pt x="5" y="105"/>
                      </a:lnTo>
                      <a:lnTo>
                        <a:pt x="5" y="100"/>
                      </a:lnTo>
                      <a:lnTo>
                        <a:pt x="7" y="98"/>
                      </a:lnTo>
                      <a:lnTo>
                        <a:pt x="7" y="93"/>
                      </a:lnTo>
                      <a:lnTo>
                        <a:pt x="5" y="90"/>
                      </a:lnTo>
                      <a:lnTo>
                        <a:pt x="5" y="83"/>
                      </a:lnTo>
                      <a:lnTo>
                        <a:pt x="7" y="83"/>
                      </a:lnTo>
                      <a:lnTo>
                        <a:pt x="7" y="74"/>
                      </a:lnTo>
                      <a:lnTo>
                        <a:pt x="10" y="71"/>
                      </a:lnTo>
                      <a:lnTo>
                        <a:pt x="12" y="64"/>
                      </a:lnTo>
                      <a:lnTo>
                        <a:pt x="14" y="62"/>
                      </a:lnTo>
                      <a:lnTo>
                        <a:pt x="17" y="62"/>
                      </a:lnTo>
                      <a:lnTo>
                        <a:pt x="19" y="60"/>
                      </a:lnTo>
                      <a:lnTo>
                        <a:pt x="19" y="60"/>
                      </a:lnTo>
                      <a:lnTo>
                        <a:pt x="17" y="55"/>
                      </a:lnTo>
                      <a:lnTo>
                        <a:pt x="17" y="55"/>
                      </a:lnTo>
                      <a:lnTo>
                        <a:pt x="17" y="52"/>
                      </a:lnTo>
                      <a:lnTo>
                        <a:pt x="17" y="50"/>
                      </a:lnTo>
                      <a:lnTo>
                        <a:pt x="19" y="50"/>
                      </a:lnTo>
                      <a:lnTo>
                        <a:pt x="19" y="48"/>
                      </a:lnTo>
                      <a:lnTo>
                        <a:pt x="17" y="45"/>
                      </a:lnTo>
                      <a:lnTo>
                        <a:pt x="14" y="41"/>
                      </a:lnTo>
                      <a:lnTo>
                        <a:pt x="17" y="38"/>
                      </a:lnTo>
                      <a:lnTo>
                        <a:pt x="17" y="36"/>
                      </a:lnTo>
                      <a:lnTo>
                        <a:pt x="14" y="36"/>
                      </a:lnTo>
                      <a:lnTo>
                        <a:pt x="14" y="34"/>
                      </a:lnTo>
                      <a:lnTo>
                        <a:pt x="28" y="26"/>
                      </a:lnTo>
                      <a:lnTo>
                        <a:pt x="31" y="15"/>
                      </a:lnTo>
                      <a:lnTo>
                        <a:pt x="28" y="12"/>
                      </a:lnTo>
                      <a:lnTo>
                        <a:pt x="28" y="12"/>
                      </a:lnTo>
                      <a:close/>
                      <a:moveTo>
                        <a:pt x="123" y="420"/>
                      </a:moveTo>
                      <a:lnTo>
                        <a:pt x="123" y="422"/>
                      </a:lnTo>
                      <a:lnTo>
                        <a:pt x="125" y="420"/>
                      </a:lnTo>
                      <a:lnTo>
                        <a:pt x="128" y="420"/>
                      </a:lnTo>
                      <a:lnTo>
                        <a:pt x="130" y="418"/>
                      </a:lnTo>
                      <a:lnTo>
                        <a:pt x="128" y="418"/>
                      </a:lnTo>
                      <a:lnTo>
                        <a:pt x="125" y="420"/>
                      </a:lnTo>
                      <a:lnTo>
                        <a:pt x="123" y="420"/>
                      </a:lnTo>
                      <a:lnTo>
                        <a:pt x="123" y="420"/>
                      </a:lnTo>
                      <a:lnTo>
                        <a:pt x="123" y="420"/>
                      </a:lnTo>
                      <a:close/>
                      <a:moveTo>
                        <a:pt x="71" y="389"/>
                      </a:moveTo>
                      <a:lnTo>
                        <a:pt x="71" y="389"/>
                      </a:lnTo>
                      <a:lnTo>
                        <a:pt x="73" y="391"/>
                      </a:lnTo>
                      <a:lnTo>
                        <a:pt x="78" y="394"/>
                      </a:lnTo>
                      <a:lnTo>
                        <a:pt x="78" y="399"/>
                      </a:lnTo>
                      <a:lnTo>
                        <a:pt x="78" y="399"/>
                      </a:lnTo>
                      <a:lnTo>
                        <a:pt x="76" y="399"/>
                      </a:lnTo>
                      <a:lnTo>
                        <a:pt x="76" y="401"/>
                      </a:lnTo>
                      <a:lnTo>
                        <a:pt x="71" y="389"/>
                      </a:lnTo>
                      <a:lnTo>
                        <a:pt x="71" y="389"/>
                      </a:lnTo>
                      <a:close/>
                      <a:moveTo>
                        <a:pt x="76" y="401"/>
                      </a:moveTo>
                      <a:lnTo>
                        <a:pt x="78" y="401"/>
                      </a:lnTo>
                      <a:lnTo>
                        <a:pt x="81" y="401"/>
                      </a:lnTo>
                      <a:lnTo>
                        <a:pt x="81" y="403"/>
                      </a:lnTo>
                      <a:lnTo>
                        <a:pt x="83" y="406"/>
                      </a:lnTo>
                      <a:lnTo>
                        <a:pt x="85" y="406"/>
                      </a:lnTo>
                      <a:lnTo>
                        <a:pt x="88" y="408"/>
                      </a:lnTo>
                      <a:lnTo>
                        <a:pt x="88" y="410"/>
                      </a:lnTo>
                      <a:lnTo>
                        <a:pt x="90" y="413"/>
                      </a:lnTo>
                      <a:lnTo>
                        <a:pt x="99" y="415"/>
                      </a:lnTo>
                      <a:lnTo>
                        <a:pt x="102" y="415"/>
                      </a:lnTo>
                      <a:lnTo>
                        <a:pt x="104" y="415"/>
                      </a:lnTo>
                      <a:lnTo>
                        <a:pt x="107" y="418"/>
                      </a:lnTo>
                      <a:lnTo>
                        <a:pt x="109" y="420"/>
                      </a:lnTo>
                      <a:lnTo>
                        <a:pt x="114" y="418"/>
                      </a:lnTo>
                      <a:lnTo>
                        <a:pt x="116" y="418"/>
                      </a:lnTo>
                      <a:lnTo>
                        <a:pt x="116" y="420"/>
                      </a:lnTo>
                      <a:lnTo>
                        <a:pt x="114" y="422"/>
                      </a:lnTo>
                      <a:lnTo>
                        <a:pt x="111" y="420"/>
                      </a:lnTo>
                      <a:lnTo>
                        <a:pt x="109" y="422"/>
                      </a:lnTo>
                      <a:lnTo>
                        <a:pt x="109" y="422"/>
                      </a:lnTo>
                      <a:lnTo>
                        <a:pt x="107" y="425"/>
                      </a:lnTo>
                      <a:lnTo>
                        <a:pt x="104" y="427"/>
                      </a:lnTo>
                      <a:lnTo>
                        <a:pt x="102" y="425"/>
                      </a:lnTo>
                      <a:lnTo>
                        <a:pt x="99" y="425"/>
                      </a:lnTo>
                      <a:lnTo>
                        <a:pt x="95" y="422"/>
                      </a:lnTo>
                      <a:lnTo>
                        <a:pt x="92" y="425"/>
                      </a:lnTo>
                      <a:lnTo>
                        <a:pt x="88" y="422"/>
                      </a:lnTo>
                      <a:lnTo>
                        <a:pt x="83" y="425"/>
                      </a:lnTo>
                      <a:lnTo>
                        <a:pt x="81" y="425"/>
                      </a:lnTo>
                      <a:lnTo>
                        <a:pt x="81" y="420"/>
                      </a:lnTo>
                      <a:lnTo>
                        <a:pt x="85" y="420"/>
                      </a:lnTo>
                      <a:lnTo>
                        <a:pt x="90" y="420"/>
                      </a:lnTo>
                      <a:lnTo>
                        <a:pt x="90" y="420"/>
                      </a:lnTo>
                      <a:lnTo>
                        <a:pt x="90" y="418"/>
                      </a:lnTo>
                      <a:lnTo>
                        <a:pt x="88" y="420"/>
                      </a:lnTo>
                      <a:lnTo>
                        <a:pt x="85" y="420"/>
                      </a:lnTo>
                      <a:lnTo>
                        <a:pt x="81" y="420"/>
                      </a:lnTo>
                      <a:lnTo>
                        <a:pt x="81" y="420"/>
                      </a:lnTo>
                      <a:lnTo>
                        <a:pt x="76" y="401"/>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2" name="Freeform 197">
                  <a:extLst>
                    <a:ext uri="{FF2B5EF4-FFF2-40B4-BE49-F238E27FC236}">
                      <a16:creationId xmlns:a16="http://schemas.microsoft.com/office/drawing/2014/main" id="{EE4D3A16-C9CF-5504-90C2-F953BE69F559}"/>
                    </a:ext>
                  </a:extLst>
                </p:cNvPr>
                <p:cNvSpPr>
                  <a:spLocks noEditPoints="1"/>
                </p:cNvSpPr>
                <p:nvPr/>
              </p:nvSpPr>
              <p:spPr bwMode="auto">
                <a:xfrm>
                  <a:off x="1861" y="2787"/>
                  <a:ext cx="123" cy="486"/>
                </a:xfrm>
                <a:custGeom>
                  <a:avLst/>
                  <a:gdLst>
                    <a:gd name="T0" fmla="*/ 35 w 52"/>
                    <a:gd name="T1" fmla="*/ 197 h 205"/>
                    <a:gd name="T2" fmla="*/ 35 w 52"/>
                    <a:gd name="T3" fmla="*/ 200 h 205"/>
                    <a:gd name="T4" fmla="*/ 43 w 52"/>
                    <a:gd name="T5" fmla="*/ 200 h 205"/>
                    <a:gd name="T6" fmla="*/ 35 w 52"/>
                    <a:gd name="T7" fmla="*/ 191 h 205"/>
                    <a:gd name="T8" fmla="*/ 41 w 52"/>
                    <a:gd name="T9" fmla="*/ 189 h 205"/>
                    <a:gd name="T10" fmla="*/ 15 w 52"/>
                    <a:gd name="T11" fmla="*/ 169 h 205"/>
                    <a:gd name="T12" fmla="*/ 15 w 52"/>
                    <a:gd name="T13" fmla="*/ 139 h 205"/>
                    <a:gd name="T14" fmla="*/ 12 w 52"/>
                    <a:gd name="T15" fmla="*/ 116 h 205"/>
                    <a:gd name="T16" fmla="*/ 16 w 52"/>
                    <a:gd name="T17" fmla="*/ 80 h 205"/>
                    <a:gd name="T18" fmla="*/ 17 w 52"/>
                    <a:gd name="T19" fmla="*/ 46 h 205"/>
                    <a:gd name="T20" fmla="*/ 16 w 52"/>
                    <a:gd name="T21" fmla="*/ 17 h 205"/>
                    <a:gd name="T22" fmla="*/ 8 w 52"/>
                    <a:gd name="T23" fmla="*/ 4 h 205"/>
                    <a:gd name="T24" fmla="*/ 5 w 52"/>
                    <a:gd name="T25" fmla="*/ 27 h 205"/>
                    <a:gd name="T26" fmla="*/ 5 w 52"/>
                    <a:gd name="T27" fmla="*/ 51 h 205"/>
                    <a:gd name="T28" fmla="*/ 6 w 52"/>
                    <a:gd name="T29" fmla="*/ 73 h 205"/>
                    <a:gd name="T30" fmla="*/ 4 w 52"/>
                    <a:gd name="T31" fmla="*/ 88 h 205"/>
                    <a:gd name="T32" fmla="*/ 2 w 52"/>
                    <a:gd name="T33" fmla="*/ 102 h 205"/>
                    <a:gd name="T34" fmla="*/ 2 w 52"/>
                    <a:gd name="T35" fmla="*/ 118 h 205"/>
                    <a:gd name="T36" fmla="*/ 11 w 52"/>
                    <a:gd name="T37" fmla="*/ 126 h 205"/>
                    <a:gd name="T38" fmla="*/ 9 w 52"/>
                    <a:gd name="T39" fmla="*/ 135 h 205"/>
                    <a:gd name="T40" fmla="*/ 9 w 52"/>
                    <a:gd name="T41" fmla="*/ 149 h 205"/>
                    <a:gd name="T42" fmla="*/ 3 w 52"/>
                    <a:gd name="T43" fmla="*/ 145 h 205"/>
                    <a:gd name="T44" fmla="*/ 6 w 52"/>
                    <a:gd name="T45" fmla="*/ 151 h 205"/>
                    <a:gd name="T46" fmla="*/ 11 w 52"/>
                    <a:gd name="T47" fmla="*/ 156 h 205"/>
                    <a:gd name="T48" fmla="*/ 10 w 52"/>
                    <a:gd name="T49" fmla="*/ 162 h 205"/>
                    <a:gd name="T50" fmla="*/ 12 w 52"/>
                    <a:gd name="T51" fmla="*/ 169 h 205"/>
                    <a:gd name="T52" fmla="*/ 16 w 52"/>
                    <a:gd name="T53" fmla="*/ 178 h 205"/>
                    <a:gd name="T54" fmla="*/ 21 w 52"/>
                    <a:gd name="T55" fmla="*/ 180 h 205"/>
                    <a:gd name="T56" fmla="*/ 22 w 52"/>
                    <a:gd name="T57" fmla="*/ 184 h 205"/>
                    <a:gd name="T58" fmla="*/ 20 w 52"/>
                    <a:gd name="T59" fmla="*/ 186 h 205"/>
                    <a:gd name="T60" fmla="*/ 24 w 52"/>
                    <a:gd name="T61" fmla="*/ 185 h 205"/>
                    <a:gd name="T62" fmla="*/ 23 w 52"/>
                    <a:gd name="T63" fmla="*/ 189 h 205"/>
                    <a:gd name="T64" fmla="*/ 30 w 52"/>
                    <a:gd name="T65" fmla="*/ 187 h 205"/>
                    <a:gd name="T66" fmla="*/ 31 w 52"/>
                    <a:gd name="T67" fmla="*/ 193 h 205"/>
                    <a:gd name="T68" fmla="*/ 40 w 52"/>
                    <a:gd name="T69" fmla="*/ 182 h 205"/>
                    <a:gd name="T70" fmla="*/ 3 w 52"/>
                    <a:gd name="T71" fmla="*/ 127 h 205"/>
                    <a:gd name="T72" fmla="*/ 8 w 52"/>
                    <a:gd name="T73" fmla="*/ 124 h 205"/>
                    <a:gd name="T74" fmla="*/ 7 w 52"/>
                    <a:gd name="T75" fmla="*/ 134 h 205"/>
                    <a:gd name="T76" fmla="*/ 3 w 52"/>
                    <a:gd name="T77" fmla="*/ 138 h 205"/>
                    <a:gd name="T78" fmla="*/ 4 w 52"/>
                    <a:gd name="T79" fmla="*/ 138 h 205"/>
                    <a:gd name="T80" fmla="*/ 10 w 52"/>
                    <a:gd name="T81" fmla="*/ 136 h 205"/>
                    <a:gd name="T82" fmla="*/ 5 w 52"/>
                    <a:gd name="T83" fmla="*/ 141 h 205"/>
                    <a:gd name="T84" fmla="*/ 7 w 52"/>
                    <a:gd name="T85" fmla="*/ 160 h 205"/>
                    <a:gd name="T86" fmla="*/ 6 w 52"/>
                    <a:gd name="T87" fmla="*/ 160 h 205"/>
                    <a:gd name="T88" fmla="*/ 5 w 52"/>
                    <a:gd name="T89" fmla="*/ 164 h 205"/>
                    <a:gd name="T90" fmla="*/ 6 w 52"/>
                    <a:gd name="T91" fmla="*/ 166 h 205"/>
                    <a:gd name="T92" fmla="*/ 9 w 52"/>
                    <a:gd name="T93" fmla="*/ 169 h 205"/>
                    <a:gd name="T94" fmla="*/ 10 w 52"/>
                    <a:gd name="T95" fmla="*/ 175 h 205"/>
                    <a:gd name="T96" fmla="*/ 10 w 52"/>
                    <a:gd name="T97" fmla="*/ 174 h 205"/>
                    <a:gd name="T98" fmla="*/ 12 w 52"/>
                    <a:gd name="T99" fmla="*/ 180 h 205"/>
                    <a:gd name="T100" fmla="*/ 15 w 52"/>
                    <a:gd name="T101" fmla="*/ 182 h 205"/>
                    <a:gd name="T102" fmla="*/ 16 w 52"/>
                    <a:gd name="T103" fmla="*/ 182 h 205"/>
                    <a:gd name="T104" fmla="*/ 18 w 52"/>
                    <a:gd name="T105" fmla="*/ 186 h 205"/>
                    <a:gd name="T106" fmla="*/ 22 w 52"/>
                    <a:gd name="T107" fmla="*/ 191 h 205"/>
                    <a:gd name="T108" fmla="*/ 23 w 52"/>
                    <a:gd name="T109" fmla="*/ 195 h 205"/>
                    <a:gd name="T110" fmla="*/ 27 w 52"/>
                    <a:gd name="T111" fmla="*/ 195 h 205"/>
                    <a:gd name="T112" fmla="*/ 29 w 52"/>
                    <a:gd name="T113" fmla="*/ 195 h 205"/>
                    <a:gd name="T114" fmla="*/ 33 w 52"/>
                    <a:gd name="T115" fmla="*/ 193 h 205"/>
                    <a:gd name="T116" fmla="*/ 52 w 52"/>
                    <a:gd name="T117" fmla="*/ 203 h 205"/>
                    <a:gd name="T118" fmla="*/ 49 w 52"/>
                    <a:gd name="T119" fmla="*/ 201 h 205"/>
                    <a:gd name="T120" fmla="*/ 44 w 52"/>
                    <a:gd name="T121" fmla="*/ 202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2" h="205">
                      <a:moveTo>
                        <a:pt x="44" y="199"/>
                      </a:moveTo>
                      <a:cubicBezTo>
                        <a:pt x="44" y="197"/>
                        <a:pt x="44" y="197"/>
                        <a:pt x="44" y="197"/>
                      </a:cubicBezTo>
                      <a:cubicBezTo>
                        <a:pt x="43" y="197"/>
                        <a:pt x="43" y="197"/>
                        <a:pt x="43" y="197"/>
                      </a:cubicBezTo>
                      <a:cubicBezTo>
                        <a:pt x="43" y="197"/>
                        <a:pt x="43" y="197"/>
                        <a:pt x="43" y="197"/>
                      </a:cubicBezTo>
                      <a:cubicBezTo>
                        <a:pt x="41" y="196"/>
                        <a:pt x="41" y="196"/>
                        <a:pt x="41" y="196"/>
                      </a:cubicBezTo>
                      <a:cubicBezTo>
                        <a:pt x="38" y="196"/>
                        <a:pt x="38" y="196"/>
                        <a:pt x="38" y="196"/>
                      </a:cubicBezTo>
                      <a:cubicBezTo>
                        <a:pt x="37" y="195"/>
                        <a:pt x="37" y="195"/>
                        <a:pt x="37" y="195"/>
                      </a:cubicBezTo>
                      <a:cubicBezTo>
                        <a:pt x="37" y="196"/>
                        <a:pt x="37" y="196"/>
                        <a:pt x="37" y="196"/>
                      </a:cubicBezTo>
                      <a:cubicBezTo>
                        <a:pt x="38" y="196"/>
                        <a:pt x="38" y="196"/>
                        <a:pt x="38" y="196"/>
                      </a:cubicBezTo>
                      <a:cubicBezTo>
                        <a:pt x="37" y="196"/>
                        <a:pt x="37" y="196"/>
                        <a:pt x="37" y="196"/>
                      </a:cubicBezTo>
                      <a:cubicBezTo>
                        <a:pt x="37" y="196"/>
                        <a:pt x="37" y="196"/>
                        <a:pt x="37" y="196"/>
                      </a:cubicBezTo>
                      <a:cubicBezTo>
                        <a:pt x="35" y="195"/>
                        <a:pt x="35" y="195"/>
                        <a:pt x="35" y="195"/>
                      </a:cubicBezTo>
                      <a:cubicBezTo>
                        <a:pt x="34" y="195"/>
                        <a:pt x="34" y="195"/>
                        <a:pt x="34" y="195"/>
                      </a:cubicBezTo>
                      <a:cubicBezTo>
                        <a:pt x="34" y="195"/>
                        <a:pt x="34" y="195"/>
                        <a:pt x="34" y="195"/>
                      </a:cubicBezTo>
                      <a:cubicBezTo>
                        <a:pt x="34" y="196"/>
                        <a:pt x="34" y="196"/>
                        <a:pt x="34" y="196"/>
                      </a:cubicBezTo>
                      <a:cubicBezTo>
                        <a:pt x="37" y="196"/>
                        <a:pt x="37" y="196"/>
                        <a:pt x="37" y="196"/>
                      </a:cubicBezTo>
                      <a:cubicBezTo>
                        <a:pt x="37" y="197"/>
                        <a:pt x="37" y="197"/>
                        <a:pt x="37" y="197"/>
                      </a:cubicBezTo>
                      <a:cubicBezTo>
                        <a:pt x="36" y="197"/>
                        <a:pt x="36" y="197"/>
                        <a:pt x="36" y="197"/>
                      </a:cubicBezTo>
                      <a:cubicBezTo>
                        <a:pt x="36" y="197"/>
                        <a:pt x="36" y="197"/>
                        <a:pt x="36" y="197"/>
                      </a:cubicBezTo>
                      <a:cubicBezTo>
                        <a:pt x="36" y="197"/>
                        <a:pt x="36" y="197"/>
                        <a:pt x="36" y="197"/>
                      </a:cubicBezTo>
                      <a:cubicBezTo>
                        <a:pt x="35" y="197"/>
                        <a:pt x="35" y="197"/>
                        <a:pt x="35" y="197"/>
                      </a:cubicBezTo>
                      <a:cubicBezTo>
                        <a:pt x="35" y="197"/>
                        <a:pt x="35" y="197"/>
                        <a:pt x="35" y="197"/>
                      </a:cubicBezTo>
                      <a:cubicBezTo>
                        <a:pt x="34" y="196"/>
                        <a:pt x="34" y="196"/>
                        <a:pt x="34" y="196"/>
                      </a:cubicBezTo>
                      <a:cubicBezTo>
                        <a:pt x="34" y="197"/>
                        <a:pt x="34" y="197"/>
                        <a:pt x="34" y="197"/>
                      </a:cubicBezTo>
                      <a:cubicBezTo>
                        <a:pt x="34" y="197"/>
                        <a:pt x="34" y="197"/>
                        <a:pt x="34" y="197"/>
                      </a:cubicBezTo>
                      <a:cubicBezTo>
                        <a:pt x="33" y="197"/>
                        <a:pt x="33" y="197"/>
                        <a:pt x="33" y="197"/>
                      </a:cubicBezTo>
                      <a:cubicBezTo>
                        <a:pt x="32" y="197"/>
                        <a:pt x="32" y="197"/>
                        <a:pt x="32" y="197"/>
                      </a:cubicBezTo>
                      <a:cubicBezTo>
                        <a:pt x="32" y="197"/>
                        <a:pt x="32" y="197"/>
                        <a:pt x="32" y="197"/>
                      </a:cubicBezTo>
                      <a:cubicBezTo>
                        <a:pt x="32" y="198"/>
                        <a:pt x="32" y="198"/>
                        <a:pt x="32" y="198"/>
                      </a:cubicBezTo>
                      <a:cubicBezTo>
                        <a:pt x="32" y="198"/>
                        <a:pt x="32" y="198"/>
                        <a:pt x="32" y="198"/>
                      </a:cubicBezTo>
                      <a:cubicBezTo>
                        <a:pt x="31" y="198"/>
                        <a:pt x="31" y="198"/>
                        <a:pt x="31" y="198"/>
                      </a:cubicBezTo>
                      <a:cubicBezTo>
                        <a:pt x="30" y="198"/>
                        <a:pt x="30" y="198"/>
                        <a:pt x="30" y="198"/>
                      </a:cubicBezTo>
                      <a:cubicBezTo>
                        <a:pt x="30" y="199"/>
                        <a:pt x="30" y="199"/>
                        <a:pt x="30" y="199"/>
                      </a:cubicBezTo>
                      <a:cubicBezTo>
                        <a:pt x="31" y="199"/>
                        <a:pt x="31" y="199"/>
                        <a:pt x="31" y="199"/>
                      </a:cubicBezTo>
                      <a:cubicBezTo>
                        <a:pt x="32" y="199"/>
                        <a:pt x="32" y="199"/>
                        <a:pt x="32" y="199"/>
                      </a:cubicBezTo>
                      <a:cubicBezTo>
                        <a:pt x="32" y="198"/>
                        <a:pt x="32" y="198"/>
                        <a:pt x="32" y="198"/>
                      </a:cubicBezTo>
                      <a:cubicBezTo>
                        <a:pt x="33" y="198"/>
                        <a:pt x="33" y="198"/>
                        <a:pt x="33" y="198"/>
                      </a:cubicBezTo>
                      <a:cubicBezTo>
                        <a:pt x="33" y="198"/>
                        <a:pt x="33" y="198"/>
                        <a:pt x="33" y="198"/>
                      </a:cubicBezTo>
                      <a:cubicBezTo>
                        <a:pt x="34" y="199"/>
                        <a:pt x="34" y="199"/>
                        <a:pt x="34" y="199"/>
                      </a:cubicBezTo>
                      <a:cubicBezTo>
                        <a:pt x="35" y="199"/>
                        <a:pt x="35" y="199"/>
                        <a:pt x="35" y="199"/>
                      </a:cubicBezTo>
                      <a:cubicBezTo>
                        <a:pt x="35" y="199"/>
                        <a:pt x="35" y="199"/>
                        <a:pt x="35" y="199"/>
                      </a:cubicBezTo>
                      <a:cubicBezTo>
                        <a:pt x="35" y="200"/>
                        <a:pt x="35" y="200"/>
                        <a:pt x="35" y="200"/>
                      </a:cubicBezTo>
                      <a:cubicBezTo>
                        <a:pt x="35" y="200"/>
                        <a:pt x="35" y="200"/>
                        <a:pt x="35" y="200"/>
                      </a:cubicBezTo>
                      <a:cubicBezTo>
                        <a:pt x="35" y="200"/>
                        <a:pt x="35" y="200"/>
                        <a:pt x="35" y="200"/>
                      </a:cubicBezTo>
                      <a:cubicBezTo>
                        <a:pt x="34" y="201"/>
                        <a:pt x="34" y="201"/>
                        <a:pt x="34" y="201"/>
                      </a:cubicBezTo>
                      <a:cubicBezTo>
                        <a:pt x="35" y="201"/>
                        <a:pt x="35" y="201"/>
                        <a:pt x="35" y="201"/>
                      </a:cubicBezTo>
                      <a:cubicBezTo>
                        <a:pt x="35" y="201"/>
                        <a:pt x="35" y="201"/>
                        <a:pt x="35" y="201"/>
                      </a:cubicBezTo>
                      <a:cubicBezTo>
                        <a:pt x="36" y="202"/>
                        <a:pt x="36" y="202"/>
                        <a:pt x="36" y="202"/>
                      </a:cubicBezTo>
                      <a:cubicBezTo>
                        <a:pt x="37" y="202"/>
                        <a:pt x="37" y="202"/>
                        <a:pt x="37" y="202"/>
                      </a:cubicBezTo>
                      <a:cubicBezTo>
                        <a:pt x="37" y="202"/>
                        <a:pt x="37" y="202"/>
                        <a:pt x="37" y="202"/>
                      </a:cubicBezTo>
                      <a:cubicBezTo>
                        <a:pt x="37" y="202"/>
                        <a:pt x="37" y="202"/>
                        <a:pt x="37" y="202"/>
                      </a:cubicBezTo>
                      <a:cubicBezTo>
                        <a:pt x="37" y="202"/>
                        <a:pt x="37" y="202"/>
                        <a:pt x="37" y="202"/>
                      </a:cubicBezTo>
                      <a:cubicBezTo>
                        <a:pt x="36" y="201"/>
                        <a:pt x="36" y="201"/>
                        <a:pt x="36" y="201"/>
                      </a:cubicBezTo>
                      <a:cubicBezTo>
                        <a:pt x="36" y="201"/>
                        <a:pt x="36" y="201"/>
                        <a:pt x="36" y="201"/>
                      </a:cubicBezTo>
                      <a:cubicBezTo>
                        <a:pt x="36" y="201"/>
                        <a:pt x="36" y="201"/>
                        <a:pt x="36" y="201"/>
                      </a:cubicBezTo>
                      <a:cubicBezTo>
                        <a:pt x="37" y="201"/>
                        <a:pt x="37" y="201"/>
                        <a:pt x="37" y="201"/>
                      </a:cubicBezTo>
                      <a:cubicBezTo>
                        <a:pt x="37" y="201"/>
                        <a:pt x="37" y="201"/>
                        <a:pt x="37" y="201"/>
                      </a:cubicBezTo>
                      <a:cubicBezTo>
                        <a:pt x="37" y="200"/>
                        <a:pt x="37" y="200"/>
                        <a:pt x="37" y="200"/>
                      </a:cubicBezTo>
                      <a:cubicBezTo>
                        <a:pt x="37" y="200"/>
                        <a:pt x="37" y="200"/>
                        <a:pt x="37" y="200"/>
                      </a:cubicBezTo>
                      <a:cubicBezTo>
                        <a:pt x="36" y="200"/>
                        <a:pt x="36" y="200"/>
                        <a:pt x="36" y="200"/>
                      </a:cubicBezTo>
                      <a:cubicBezTo>
                        <a:pt x="38" y="199"/>
                        <a:pt x="38" y="199"/>
                        <a:pt x="38" y="199"/>
                      </a:cubicBezTo>
                      <a:cubicBezTo>
                        <a:pt x="39" y="199"/>
                        <a:pt x="39" y="199"/>
                        <a:pt x="39" y="199"/>
                      </a:cubicBezTo>
                      <a:cubicBezTo>
                        <a:pt x="43" y="200"/>
                        <a:pt x="43" y="200"/>
                        <a:pt x="43" y="200"/>
                      </a:cubicBezTo>
                      <a:cubicBezTo>
                        <a:pt x="43" y="199"/>
                        <a:pt x="43" y="199"/>
                        <a:pt x="43" y="199"/>
                      </a:cubicBezTo>
                      <a:cubicBezTo>
                        <a:pt x="43" y="199"/>
                        <a:pt x="43" y="199"/>
                        <a:pt x="43" y="199"/>
                      </a:cubicBezTo>
                      <a:cubicBezTo>
                        <a:pt x="44" y="199"/>
                        <a:pt x="44" y="199"/>
                        <a:pt x="44" y="199"/>
                      </a:cubicBezTo>
                      <a:close/>
                      <a:moveTo>
                        <a:pt x="44" y="197"/>
                      </a:moveTo>
                      <a:cubicBezTo>
                        <a:pt x="43" y="197"/>
                        <a:pt x="43" y="197"/>
                        <a:pt x="43" y="197"/>
                      </a:cubicBezTo>
                      <a:cubicBezTo>
                        <a:pt x="40" y="195"/>
                        <a:pt x="40" y="195"/>
                        <a:pt x="40" y="195"/>
                      </a:cubicBezTo>
                      <a:cubicBezTo>
                        <a:pt x="39" y="195"/>
                        <a:pt x="39" y="195"/>
                        <a:pt x="39" y="195"/>
                      </a:cubicBezTo>
                      <a:cubicBezTo>
                        <a:pt x="38" y="195"/>
                        <a:pt x="38" y="195"/>
                        <a:pt x="38" y="195"/>
                      </a:cubicBezTo>
                      <a:cubicBezTo>
                        <a:pt x="37" y="194"/>
                        <a:pt x="37" y="194"/>
                        <a:pt x="37" y="194"/>
                      </a:cubicBezTo>
                      <a:cubicBezTo>
                        <a:pt x="36" y="193"/>
                        <a:pt x="36" y="193"/>
                        <a:pt x="36" y="193"/>
                      </a:cubicBezTo>
                      <a:cubicBezTo>
                        <a:pt x="36" y="193"/>
                        <a:pt x="36" y="193"/>
                        <a:pt x="36" y="193"/>
                      </a:cubicBezTo>
                      <a:cubicBezTo>
                        <a:pt x="36" y="193"/>
                        <a:pt x="36" y="193"/>
                        <a:pt x="36" y="193"/>
                      </a:cubicBezTo>
                      <a:cubicBezTo>
                        <a:pt x="38" y="192"/>
                        <a:pt x="38" y="192"/>
                        <a:pt x="38" y="192"/>
                      </a:cubicBezTo>
                      <a:cubicBezTo>
                        <a:pt x="38" y="192"/>
                        <a:pt x="38" y="192"/>
                        <a:pt x="38" y="192"/>
                      </a:cubicBezTo>
                      <a:cubicBezTo>
                        <a:pt x="39" y="191"/>
                        <a:pt x="39" y="191"/>
                        <a:pt x="39" y="191"/>
                      </a:cubicBezTo>
                      <a:cubicBezTo>
                        <a:pt x="39" y="190"/>
                        <a:pt x="39" y="190"/>
                        <a:pt x="39" y="190"/>
                      </a:cubicBezTo>
                      <a:cubicBezTo>
                        <a:pt x="39" y="190"/>
                        <a:pt x="39" y="190"/>
                        <a:pt x="39" y="190"/>
                      </a:cubicBezTo>
                      <a:cubicBezTo>
                        <a:pt x="38" y="190"/>
                        <a:pt x="38" y="190"/>
                        <a:pt x="38" y="190"/>
                      </a:cubicBezTo>
                      <a:cubicBezTo>
                        <a:pt x="37" y="190"/>
                        <a:pt x="37" y="190"/>
                        <a:pt x="37" y="190"/>
                      </a:cubicBezTo>
                      <a:cubicBezTo>
                        <a:pt x="36" y="191"/>
                        <a:pt x="36" y="191"/>
                        <a:pt x="36" y="191"/>
                      </a:cubicBezTo>
                      <a:cubicBezTo>
                        <a:pt x="35" y="191"/>
                        <a:pt x="35" y="191"/>
                        <a:pt x="35" y="191"/>
                      </a:cubicBezTo>
                      <a:cubicBezTo>
                        <a:pt x="34" y="190"/>
                        <a:pt x="34" y="190"/>
                        <a:pt x="34" y="190"/>
                      </a:cubicBezTo>
                      <a:cubicBezTo>
                        <a:pt x="34" y="189"/>
                        <a:pt x="34" y="189"/>
                        <a:pt x="34" y="189"/>
                      </a:cubicBezTo>
                      <a:cubicBezTo>
                        <a:pt x="34" y="188"/>
                        <a:pt x="34" y="188"/>
                        <a:pt x="34" y="188"/>
                      </a:cubicBezTo>
                      <a:cubicBezTo>
                        <a:pt x="35" y="188"/>
                        <a:pt x="35" y="188"/>
                        <a:pt x="35" y="188"/>
                      </a:cubicBezTo>
                      <a:cubicBezTo>
                        <a:pt x="35" y="187"/>
                        <a:pt x="35" y="187"/>
                        <a:pt x="35" y="187"/>
                      </a:cubicBezTo>
                      <a:cubicBezTo>
                        <a:pt x="34" y="187"/>
                        <a:pt x="34" y="187"/>
                        <a:pt x="34" y="187"/>
                      </a:cubicBezTo>
                      <a:cubicBezTo>
                        <a:pt x="34" y="187"/>
                        <a:pt x="34" y="187"/>
                        <a:pt x="34" y="187"/>
                      </a:cubicBezTo>
                      <a:cubicBezTo>
                        <a:pt x="34" y="186"/>
                        <a:pt x="34" y="186"/>
                        <a:pt x="34" y="186"/>
                      </a:cubicBezTo>
                      <a:cubicBezTo>
                        <a:pt x="35" y="186"/>
                        <a:pt x="35" y="186"/>
                        <a:pt x="35" y="186"/>
                      </a:cubicBezTo>
                      <a:cubicBezTo>
                        <a:pt x="36" y="187"/>
                        <a:pt x="36" y="187"/>
                        <a:pt x="36" y="187"/>
                      </a:cubicBezTo>
                      <a:cubicBezTo>
                        <a:pt x="36" y="186"/>
                        <a:pt x="36" y="186"/>
                        <a:pt x="36" y="186"/>
                      </a:cubicBezTo>
                      <a:cubicBezTo>
                        <a:pt x="37" y="186"/>
                        <a:pt x="37" y="186"/>
                        <a:pt x="37" y="186"/>
                      </a:cubicBezTo>
                      <a:cubicBezTo>
                        <a:pt x="37" y="185"/>
                        <a:pt x="37" y="185"/>
                        <a:pt x="37" y="185"/>
                      </a:cubicBezTo>
                      <a:cubicBezTo>
                        <a:pt x="37" y="184"/>
                        <a:pt x="37" y="184"/>
                        <a:pt x="37" y="184"/>
                      </a:cubicBezTo>
                      <a:cubicBezTo>
                        <a:pt x="37" y="184"/>
                        <a:pt x="37" y="184"/>
                        <a:pt x="37" y="184"/>
                      </a:cubicBezTo>
                      <a:cubicBezTo>
                        <a:pt x="38" y="184"/>
                        <a:pt x="38" y="184"/>
                        <a:pt x="38" y="184"/>
                      </a:cubicBezTo>
                      <a:cubicBezTo>
                        <a:pt x="38" y="184"/>
                        <a:pt x="38" y="184"/>
                        <a:pt x="38" y="184"/>
                      </a:cubicBezTo>
                      <a:cubicBezTo>
                        <a:pt x="39" y="184"/>
                        <a:pt x="39" y="184"/>
                        <a:pt x="39" y="184"/>
                      </a:cubicBezTo>
                      <a:cubicBezTo>
                        <a:pt x="40" y="184"/>
                        <a:pt x="40" y="184"/>
                        <a:pt x="40" y="184"/>
                      </a:cubicBezTo>
                      <a:cubicBezTo>
                        <a:pt x="42" y="189"/>
                        <a:pt x="42" y="189"/>
                        <a:pt x="42" y="189"/>
                      </a:cubicBezTo>
                      <a:cubicBezTo>
                        <a:pt x="41" y="189"/>
                        <a:pt x="41" y="189"/>
                        <a:pt x="41" y="189"/>
                      </a:cubicBezTo>
                      <a:cubicBezTo>
                        <a:pt x="42" y="189"/>
                        <a:pt x="42" y="189"/>
                        <a:pt x="42" y="189"/>
                      </a:cubicBezTo>
                      <a:cubicBezTo>
                        <a:pt x="44" y="197"/>
                        <a:pt x="44" y="197"/>
                        <a:pt x="44" y="197"/>
                      </a:cubicBezTo>
                      <a:close/>
                      <a:moveTo>
                        <a:pt x="40" y="182"/>
                      </a:moveTo>
                      <a:cubicBezTo>
                        <a:pt x="39" y="181"/>
                        <a:pt x="39" y="181"/>
                        <a:pt x="39" y="181"/>
                      </a:cubicBezTo>
                      <a:cubicBezTo>
                        <a:pt x="38" y="181"/>
                        <a:pt x="38" y="181"/>
                        <a:pt x="38" y="181"/>
                      </a:cubicBezTo>
                      <a:cubicBezTo>
                        <a:pt x="37" y="181"/>
                        <a:pt x="37" y="181"/>
                        <a:pt x="37" y="181"/>
                      </a:cubicBezTo>
                      <a:cubicBezTo>
                        <a:pt x="31" y="181"/>
                        <a:pt x="31" y="181"/>
                        <a:pt x="31" y="181"/>
                      </a:cubicBezTo>
                      <a:cubicBezTo>
                        <a:pt x="28" y="181"/>
                        <a:pt x="28" y="181"/>
                        <a:pt x="28" y="181"/>
                      </a:cubicBezTo>
                      <a:cubicBezTo>
                        <a:pt x="27" y="181"/>
                        <a:pt x="27" y="181"/>
                        <a:pt x="27" y="181"/>
                      </a:cubicBezTo>
                      <a:cubicBezTo>
                        <a:pt x="25" y="181"/>
                        <a:pt x="25" y="181"/>
                        <a:pt x="25" y="181"/>
                      </a:cubicBezTo>
                      <a:cubicBezTo>
                        <a:pt x="24" y="179"/>
                        <a:pt x="24" y="179"/>
                        <a:pt x="24" y="179"/>
                      </a:cubicBezTo>
                      <a:cubicBezTo>
                        <a:pt x="23" y="177"/>
                        <a:pt x="23" y="177"/>
                        <a:pt x="23" y="177"/>
                      </a:cubicBezTo>
                      <a:cubicBezTo>
                        <a:pt x="22" y="176"/>
                        <a:pt x="22" y="176"/>
                        <a:pt x="22" y="176"/>
                      </a:cubicBezTo>
                      <a:cubicBezTo>
                        <a:pt x="22" y="174"/>
                        <a:pt x="22" y="174"/>
                        <a:pt x="22" y="174"/>
                      </a:cubicBezTo>
                      <a:cubicBezTo>
                        <a:pt x="22" y="173"/>
                        <a:pt x="22" y="173"/>
                        <a:pt x="22" y="173"/>
                      </a:cubicBezTo>
                      <a:cubicBezTo>
                        <a:pt x="21" y="173"/>
                        <a:pt x="21" y="173"/>
                        <a:pt x="21" y="173"/>
                      </a:cubicBezTo>
                      <a:cubicBezTo>
                        <a:pt x="20" y="173"/>
                        <a:pt x="20" y="173"/>
                        <a:pt x="20" y="173"/>
                      </a:cubicBezTo>
                      <a:cubicBezTo>
                        <a:pt x="19" y="174"/>
                        <a:pt x="19" y="174"/>
                        <a:pt x="19" y="174"/>
                      </a:cubicBezTo>
                      <a:cubicBezTo>
                        <a:pt x="18" y="174"/>
                        <a:pt x="18" y="174"/>
                        <a:pt x="18" y="174"/>
                      </a:cubicBezTo>
                      <a:cubicBezTo>
                        <a:pt x="16" y="170"/>
                        <a:pt x="16" y="170"/>
                        <a:pt x="16" y="170"/>
                      </a:cubicBezTo>
                      <a:cubicBezTo>
                        <a:pt x="15" y="169"/>
                        <a:pt x="15" y="169"/>
                        <a:pt x="15" y="169"/>
                      </a:cubicBezTo>
                      <a:cubicBezTo>
                        <a:pt x="16" y="165"/>
                        <a:pt x="16" y="165"/>
                        <a:pt x="16" y="165"/>
                      </a:cubicBezTo>
                      <a:cubicBezTo>
                        <a:pt x="17" y="164"/>
                        <a:pt x="17" y="164"/>
                        <a:pt x="17" y="164"/>
                      </a:cubicBezTo>
                      <a:cubicBezTo>
                        <a:pt x="19" y="162"/>
                        <a:pt x="19" y="162"/>
                        <a:pt x="19" y="162"/>
                      </a:cubicBezTo>
                      <a:cubicBezTo>
                        <a:pt x="19" y="160"/>
                        <a:pt x="19" y="160"/>
                        <a:pt x="19" y="160"/>
                      </a:cubicBezTo>
                      <a:cubicBezTo>
                        <a:pt x="19" y="158"/>
                        <a:pt x="19" y="158"/>
                        <a:pt x="19" y="158"/>
                      </a:cubicBezTo>
                      <a:cubicBezTo>
                        <a:pt x="18" y="156"/>
                        <a:pt x="18" y="156"/>
                        <a:pt x="18" y="156"/>
                      </a:cubicBezTo>
                      <a:cubicBezTo>
                        <a:pt x="18" y="154"/>
                        <a:pt x="18" y="154"/>
                        <a:pt x="18" y="154"/>
                      </a:cubicBezTo>
                      <a:cubicBezTo>
                        <a:pt x="19" y="153"/>
                        <a:pt x="19" y="153"/>
                        <a:pt x="19" y="153"/>
                      </a:cubicBezTo>
                      <a:cubicBezTo>
                        <a:pt x="18" y="151"/>
                        <a:pt x="18" y="151"/>
                        <a:pt x="18" y="151"/>
                      </a:cubicBezTo>
                      <a:cubicBezTo>
                        <a:pt x="19" y="150"/>
                        <a:pt x="19" y="150"/>
                        <a:pt x="19" y="150"/>
                      </a:cubicBezTo>
                      <a:cubicBezTo>
                        <a:pt x="19" y="149"/>
                        <a:pt x="19" y="149"/>
                        <a:pt x="19" y="149"/>
                      </a:cubicBezTo>
                      <a:cubicBezTo>
                        <a:pt x="19" y="148"/>
                        <a:pt x="19" y="148"/>
                        <a:pt x="19" y="148"/>
                      </a:cubicBezTo>
                      <a:cubicBezTo>
                        <a:pt x="19" y="145"/>
                        <a:pt x="19" y="145"/>
                        <a:pt x="19" y="145"/>
                      </a:cubicBezTo>
                      <a:cubicBezTo>
                        <a:pt x="18" y="144"/>
                        <a:pt x="18" y="144"/>
                        <a:pt x="18" y="144"/>
                      </a:cubicBezTo>
                      <a:cubicBezTo>
                        <a:pt x="18" y="143"/>
                        <a:pt x="18" y="143"/>
                        <a:pt x="18" y="143"/>
                      </a:cubicBezTo>
                      <a:cubicBezTo>
                        <a:pt x="19" y="142"/>
                        <a:pt x="19" y="142"/>
                        <a:pt x="19" y="142"/>
                      </a:cubicBezTo>
                      <a:cubicBezTo>
                        <a:pt x="19" y="141"/>
                        <a:pt x="19" y="141"/>
                        <a:pt x="19" y="141"/>
                      </a:cubicBezTo>
                      <a:cubicBezTo>
                        <a:pt x="18" y="140"/>
                        <a:pt x="18" y="140"/>
                        <a:pt x="18" y="140"/>
                      </a:cubicBezTo>
                      <a:cubicBezTo>
                        <a:pt x="17" y="139"/>
                        <a:pt x="17" y="139"/>
                        <a:pt x="17" y="139"/>
                      </a:cubicBezTo>
                      <a:cubicBezTo>
                        <a:pt x="16" y="139"/>
                        <a:pt x="16" y="139"/>
                        <a:pt x="16" y="139"/>
                      </a:cubicBezTo>
                      <a:cubicBezTo>
                        <a:pt x="15" y="139"/>
                        <a:pt x="15" y="139"/>
                        <a:pt x="15" y="139"/>
                      </a:cubicBezTo>
                      <a:cubicBezTo>
                        <a:pt x="15" y="138"/>
                        <a:pt x="15" y="138"/>
                        <a:pt x="15" y="138"/>
                      </a:cubicBezTo>
                      <a:cubicBezTo>
                        <a:pt x="15" y="138"/>
                        <a:pt x="15" y="138"/>
                        <a:pt x="15" y="138"/>
                      </a:cubicBezTo>
                      <a:cubicBezTo>
                        <a:pt x="17" y="138"/>
                        <a:pt x="17" y="138"/>
                        <a:pt x="17" y="138"/>
                      </a:cubicBezTo>
                      <a:cubicBezTo>
                        <a:pt x="18" y="137"/>
                        <a:pt x="18" y="137"/>
                        <a:pt x="18" y="137"/>
                      </a:cubicBezTo>
                      <a:cubicBezTo>
                        <a:pt x="18" y="136"/>
                        <a:pt x="18" y="136"/>
                        <a:pt x="18" y="136"/>
                      </a:cubicBezTo>
                      <a:cubicBezTo>
                        <a:pt x="18" y="135"/>
                        <a:pt x="18" y="135"/>
                        <a:pt x="18" y="135"/>
                      </a:cubicBezTo>
                      <a:cubicBezTo>
                        <a:pt x="17" y="136"/>
                        <a:pt x="17" y="136"/>
                        <a:pt x="17" y="136"/>
                      </a:cubicBezTo>
                      <a:cubicBezTo>
                        <a:pt x="16" y="136"/>
                        <a:pt x="16" y="136"/>
                        <a:pt x="16" y="136"/>
                      </a:cubicBezTo>
                      <a:cubicBezTo>
                        <a:pt x="16" y="134"/>
                        <a:pt x="16" y="134"/>
                        <a:pt x="16" y="134"/>
                      </a:cubicBezTo>
                      <a:cubicBezTo>
                        <a:pt x="15" y="132"/>
                        <a:pt x="15" y="132"/>
                        <a:pt x="15" y="132"/>
                      </a:cubicBezTo>
                      <a:cubicBezTo>
                        <a:pt x="15" y="131"/>
                        <a:pt x="15" y="131"/>
                        <a:pt x="15" y="131"/>
                      </a:cubicBezTo>
                      <a:cubicBezTo>
                        <a:pt x="15" y="129"/>
                        <a:pt x="15" y="129"/>
                        <a:pt x="15" y="129"/>
                      </a:cubicBezTo>
                      <a:cubicBezTo>
                        <a:pt x="13" y="129"/>
                        <a:pt x="13" y="129"/>
                        <a:pt x="13" y="129"/>
                      </a:cubicBezTo>
                      <a:cubicBezTo>
                        <a:pt x="13" y="127"/>
                        <a:pt x="13" y="127"/>
                        <a:pt x="13" y="127"/>
                      </a:cubicBezTo>
                      <a:cubicBezTo>
                        <a:pt x="12" y="124"/>
                        <a:pt x="12" y="124"/>
                        <a:pt x="12" y="124"/>
                      </a:cubicBezTo>
                      <a:cubicBezTo>
                        <a:pt x="14" y="123"/>
                        <a:pt x="14" y="123"/>
                        <a:pt x="14" y="123"/>
                      </a:cubicBezTo>
                      <a:cubicBezTo>
                        <a:pt x="14" y="122"/>
                        <a:pt x="14" y="122"/>
                        <a:pt x="14" y="122"/>
                      </a:cubicBezTo>
                      <a:cubicBezTo>
                        <a:pt x="13" y="121"/>
                        <a:pt x="13" y="121"/>
                        <a:pt x="13" y="121"/>
                      </a:cubicBezTo>
                      <a:cubicBezTo>
                        <a:pt x="12" y="121"/>
                        <a:pt x="12" y="121"/>
                        <a:pt x="12" y="121"/>
                      </a:cubicBezTo>
                      <a:cubicBezTo>
                        <a:pt x="12" y="119"/>
                        <a:pt x="12" y="119"/>
                        <a:pt x="12" y="119"/>
                      </a:cubicBezTo>
                      <a:cubicBezTo>
                        <a:pt x="12" y="116"/>
                        <a:pt x="12" y="116"/>
                        <a:pt x="12" y="116"/>
                      </a:cubicBezTo>
                      <a:cubicBezTo>
                        <a:pt x="12" y="113"/>
                        <a:pt x="12" y="113"/>
                        <a:pt x="12" y="113"/>
                      </a:cubicBezTo>
                      <a:cubicBezTo>
                        <a:pt x="11" y="112"/>
                        <a:pt x="11" y="112"/>
                        <a:pt x="11" y="112"/>
                      </a:cubicBezTo>
                      <a:cubicBezTo>
                        <a:pt x="11" y="110"/>
                        <a:pt x="11" y="110"/>
                        <a:pt x="11" y="110"/>
                      </a:cubicBezTo>
                      <a:cubicBezTo>
                        <a:pt x="13" y="108"/>
                        <a:pt x="13" y="108"/>
                        <a:pt x="13" y="108"/>
                      </a:cubicBezTo>
                      <a:cubicBezTo>
                        <a:pt x="13" y="106"/>
                        <a:pt x="13" y="106"/>
                        <a:pt x="13" y="106"/>
                      </a:cubicBezTo>
                      <a:cubicBezTo>
                        <a:pt x="14" y="105"/>
                        <a:pt x="14" y="105"/>
                        <a:pt x="14" y="105"/>
                      </a:cubicBezTo>
                      <a:cubicBezTo>
                        <a:pt x="15" y="104"/>
                        <a:pt x="15" y="104"/>
                        <a:pt x="15" y="104"/>
                      </a:cubicBezTo>
                      <a:cubicBezTo>
                        <a:pt x="12" y="99"/>
                        <a:pt x="12" y="99"/>
                        <a:pt x="12" y="99"/>
                      </a:cubicBezTo>
                      <a:cubicBezTo>
                        <a:pt x="13" y="98"/>
                        <a:pt x="13" y="98"/>
                        <a:pt x="13" y="98"/>
                      </a:cubicBezTo>
                      <a:cubicBezTo>
                        <a:pt x="13" y="96"/>
                        <a:pt x="13" y="96"/>
                        <a:pt x="13" y="96"/>
                      </a:cubicBezTo>
                      <a:cubicBezTo>
                        <a:pt x="12" y="93"/>
                        <a:pt x="12" y="93"/>
                        <a:pt x="12" y="93"/>
                      </a:cubicBezTo>
                      <a:cubicBezTo>
                        <a:pt x="13" y="92"/>
                        <a:pt x="13" y="92"/>
                        <a:pt x="13" y="92"/>
                      </a:cubicBezTo>
                      <a:cubicBezTo>
                        <a:pt x="15" y="91"/>
                        <a:pt x="15" y="91"/>
                        <a:pt x="15" y="91"/>
                      </a:cubicBezTo>
                      <a:cubicBezTo>
                        <a:pt x="14" y="89"/>
                        <a:pt x="14" y="89"/>
                        <a:pt x="14" y="89"/>
                      </a:cubicBezTo>
                      <a:cubicBezTo>
                        <a:pt x="13" y="88"/>
                        <a:pt x="13" y="88"/>
                        <a:pt x="13" y="88"/>
                      </a:cubicBezTo>
                      <a:cubicBezTo>
                        <a:pt x="13" y="87"/>
                        <a:pt x="13" y="87"/>
                        <a:pt x="13" y="87"/>
                      </a:cubicBezTo>
                      <a:cubicBezTo>
                        <a:pt x="14" y="86"/>
                        <a:pt x="14" y="86"/>
                        <a:pt x="14" y="86"/>
                      </a:cubicBezTo>
                      <a:cubicBezTo>
                        <a:pt x="14" y="84"/>
                        <a:pt x="14" y="84"/>
                        <a:pt x="14" y="84"/>
                      </a:cubicBezTo>
                      <a:cubicBezTo>
                        <a:pt x="14" y="82"/>
                        <a:pt x="14" y="82"/>
                        <a:pt x="14" y="82"/>
                      </a:cubicBezTo>
                      <a:cubicBezTo>
                        <a:pt x="15" y="82"/>
                        <a:pt x="15" y="82"/>
                        <a:pt x="15" y="82"/>
                      </a:cubicBezTo>
                      <a:cubicBezTo>
                        <a:pt x="16" y="80"/>
                        <a:pt x="16" y="80"/>
                        <a:pt x="16" y="80"/>
                      </a:cubicBezTo>
                      <a:cubicBezTo>
                        <a:pt x="15" y="76"/>
                        <a:pt x="15" y="76"/>
                        <a:pt x="15" y="76"/>
                      </a:cubicBezTo>
                      <a:cubicBezTo>
                        <a:pt x="14" y="76"/>
                        <a:pt x="14" y="76"/>
                        <a:pt x="14" y="76"/>
                      </a:cubicBezTo>
                      <a:cubicBezTo>
                        <a:pt x="14" y="73"/>
                        <a:pt x="14" y="73"/>
                        <a:pt x="14" y="73"/>
                      </a:cubicBezTo>
                      <a:cubicBezTo>
                        <a:pt x="13" y="72"/>
                        <a:pt x="13" y="72"/>
                        <a:pt x="13" y="72"/>
                      </a:cubicBezTo>
                      <a:cubicBezTo>
                        <a:pt x="12" y="70"/>
                        <a:pt x="12" y="70"/>
                        <a:pt x="12" y="70"/>
                      </a:cubicBezTo>
                      <a:cubicBezTo>
                        <a:pt x="12" y="70"/>
                        <a:pt x="12" y="70"/>
                        <a:pt x="12" y="70"/>
                      </a:cubicBezTo>
                      <a:cubicBezTo>
                        <a:pt x="11" y="69"/>
                        <a:pt x="11" y="69"/>
                        <a:pt x="11" y="69"/>
                      </a:cubicBezTo>
                      <a:cubicBezTo>
                        <a:pt x="10" y="66"/>
                        <a:pt x="10" y="66"/>
                        <a:pt x="10" y="66"/>
                      </a:cubicBezTo>
                      <a:cubicBezTo>
                        <a:pt x="11" y="65"/>
                        <a:pt x="11" y="65"/>
                        <a:pt x="11" y="65"/>
                      </a:cubicBezTo>
                      <a:cubicBezTo>
                        <a:pt x="12" y="64"/>
                        <a:pt x="12" y="64"/>
                        <a:pt x="12" y="64"/>
                      </a:cubicBezTo>
                      <a:cubicBezTo>
                        <a:pt x="12" y="62"/>
                        <a:pt x="12" y="62"/>
                        <a:pt x="12" y="62"/>
                      </a:cubicBezTo>
                      <a:cubicBezTo>
                        <a:pt x="13" y="61"/>
                        <a:pt x="13" y="61"/>
                        <a:pt x="13" y="61"/>
                      </a:cubicBezTo>
                      <a:cubicBezTo>
                        <a:pt x="13" y="59"/>
                        <a:pt x="13" y="59"/>
                        <a:pt x="13" y="59"/>
                      </a:cubicBezTo>
                      <a:cubicBezTo>
                        <a:pt x="12" y="58"/>
                        <a:pt x="12" y="58"/>
                        <a:pt x="12" y="58"/>
                      </a:cubicBezTo>
                      <a:cubicBezTo>
                        <a:pt x="12" y="55"/>
                        <a:pt x="12" y="55"/>
                        <a:pt x="12" y="55"/>
                      </a:cubicBezTo>
                      <a:cubicBezTo>
                        <a:pt x="13" y="55"/>
                        <a:pt x="13" y="55"/>
                        <a:pt x="13" y="55"/>
                      </a:cubicBezTo>
                      <a:cubicBezTo>
                        <a:pt x="13" y="51"/>
                        <a:pt x="13" y="51"/>
                        <a:pt x="13" y="51"/>
                      </a:cubicBezTo>
                      <a:cubicBezTo>
                        <a:pt x="14" y="50"/>
                        <a:pt x="14" y="50"/>
                        <a:pt x="14" y="50"/>
                      </a:cubicBezTo>
                      <a:cubicBezTo>
                        <a:pt x="15" y="47"/>
                        <a:pt x="15" y="47"/>
                        <a:pt x="15" y="47"/>
                      </a:cubicBezTo>
                      <a:cubicBezTo>
                        <a:pt x="16" y="46"/>
                        <a:pt x="16" y="46"/>
                        <a:pt x="16" y="46"/>
                      </a:cubicBezTo>
                      <a:cubicBezTo>
                        <a:pt x="17" y="46"/>
                        <a:pt x="17" y="46"/>
                        <a:pt x="17" y="46"/>
                      </a:cubicBezTo>
                      <a:cubicBezTo>
                        <a:pt x="18" y="45"/>
                        <a:pt x="18" y="45"/>
                        <a:pt x="18" y="45"/>
                      </a:cubicBezTo>
                      <a:cubicBezTo>
                        <a:pt x="18" y="45"/>
                        <a:pt x="18" y="45"/>
                        <a:pt x="18" y="45"/>
                      </a:cubicBezTo>
                      <a:cubicBezTo>
                        <a:pt x="17" y="43"/>
                        <a:pt x="17" y="43"/>
                        <a:pt x="17" y="43"/>
                      </a:cubicBezTo>
                      <a:cubicBezTo>
                        <a:pt x="17" y="43"/>
                        <a:pt x="17" y="43"/>
                        <a:pt x="17" y="43"/>
                      </a:cubicBezTo>
                      <a:cubicBezTo>
                        <a:pt x="17" y="42"/>
                        <a:pt x="17" y="42"/>
                        <a:pt x="17" y="42"/>
                      </a:cubicBezTo>
                      <a:cubicBezTo>
                        <a:pt x="17" y="41"/>
                        <a:pt x="17" y="41"/>
                        <a:pt x="17" y="41"/>
                      </a:cubicBezTo>
                      <a:cubicBezTo>
                        <a:pt x="18" y="41"/>
                        <a:pt x="18" y="41"/>
                        <a:pt x="18" y="41"/>
                      </a:cubicBezTo>
                      <a:cubicBezTo>
                        <a:pt x="18" y="40"/>
                        <a:pt x="18" y="40"/>
                        <a:pt x="18" y="40"/>
                      </a:cubicBezTo>
                      <a:cubicBezTo>
                        <a:pt x="17" y="39"/>
                        <a:pt x="17" y="39"/>
                        <a:pt x="17" y="39"/>
                      </a:cubicBezTo>
                      <a:cubicBezTo>
                        <a:pt x="16" y="37"/>
                        <a:pt x="16" y="37"/>
                        <a:pt x="16" y="37"/>
                      </a:cubicBezTo>
                      <a:cubicBezTo>
                        <a:pt x="17" y="36"/>
                        <a:pt x="17" y="36"/>
                        <a:pt x="17" y="36"/>
                      </a:cubicBezTo>
                      <a:cubicBezTo>
                        <a:pt x="17" y="35"/>
                        <a:pt x="17" y="35"/>
                        <a:pt x="17" y="35"/>
                      </a:cubicBezTo>
                      <a:cubicBezTo>
                        <a:pt x="16" y="35"/>
                        <a:pt x="16" y="35"/>
                        <a:pt x="16" y="35"/>
                      </a:cubicBezTo>
                      <a:cubicBezTo>
                        <a:pt x="16" y="34"/>
                        <a:pt x="16" y="34"/>
                        <a:pt x="16" y="34"/>
                      </a:cubicBezTo>
                      <a:cubicBezTo>
                        <a:pt x="22" y="31"/>
                        <a:pt x="22" y="31"/>
                        <a:pt x="22" y="31"/>
                      </a:cubicBezTo>
                      <a:cubicBezTo>
                        <a:pt x="23" y="26"/>
                        <a:pt x="23" y="26"/>
                        <a:pt x="23" y="26"/>
                      </a:cubicBezTo>
                      <a:cubicBezTo>
                        <a:pt x="22" y="25"/>
                        <a:pt x="22" y="25"/>
                        <a:pt x="22" y="25"/>
                      </a:cubicBezTo>
                      <a:cubicBezTo>
                        <a:pt x="22" y="25"/>
                        <a:pt x="22" y="25"/>
                        <a:pt x="22" y="25"/>
                      </a:cubicBezTo>
                      <a:cubicBezTo>
                        <a:pt x="21" y="25"/>
                        <a:pt x="21" y="25"/>
                        <a:pt x="21" y="25"/>
                      </a:cubicBezTo>
                      <a:cubicBezTo>
                        <a:pt x="20" y="25"/>
                        <a:pt x="20" y="25"/>
                        <a:pt x="20" y="25"/>
                      </a:cubicBezTo>
                      <a:cubicBezTo>
                        <a:pt x="16" y="17"/>
                        <a:pt x="16" y="17"/>
                        <a:pt x="16" y="17"/>
                      </a:cubicBezTo>
                      <a:cubicBezTo>
                        <a:pt x="14" y="15"/>
                        <a:pt x="14" y="15"/>
                        <a:pt x="14" y="15"/>
                      </a:cubicBezTo>
                      <a:cubicBezTo>
                        <a:pt x="13" y="14"/>
                        <a:pt x="13" y="14"/>
                        <a:pt x="13" y="14"/>
                      </a:cubicBezTo>
                      <a:cubicBezTo>
                        <a:pt x="15" y="12"/>
                        <a:pt x="15" y="12"/>
                        <a:pt x="15" y="12"/>
                      </a:cubicBezTo>
                      <a:cubicBezTo>
                        <a:pt x="14" y="11"/>
                        <a:pt x="14" y="11"/>
                        <a:pt x="14" y="11"/>
                      </a:cubicBezTo>
                      <a:cubicBezTo>
                        <a:pt x="15" y="10"/>
                        <a:pt x="15" y="10"/>
                        <a:pt x="15" y="10"/>
                      </a:cubicBezTo>
                      <a:cubicBezTo>
                        <a:pt x="15" y="9"/>
                        <a:pt x="15" y="9"/>
                        <a:pt x="15" y="9"/>
                      </a:cubicBezTo>
                      <a:cubicBezTo>
                        <a:pt x="12" y="7"/>
                        <a:pt x="12" y="7"/>
                        <a:pt x="12" y="7"/>
                      </a:cubicBezTo>
                      <a:cubicBezTo>
                        <a:pt x="12" y="6"/>
                        <a:pt x="12" y="6"/>
                        <a:pt x="12" y="6"/>
                      </a:cubicBezTo>
                      <a:cubicBezTo>
                        <a:pt x="11" y="5"/>
                        <a:pt x="11" y="5"/>
                        <a:pt x="11" y="5"/>
                      </a:cubicBezTo>
                      <a:cubicBezTo>
                        <a:pt x="11" y="4"/>
                        <a:pt x="11" y="4"/>
                        <a:pt x="11" y="4"/>
                      </a:cubicBezTo>
                      <a:cubicBezTo>
                        <a:pt x="11" y="4"/>
                        <a:pt x="11" y="4"/>
                        <a:pt x="11" y="4"/>
                      </a:cubicBezTo>
                      <a:cubicBezTo>
                        <a:pt x="11" y="3"/>
                        <a:pt x="11" y="3"/>
                        <a:pt x="11" y="3"/>
                      </a:cubicBezTo>
                      <a:cubicBezTo>
                        <a:pt x="11" y="2"/>
                        <a:pt x="11" y="2"/>
                        <a:pt x="11" y="2"/>
                      </a:cubicBezTo>
                      <a:cubicBezTo>
                        <a:pt x="10" y="2"/>
                        <a:pt x="10" y="2"/>
                        <a:pt x="10" y="2"/>
                      </a:cubicBezTo>
                      <a:cubicBezTo>
                        <a:pt x="10" y="1"/>
                        <a:pt x="10" y="1"/>
                        <a:pt x="10" y="1"/>
                      </a:cubicBezTo>
                      <a:cubicBezTo>
                        <a:pt x="9" y="0"/>
                        <a:pt x="9" y="0"/>
                        <a:pt x="9" y="0"/>
                      </a:cubicBezTo>
                      <a:cubicBezTo>
                        <a:pt x="8" y="1"/>
                        <a:pt x="8" y="1"/>
                        <a:pt x="8" y="1"/>
                      </a:cubicBezTo>
                      <a:cubicBezTo>
                        <a:pt x="8" y="2"/>
                        <a:pt x="8" y="2"/>
                        <a:pt x="8" y="2"/>
                      </a:cubicBezTo>
                      <a:cubicBezTo>
                        <a:pt x="9" y="3"/>
                        <a:pt x="9" y="3"/>
                        <a:pt x="9" y="3"/>
                      </a:cubicBezTo>
                      <a:cubicBezTo>
                        <a:pt x="9" y="3"/>
                        <a:pt x="9" y="3"/>
                        <a:pt x="9" y="3"/>
                      </a:cubicBezTo>
                      <a:cubicBezTo>
                        <a:pt x="8" y="4"/>
                        <a:pt x="8" y="4"/>
                        <a:pt x="8" y="4"/>
                      </a:cubicBezTo>
                      <a:cubicBezTo>
                        <a:pt x="7" y="4"/>
                        <a:pt x="7" y="4"/>
                        <a:pt x="7" y="4"/>
                      </a:cubicBezTo>
                      <a:cubicBezTo>
                        <a:pt x="6" y="4"/>
                        <a:pt x="6" y="4"/>
                        <a:pt x="6" y="4"/>
                      </a:cubicBezTo>
                      <a:cubicBezTo>
                        <a:pt x="5" y="5"/>
                        <a:pt x="5" y="5"/>
                        <a:pt x="5" y="5"/>
                      </a:cubicBezTo>
                      <a:cubicBezTo>
                        <a:pt x="5" y="5"/>
                        <a:pt x="5" y="5"/>
                        <a:pt x="5" y="5"/>
                      </a:cubicBezTo>
                      <a:cubicBezTo>
                        <a:pt x="5" y="6"/>
                        <a:pt x="5" y="6"/>
                        <a:pt x="5" y="6"/>
                      </a:cubicBezTo>
                      <a:cubicBezTo>
                        <a:pt x="5" y="7"/>
                        <a:pt x="5" y="7"/>
                        <a:pt x="5" y="7"/>
                      </a:cubicBezTo>
                      <a:cubicBezTo>
                        <a:pt x="5" y="8"/>
                        <a:pt x="5" y="8"/>
                        <a:pt x="5" y="8"/>
                      </a:cubicBezTo>
                      <a:cubicBezTo>
                        <a:pt x="6" y="12"/>
                        <a:pt x="6" y="12"/>
                        <a:pt x="6" y="12"/>
                      </a:cubicBezTo>
                      <a:cubicBezTo>
                        <a:pt x="6" y="13"/>
                        <a:pt x="6" y="13"/>
                        <a:pt x="6" y="13"/>
                      </a:cubicBezTo>
                      <a:cubicBezTo>
                        <a:pt x="6" y="14"/>
                        <a:pt x="6" y="14"/>
                        <a:pt x="6" y="14"/>
                      </a:cubicBezTo>
                      <a:cubicBezTo>
                        <a:pt x="5" y="14"/>
                        <a:pt x="5" y="14"/>
                        <a:pt x="5" y="14"/>
                      </a:cubicBezTo>
                      <a:cubicBezTo>
                        <a:pt x="6" y="16"/>
                        <a:pt x="6" y="16"/>
                        <a:pt x="6" y="16"/>
                      </a:cubicBezTo>
                      <a:cubicBezTo>
                        <a:pt x="6" y="18"/>
                        <a:pt x="6" y="18"/>
                        <a:pt x="6" y="18"/>
                      </a:cubicBezTo>
                      <a:cubicBezTo>
                        <a:pt x="7" y="19"/>
                        <a:pt x="7" y="19"/>
                        <a:pt x="7" y="19"/>
                      </a:cubicBezTo>
                      <a:cubicBezTo>
                        <a:pt x="7" y="21"/>
                        <a:pt x="7" y="21"/>
                        <a:pt x="7" y="21"/>
                      </a:cubicBezTo>
                      <a:cubicBezTo>
                        <a:pt x="7" y="22"/>
                        <a:pt x="7" y="22"/>
                        <a:pt x="7" y="22"/>
                      </a:cubicBezTo>
                      <a:cubicBezTo>
                        <a:pt x="6" y="22"/>
                        <a:pt x="6" y="22"/>
                        <a:pt x="6" y="22"/>
                      </a:cubicBezTo>
                      <a:cubicBezTo>
                        <a:pt x="7" y="25"/>
                        <a:pt x="7" y="25"/>
                        <a:pt x="7" y="25"/>
                      </a:cubicBezTo>
                      <a:cubicBezTo>
                        <a:pt x="7" y="26"/>
                        <a:pt x="7" y="26"/>
                        <a:pt x="7" y="26"/>
                      </a:cubicBezTo>
                      <a:cubicBezTo>
                        <a:pt x="6" y="26"/>
                        <a:pt x="6" y="26"/>
                        <a:pt x="6" y="26"/>
                      </a:cubicBezTo>
                      <a:cubicBezTo>
                        <a:pt x="5" y="27"/>
                        <a:pt x="5" y="27"/>
                        <a:pt x="5" y="27"/>
                      </a:cubicBezTo>
                      <a:cubicBezTo>
                        <a:pt x="5" y="28"/>
                        <a:pt x="5" y="28"/>
                        <a:pt x="5" y="28"/>
                      </a:cubicBezTo>
                      <a:cubicBezTo>
                        <a:pt x="6" y="29"/>
                        <a:pt x="6" y="29"/>
                        <a:pt x="6" y="29"/>
                      </a:cubicBezTo>
                      <a:cubicBezTo>
                        <a:pt x="6" y="29"/>
                        <a:pt x="6" y="29"/>
                        <a:pt x="6" y="29"/>
                      </a:cubicBezTo>
                      <a:cubicBezTo>
                        <a:pt x="7" y="29"/>
                        <a:pt x="7" y="29"/>
                        <a:pt x="7" y="29"/>
                      </a:cubicBezTo>
                      <a:cubicBezTo>
                        <a:pt x="6" y="29"/>
                        <a:pt x="6" y="29"/>
                        <a:pt x="6" y="29"/>
                      </a:cubicBezTo>
                      <a:cubicBezTo>
                        <a:pt x="6" y="34"/>
                        <a:pt x="6" y="34"/>
                        <a:pt x="6" y="34"/>
                      </a:cubicBezTo>
                      <a:cubicBezTo>
                        <a:pt x="7" y="36"/>
                        <a:pt x="7" y="36"/>
                        <a:pt x="7" y="36"/>
                      </a:cubicBezTo>
                      <a:cubicBezTo>
                        <a:pt x="7" y="37"/>
                        <a:pt x="7" y="37"/>
                        <a:pt x="7" y="37"/>
                      </a:cubicBezTo>
                      <a:cubicBezTo>
                        <a:pt x="7" y="38"/>
                        <a:pt x="7" y="38"/>
                        <a:pt x="7" y="38"/>
                      </a:cubicBezTo>
                      <a:cubicBezTo>
                        <a:pt x="6" y="39"/>
                        <a:pt x="6" y="39"/>
                        <a:pt x="6" y="39"/>
                      </a:cubicBezTo>
                      <a:cubicBezTo>
                        <a:pt x="6" y="40"/>
                        <a:pt x="6" y="40"/>
                        <a:pt x="6" y="40"/>
                      </a:cubicBezTo>
                      <a:cubicBezTo>
                        <a:pt x="7" y="42"/>
                        <a:pt x="7" y="42"/>
                        <a:pt x="7" y="42"/>
                      </a:cubicBezTo>
                      <a:cubicBezTo>
                        <a:pt x="7" y="43"/>
                        <a:pt x="7" y="43"/>
                        <a:pt x="7" y="43"/>
                      </a:cubicBezTo>
                      <a:cubicBezTo>
                        <a:pt x="7" y="45"/>
                        <a:pt x="7" y="45"/>
                        <a:pt x="7" y="45"/>
                      </a:cubicBezTo>
                      <a:cubicBezTo>
                        <a:pt x="6" y="46"/>
                        <a:pt x="6" y="46"/>
                        <a:pt x="6" y="46"/>
                      </a:cubicBezTo>
                      <a:cubicBezTo>
                        <a:pt x="6" y="47"/>
                        <a:pt x="6" y="47"/>
                        <a:pt x="6" y="47"/>
                      </a:cubicBezTo>
                      <a:cubicBezTo>
                        <a:pt x="6" y="47"/>
                        <a:pt x="6" y="47"/>
                        <a:pt x="6" y="47"/>
                      </a:cubicBezTo>
                      <a:cubicBezTo>
                        <a:pt x="6" y="48"/>
                        <a:pt x="6" y="48"/>
                        <a:pt x="6" y="48"/>
                      </a:cubicBezTo>
                      <a:cubicBezTo>
                        <a:pt x="6" y="49"/>
                        <a:pt x="6" y="49"/>
                        <a:pt x="6" y="49"/>
                      </a:cubicBezTo>
                      <a:cubicBezTo>
                        <a:pt x="5" y="50"/>
                        <a:pt x="5" y="50"/>
                        <a:pt x="5" y="50"/>
                      </a:cubicBezTo>
                      <a:cubicBezTo>
                        <a:pt x="5" y="51"/>
                        <a:pt x="5" y="51"/>
                        <a:pt x="5" y="51"/>
                      </a:cubicBezTo>
                      <a:cubicBezTo>
                        <a:pt x="5" y="52"/>
                        <a:pt x="5" y="52"/>
                        <a:pt x="5" y="52"/>
                      </a:cubicBezTo>
                      <a:cubicBezTo>
                        <a:pt x="5" y="53"/>
                        <a:pt x="5" y="53"/>
                        <a:pt x="5" y="53"/>
                      </a:cubicBezTo>
                      <a:cubicBezTo>
                        <a:pt x="4" y="54"/>
                        <a:pt x="4" y="54"/>
                        <a:pt x="4" y="54"/>
                      </a:cubicBezTo>
                      <a:cubicBezTo>
                        <a:pt x="4" y="55"/>
                        <a:pt x="4" y="55"/>
                        <a:pt x="4" y="55"/>
                      </a:cubicBezTo>
                      <a:cubicBezTo>
                        <a:pt x="5" y="56"/>
                        <a:pt x="5" y="56"/>
                        <a:pt x="5" y="56"/>
                      </a:cubicBezTo>
                      <a:cubicBezTo>
                        <a:pt x="5" y="58"/>
                        <a:pt x="5" y="58"/>
                        <a:pt x="5" y="58"/>
                      </a:cubicBezTo>
                      <a:cubicBezTo>
                        <a:pt x="6" y="58"/>
                        <a:pt x="6" y="58"/>
                        <a:pt x="6" y="58"/>
                      </a:cubicBezTo>
                      <a:cubicBezTo>
                        <a:pt x="5" y="59"/>
                        <a:pt x="5" y="59"/>
                        <a:pt x="5" y="59"/>
                      </a:cubicBezTo>
                      <a:cubicBezTo>
                        <a:pt x="5" y="60"/>
                        <a:pt x="5" y="60"/>
                        <a:pt x="5" y="60"/>
                      </a:cubicBezTo>
                      <a:cubicBezTo>
                        <a:pt x="5" y="61"/>
                        <a:pt x="5" y="61"/>
                        <a:pt x="5" y="61"/>
                      </a:cubicBezTo>
                      <a:cubicBezTo>
                        <a:pt x="5" y="61"/>
                        <a:pt x="5" y="61"/>
                        <a:pt x="5" y="61"/>
                      </a:cubicBezTo>
                      <a:cubicBezTo>
                        <a:pt x="4" y="62"/>
                        <a:pt x="4" y="62"/>
                        <a:pt x="4" y="62"/>
                      </a:cubicBezTo>
                      <a:cubicBezTo>
                        <a:pt x="4" y="63"/>
                        <a:pt x="4" y="63"/>
                        <a:pt x="4" y="63"/>
                      </a:cubicBezTo>
                      <a:cubicBezTo>
                        <a:pt x="4" y="64"/>
                        <a:pt x="4" y="64"/>
                        <a:pt x="4" y="64"/>
                      </a:cubicBezTo>
                      <a:cubicBezTo>
                        <a:pt x="4" y="65"/>
                        <a:pt x="4" y="65"/>
                        <a:pt x="4" y="65"/>
                      </a:cubicBezTo>
                      <a:cubicBezTo>
                        <a:pt x="5" y="67"/>
                        <a:pt x="5" y="67"/>
                        <a:pt x="5" y="67"/>
                      </a:cubicBezTo>
                      <a:cubicBezTo>
                        <a:pt x="5" y="69"/>
                        <a:pt x="5" y="69"/>
                        <a:pt x="5" y="69"/>
                      </a:cubicBezTo>
                      <a:cubicBezTo>
                        <a:pt x="5" y="69"/>
                        <a:pt x="5" y="69"/>
                        <a:pt x="5" y="69"/>
                      </a:cubicBezTo>
                      <a:cubicBezTo>
                        <a:pt x="5" y="70"/>
                        <a:pt x="5" y="70"/>
                        <a:pt x="5" y="70"/>
                      </a:cubicBezTo>
                      <a:cubicBezTo>
                        <a:pt x="6" y="71"/>
                        <a:pt x="6" y="71"/>
                        <a:pt x="6" y="71"/>
                      </a:cubicBezTo>
                      <a:cubicBezTo>
                        <a:pt x="6" y="73"/>
                        <a:pt x="6" y="73"/>
                        <a:pt x="6" y="73"/>
                      </a:cubicBezTo>
                      <a:cubicBezTo>
                        <a:pt x="6" y="74"/>
                        <a:pt x="6" y="74"/>
                        <a:pt x="6" y="74"/>
                      </a:cubicBezTo>
                      <a:cubicBezTo>
                        <a:pt x="6" y="74"/>
                        <a:pt x="6" y="74"/>
                        <a:pt x="6" y="74"/>
                      </a:cubicBezTo>
                      <a:cubicBezTo>
                        <a:pt x="6" y="75"/>
                        <a:pt x="6" y="75"/>
                        <a:pt x="6" y="75"/>
                      </a:cubicBezTo>
                      <a:cubicBezTo>
                        <a:pt x="6" y="76"/>
                        <a:pt x="6" y="76"/>
                        <a:pt x="6" y="76"/>
                      </a:cubicBezTo>
                      <a:cubicBezTo>
                        <a:pt x="6" y="76"/>
                        <a:pt x="6" y="76"/>
                        <a:pt x="6" y="76"/>
                      </a:cubicBezTo>
                      <a:cubicBezTo>
                        <a:pt x="6" y="77"/>
                        <a:pt x="6" y="77"/>
                        <a:pt x="6" y="77"/>
                      </a:cubicBezTo>
                      <a:cubicBezTo>
                        <a:pt x="7" y="78"/>
                        <a:pt x="7" y="78"/>
                        <a:pt x="7" y="78"/>
                      </a:cubicBezTo>
                      <a:cubicBezTo>
                        <a:pt x="7" y="79"/>
                        <a:pt x="7" y="79"/>
                        <a:pt x="7" y="79"/>
                      </a:cubicBezTo>
                      <a:cubicBezTo>
                        <a:pt x="7" y="80"/>
                        <a:pt x="7" y="80"/>
                        <a:pt x="7" y="80"/>
                      </a:cubicBezTo>
                      <a:cubicBezTo>
                        <a:pt x="6" y="80"/>
                        <a:pt x="6" y="80"/>
                        <a:pt x="6" y="80"/>
                      </a:cubicBezTo>
                      <a:cubicBezTo>
                        <a:pt x="5" y="81"/>
                        <a:pt x="5" y="81"/>
                        <a:pt x="5" y="81"/>
                      </a:cubicBezTo>
                      <a:cubicBezTo>
                        <a:pt x="5" y="82"/>
                        <a:pt x="5" y="82"/>
                        <a:pt x="5" y="82"/>
                      </a:cubicBezTo>
                      <a:cubicBezTo>
                        <a:pt x="6" y="82"/>
                        <a:pt x="6" y="82"/>
                        <a:pt x="6" y="82"/>
                      </a:cubicBezTo>
                      <a:cubicBezTo>
                        <a:pt x="5" y="83"/>
                        <a:pt x="5" y="83"/>
                        <a:pt x="5" y="83"/>
                      </a:cubicBezTo>
                      <a:cubicBezTo>
                        <a:pt x="5" y="84"/>
                        <a:pt x="5" y="84"/>
                        <a:pt x="5" y="84"/>
                      </a:cubicBezTo>
                      <a:cubicBezTo>
                        <a:pt x="5" y="84"/>
                        <a:pt x="5" y="84"/>
                        <a:pt x="5" y="84"/>
                      </a:cubicBezTo>
                      <a:cubicBezTo>
                        <a:pt x="5" y="86"/>
                        <a:pt x="5" y="86"/>
                        <a:pt x="5" y="86"/>
                      </a:cubicBezTo>
                      <a:cubicBezTo>
                        <a:pt x="4" y="86"/>
                        <a:pt x="4" y="86"/>
                        <a:pt x="4" y="86"/>
                      </a:cubicBezTo>
                      <a:cubicBezTo>
                        <a:pt x="4" y="87"/>
                        <a:pt x="4" y="87"/>
                        <a:pt x="4" y="87"/>
                      </a:cubicBezTo>
                      <a:cubicBezTo>
                        <a:pt x="4" y="87"/>
                        <a:pt x="4" y="87"/>
                        <a:pt x="4" y="87"/>
                      </a:cubicBezTo>
                      <a:cubicBezTo>
                        <a:pt x="4" y="88"/>
                        <a:pt x="4" y="88"/>
                        <a:pt x="4" y="88"/>
                      </a:cubicBezTo>
                      <a:cubicBezTo>
                        <a:pt x="3" y="89"/>
                        <a:pt x="3" y="89"/>
                        <a:pt x="3" y="89"/>
                      </a:cubicBezTo>
                      <a:cubicBezTo>
                        <a:pt x="4" y="89"/>
                        <a:pt x="4" y="89"/>
                        <a:pt x="4" y="89"/>
                      </a:cubicBezTo>
                      <a:cubicBezTo>
                        <a:pt x="4" y="90"/>
                        <a:pt x="4" y="90"/>
                        <a:pt x="4" y="90"/>
                      </a:cubicBezTo>
                      <a:cubicBezTo>
                        <a:pt x="3" y="91"/>
                        <a:pt x="3" y="91"/>
                        <a:pt x="3" y="91"/>
                      </a:cubicBezTo>
                      <a:cubicBezTo>
                        <a:pt x="3" y="92"/>
                        <a:pt x="3" y="92"/>
                        <a:pt x="3" y="92"/>
                      </a:cubicBezTo>
                      <a:cubicBezTo>
                        <a:pt x="3" y="93"/>
                        <a:pt x="3" y="93"/>
                        <a:pt x="3" y="93"/>
                      </a:cubicBezTo>
                      <a:cubicBezTo>
                        <a:pt x="3" y="93"/>
                        <a:pt x="3" y="93"/>
                        <a:pt x="3" y="93"/>
                      </a:cubicBezTo>
                      <a:cubicBezTo>
                        <a:pt x="3" y="94"/>
                        <a:pt x="3" y="94"/>
                        <a:pt x="3" y="94"/>
                      </a:cubicBezTo>
                      <a:cubicBezTo>
                        <a:pt x="2" y="94"/>
                        <a:pt x="2" y="94"/>
                        <a:pt x="2" y="94"/>
                      </a:cubicBezTo>
                      <a:cubicBezTo>
                        <a:pt x="2" y="95"/>
                        <a:pt x="2" y="95"/>
                        <a:pt x="2" y="95"/>
                      </a:cubicBezTo>
                      <a:cubicBezTo>
                        <a:pt x="2" y="96"/>
                        <a:pt x="2" y="96"/>
                        <a:pt x="2" y="96"/>
                      </a:cubicBezTo>
                      <a:cubicBezTo>
                        <a:pt x="2" y="97"/>
                        <a:pt x="2" y="97"/>
                        <a:pt x="2" y="97"/>
                      </a:cubicBezTo>
                      <a:cubicBezTo>
                        <a:pt x="2" y="97"/>
                        <a:pt x="2" y="97"/>
                        <a:pt x="2" y="97"/>
                      </a:cubicBezTo>
                      <a:cubicBezTo>
                        <a:pt x="1" y="97"/>
                        <a:pt x="1" y="97"/>
                        <a:pt x="1" y="97"/>
                      </a:cubicBezTo>
                      <a:cubicBezTo>
                        <a:pt x="1" y="97"/>
                        <a:pt x="1" y="97"/>
                        <a:pt x="1" y="97"/>
                      </a:cubicBezTo>
                      <a:cubicBezTo>
                        <a:pt x="0" y="97"/>
                        <a:pt x="0" y="97"/>
                        <a:pt x="0" y="97"/>
                      </a:cubicBezTo>
                      <a:cubicBezTo>
                        <a:pt x="0" y="98"/>
                        <a:pt x="0" y="98"/>
                        <a:pt x="0" y="98"/>
                      </a:cubicBezTo>
                      <a:cubicBezTo>
                        <a:pt x="0" y="99"/>
                        <a:pt x="0" y="99"/>
                        <a:pt x="0" y="99"/>
                      </a:cubicBezTo>
                      <a:cubicBezTo>
                        <a:pt x="0" y="100"/>
                        <a:pt x="0" y="100"/>
                        <a:pt x="0" y="100"/>
                      </a:cubicBezTo>
                      <a:cubicBezTo>
                        <a:pt x="1" y="101"/>
                        <a:pt x="1" y="101"/>
                        <a:pt x="1" y="101"/>
                      </a:cubicBezTo>
                      <a:cubicBezTo>
                        <a:pt x="2" y="102"/>
                        <a:pt x="2" y="102"/>
                        <a:pt x="2" y="102"/>
                      </a:cubicBezTo>
                      <a:cubicBezTo>
                        <a:pt x="2" y="102"/>
                        <a:pt x="2" y="102"/>
                        <a:pt x="2" y="102"/>
                      </a:cubicBezTo>
                      <a:cubicBezTo>
                        <a:pt x="2" y="104"/>
                        <a:pt x="2" y="104"/>
                        <a:pt x="2" y="104"/>
                      </a:cubicBezTo>
                      <a:cubicBezTo>
                        <a:pt x="3" y="106"/>
                        <a:pt x="3" y="106"/>
                        <a:pt x="3" y="106"/>
                      </a:cubicBezTo>
                      <a:cubicBezTo>
                        <a:pt x="4" y="106"/>
                        <a:pt x="4" y="106"/>
                        <a:pt x="4" y="106"/>
                      </a:cubicBezTo>
                      <a:cubicBezTo>
                        <a:pt x="4" y="107"/>
                        <a:pt x="4" y="107"/>
                        <a:pt x="4" y="107"/>
                      </a:cubicBezTo>
                      <a:cubicBezTo>
                        <a:pt x="4" y="108"/>
                        <a:pt x="4" y="108"/>
                        <a:pt x="4" y="108"/>
                      </a:cubicBezTo>
                      <a:cubicBezTo>
                        <a:pt x="4" y="110"/>
                        <a:pt x="4" y="110"/>
                        <a:pt x="4" y="110"/>
                      </a:cubicBezTo>
                      <a:cubicBezTo>
                        <a:pt x="3" y="111"/>
                        <a:pt x="3" y="111"/>
                        <a:pt x="3" y="111"/>
                      </a:cubicBezTo>
                      <a:cubicBezTo>
                        <a:pt x="4" y="111"/>
                        <a:pt x="4" y="111"/>
                        <a:pt x="4" y="111"/>
                      </a:cubicBezTo>
                      <a:cubicBezTo>
                        <a:pt x="3" y="112"/>
                        <a:pt x="3" y="112"/>
                        <a:pt x="3" y="112"/>
                      </a:cubicBezTo>
                      <a:cubicBezTo>
                        <a:pt x="3" y="112"/>
                        <a:pt x="3" y="112"/>
                        <a:pt x="3" y="112"/>
                      </a:cubicBezTo>
                      <a:cubicBezTo>
                        <a:pt x="3" y="112"/>
                        <a:pt x="3" y="112"/>
                        <a:pt x="3" y="112"/>
                      </a:cubicBezTo>
                      <a:cubicBezTo>
                        <a:pt x="2" y="112"/>
                        <a:pt x="2" y="112"/>
                        <a:pt x="2" y="112"/>
                      </a:cubicBezTo>
                      <a:cubicBezTo>
                        <a:pt x="2" y="113"/>
                        <a:pt x="2" y="113"/>
                        <a:pt x="2" y="113"/>
                      </a:cubicBezTo>
                      <a:cubicBezTo>
                        <a:pt x="3" y="114"/>
                        <a:pt x="3" y="114"/>
                        <a:pt x="3" y="114"/>
                      </a:cubicBezTo>
                      <a:cubicBezTo>
                        <a:pt x="3" y="115"/>
                        <a:pt x="3" y="115"/>
                        <a:pt x="3" y="115"/>
                      </a:cubicBezTo>
                      <a:cubicBezTo>
                        <a:pt x="3" y="116"/>
                        <a:pt x="3" y="116"/>
                        <a:pt x="3" y="116"/>
                      </a:cubicBezTo>
                      <a:cubicBezTo>
                        <a:pt x="2" y="117"/>
                        <a:pt x="2" y="117"/>
                        <a:pt x="2" y="117"/>
                      </a:cubicBezTo>
                      <a:cubicBezTo>
                        <a:pt x="3" y="117"/>
                        <a:pt x="3" y="117"/>
                        <a:pt x="3" y="117"/>
                      </a:cubicBezTo>
                      <a:cubicBezTo>
                        <a:pt x="3" y="118"/>
                        <a:pt x="3" y="118"/>
                        <a:pt x="3" y="118"/>
                      </a:cubicBezTo>
                      <a:cubicBezTo>
                        <a:pt x="2" y="118"/>
                        <a:pt x="2" y="118"/>
                        <a:pt x="2" y="118"/>
                      </a:cubicBezTo>
                      <a:cubicBezTo>
                        <a:pt x="3" y="118"/>
                        <a:pt x="3" y="118"/>
                        <a:pt x="3" y="118"/>
                      </a:cubicBezTo>
                      <a:cubicBezTo>
                        <a:pt x="4" y="121"/>
                        <a:pt x="4" y="121"/>
                        <a:pt x="4" y="121"/>
                      </a:cubicBezTo>
                      <a:cubicBezTo>
                        <a:pt x="5" y="121"/>
                        <a:pt x="5" y="121"/>
                        <a:pt x="5" y="121"/>
                      </a:cubicBezTo>
                      <a:cubicBezTo>
                        <a:pt x="5" y="122"/>
                        <a:pt x="5" y="122"/>
                        <a:pt x="5" y="122"/>
                      </a:cubicBezTo>
                      <a:cubicBezTo>
                        <a:pt x="6" y="122"/>
                        <a:pt x="6" y="122"/>
                        <a:pt x="6" y="122"/>
                      </a:cubicBezTo>
                      <a:cubicBezTo>
                        <a:pt x="8" y="122"/>
                        <a:pt x="8" y="122"/>
                        <a:pt x="8" y="122"/>
                      </a:cubicBezTo>
                      <a:cubicBezTo>
                        <a:pt x="8" y="121"/>
                        <a:pt x="8" y="121"/>
                        <a:pt x="8" y="121"/>
                      </a:cubicBezTo>
                      <a:cubicBezTo>
                        <a:pt x="8" y="120"/>
                        <a:pt x="8" y="120"/>
                        <a:pt x="8" y="120"/>
                      </a:cubicBezTo>
                      <a:cubicBezTo>
                        <a:pt x="9" y="120"/>
                        <a:pt x="9" y="120"/>
                        <a:pt x="9" y="120"/>
                      </a:cubicBezTo>
                      <a:cubicBezTo>
                        <a:pt x="10" y="121"/>
                        <a:pt x="10" y="121"/>
                        <a:pt x="10" y="121"/>
                      </a:cubicBezTo>
                      <a:cubicBezTo>
                        <a:pt x="10" y="121"/>
                        <a:pt x="10" y="121"/>
                        <a:pt x="10" y="121"/>
                      </a:cubicBezTo>
                      <a:cubicBezTo>
                        <a:pt x="10" y="121"/>
                        <a:pt x="10" y="121"/>
                        <a:pt x="10" y="121"/>
                      </a:cubicBezTo>
                      <a:cubicBezTo>
                        <a:pt x="10" y="122"/>
                        <a:pt x="10" y="122"/>
                        <a:pt x="10" y="122"/>
                      </a:cubicBezTo>
                      <a:cubicBezTo>
                        <a:pt x="9" y="122"/>
                        <a:pt x="9" y="122"/>
                        <a:pt x="9" y="122"/>
                      </a:cubicBezTo>
                      <a:cubicBezTo>
                        <a:pt x="9" y="123"/>
                        <a:pt x="9" y="123"/>
                        <a:pt x="9" y="123"/>
                      </a:cubicBezTo>
                      <a:cubicBezTo>
                        <a:pt x="10" y="123"/>
                        <a:pt x="10" y="123"/>
                        <a:pt x="10" y="123"/>
                      </a:cubicBezTo>
                      <a:cubicBezTo>
                        <a:pt x="10" y="123"/>
                        <a:pt x="10" y="123"/>
                        <a:pt x="10" y="123"/>
                      </a:cubicBezTo>
                      <a:cubicBezTo>
                        <a:pt x="10" y="124"/>
                        <a:pt x="10" y="124"/>
                        <a:pt x="10" y="124"/>
                      </a:cubicBezTo>
                      <a:cubicBezTo>
                        <a:pt x="10" y="125"/>
                        <a:pt x="10" y="125"/>
                        <a:pt x="10" y="125"/>
                      </a:cubicBezTo>
                      <a:cubicBezTo>
                        <a:pt x="11" y="126"/>
                        <a:pt x="11" y="126"/>
                        <a:pt x="11" y="126"/>
                      </a:cubicBezTo>
                      <a:cubicBezTo>
                        <a:pt x="11" y="126"/>
                        <a:pt x="11" y="126"/>
                        <a:pt x="11" y="126"/>
                      </a:cubicBezTo>
                      <a:cubicBezTo>
                        <a:pt x="10" y="125"/>
                        <a:pt x="10" y="125"/>
                        <a:pt x="10" y="125"/>
                      </a:cubicBezTo>
                      <a:cubicBezTo>
                        <a:pt x="10" y="125"/>
                        <a:pt x="10" y="125"/>
                        <a:pt x="10" y="125"/>
                      </a:cubicBezTo>
                      <a:cubicBezTo>
                        <a:pt x="9" y="124"/>
                        <a:pt x="9" y="124"/>
                        <a:pt x="9" y="124"/>
                      </a:cubicBezTo>
                      <a:cubicBezTo>
                        <a:pt x="9" y="125"/>
                        <a:pt x="9" y="125"/>
                        <a:pt x="9" y="125"/>
                      </a:cubicBezTo>
                      <a:cubicBezTo>
                        <a:pt x="9" y="125"/>
                        <a:pt x="9" y="125"/>
                        <a:pt x="9" y="125"/>
                      </a:cubicBezTo>
                      <a:cubicBezTo>
                        <a:pt x="10" y="126"/>
                        <a:pt x="10" y="126"/>
                        <a:pt x="10" y="126"/>
                      </a:cubicBezTo>
                      <a:cubicBezTo>
                        <a:pt x="10" y="126"/>
                        <a:pt x="10" y="126"/>
                        <a:pt x="10" y="126"/>
                      </a:cubicBezTo>
                      <a:cubicBezTo>
                        <a:pt x="10" y="127"/>
                        <a:pt x="10" y="127"/>
                        <a:pt x="10" y="127"/>
                      </a:cubicBezTo>
                      <a:cubicBezTo>
                        <a:pt x="9" y="127"/>
                        <a:pt x="9" y="127"/>
                        <a:pt x="9" y="127"/>
                      </a:cubicBezTo>
                      <a:cubicBezTo>
                        <a:pt x="9" y="128"/>
                        <a:pt x="9" y="128"/>
                        <a:pt x="9" y="128"/>
                      </a:cubicBezTo>
                      <a:cubicBezTo>
                        <a:pt x="10" y="129"/>
                        <a:pt x="10" y="129"/>
                        <a:pt x="10" y="129"/>
                      </a:cubicBezTo>
                      <a:cubicBezTo>
                        <a:pt x="9" y="129"/>
                        <a:pt x="9" y="129"/>
                        <a:pt x="9" y="129"/>
                      </a:cubicBezTo>
                      <a:cubicBezTo>
                        <a:pt x="9" y="130"/>
                        <a:pt x="9" y="130"/>
                        <a:pt x="9" y="130"/>
                      </a:cubicBezTo>
                      <a:cubicBezTo>
                        <a:pt x="10" y="130"/>
                        <a:pt x="10" y="130"/>
                        <a:pt x="10" y="130"/>
                      </a:cubicBezTo>
                      <a:cubicBezTo>
                        <a:pt x="9" y="131"/>
                        <a:pt x="9" y="131"/>
                        <a:pt x="9" y="131"/>
                      </a:cubicBezTo>
                      <a:cubicBezTo>
                        <a:pt x="9" y="131"/>
                        <a:pt x="9" y="131"/>
                        <a:pt x="9" y="131"/>
                      </a:cubicBezTo>
                      <a:cubicBezTo>
                        <a:pt x="10" y="132"/>
                        <a:pt x="10" y="132"/>
                        <a:pt x="10" y="132"/>
                      </a:cubicBezTo>
                      <a:cubicBezTo>
                        <a:pt x="10" y="133"/>
                        <a:pt x="10" y="133"/>
                        <a:pt x="10" y="133"/>
                      </a:cubicBezTo>
                      <a:cubicBezTo>
                        <a:pt x="9" y="134"/>
                        <a:pt x="9" y="134"/>
                        <a:pt x="9" y="134"/>
                      </a:cubicBezTo>
                      <a:cubicBezTo>
                        <a:pt x="9" y="134"/>
                        <a:pt x="9" y="134"/>
                        <a:pt x="9" y="134"/>
                      </a:cubicBezTo>
                      <a:cubicBezTo>
                        <a:pt x="9" y="135"/>
                        <a:pt x="9" y="135"/>
                        <a:pt x="9" y="135"/>
                      </a:cubicBezTo>
                      <a:cubicBezTo>
                        <a:pt x="9" y="135"/>
                        <a:pt x="9" y="135"/>
                        <a:pt x="9" y="135"/>
                      </a:cubicBezTo>
                      <a:cubicBezTo>
                        <a:pt x="10" y="135"/>
                        <a:pt x="10" y="135"/>
                        <a:pt x="10" y="135"/>
                      </a:cubicBezTo>
                      <a:cubicBezTo>
                        <a:pt x="11" y="136"/>
                        <a:pt x="11" y="136"/>
                        <a:pt x="11" y="136"/>
                      </a:cubicBezTo>
                      <a:cubicBezTo>
                        <a:pt x="11" y="137"/>
                        <a:pt x="11" y="137"/>
                        <a:pt x="11" y="137"/>
                      </a:cubicBezTo>
                      <a:cubicBezTo>
                        <a:pt x="12" y="137"/>
                        <a:pt x="12" y="137"/>
                        <a:pt x="12" y="137"/>
                      </a:cubicBezTo>
                      <a:cubicBezTo>
                        <a:pt x="12" y="137"/>
                        <a:pt x="12" y="137"/>
                        <a:pt x="12" y="137"/>
                      </a:cubicBezTo>
                      <a:cubicBezTo>
                        <a:pt x="12" y="139"/>
                        <a:pt x="12" y="139"/>
                        <a:pt x="12" y="139"/>
                      </a:cubicBezTo>
                      <a:cubicBezTo>
                        <a:pt x="11" y="140"/>
                        <a:pt x="11" y="140"/>
                        <a:pt x="11" y="140"/>
                      </a:cubicBezTo>
                      <a:cubicBezTo>
                        <a:pt x="10" y="140"/>
                        <a:pt x="10" y="140"/>
                        <a:pt x="10" y="140"/>
                      </a:cubicBezTo>
                      <a:cubicBezTo>
                        <a:pt x="10" y="140"/>
                        <a:pt x="10" y="140"/>
                        <a:pt x="10" y="140"/>
                      </a:cubicBezTo>
                      <a:cubicBezTo>
                        <a:pt x="9" y="141"/>
                        <a:pt x="9" y="141"/>
                        <a:pt x="9" y="141"/>
                      </a:cubicBezTo>
                      <a:cubicBezTo>
                        <a:pt x="10" y="142"/>
                        <a:pt x="10" y="142"/>
                        <a:pt x="10" y="142"/>
                      </a:cubicBezTo>
                      <a:cubicBezTo>
                        <a:pt x="10" y="142"/>
                        <a:pt x="10" y="142"/>
                        <a:pt x="10" y="142"/>
                      </a:cubicBezTo>
                      <a:cubicBezTo>
                        <a:pt x="10" y="143"/>
                        <a:pt x="10" y="143"/>
                        <a:pt x="10" y="143"/>
                      </a:cubicBezTo>
                      <a:cubicBezTo>
                        <a:pt x="10" y="143"/>
                        <a:pt x="10" y="143"/>
                        <a:pt x="10" y="143"/>
                      </a:cubicBezTo>
                      <a:cubicBezTo>
                        <a:pt x="9" y="144"/>
                        <a:pt x="9" y="144"/>
                        <a:pt x="9" y="144"/>
                      </a:cubicBezTo>
                      <a:cubicBezTo>
                        <a:pt x="9" y="145"/>
                        <a:pt x="9" y="145"/>
                        <a:pt x="9" y="145"/>
                      </a:cubicBezTo>
                      <a:cubicBezTo>
                        <a:pt x="9" y="146"/>
                        <a:pt x="9" y="146"/>
                        <a:pt x="9" y="146"/>
                      </a:cubicBezTo>
                      <a:cubicBezTo>
                        <a:pt x="9" y="146"/>
                        <a:pt x="9" y="146"/>
                        <a:pt x="9" y="146"/>
                      </a:cubicBezTo>
                      <a:cubicBezTo>
                        <a:pt x="9" y="147"/>
                        <a:pt x="9" y="147"/>
                        <a:pt x="9" y="147"/>
                      </a:cubicBezTo>
                      <a:cubicBezTo>
                        <a:pt x="9" y="149"/>
                        <a:pt x="9" y="149"/>
                        <a:pt x="9" y="149"/>
                      </a:cubicBezTo>
                      <a:cubicBezTo>
                        <a:pt x="8" y="149"/>
                        <a:pt x="8" y="149"/>
                        <a:pt x="8" y="149"/>
                      </a:cubicBezTo>
                      <a:cubicBezTo>
                        <a:pt x="8" y="150"/>
                        <a:pt x="8" y="150"/>
                        <a:pt x="8" y="150"/>
                      </a:cubicBezTo>
                      <a:cubicBezTo>
                        <a:pt x="8" y="149"/>
                        <a:pt x="8" y="149"/>
                        <a:pt x="8" y="149"/>
                      </a:cubicBezTo>
                      <a:cubicBezTo>
                        <a:pt x="8" y="149"/>
                        <a:pt x="8" y="149"/>
                        <a:pt x="8" y="149"/>
                      </a:cubicBezTo>
                      <a:cubicBezTo>
                        <a:pt x="8" y="147"/>
                        <a:pt x="8" y="147"/>
                        <a:pt x="8" y="147"/>
                      </a:cubicBezTo>
                      <a:cubicBezTo>
                        <a:pt x="8" y="147"/>
                        <a:pt x="8" y="147"/>
                        <a:pt x="8" y="147"/>
                      </a:cubicBezTo>
                      <a:cubicBezTo>
                        <a:pt x="8" y="146"/>
                        <a:pt x="8" y="146"/>
                        <a:pt x="8" y="146"/>
                      </a:cubicBezTo>
                      <a:cubicBezTo>
                        <a:pt x="8" y="146"/>
                        <a:pt x="8" y="146"/>
                        <a:pt x="8" y="146"/>
                      </a:cubicBezTo>
                      <a:cubicBezTo>
                        <a:pt x="7" y="147"/>
                        <a:pt x="7" y="147"/>
                        <a:pt x="7" y="147"/>
                      </a:cubicBezTo>
                      <a:cubicBezTo>
                        <a:pt x="6" y="147"/>
                        <a:pt x="6" y="147"/>
                        <a:pt x="6" y="147"/>
                      </a:cubicBezTo>
                      <a:cubicBezTo>
                        <a:pt x="5" y="147"/>
                        <a:pt x="5" y="147"/>
                        <a:pt x="5" y="147"/>
                      </a:cubicBezTo>
                      <a:cubicBezTo>
                        <a:pt x="5" y="147"/>
                        <a:pt x="5" y="147"/>
                        <a:pt x="5" y="147"/>
                      </a:cubicBezTo>
                      <a:cubicBezTo>
                        <a:pt x="6" y="146"/>
                        <a:pt x="6" y="146"/>
                        <a:pt x="6" y="146"/>
                      </a:cubicBezTo>
                      <a:cubicBezTo>
                        <a:pt x="7" y="146"/>
                        <a:pt x="7" y="146"/>
                        <a:pt x="7" y="146"/>
                      </a:cubicBezTo>
                      <a:cubicBezTo>
                        <a:pt x="7" y="145"/>
                        <a:pt x="7" y="145"/>
                        <a:pt x="7" y="145"/>
                      </a:cubicBezTo>
                      <a:cubicBezTo>
                        <a:pt x="6" y="145"/>
                        <a:pt x="6" y="145"/>
                        <a:pt x="6" y="145"/>
                      </a:cubicBezTo>
                      <a:cubicBezTo>
                        <a:pt x="5" y="145"/>
                        <a:pt x="5" y="145"/>
                        <a:pt x="5" y="145"/>
                      </a:cubicBezTo>
                      <a:cubicBezTo>
                        <a:pt x="4" y="145"/>
                        <a:pt x="4" y="145"/>
                        <a:pt x="4" y="145"/>
                      </a:cubicBezTo>
                      <a:cubicBezTo>
                        <a:pt x="3" y="145"/>
                        <a:pt x="3" y="145"/>
                        <a:pt x="3" y="145"/>
                      </a:cubicBezTo>
                      <a:cubicBezTo>
                        <a:pt x="3" y="145"/>
                        <a:pt x="3" y="145"/>
                        <a:pt x="3" y="145"/>
                      </a:cubicBezTo>
                      <a:cubicBezTo>
                        <a:pt x="3" y="145"/>
                        <a:pt x="3" y="145"/>
                        <a:pt x="3" y="145"/>
                      </a:cubicBezTo>
                      <a:cubicBezTo>
                        <a:pt x="3" y="146"/>
                        <a:pt x="3" y="146"/>
                        <a:pt x="3" y="146"/>
                      </a:cubicBezTo>
                      <a:cubicBezTo>
                        <a:pt x="3" y="146"/>
                        <a:pt x="3" y="146"/>
                        <a:pt x="3" y="146"/>
                      </a:cubicBezTo>
                      <a:cubicBezTo>
                        <a:pt x="4" y="147"/>
                        <a:pt x="4" y="147"/>
                        <a:pt x="4" y="147"/>
                      </a:cubicBezTo>
                      <a:cubicBezTo>
                        <a:pt x="3" y="147"/>
                        <a:pt x="3" y="147"/>
                        <a:pt x="3" y="147"/>
                      </a:cubicBezTo>
                      <a:cubicBezTo>
                        <a:pt x="3" y="148"/>
                        <a:pt x="3" y="148"/>
                        <a:pt x="3" y="148"/>
                      </a:cubicBezTo>
                      <a:cubicBezTo>
                        <a:pt x="2" y="148"/>
                        <a:pt x="2" y="148"/>
                        <a:pt x="2" y="148"/>
                      </a:cubicBezTo>
                      <a:cubicBezTo>
                        <a:pt x="2" y="149"/>
                        <a:pt x="2" y="149"/>
                        <a:pt x="2" y="149"/>
                      </a:cubicBezTo>
                      <a:cubicBezTo>
                        <a:pt x="0" y="150"/>
                        <a:pt x="0" y="150"/>
                        <a:pt x="0" y="150"/>
                      </a:cubicBezTo>
                      <a:cubicBezTo>
                        <a:pt x="0" y="150"/>
                        <a:pt x="0" y="150"/>
                        <a:pt x="0" y="150"/>
                      </a:cubicBezTo>
                      <a:cubicBezTo>
                        <a:pt x="2" y="152"/>
                        <a:pt x="2" y="152"/>
                        <a:pt x="2" y="152"/>
                      </a:cubicBezTo>
                      <a:cubicBezTo>
                        <a:pt x="2" y="152"/>
                        <a:pt x="2" y="152"/>
                        <a:pt x="2" y="152"/>
                      </a:cubicBezTo>
                      <a:cubicBezTo>
                        <a:pt x="3" y="151"/>
                        <a:pt x="3" y="151"/>
                        <a:pt x="3" y="151"/>
                      </a:cubicBezTo>
                      <a:cubicBezTo>
                        <a:pt x="3" y="151"/>
                        <a:pt x="3" y="151"/>
                        <a:pt x="3" y="151"/>
                      </a:cubicBezTo>
                      <a:cubicBezTo>
                        <a:pt x="2" y="151"/>
                        <a:pt x="2" y="151"/>
                        <a:pt x="2" y="151"/>
                      </a:cubicBezTo>
                      <a:cubicBezTo>
                        <a:pt x="2" y="150"/>
                        <a:pt x="2" y="150"/>
                        <a:pt x="2" y="150"/>
                      </a:cubicBezTo>
                      <a:cubicBezTo>
                        <a:pt x="2" y="149"/>
                        <a:pt x="2" y="149"/>
                        <a:pt x="2" y="149"/>
                      </a:cubicBezTo>
                      <a:cubicBezTo>
                        <a:pt x="3" y="149"/>
                        <a:pt x="3" y="149"/>
                        <a:pt x="3" y="149"/>
                      </a:cubicBezTo>
                      <a:cubicBezTo>
                        <a:pt x="4" y="149"/>
                        <a:pt x="4" y="149"/>
                        <a:pt x="4" y="149"/>
                      </a:cubicBezTo>
                      <a:cubicBezTo>
                        <a:pt x="4" y="150"/>
                        <a:pt x="4" y="150"/>
                        <a:pt x="4" y="150"/>
                      </a:cubicBezTo>
                      <a:cubicBezTo>
                        <a:pt x="5" y="151"/>
                        <a:pt x="5" y="151"/>
                        <a:pt x="5" y="151"/>
                      </a:cubicBezTo>
                      <a:cubicBezTo>
                        <a:pt x="6" y="151"/>
                        <a:pt x="6" y="151"/>
                        <a:pt x="6" y="151"/>
                      </a:cubicBezTo>
                      <a:cubicBezTo>
                        <a:pt x="6" y="150"/>
                        <a:pt x="6" y="150"/>
                        <a:pt x="6" y="150"/>
                      </a:cubicBezTo>
                      <a:cubicBezTo>
                        <a:pt x="7" y="150"/>
                        <a:pt x="7" y="150"/>
                        <a:pt x="7" y="150"/>
                      </a:cubicBezTo>
                      <a:cubicBezTo>
                        <a:pt x="7" y="151"/>
                        <a:pt x="7" y="151"/>
                        <a:pt x="7" y="151"/>
                      </a:cubicBezTo>
                      <a:cubicBezTo>
                        <a:pt x="8" y="151"/>
                        <a:pt x="8" y="151"/>
                        <a:pt x="8" y="151"/>
                      </a:cubicBezTo>
                      <a:cubicBezTo>
                        <a:pt x="9" y="152"/>
                        <a:pt x="9" y="152"/>
                        <a:pt x="9" y="152"/>
                      </a:cubicBezTo>
                      <a:cubicBezTo>
                        <a:pt x="8" y="152"/>
                        <a:pt x="8" y="152"/>
                        <a:pt x="8" y="152"/>
                      </a:cubicBezTo>
                      <a:cubicBezTo>
                        <a:pt x="8" y="152"/>
                        <a:pt x="8" y="152"/>
                        <a:pt x="8" y="152"/>
                      </a:cubicBezTo>
                      <a:cubicBezTo>
                        <a:pt x="9" y="153"/>
                        <a:pt x="9" y="153"/>
                        <a:pt x="9" y="153"/>
                      </a:cubicBezTo>
                      <a:cubicBezTo>
                        <a:pt x="8" y="153"/>
                        <a:pt x="8" y="153"/>
                        <a:pt x="8" y="153"/>
                      </a:cubicBezTo>
                      <a:cubicBezTo>
                        <a:pt x="8" y="154"/>
                        <a:pt x="8" y="154"/>
                        <a:pt x="8" y="154"/>
                      </a:cubicBezTo>
                      <a:cubicBezTo>
                        <a:pt x="8" y="154"/>
                        <a:pt x="8" y="154"/>
                        <a:pt x="8" y="154"/>
                      </a:cubicBezTo>
                      <a:cubicBezTo>
                        <a:pt x="9" y="155"/>
                        <a:pt x="9" y="155"/>
                        <a:pt x="9" y="155"/>
                      </a:cubicBezTo>
                      <a:cubicBezTo>
                        <a:pt x="9" y="155"/>
                        <a:pt x="9" y="155"/>
                        <a:pt x="9" y="155"/>
                      </a:cubicBezTo>
                      <a:cubicBezTo>
                        <a:pt x="8" y="155"/>
                        <a:pt x="8" y="155"/>
                        <a:pt x="8" y="155"/>
                      </a:cubicBezTo>
                      <a:cubicBezTo>
                        <a:pt x="8" y="154"/>
                        <a:pt x="8" y="154"/>
                        <a:pt x="8" y="154"/>
                      </a:cubicBezTo>
                      <a:cubicBezTo>
                        <a:pt x="7" y="154"/>
                        <a:pt x="7" y="154"/>
                        <a:pt x="7" y="154"/>
                      </a:cubicBezTo>
                      <a:cubicBezTo>
                        <a:pt x="7" y="155"/>
                        <a:pt x="7" y="155"/>
                        <a:pt x="7" y="155"/>
                      </a:cubicBezTo>
                      <a:cubicBezTo>
                        <a:pt x="8" y="156"/>
                        <a:pt x="8" y="156"/>
                        <a:pt x="8" y="156"/>
                      </a:cubicBezTo>
                      <a:cubicBezTo>
                        <a:pt x="8" y="156"/>
                        <a:pt x="8" y="156"/>
                        <a:pt x="8" y="156"/>
                      </a:cubicBezTo>
                      <a:cubicBezTo>
                        <a:pt x="9" y="156"/>
                        <a:pt x="9" y="156"/>
                        <a:pt x="9" y="156"/>
                      </a:cubicBezTo>
                      <a:cubicBezTo>
                        <a:pt x="11" y="156"/>
                        <a:pt x="11" y="156"/>
                        <a:pt x="11" y="156"/>
                      </a:cubicBezTo>
                      <a:cubicBezTo>
                        <a:pt x="11" y="156"/>
                        <a:pt x="11" y="156"/>
                        <a:pt x="11" y="156"/>
                      </a:cubicBezTo>
                      <a:cubicBezTo>
                        <a:pt x="12" y="156"/>
                        <a:pt x="12" y="156"/>
                        <a:pt x="12" y="156"/>
                      </a:cubicBezTo>
                      <a:cubicBezTo>
                        <a:pt x="12" y="156"/>
                        <a:pt x="12" y="156"/>
                        <a:pt x="12" y="156"/>
                      </a:cubicBezTo>
                      <a:cubicBezTo>
                        <a:pt x="12" y="157"/>
                        <a:pt x="12" y="157"/>
                        <a:pt x="12" y="157"/>
                      </a:cubicBezTo>
                      <a:cubicBezTo>
                        <a:pt x="12" y="157"/>
                        <a:pt x="12" y="157"/>
                        <a:pt x="12" y="157"/>
                      </a:cubicBezTo>
                      <a:cubicBezTo>
                        <a:pt x="12" y="157"/>
                        <a:pt x="12" y="157"/>
                        <a:pt x="12" y="157"/>
                      </a:cubicBezTo>
                      <a:cubicBezTo>
                        <a:pt x="11" y="157"/>
                        <a:pt x="11" y="157"/>
                        <a:pt x="11" y="157"/>
                      </a:cubicBezTo>
                      <a:cubicBezTo>
                        <a:pt x="11" y="157"/>
                        <a:pt x="11" y="157"/>
                        <a:pt x="11" y="157"/>
                      </a:cubicBezTo>
                      <a:cubicBezTo>
                        <a:pt x="10" y="157"/>
                        <a:pt x="10" y="157"/>
                        <a:pt x="10" y="157"/>
                      </a:cubicBezTo>
                      <a:cubicBezTo>
                        <a:pt x="9" y="157"/>
                        <a:pt x="9" y="157"/>
                        <a:pt x="9" y="157"/>
                      </a:cubicBezTo>
                      <a:cubicBezTo>
                        <a:pt x="8" y="158"/>
                        <a:pt x="8" y="158"/>
                        <a:pt x="8" y="158"/>
                      </a:cubicBezTo>
                      <a:cubicBezTo>
                        <a:pt x="9" y="158"/>
                        <a:pt x="9" y="158"/>
                        <a:pt x="9" y="158"/>
                      </a:cubicBezTo>
                      <a:cubicBezTo>
                        <a:pt x="9" y="159"/>
                        <a:pt x="9" y="159"/>
                        <a:pt x="9" y="159"/>
                      </a:cubicBezTo>
                      <a:cubicBezTo>
                        <a:pt x="10" y="160"/>
                        <a:pt x="10" y="160"/>
                        <a:pt x="10" y="160"/>
                      </a:cubicBezTo>
                      <a:cubicBezTo>
                        <a:pt x="10" y="160"/>
                        <a:pt x="10" y="160"/>
                        <a:pt x="10" y="160"/>
                      </a:cubicBezTo>
                      <a:cubicBezTo>
                        <a:pt x="11" y="159"/>
                        <a:pt x="11" y="159"/>
                        <a:pt x="11" y="159"/>
                      </a:cubicBezTo>
                      <a:cubicBezTo>
                        <a:pt x="11" y="160"/>
                        <a:pt x="11" y="160"/>
                        <a:pt x="11" y="160"/>
                      </a:cubicBezTo>
                      <a:cubicBezTo>
                        <a:pt x="10" y="161"/>
                        <a:pt x="10" y="161"/>
                        <a:pt x="10" y="161"/>
                      </a:cubicBezTo>
                      <a:cubicBezTo>
                        <a:pt x="10" y="161"/>
                        <a:pt x="10" y="161"/>
                        <a:pt x="10" y="161"/>
                      </a:cubicBezTo>
                      <a:cubicBezTo>
                        <a:pt x="10" y="161"/>
                        <a:pt x="10" y="161"/>
                        <a:pt x="10" y="161"/>
                      </a:cubicBezTo>
                      <a:cubicBezTo>
                        <a:pt x="10" y="162"/>
                        <a:pt x="10" y="162"/>
                        <a:pt x="10" y="162"/>
                      </a:cubicBezTo>
                      <a:cubicBezTo>
                        <a:pt x="10" y="162"/>
                        <a:pt x="10" y="162"/>
                        <a:pt x="10" y="162"/>
                      </a:cubicBezTo>
                      <a:cubicBezTo>
                        <a:pt x="10" y="162"/>
                        <a:pt x="10" y="162"/>
                        <a:pt x="10" y="162"/>
                      </a:cubicBezTo>
                      <a:cubicBezTo>
                        <a:pt x="10" y="164"/>
                        <a:pt x="10" y="164"/>
                        <a:pt x="10" y="164"/>
                      </a:cubicBezTo>
                      <a:cubicBezTo>
                        <a:pt x="11" y="165"/>
                        <a:pt x="11" y="165"/>
                        <a:pt x="11" y="165"/>
                      </a:cubicBezTo>
                      <a:cubicBezTo>
                        <a:pt x="11" y="166"/>
                        <a:pt x="11" y="166"/>
                        <a:pt x="11" y="166"/>
                      </a:cubicBezTo>
                      <a:cubicBezTo>
                        <a:pt x="11" y="167"/>
                        <a:pt x="11" y="167"/>
                        <a:pt x="11" y="167"/>
                      </a:cubicBezTo>
                      <a:cubicBezTo>
                        <a:pt x="12" y="167"/>
                        <a:pt x="12" y="167"/>
                        <a:pt x="12" y="167"/>
                      </a:cubicBezTo>
                      <a:cubicBezTo>
                        <a:pt x="12" y="166"/>
                        <a:pt x="12" y="166"/>
                        <a:pt x="12" y="166"/>
                      </a:cubicBezTo>
                      <a:cubicBezTo>
                        <a:pt x="12" y="164"/>
                        <a:pt x="12" y="164"/>
                        <a:pt x="12" y="164"/>
                      </a:cubicBezTo>
                      <a:cubicBezTo>
                        <a:pt x="13" y="164"/>
                        <a:pt x="13" y="164"/>
                        <a:pt x="13" y="164"/>
                      </a:cubicBezTo>
                      <a:cubicBezTo>
                        <a:pt x="13" y="164"/>
                        <a:pt x="13" y="164"/>
                        <a:pt x="13" y="164"/>
                      </a:cubicBezTo>
                      <a:cubicBezTo>
                        <a:pt x="13" y="164"/>
                        <a:pt x="13" y="164"/>
                        <a:pt x="13" y="164"/>
                      </a:cubicBezTo>
                      <a:cubicBezTo>
                        <a:pt x="12" y="166"/>
                        <a:pt x="12" y="166"/>
                        <a:pt x="12" y="166"/>
                      </a:cubicBezTo>
                      <a:cubicBezTo>
                        <a:pt x="12" y="166"/>
                        <a:pt x="12" y="166"/>
                        <a:pt x="12" y="166"/>
                      </a:cubicBezTo>
                      <a:cubicBezTo>
                        <a:pt x="13" y="167"/>
                        <a:pt x="13" y="167"/>
                        <a:pt x="13" y="167"/>
                      </a:cubicBezTo>
                      <a:cubicBezTo>
                        <a:pt x="14" y="167"/>
                        <a:pt x="14" y="167"/>
                        <a:pt x="14" y="167"/>
                      </a:cubicBezTo>
                      <a:cubicBezTo>
                        <a:pt x="14" y="167"/>
                        <a:pt x="14" y="167"/>
                        <a:pt x="14" y="167"/>
                      </a:cubicBezTo>
                      <a:cubicBezTo>
                        <a:pt x="12" y="167"/>
                        <a:pt x="12" y="167"/>
                        <a:pt x="12" y="167"/>
                      </a:cubicBezTo>
                      <a:cubicBezTo>
                        <a:pt x="12" y="168"/>
                        <a:pt x="12" y="168"/>
                        <a:pt x="12" y="168"/>
                      </a:cubicBezTo>
                      <a:cubicBezTo>
                        <a:pt x="12" y="168"/>
                        <a:pt x="12" y="168"/>
                        <a:pt x="12" y="168"/>
                      </a:cubicBezTo>
                      <a:cubicBezTo>
                        <a:pt x="12" y="169"/>
                        <a:pt x="12" y="169"/>
                        <a:pt x="12" y="169"/>
                      </a:cubicBezTo>
                      <a:cubicBezTo>
                        <a:pt x="12" y="170"/>
                        <a:pt x="12" y="170"/>
                        <a:pt x="12" y="170"/>
                      </a:cubicBezTo>
                      <a:cubicBezTo>
                        <a:pt x="11" y="170"/>
                        <a:pt x="11" y="170"/>
                        <a:pt x="11" y="170"/>
                      </a:cubicBezTo>
                      <a:cubicBezTo>
                        <a:pt x="11" y="171"/>
                        <a:pt x="11" y="171"/>
                        <a:pt x="11" y="171"/>
                      </a:cubicBezTo>
                      <a:cubicBezTo>
                        <a:pt x="11" y="171"/>
                        <a:pt x="11" y="171"/>
                        <a:pt x="11" y="171"/>
                      </a:cubicBezTo>
                      <a:cubicBezTo>
                        <a:pt x="12" y="172"/>
                        <a:pt x="12" y="172"/>
                        <a:pt x="12" y="172"/>
                      </a:cubicBezTo>
                      <a:cubicBezTo>
                        <a:pt x="14" y="173"/>
                        <a:pt x="14" y="173"/>
                        <a:pt x="14" y="173"/>
                      </a:cubicBezTo>
                      <a:cubicBezTo>
                        <a:pt x="15" y="173"/>
                        <a:pt x="15" y="173"/>
                        <a:pt x="15" y="173"/>
                      </a:cubicBezTo>
                      <a:cubicBezTo>
                        <a:pt x="14" y="174"/>
                        <a:pt x="14" y="174"/>
                        <a:pt x="14" y="174"/>
                      </a:cubicBezTo>
                      <a:cubicBezTo>
                        <a:pt x="14" y="174"/>
                        <a:pt x="14" y="174"/>
                        <a:pt x="14" y="174"/>
                      </a:cubicBezTo>
                      <a:cubicBezTo>
                        <a:pt x="14" y="174"/>
                        <a:pt x="14" y="174"/>
                        <a:pt x="14" y="174"/>
                      </a:cubicBezTo>
                      <a:cubicBezTo>
                        <a:pt x="15" y="175"/>
                        <a:pt x="15" y="175"/>
                        <a:pt x="15" y="175"/>
                      </a:cubicBezTo>
                      <a:cubicBezTo>
                        <a:pt x="15" y="174"/>
                        <a:pt x="15" y="174"/>
                        <a:pt x="15" y="174"/>
                      </a:cubicBezTo>
                      <a:cubicBezTo>
                        <a:pt x="15" y="175"/>
                        <a:pt x="15" y="175"/>
                        <a:pt x="15" y="175"/>
                      </a:cubicBezTo>
                      <a:cubicBezTo>
                        <a:pt x="15" y="175"/>
                        <a:pt x="15" y="175"/>
                        <a:pt x="15" y="175"/>
                      </a:cubicBezTo>
                      <a:cubicBezTo>
                        <a:pt x="14" y="176"/>
                        <a:pt x="14" y="176"/>
                        <a:pt x="14" y="176"/>
                      </a:cubicBezTo>
                      <a:cubicBezTo>
                        <a:pt x="14" y="176"/>
                        <a:pt x="14" y="176"/>
                        <a:pt x="14" y="176"/>
                      </a:cubicBezTo>
                      <a:cubicBezTo>
                        <a:pt x="14" y="177"/>
                        <a:pt x="14" y="177"/>
                        <a:pt x="14" y="177"/>
                      </a:cubicBezTo>
                      <a:cubicBezTo>
                        <a:pt x="15" y="177"/>
                        <a:pt x="15" y="177"/>
                        <a:pt x="15" y="177"/>
                      </a:cubicBezTo>
                      <a:cubicBezTo>
                        <a:pt x="15" y="177"/>
                        <a:pt x="15" y="177"/>
                        <a:pt x="15" y="177"/>
                      </a:cubicBezTo>
                      <a:cubicBezTo>
                        <a:pt x="16" y="178"/>
                        <a:pt x="16" y="178"/>
                        <a:pt x="16" y="178"/>
                      </a:cubicBezTo>
                      <a:cubicBezTo>
                        <a:pt x="16" y="178"/>
                        <a:pt x="16" y="178"/>
                        <a:pt x="16" y="178"/>
                      </a:cubicBezTo>
                      <a:cubicBezTo>
                        <a:pt x="17" y="177"/>
                        <a:pt x="17" y="177"/>
                        <a:pt x="17" y="177"/>
                      </a:cubicBezTo>
                      <a:cubicBezTo>
                        <a:pt x="17" y="178"/>
                        <a:pt x="17" y="178"/>
                        <a:pt x="17" y="178"/>
                      </a:cubicBezTo>
                      <a:cubicBezTo>
                        <a:pt x="17" y="179"/>
                        <a:pt x="17" y="179"/>
                        <a:pt x="17" y="179"/>
                      </a:cubicBezTo>
                      <a:cubicBezTo>
                        <a:pt x="16" y="179"/>
                        <a:pt x="16" y="179"/>
                        <a:pt x="16" y="179"/>
                      </a:cubicBezTo>
                      <a:cubicBezTo>
                        <a:pt x="16" y="179"/>
                        <a:pt x="16" y="179"/>
                        <a:pt x="16" y="179"/>
                      </a:cubicBezTo>
                      <a:cubicBezTo>
                        <a:pt x="16" y="179"/>
                        <a:pt x="16" y="179"/>
                        <a:pt x="16" y="179"/>
                      </a:cubicBezTo>
                      <a:cubicBezTo>
                        <a:pt x="15" y="179"/>
                        <a:pt x="15" y="179"/>
                        <a:pt x="15" y="179"/>
                      </a:cubicBezTo>
                      <a:cubicBezTo>
                        <a:pt x="16" y="180"/>
                        <a:pt x="16" y="180"/>
                        <a:pt x="16" y="180"/>
                      </a:cubicBezTo>
                      <a:cubicBezTo>
                        <a:pt x="17" y="180"/>
                        <a:pt x="17" y="180"/>
                        <a:pt x="17" y="180"/>
                      </a:cubicBezTo>
                      <a:cubicBezTo>
                        <a:pt x="17" y="181"/>
                        <a:pt x="17" y="181"/>
                        <a:pt x="17" y="181"/>
                      </a:cubicBezTo>
                      <a:cubicBezTo>
                        <a:pt x="17" y="182"/>
                        <a:pt x="17" y="182"/>
                        <a:pt x="17" y="182"/>
                      </a:cubicBezTo>
                      <a:cubicBezTo>
                        <a:pt x="18" y="182"/>
                        <a:pt x="18" y="182"/>
                        <a:pt x="18" y="182"/>
                      </a:cubicBezTo>
                      <a:cubicBezTo>
                        <a:pt x="19" y="182"/>
                        <a:pt x="19" y="182"/>
                        <a:pt x="19" y="182"/>
                      </a:cubicBezTo>
                      <a:cubicBezTo>
                        <a:pt x="18" y="181"/>
                        <a:pt x="18" y="181"/>
                        <a:pt x="18" y="181"/>
                      </a:cubicBezTo>
                      <a:cubicBezTo>
                        <a:pt x="19" y="181"/>
                        <a:pt x="19" y="181"/>
                        <a:pt x="19" y="181"/>
                      </a:cubicBezTo>
                      <a:cubicBezTo>
                        <a:pt x="18" y="180"/>
                        <a:pt x="18" y="180"/>
                        <a:pt x="18" y="180"/>
                      </a:cubicBezTo>
                      <a:cubicBezTo>
                        <a:pt x="19" y="180"/>
                        <a:pt x="19" y="180"/>
                        <a:pt x="19" y="180"/>
                      </a:cubicBezTo>
                      <a:cubicBezTo>
                        <a:pt x="19" y="181"/>
                        <a:pt x="19" y="181"/>
                        <a:pt x="19" y="181"/>
                      </a:cubicBezTo>
                      <a:cubicBezTo>
                        <a:pt x="20" y="182"/>
                        <a:pt x="20" y="182"/>
                        <a:pt x="20" y="182"/>
                      </a:cubicBezTo>
                      <a:cubicBezTo>
                        <a:pt x="20" y="181"/>
                        <a:pt x="20" y="181"/>
                        <a:pt x="20" y="181"/>
                      </a:cubicBezTo>
                      <a:cubicBezTo>
                        <a:pt x="21" y="180"/>
                        <a:pt x="21" y="180"/>
                        <a:pt x="21" y="180"/>
                      </a:cubicBezTo>
                      <a:cubicBezTo>
                        <a:pt x="21" y="180"/>
                        <a:pt x="21" y="180"/>
                        <a:pt x="21" y="180"/>
                      </a:cubicBezTo>
                      <a:cubicBezTo>
                        <a:pt x="20" y="180"/>
                        <a:pt x="20" y="180"/>
                        <a:pt x="20" y="180"/>
                      </a:cubicBezTo>
                      <a:cubicBezTo>
                        <a:pt x="19" y="180"/>
                        <a:pt x="19" y="180"/>
                        <a:pt x="19" y="180"/>
                      </a:cubicBezTo>
                      <a:cubicBezTo>
                        <a:pt x="19" y="179"/>
                        <a:pt x="19" y="179"/>
                        <a:pt x="19" y="179"/>
                      </a:cubicBezTo>
                      <a:cubicBezTo>
                        <a:pt x="20" y="179"/>
                        <a:pt x="20" y="179"/>
                        <a:pt x="20" y="179"/>
                      </a:cubicBezTo>
                      <a:cubicBezTo>
                        <a:pt x="21" y="180"/>
                        <a:pt x="21" y="180"/>
                        <a:pt x="21" y="180"/>
                      </a:cubicBezTo>
                      <a:cubicBezTo>
                        <a:pt x="21" y="180"/>
                        <a:pt x="21" y="180"/>
                        <a:pt x="21" y="180"/>
                      </a:cubicBezTo>
                      <a:cubicBezTo>
                        <a:pt x="22" y="180"/>
                        <a:pt x="22" y="180"/>
                        <a:pt x="22" y="180"/>
                      </a:cubicBezTo>
                      <a:cubicBezTo>
                        <a:pt x="22" y="179"/>
                        <a:pt x="22" y="179"/>
                        <a:pt x="22" y="179"/>
                      </a:cubicBezTo>
                      <a:cubicBezTo>
                        <a:pt x="21" y="179"/>
                        <a:pt x="21" y="179"/>
                        <a:pt x="21" y="179"/>
                      </a:cubicBezTo>
                      <a:cubicBezTo>
                        <a:pt x="20" y="179"/>
                        <a:pt x="20" y="179"/>
                        <a:pt x="20" y="179"/>
                      </a:cubicBezTo>
                      <a:cubicBezTo>
                        <a:pt x="19" y="178"/>
                        <a:pt x="19" y="178"/>
                        <a:pt x="19" y="178"/>
                      </a:cubicBezTo>
                      <a:cubicBezTo>
                        <a:pt x="20" y="178"/>
                        <a:pt x="20" y="178"/>
                        <a:pt x="20" y="178"/>
                      </a:cubicBezTo>
                      <a:cubicBezTo>
                        <a:pt x="21" y="179"/>
                        <a:pt x="21" y="179"/>
                        <a:pt x="21" y="179"/>
                      </a:cubicBezTo>
                      <a:cubicBezTo>
                        <a:pt x="23" y="179"/>
                        <a:pt x="23" y="179"/>
                        <a:pt x="23" y="179"/>
                      </a:cubicBezTo>
                      <a:cubicBezTo>
                        <a:pt x="23" y="180"/>
                        <a:pt x="23" y="180"/>
                        <a:pt x="23" y="180"/>
                      </a:cubicBezTo>
                      <a:cubicBezTo>
                        <a:pt x="23" y="181"/>
                        <a:pt x="23" y="181"/>
                        <a:pt x="23" y="181"/>
                      </a:cubicBezTo>
                      <a:cubicBezTo>
                        <a:pt x="23" y="182"/>
                        <a:pt x="23" y="182"/>
                        <a:pt x="23" y="182"/>
                      </a:cubicBezTo>
                      <a:cubicBezTo>
                        <a:pt x="23" y="183"/>
                        <a:pt x="23" y="183"/>
                        <a:pt x="23" y="183"/>
                      </a:cubicBezTo>
                      <a:cubicBezTo>
                        <a:pt x="23" y="183"/>
                        <a:pt x="23" y="183"/>
                        <a:pt x="23" y="183"/>
                      </a:cubicBezTo>
                      <a:cubicBezTo>
                        <a:pt x="22" y="184"/>
                        <a:pt x="22" y="184"/>
                        <a:pt x="22" y="184"/>
                      </a:cubicBezTo>
                      <a:cubicBezTo>
                        <a:pt x="23" y="183"/>
                        <a:pt x="23" y="183"/>
                        <a:pt x="23" y="183"/>
                      </a:cubicBezTo>
                      <a:cubicBezTo>
                        <a:pt x="22" y="182"/>
                        <a:pt x="22" y="182"/>
                        <a:pt x="22" y="182"/>
                      </a:cubicBezTo>
                      <a:cubicBezTo>
                        <a:pt x="21" y="181"/>
                        <a:pt x="21" y="181"/>
                        <a:pt x="21" y="181"/>
                      </a:cubicBezTo>
                      <a:cubicBezTo>
                        <a:pt x="21" y="182"/>
                        <a:pt x="21" y="182"/>
                        <a:pt x="21" y="182"/>
                      </a:cubicBezTo>
                      <a:cubicBezTo>
                        <a:pt x="21" y="182"/>
                        <a:pt x="21" y="182"/>
                        <a:pt x="21" y="182"/>
                      </a:cubicBezTo>
                      <a:cubicBezTo>
                        <a:pt x="21" y="183"/>
                        <a:pt x="21" y="183"/>
                        <a:pt x="21" y="183"/>
                      </a:cubicBezTo>
                      <a:cubicBezTo>
                        <a:pt x="21" y="183"/>
                        <a:pt x="21" y="183"/>
                        <a:pt x="21" y="183"/>
                      </a:cubicBezTo>
                      <a:cubicBezTo>
                        <a:pt x="21" y="183"/>
                        <a:pt x="21" y="183"/>
                        <a:pt x="21" y="183"/>
                      </a:cubicBezTo>
                      <a:cubicBezTo>
                        <a:pt x="21" y="182"/>
                        <a:pt x="21" y="182"/>
                        <a:pt x="21" y="182"/>
                      </a:cubicBezTo>
                      <a:cubicBezTo>
                        <a:pt x="20" y="182"/>
                        <a:pt x="20" y="182"/>
                        <a:pt x="20" y="182"/>
                      </a:cubicBezTo>
                      <a:cubicBezTo>
                        <a:pt x="19" y="183"/>
                        <a:pt x="19" y="183"/>
                        <a:pt x="19" y="183"/>
                      </a:cubicBezTo>
                      <a:cubicBezTo>
                        <a:pt x="18" y="183"/>
                        <a:pt x="18" y="183"/>
                        <a:pt x="18" y="183"/>
                      </a:cubicBezTo>
                      <a:cubicBezTo>
                        <a:pt x="17" y="183"/>
                        <a:pt x="17" y="183"/>
                        <a:pt x="17" y="183"/>
                      </a:cubicBezTo>
                      <a:cubicBezTo>
                        <a:pt x="18" y="184"/>
                        <a:pt x="18" y="184"/>
                        <a:pt x="18" y="184"/>
                      </a:cubicBezTo>
                      <a:cubicBezTo>
                        <a:pt x="18" y="185"/>
                        <a:pt x="18" y="185"/>
                        <a:pt x="18" y="185"/>
                      </a:cubicBezTo>
                      <a:cubicBezTo>
                        <a:pt x="19" y="185"/>
                        <a:pt x="19" y="185"/>
                        <a:pt x="19" y="185"/>
                      </a:cubicBezTo>
                      <a:cubicBezTo>
                        <a:pt x="19" y="186"/>
                        <a:pt x="19" y="186"/>
                        <a:pt x="19" y="186"/>
                      </a:cubicBezTo>
                      <a:cubicBezTo>
                        <a:pt x="18" y="186"/>
                        <a:pt x="18" y="186"/>
                        <a:pt x="18" y="186"/>
                      </a:cubicBezTo>
                      <a:cubicBezTo>
                        <a:pt x="19" y="187"/>
                        <a:pt x="19" y="187"/>
                        <a:pt x="19" y="187"/>
                      </a:cubicBezTo>
                      <a:cubicBezTo>
                        <a:pt x="19" y="187"/>
                        <a:pt x="19" y="187"/>
                        <a:pt x="19" y="187"/>
                      </a:cubicBezTo>
                      <a:cubicBezTo>
                        <a:pt x="20" y="186"/>
                        <a:pt x="20" y="186"/>
                        <a:pt x="20" y="186"/>
                      </a:cubicBezTo>
                      <a:cubicBezTo>
                        <a:pt x="20" y="186"/>
                        <a:pt x="20" y="186"/>
                        <a:pt x="20" y="186"/>
                      </a:cubicBezTo>
                      <a:cubicBezTo>
                        <a:pt x="21" y="187"/>
                        <a:pt x="21" y="187"/>
                        <a:pt x="21" y="187"/>
                      </a:cubicBezTo>
                      <a:cubicBezTo>
                        <a:pt x="21" y="187"/>
                        <a:pt x="21" y="187"/>
                        <a:pt x="21" y="187"/>
                      </a:cubicBezTo>
                      <a:cubicBezTo>
                        <a:pt x="20" y="187"/>
                        <a:pt x="20" y="187"/>
                        <a:pt x="20" y="187"/>
                      </a:cubicBezTo>
                      <a:cubicBezTo>
                        <a:pt x="19" y="188"/>
                        <a:pt x="19" y="188"/>
                        <a:pt x="19" y="188"/>
                      </a:cubicBezTo>
                      <a:cubicBezTo>
                        <a:pt x="20" y="188"/>
                        <a:pt x="20" y="188"/>
                        <a:pt x="20" y="188"/>
                      </a:cubicBezTo>
                      <a:cubicBezTo>
                        <a:pt x="21" y="188"/>
                        <a:pt x="21" y="188"/>
                        <a:pt x="21" y="188"/>
                      </a:cubicBezTo>
                      <a:cubicBezTo>
                        <a:pt x="22" y="189"/>
                        <a:pt x="22" y="189"/>
                        <a:pt x="22" y="189"/>
                      </a:cubicBezTo>
                      <a:cubicBezTo>
                        <a:pt x="23" y="189"/>
                        <a:pt x="23" y="189"/>
                        <a:pt x="23" y="189"/>
                      </a:cubicBezTo>
                      <a:cubicBezTo>
                        <a:pt x="23" y="188"/>
                        <a:pt x="23" y="188"/>
                        <a:pt x="23" y="188"/>
                      </a:cubicBezTo>
                      <a:cubicBezTo>
                        <a:pt x="23" y="187"/>
                        <a:pt x="23" y="187"/>
                        <a:pt x="23" y="187"/>
                      </a:cubicBezTo>
                      <a:cubicBezTo>
                        <a:pt x="23" y="187"/>
                        <a:pt x="23" y="187"/>
                        <a:pt x="23" y="187"/>
                      </a:cubicBezTo>
                      <a:cubicBezTo>
                        <a:pt x="23" y="186"/>
                        <a:pt x="23" y="186"/>
                        <a:pt x="23" y="186"/>
                      </a:cubicBezTo>
                      <a:cubicBezTo>
                        <a:pt x="22" y="186"/>
                        <a:pt x="22" y="186"/>
                        <a:pt x="22" y="186"/>
                      </a:cubicBezTo>
                      <a:cubicBezTo>
                        <a:pt x="21" y="186"/>
                        <a:pt x="21" y="186"/>
                        <a:pt x="21" y="186"/>
                      </a:cubicBezTo>
                      <a:cubicBezTo>
                        <a:pt x="22" y="186"/>
                        <a:pt x="22" y="186"/>
                        <a:pt x="22" y="186"/>
                      </a:cubicBezTo>
                      <a:cubicBezTo>
                        <a:pt x="22" y="185"/>
                        <a:pt x="22" y="185"/>
                        <a:pt x="22" y="185"/>
                      </a:cubicBezTo>
                      <a:cubicBezTo>
                        <a:pt x="22" y="185"/>
                        <a:pt x="22" y="185"/>
                        <a:pt x="22" y="185"/>
                      </a:cubicBezTo>
                      <a:cubicBezTo>
                        <a:pt x="23" y="185"/>
                        <a:pt x="23" y="185"/>
                        <a:pt x="23" y="185"/>
                      </a:cubicBezTo>
                      <a:cubicBezTo>
                        <a:pt x="24" y="185"/>
                        <a:pt x="24" y="185"/>
                        <a:pt x="24" y="185"/>
                      </a:cubicBezTo>
                      <a:cubicBezTo>
                        <a:pt x="24" y="185"/>
                        <a:pt x="24" y="185"/>
                        <a:pt x="24" y="185"/>
                      </a:cubicBezTo>
                      <a:cubicBezTo>
                        <a:pt x="24" y="185"/>
                        <a:pt x="24" y="185"/>
                        <a:pt x="24" y="185"/>
                      </a:cubicBezTo>
                      <a:cubicBezTo>
                        <a:pt x="25" y="185"/>
                        <a:pt x="25" y="185"/>
                        <a:pt x="25" y="185"/>
                      </a:cubicBezTo>
                      <a:cubicBezTo>
                        <a:pt x="25" y="185"/>
                        <a:pt x="25" y="185"/>
                        <a:pt x="25" y="185"/>
                      </a:cubicBezTo>
                      <a:cubicBezTo>
                        <a:pt x="26" y="185"/>
                        <a:pt x="26" y="185"/>
                        <a:pt x="26" y="185"/>
                      </a:cubicBezTo>
                      <a:cubicBezTo>
                        <a:pt x="27" y="185"/>
                        <a:pt x="27" y="185"/>
                        <a:pt x="27" y="185"/>
                      </a:cubicBezTo>
                      <a:cubicBezTo>
                        <a:pt x="28" y="185"/>
                        <a:pt x="28" y="185"/>
                        <a:pt x="28" y="185"/>
                      </a:cubicBezTo>
                      <a:cubicBezTo>
                        <a:pt x="29" y="185"/>
                        <a:pt x="29" y="185"/>
                        <a:pt x="29" y="185"/>
                      </a:cubicBezTo>
                      <a:cubicBezTo>
                        <a:pt x="29" y="185"/>
                        <a:pt x="29" y="185"/>
                        <a:pt x="29" y="185"/>
                      </a:cubicBezTo>
                      <a:cubicBezTo>
                        <a:pt x="28" y="186"/>
                        <a:pt x="28" y="186"/>
                        <a:pt x="28" y="186"/>
                      </a:cubicBezTo>
                      <a:cubicBezTo>
                        <a:pt x="28" y="186"/>
                        <a:pt x="28" y="186"/>
                        <a:pt x="28" y="186"/>
                      </a:cubicBezTo>
                      <a:cubicBezTo>
                        <a:pt x="27" y="186"/>
                        <a:pt x="27" y="186"/>
                        <a:pt x="27" y="186"/>
                      </a:cubicBezTo>
                      <a:cubicBezTo>
                        <a:pt x="27" y="186"/>
                        <a:pt x="27" y="186"/>
                        <a:pt x="27" y="186"/>
                      </a:cubicBezTo>
                      <a:cubicBezTo>
                        <a:pt x="26" y="186"/>
                        <a:pt x="26" y="186"/>
                        <a:pt x="26" y="186"/>
                      </a:cubicBezTo>
                      <a:cubicBezTo>
                        <a:pt x="24" y="187"/>
                        <a:pt x="24" y="187"/>
                        <a:pt x="24" y="187"/>
                      </a:cubicBezTo>
                      <a:cubicBezTo>
                        <a:pt x="24" y="187"/>
                        <a:pt x="24" y="187"/>
                        <a:pt x="24" y="187"/>
                      </a:cubicBezTo>
                      <a:cubicBezTo>
                        <a:pt x="24" y="187"/>
                        <a:pt x="24" y="187"/>
                        <a:pt x="24" y="187"/>
                      </a:cubicBezTo>
                      <a:cubicBezTo>
                        <a:pt x="23" y="187"/>
                        <a:pt x="23" y="187"/>
                        <a:pt x="23" y="187"/>
                      </a:cubicBezTo>
                      <a:cubicBezTo>
                        <a:pt x="23" y="188"/>
                        <a:pt x="23" y="188"/>
                        <a:pt x="23" y="188"/>
                      </a:cubicBezTo>
                      <a:cubicBezTo>
                        <a:pt x="23" y="188"/>
                        <a:pt x="23" y="188"/>
                        <a:pt x="23" y="188"/>
                      </a:cubicBezTo>
                      <a:cubicBezTo>
                        <a:pt x="23" y="189"/>
                        <a:pt x="23" y="189"/>
                        <a:pt x="23" y="189"/>
                      </a:cubicBezTo>
                      <a:cubicBezTo>
                        <a:pt x="23" y="189"/>
                        <a:pt x="23" y="189"/>
                        <a:pt x="23" y="189"/>
                      </a:cubicBezTo>
                      <a:cubicBezTo>
                        <a:pt x="23" y="189"/>
                        <a:pt x="23" y="189"/>
                        <a:pt x="23" y="189"/>
                      </a:cubicBezTo>
                      <a:cubicBezTo>
                        <a:pt x="23" y="190"/>
                        <a:pt x="23" y="190"/>
                        <a:pt x="23" y="190"/>
                      </a:cubicBezTo>
                      <a:cubicBezTo>
                        <a:pt x="23" y="190"/>
                        <a:pt x="23" y="190"/>
                        <a:pt x="23" y="190"/>
                      </a:cubicBezTo>
                      <a:cubicBezTo>
                        <a:pt x="24" y="191"/>
                        <a:pt x="24" y="191"/>
                        <a:pt x="24" y="191"/>
                      </a:cubicBezTo>
                      <a:cubicBezTo>
                        <a:pt x="25" y="191"/>
                        <a:pt x="25" y="191"/>
                        <a:pt x="25" y="191"/>
                      </a:cubicBezTo>
                      <a:cubicBezTo>
                        <a:pt x="25" y="191"/>
                        <a:pt x="25" y="191"/>
                        <a:pt x="25" y="191"/>
                      </a:cubicBezTo>
                      <a:cubicBezTo>
                        <a:pt x="26" y="191"/>
                        <a:pt x="26" y="191"/>
                        <a:pt x="26" y="191"/>
                      </a:cubicBezTo>
                      <a:cubicBezTo>
                        <a:pt x="25" y="190"/>
                        <a:pt x="25" y="190"/>
                        <a:pt x="25" y="190"/>
                      </a:cubicBezTo>
                      <a:cubicBezTo>
                        <a:pt x="26" y="190"/>
                        <a:pt x="26" y="190"/>
                        <a:pt x="26" y="190"/>
                      </a:cubicBezTo>
                      <a:cubicBezTo>
                        <a:pt x="27" y="190"/>
                        <a:pt x="27" y="190"/>
                        <a:pt x="27" y="190"/>
                      </a:cubicBezTo>
                      <a:cubicBezTo>
                        <a:pt x="27" y="189"/>
                        <a:pt x="27" y="189"/>
                        <a:pt x="27" y="189"/>
                      </a:cubicBezTo>
                      <a:cubicBezTo>
                        <a:pt x="26" y="188"/>
                        <a:pt x="26" y="188"/>
                        <a:pt x="26" y="188"/>
                      </a:cubicBezTo>
                      <a:cubicBezTo>
                        <a:pt x="27" y="188"/>
                        <a:pt x="27" y="188"/>
                        <a:pt x="27" y="188"/>
                      </a:cubicBezTo>
                      <a:cubicBezTo>
                        <a:pt x="28" y="188"/>
                        <a:pt x="28" y="188"/>
                        <a:pt x="28" y="188"/>
                      </a:cubicBezTo>
                      <a:cubicBezTo>
                        <a:pt x="29" y="187"/>
                        <a:pt x="29" y="187"/>
                        <a:pt x="29" y="187"/>
                      </a:cubicBezTo>
                      <a:cubicBezTo>
                        <a:pt x="29" y="186"/>
                        <a:pt x="29" y="186"/>
                        <a:pt x="29" y="186"/>
                      </a:cubicBezTo>
                      <a:cubicBezTo>
                        <a:pt x="30" y="186"/>
                        <a:pt x="30" y="186"/>
                        <a:pt x="30" y="186"/>
                      </a:cubicBezTo>
                      <a:cubicBezTo>
                        <a:pt x="30" y="187"/>
                        <a:pt x="30" y="187"/>
                        <a:pt x="30" y="187"/>
                      </a:cubicBezTo>
                      <a:cubicBezTo>
                        <a:pt x="31" y="187"/>
                        <a:pt x="31" y="187"/>
                        <a:pt x="31" y="187"/>
                      </a:cubicBezTo>
                      <a:cubicBezTo>
                        <a:pt x="31" y="187"/>
                        <a:pt x="31" y="187"/>
                        <a:pt x="31" y="187"/>
                      </a:cubicBezTo>
                      <a:cubicBezTo>
                        <a:pt x="30" y="187"/>
                        <a:pt x="30" y="187"/>
                        <a:pt x="30" y="187"/>
                      </a:cubicBezTo>
                      <a:cubicBezTo>
                        <a:pt x="30" y="188"/>
                        <a:pt x="30" y="188"/>
                        <a:pt x="30" y="188"/>
                      </a:cubicBezTo>
                      <a:cubicBezTo>
                        <a:pt x="30" y="188"/>
                        <a:pt x="30" y="188"/>
                        <a:pt x="30" y="188"/>
                      </a:cubicBezTo>
                      <a:cubicBezTo>
                        <a:pt x="29" y="189"/>
                        <a:pt x="29" y="189"/>
                        <a:pt x="29" y="189"/>
                      </a:cubicBezTo>
                      <a:cubicBezTo>
                        <a:pt x="29" y="190"/>
                        <a:pt x="29" y="190"/>
                        <a:pt x="29" y="190"/>
                      </a:cubicBezTo>
                      <a:cubicBezTo>
                        <a:pt x="29" y="191"/>
                        <a:pt x="29" y="191"/>
                        <a:pt x="29" y="191"/>
                      </a:cubicBezTo>
                      <a:cubicBezTo>
                        <a:pt x="29" y="191"/>
                        <a:pt x="29" y="191"/>
                        <a:pt x="29" y="191"/>
                      </a:cubicBezTo>
                      <a:cubicBezTo>
                        <a:pt x="28" y="191"/>
                        <a:pt x="28" y="191"/>
                        <a:pt x="28" y="191"/>
                      </a:cubicBezTo>
                      <a:cubicBezTo>
                        <a:pt x="28" y="191"/>
                        <a:pt x="28" y="191"/>
                        <a:pt x="28" y="191"/>
                      </a:cubicBezTo>
                      <a:cubicBezTo>
                        <a:pt x="28" y="191"/>
                        <a:pt x="28" y="191"/>
                        <a:pt x="28" y="191"/>
                      </a:cubicBezTo>
                      <a:cubicBezTo>
                        <a:pt x="28" y="190"/>
                        <a:pt x="28" y="190"/>
                        <a:pt x="28" y="190"/>
                      </a:cubicBezTo>
                      <a:cubicBezTo>
                        <a:pt x="28" y="190"/>
                        <a:pt x="28" y="190"/>
                        <a:pt x="28" y="190"/>
                      </a:cubicBezTo>
                      <a:cubicBezTo>
                        <a:pt x="27" y="190"/>
                        <a:pt x="27" y="190"/>
                        <a:pt x="27" y="190"/>
                      </a:cubicBezTo>
                      <a:cubicBezTo>
                        <a:pt x="27" y="190"/>
                        <a:pt x="27" y="190"/>
                        <a:pt x="27" y="190"/>
                      </a:cubicBezTo>
                      <a:cubicBezTo>
                        <a:pt x="27" y="190"/>
                        <a:pt x="27" y="190"/>
                        <a:pt x="27" y="190"/>
                      </a:cubicBezTo>
                      <a:cubicBezTo>
                        <a:pt x="26" y="190"/>
                        <a:pt x="26" y="190"/>
                        <a:pt x="26" y="190"/>
                      </a:cubicBezTo>
                      <a:cubicBezTo>
                        <a:pt x="26" y="191"/>
                        <a:pt x="26" y="191"/>
                        <a:pt x="26" y="191"/>
                      </a:cubicBezTo>
                      <a:cubicBezTo>
                        <a:pt x="27" y="191"/>
                        <a:pt x="27" y="191"/>
                        <a:pt x="27" y="191"/>
                      </a:cubicBezTo>
                      <a:cubicBezTo>
                        <a:pt x="28" y="193"/>
                        <a:pt x="28" y="193"/>
                        <a:pt x="28" y="193"/>
                      </a:cubicBezTo>
                      <a:cubicBezTo>
                        <a:pt x="29" y="193"/>
                        <a:pt x="29" y="193"/>
                        <a:pt x="29" y="193"/>
                      </a:cubicBezTo>
                      <a:cubicBezTo>
                        <a:pt x="30" y="193"/>
                        <a:pt x="30" y="193"/>
                        <a:pt x="30" y="193"/>
                      </a:cubicBezTo>
                      <a:cubicBezTo>
                        <a:pt x="31" y="193"/>
                        <a:pt x="31" y="193"/>
                        <a:pt x="31" y="193"/>
                      </a:cubicBezTo>
                      <a:cubicBezTo>
                        <a:pt x="32" y="194"/>
                        <a:pt x="32" y="194"/>
                        <a:pt x="32" y="194"/>
                      </a:cubicBezTo>
                      <a:cubicBezTo>
                        <a:pt x="32" y="193"/>
                        <a:pt x="32" y="193"/>
                        <a:pt x="32" y="193"/>
                      </a:cubicBezTo>
                      <a:cubicBezTo>
                        <a:pt x="33" y="192"/>
                        <a:pt x="33" y="192"/>
                        <a:pt x="33" y="192"/>
                      </a:cubicBezTo>
                      <a:cubicBezTo>
                        <a:pt x="32" y="191"/>
                        <a:pt x="32" y="191"/>
                        <a:pt x="32" y="191"/>
                      </a:cubicBezTo>
                      <a:cubicBezTo>
                        <a:pt x="32" y="190"/>
                        <a:pt x="32" y="190"/>
                        <a:pt x="32" y="190"/>
                      </a:cubicBezTo>
                      <a:cubicBezTo>
                        <a:pt x="32" y="190"/>
                        <a:pt x="32" y="190"/>
                        <a:pt x="32" y="190"/>
                      </a:cubicBezTo>
                      <a:cubicBezTo>
                        <a:pt x="32" y="189"/>
                        <a:pt x="32" y="189"/>
                        <a:pt x="32" y="189"/>
                      </a:cubicBezTo>
                      <a:cubicBezTo>
                        <a:pt x="32" y="187"/>
                        <a:pt x="32" y="187"/>
                        <a:pt x="32" y="187"/>
                      </a:cubicBezTo>
                      <a:cubicBezTo>
                        <a:pt x="32" y="187"/>
                        <a:pt x="32" y="187"/>
                        <a:pt x="32" y="187"/>
                      </a:cubicBezTo>
                      <a:cubicBezTo>
                        <a:pt x="32" y="186"/>
                        <a:pt x="32" y="186"/>
                        <a:pt x="32" y="186"/>
                      </a:cubicBezTo>
                      <a:cubicBezTo>
                        <a:pt x="33" y="185"/>
                        <a:pt x="33" y="185"/>
                        <a:pt x="33" y="185"/>
                      </a:cubicBezTo>
                      <a:cubicBezTo>
                        <a:pt x="35" y="184"/>
                        <a:pt x="35" y="184"/>
                        <a:pt x="35" y="184"/>
                      </a:cubicBezTo>
                      <a:cubicBezTo>
                        <a:pt x="35" y="184"/>
                        <a:pt x="35" y="184"/>
                        <a:pt x="35" y="184"/>
                      </a:cubicBezTo>
                      <a:cubicBezTo>
                        <a:pt x="36" y="184"/>
                        <a:pt x="36" y="184"/>
                        <a:pt x="36" y="184"/>
                      </a:cubicBezTo>
                      <a:cubicBezTo>
                        <a:pt x="37" y="184"/>
                        <a:pt x="37" y="184"/>
                        <a:pt x="37" y="184"/>
                      </a:cubicBezTo>
                      <a:cubicBezTo>
                        <a:pt x="36" y="182"/>
                        <a:pt x="36" y="182"/>
                        <a:pt x="36" y="182"/>
                      </a:cubicBezTo>
                      <a:cubicBezTo>
                        <a:pt x="37" y="182"/>
                        <a:pt x="37" y="182"/>
                        <a:pt x="37" y="182"/>
                      </a:cubicBezTo>
                      <a:cubicBezTo>
                        <a:pt x="38" y="182"/>
                        <a:pt x="38" y="182"/>
                        <a:pt x="38" y="182"/>
                      </a:cubicBezTo>
                      <a:cubicBezTo>
                        <a:pt x="39" y="182"/>
                        <a:pt x="39" y="182"/>
                        <a:pt x="39" y="182"/>
                      </a:cubicBezTo>
                      <a:cubicBezTo>
                        <a:pt x="40" y="182"/>
                        <a:pt x="40" y="182"/>
                        <a:pt x="40" y="182"/>
                      </a:cubicBezTo>
                      <a:cubicBezTo>
                        <a:pt x="40" y="182"/>
                        <a:pt x="40" y="182"/>
                        <a:pt x="40" y="182"/>
                      </a:cubicBezTo>
                      <a:close/>
                      <a:moveTo>
                        <a:pt x="50" y="205"/>
                      </a:moveTo>
                      <a:cubicBezTo>
                        <a:pt x="50" y="205"/>
                        <a:pt x="50" y="205"/>
                        <a:pt x="50" y="205"/>
                      </a:cubicBezTo>
                      <a:cubicBezTo>
                        <a:pt x="51" y="205"/>
                        <a:pt x="51" y="205"/>
                        <a:pt x="51" y="205"/>
                      </a:cubicBezTo>
                      <a:cubicBezTo>
                        <a:pt x="50" y="205"/>
                        <a:pt x="50" y="205"/>
                        <a:pt x="50" y="205"/>
                      </a:cubicBezTo>
                      <a:cubicBezTo>
                        <a:pt x="50" y="205"/>
                        <a:pt x="50" y="205"/>
                        <a:pt x="50" y="205"/>
                      </a:cubicBezTo>
                      <a:close/>
                      <a:moveTo>
                        <a:pt x="6" y="127"/>
                      </a:moveTo>
                      <a:cubicBezTo>
                        <a:pt x="5" y="126"/>
                        <a:pt x="5" y="126"/>
                        <a:pt x="5" y="126"/>
                      </a:cubicBezTo>
                      <a:cubicBezTo>
                        <a:pt x="5" y="126"/>
                        <a:pt x="5" y="126"/>
                        <a:pt x="5" y="126"/>
                      </a:cubicBezTo>
                      <a:cubicBezTo>
                        <a:pt x="5" y="127"/>
                        <a:pt x="5" y="127"/>
                        <a:pt x="5" y="127"/>
                      </a:cubicBezTo>
                      <a:cubicBezTo>
                        <a:pt x="6" y="128"/>
                        <a:pt x="6" y="128"/>
                        <a:pt x="6" y="128"/>
                      </a:cubicBezTo>
                      <a:cubicBezTo>
                        <a:pt x="6" y="128"/>
                        <a:pt x="6" y="128"/>
                        <a:pt x="6" y="128"/>
                      </a:cubicBezTo>
                      <a:cubicBezTo>
                        <a:pt x="7" y="129"/>
                        <a:pt x="7" y="129"/>
                        <a:pt x="7" y="129"/>
                      </a:cubicBezTo>
                      <a:cubicBezTo>
                        <a:pt x="6" y="129"/>
                        <a:pt x="6" y="129"/>
                        <a:pt x="6" y="129"/>
                      </a:cubicBezTo>
                      <a:cubicBezTo>
                        <a:pt x="6" y="129"/>
                        <a:pt x="6" y="129"/>
                        <a:pt x="6" y="129"/>
                      </a:cubicBezTo>
                      <a:cubicBezTo>
                        <a:pt x="5" y="130"/>
                        <a:pt x="5" y="130"/>
                        <a:pt x="5" y="130"/>
                      </a:cubicBezTo>
                      <a:cubicBezTo>
                        <a:pt x="5" y="130"/>
                        <a:pt x="5" y="130"/>
                        <a:pt x="5" y="130"/>
                      </a:cubicBezTo>
                      <a:cubicBezTo>
                        <a:pt x="5" y="131"/>
                        <a:pt x="5" y="131"/>
                        <a:pt x="5" y="131"/>
                      </a:cubicBezTo>
                      <a:cubicBezTo>
                        <a:pt x="4" y="131"/>
                        <a:pt x="4" y="131"/>
                        <a:pt x="4" y="131"/>
                      </a:cubicBezTo>
                      <a:cubicBezTo>
                        <a:pt x="3" y="131"/>
                        <a:pt x="3" y="131"/>
                        <a:pt x="3" y="131"/>
                      </a:cubicBezTo>
                      <a:cubicBezTo>
                        <a:pt x="3" y="130"/>
                        <a:pt x="3" y="130"/>
                        <a:pt x="3" y="130"/>
                      </a:cubicBezTo>
                      <a:cubicBezTo>
                        <a:pt x="3" y="127"/>
                        <a:pt x="3" y="127"/>
                        <a:pt x="3" y="127"/>
                      </a:cubicBezTo>
                      <a:cubicBezTo>
                        <a:pt x="2" y="126"/>
                        <a:pt x="2" y="126"/>
                        <a:pt x="2" y="126"/>
                      </a:cubicBezTo>
                      <a:cubicBezTo>
                        <a:pt x="2" y="126"/>
                        <a:pt x="2" y="126"/>
                        <a:pt x="2" y="126"/>
                      </a:cubicBezTo>
                      <a:cubicBezTo>
                        <a:pt x="2" y="125"/>
                        <a:pt x="2" y="125"/>
                        <a:pt x="2" y="125"/>
                      </a:cubicBezTo>
                      <a:cubicBezTo>
                        <a:pt x="2" y="124"/>
                        <a:pt x="2" y="124"/>
                        <a:pt x="2" y="124"/>
                      </a:cubicBezTo>
                      <a:cubicBezTo>
                        <a:pt x="3" y="124"/>
                        <a:pt x="3" y="124"/>
                        <a:pt x="3" y="124"/>
                      </a:cubicBezTo>
                      <a:cubicBezTo>
                        <a:pt x="3" y="123"/>
                        <a:pt x="3" y="123"/>
                        <a:pt x="3" y="123"/>
                      </a:cubicBezTo>
                      <a:cubicBezTo>
                        <a:pt x="2" y="123"/>
                        <a:pt x="2" y="123"/>
                        <a:pt x="2" y="123"/>
                      </a:cubicBezTo>
                      <a:cubicBezTo>
                        <a:pt x="2" y="122"/>
                        <a:pt x="2" y="122"/>
                        <a:pt x="2" y="122"/>
                      </a:cubicBezTo>
                      <a:cubicBezTo>
                        <a:pt x="3" y="122"/>
                        <a:pt x="3" y="122"/>
                        <a:pt x="3" y="122"/>
                      </a:cubicBezTo>
                      <a:cubicBezTo>
                        <a:pt x="4" y="122"/>
                        <a:pt x="4" y="122"/>
                        <a:pt x="4" y="122"/>
                      </a:cubicBezTo>
                      <a:cubicBezTo>
                        <a:pt x="5" y="122"/>
                        <a:pt x="5" y="122"/>
                        <a:pt x="5" y="122"/>
                      </a:cubicBezTo>
                      <a:cubicBezTo>
                        <a:pt x="6" y="123"/>
                        <a:pt x="6" y="123"/>
                        <a:pt x="6" y="123"/>
                      </a:cubicBezTo>
                      <a:cubicBezTo>
                        <a:pt x="6" y="125"/>
                        <a:pt x="6" y="125"/>
                        <a:pt x="6" y="125"/>
                      </a:cubicBezTo>
                      <a:cubicBezTo>
                        <a:pt x="6" y="125"/>
                        <a:pt x="6" y="125"/>
                        <a:pt x="6" y="125"/>
                      </a:cubicBezTo>
                      <a:cubicBezTo>
                        <a:pt x="6" y="126"/>
                        <a:pt x="6" y="126"/>
                        <a:pt x="6" y="126"/>
                      </a:cubicBezTo>
                      <a:cubicBezTo>
                        <a:pt x="5" y="125"/>
                        <a:pt x="5" y="125"/>
                        <a:pt x="5" y="125"/>
                      </a:cubicBezTo>
                      <a:cubicBezTo>
                        <a:pt x="6" y="126"/>
                        <a:pt x="6" y="126"/>
                        <a:pt x="6" y="126"/>
                      </a:cubicBezTo>
                      <a:cubicBezTo>
                        <a:pt x="6" y="127"/>
                        <a:pt x="6" y="127"/>
                        <a:pt x="6" y="127"/>
                      </a:cubicBezTo>
                      <a:cubicBezTo>
                        <a:pt x="6" y="127"/>
                        <a:pt x="6" y="127"/>
                        <a:pt x="6" y="127"/>
                      </a:cubicBezTo>
                      <a:close/>
                      <a:moveTo>
                        <a:pt x="7" y="125"/>
                      </a:moveTo>
                      <a:cubicBezTo>
                        <a:pt x="8" y="124"/>
                        <a:pt x="8" y="124"/>
                        <a:pt x="8" y="124"/>
                      </a:cubicBezTo>
                      <a:cubicBezTo>
                        <a:pt x="8" y="125"/>
                        <a:pt x="8" y="125"/>
                        <a:pt x="8" y="125"/>
                      </a:cubicBezTo>
                      <a:cubicBezTo>
                        <a:pt x="8" y="125"/>
                        <a:pt x="8" y="125"/>
                        <a:pt x="8" y="125"/>
                      </a:cubicBezTo>
                      <a:cubicBezTo>
                        <a:pt x="7" y="125"/>
                        <a:pt x="7" y="125"/>
                        <a:pt x="7" y="125"/>
                      </a:cubicBezTo>
                      <a:close/>
                      <a:moveTo>
                        <a:pt x="1" y="133"/>
                      </a:moveTo>
                      <a:cubicBezTo>
                        <a:pt x="2" y="132"/>
                        <a:pt x="2" y="132"/>
                        <a:pt x="2" y="132"/>
                      </a:cubicBezTo>
                      <a:cubicBezTo>
                        <a:pt x="3" y="132"/>
                        <a:pt x="3" y="132"/>
                        <a:pt x="3" y="132"/>
                      </a:cubicBezTo>
                      <a:cubicBezTo>
                        <a:pt x="3" y="133"/>
                        <a:pt x="3" y="133"/>
                        <a:pt x="3" y="133"/>
                      </a:cubicBezTo>
                      <a:cubicBezTo>
                        <a:pt x="2" y="133"/>
                        <a:pt x="2" y="133"/>
                        <a:pt x="2" y="133"/>
                      </a:cubicBezTo>
                      <a:cubicBezTo>
                        <a:pt x="1" y="133"/>
                        <a:pt x="1" y="133"/>
                        <a:pt x="1" y="133"/>
                      </a:cubicBezTo>
                      <a:close/>
                      <a:moveTo>
                        <a:pt x="8" y="134"/>
                      </a:moveTo>
                      <a:cubicBezTo>
                        <a:pt x="9" y="133"/>
                        <a:pt x="9" y="133"/>
                        <a:pt x="9" y="133"/>
                      </a:cubicBezTo>
                      <a:cubicBezTo>
                        <a:pt x="9" y="134"/>
                        <a:pt x="9" y="134"/>
                        <a:pt x="9" y="134"/>
                      </a:cubicBezTo>
                      <a:cubicBezTo>
                        <a:pt x="8" y="134"/>
                        <a:pt x="8" y="134"/>
                        <a:pt x="8" y="134"/>
                      </a:cubicBezTo>
                      <a:cubicBezTo>
                        <a:pt x="8" y="134"/>
                        <a:pt x="8" y="134"/>
                        <a:pt x="8" y="134"/>
                      </a:cubicBezTo>
                      <a:close/>
                      <a:moveTo>
                        <a:pt x="7" y="134"/>
                      </a:moveTo>
                      <a:cubicBezTo>
                        <a:pt x="7" y="134"/>
                        <a:pt x="7" y="134"/>
                        <a:pt x="7" y="134"/>
                      </a:cubicBezTo>
                      <a:cubicBezTo>
                        <a:pt x="7" y="135"/>
                        <a:pt x="7" y="135"/>
                        <a:pt x="7" y="135"/>
                      </a:cubicBezTo>
                      <a:cubicBezTo>
                        <a:pt x="7" y="135"/>
                        <a:pt x="7" y="135"/>
                        <a:pt x="7" y="135"/>
                      </a:cubicBezTo>
                      <a:cubicBezTo>
                        <a:pt x="7" y="134"/>
                        <a:pt x="7" y="134"/>
                        <a:pt x="7" y="134"/>
                      </a:cubicBezTo>
                      <a:cubicBezTo>
                        <a:pt x="6" y="134"/>
                        <a:pt x="6" y="134"/>
                        <a:pt x="6" y="134"/>
                      </a:cubicBezTo>
                      <a:cubicBezTo>
                        <a:pt x="7" y="134"/>
                        <a:pt x="7" y="134"/>
                        <a:pt x="7" y="134"/>
                      </a:cubicBezTo>
                      <a:close/>
                      <a:moveTo>
                        <a:pt x="4" y="133"/>
                      </a:moveTo>
                      <a:cubicBezTo>
                        <a:pt x="5" y="133"/>
                        <a:pt x="5" y="133"/>
                        <a:pt x="5" y="133"/>
                      </a:cubicBezTo>
                      <a:cubicBezTo>
                        <a:pt x="6" y="133"/>
                        <a:pt x="6" y="133"/>
                        <a:pt x="6" y="133"/>
                      </a:cubicBezTo>
                      <a:cubicBezTo>
                        <a:pt x="5" y="134"/>
                        <a:pt x="5" y="134"/>
                        <a:pt x="5" y="134"/>
                      </a:cubicBezTo>
                      <a:cubicBezTo>
                        <a:pt x="4" y="133"/>
                        <a:pt x="4" y="133"/>
                        <a:pt x="4" y="133"/>
                      </a:cubicBezTo>
                      <a:close/>
                      <a:moveTo>
                        <a:pt x="5" y="135"/>
                      </a:moveTo>
                      <a:cubicBezTo>
                        <a:pt x="5" y="135"/>
                        <a:pt x="5" y="135"/>
                        <a:pt x="5" y="135"/>
                      </a:cubicBezTo>
                      <a:cubicBezTo>
                        <a:pt x="5" y="135"/>
                        <a:pt x="5" y="135"/>
                        <a:pt x="5" y="135"/>
                      </a:cubicBezTo>
                      <a:cubicBezTo>
                        <a:pt x="5" y="135"/>
                        <a:pt x="5" y="135"/>
                        <a:pt x="5" y="135"/>
                      </a:cubicBezTo>
                      <a:cubicBezTo>
                        <a:pt x="5" y="135"/>
                        <a:pt x="5" y="135"/>
                        <a:pt x="5" y="135"/>
                      </a:cubicBezTo>
                      <a:close/>
                      <a:moveTo>
                        <a:pt x="4" y="136"/>
                      </a:moveTo>
                      <a:cubicBezTo>
                        <a:pt x="4" y="135"/>
                        <a:pt x="4" y="135"/>
                        <a:pt x="4" y="135"/>
                      </a:cubicBezTo>
                      <a:cubicBezTo>
                        <a:pt x="5" y="135"/>
                        <a:pt x="5" y="135"/>
                        <a:pt x="5" y="135"/>
                      </a:cubicBezTo>
                      <a:cubicBezTo>
                        <a:pt x="5" y="136"/>
                        <a:pt x="5" y="136"/>
                        <a:pt x="5" y="136"/>
                      </a:cubicBezTo>
                      <a:cubicBezTo>
                        <a:pt x="5" y="136"/>
                        <a:pt x="5" y="136"/>
                        <a:pt x="5" y="136"/>
                      </a:cubicBezTo>
                      <a:cubicBezTo>
                        <a:pt x="4" y="137"/>
                        <a:pt x="4" y="137"/>
                        <a:pt x="4" y="137"/>
                      </a:cubicBezTo>
                      <a:cubicBezTo>
                        <a:pt x="4" y="136"/>
                        <a:pt x="4" y="136"/>
                        <a:pt x="4" y="136"/>
                      </a:cubicBezTo>
                      <a:cubicBezTo>
                        <a:pt x="4" y="136"/>
                        <a:pt x="4" y="136"/>
                        <a:pt x="4" y="136"/>
                      </a:cubicBezTo>
                      <a:close/>
                      <a:moveTo>
                        <a:pt x="3" y="137"/>
                      </a:moveTo>
                      <a:cubicBezTo>
                        <a:pt x="3" y="138"/>
                        <a:pt x="3" y="138"/>
                        <a:pt x="3" y="138"/>
                      </a:cubicBezTo>
                      <a:cubicBezTo>
                        <a:pt x="3" y="138"/>
                        <a:pt x="3" y="138"/>
                        <a:pt x="3" y="138"/>
                      </a:cubicBezTo>
                      <a:cubicBezTo>
                        <a:pt x="2" y="138"/>
                        <a:pt x="2" y="138"/>
                        <a:pt x="2" y="138"/>
                      </a:cubicBezTo>
                      <a:cubicBezTo>
                        <a:pt x="3" y="137"/>
                        <a:pt x="3" y="137"/>
                        <a:pt x="3" y="137"/>
                      </a:cubicBezTo>
                      <a:close/>
                      <a:moveTo>
                        <a:pt x="7" y="137"/>
                      </a:moveTo>
                      <a:cubicBezTo>
                        <a:pt x="8" y="138"/>
                        <a:pt x="8" y="138"/>
                        <a:pt x="8" y="138"/>
                      </a:cubicBezTo>
                      <a:cubicBezTo>
                        <a:pt x="7" y="138"/>
                        <a:pt x="7" y="138"/>
                        <a:pt x="7" y="138"/>
                      </a:cubicBezTo>
                      <a:cubicBezTo>
                        <a:pt x="7" y="137"/>
                        <a:pt x="7" y="137"/>
                        <a:pt x="7" y="137"/>
                      </a:cubicBezTo>
                      <a:close/>
                      <a:moveTo>
                        <a:pt x="6" y="137"/>
                      </a:moveTo>
                      <a:cubicBezTo>
                        <a:pt x="7" y="137"/>
                        <a:pt x="7" y="137"/>
                        <a:pt x="7" y="137"/>
                      </a:cubicBezTo>
                      <a:cubicBezTo>
                        <a:pt x="7" y="138"/>
                        <a:pt x="7" y="138"/>
                        <a:pt x="7" y="138"/>
                      </a:cubicBezTo>
                      <a:cubicBezTo>
                        <a:pt x="6" y="137"/>
                        <a:pt x="6" y="137"/>
                        <a:pt x="6" y="137"/>
                      </a:cubicBezTo>
                      <a:close/>
                      <a:moveTo>
                        <a:pt x="4" y="144"/>
                      </a:moveTo>
                      <a:cubicBezTo>
                        <a:pt x="4" y="144"/>
                        <a:pt x="4" y="144"/>
                        <a:pt x="4" y="144"/>
                      </a:cubicBezTo>
                      <a:cubicBezTo>
                        <a:pt x="4" y="144"/>
                        <a:pt x="4" y="144"/>
                        <a:pt x="4" y="144"/>
                      </a:cubicBezTo>
                      <a:cubicBezTo>
                        <a:pt x="4" y="144"/>
                        <a:pt x="4" y="144"/>
                        <a:pt x="4" y="144"/>
                      </a:cubicBezTo>
                      <a:cubicBezTo>
                        <a:pt x="4" y="144"/>
                        <a:pt x="4" y="144"/>
                        <a:pt x="4" y="144"/>
                      </a:cubicBezTo>
                      <a:close/>
                      <a:moveTo>
                        <a:pt x="4" y="138"/>
                      </a:moveTo>
                      <a:cubicBezTo>
                        <a:pt x="4" y="137"/>
                        <a:pt x="4" y="137"/>
                        <a:pt x="4" y="137"/>
                      </a:cubicBezTo>
                      <a:cubicBezTo>
                        <a:pt x="4" y="137"/>
                        <a:pt x="4" y="137"/>
                        <a:pt x="4" y="137"/>
                      </a:cubicBezTo>
                      <a:cubicBezTo>
                        <a:pt x="5" y="137"/>
                        <a:pt x="5" y="137"/>
                        <a:pt x="5" y="137"/>
                      </a:cubicBezTo>
                      <a:cubicBezTo>
                        <a:pt x="5" y="138"/>
                        <a:pt x="5" y="138"/>
                        <a:pt x="5" y="138"/>
                      </a:cubicBezTo>
                      <a:cubicBezTo>
                        <a:pt x="4" y="138"/>
                        <a:pt x="4" y="138"/>
                        <a:pt x="4" y="138"/>
                      </a:cubicBezTo>
                      <a:cubicBezTo>
                        <a:pt x="4" y="138"/>
                        <a:pt x="4" y="138"/>
                        <a:pt x="4" y="138"/>
                      </a:cubicBezTo>
                      <a:close/>
                      <a:moveTo>
                        <a:pt x="2" y="139"/>
                      </a:moveTo>
                      <a:cubicBezTo>
                        <a:pt x="1" y="139"/>
                        <a:pt x="1" y="139"/>
                        <a:pt x="1" y="139"/>
                      </a:cubicBezTo>
                      <a:cubicBezTo>
                        <a:pt x="1" y="138"/>
                        <a:pt x="1" y="138"/>
                        <a:pt x="1" y="138"/>
                      </a:cubicBezTo>
                      <a:cubicBezTo>
                        <a:pt x="2" y="138"/>
                        <a:pt x="2" y="138"/>
                        <a:pt x="2" y="138"/>
                      </a:cubicBezTo>
                      <a:cubicBezTo>
                        <a:pt x="2" y="139"/>
                        <a:pt x="2" y="139"/>
                        <a:pt x="2" y="139"/>
                      </a:cubicBezTo>
                      <a:cubicBezTo>
                        <a:pt x="2" y="139"/>
                        <a:pt x="2" y="139"/>
                        <a:pt x="2" y="139"/>
                      </a:cubicBezTo>
                      <a:close/>
                      <a:moveTo>
                        <a:pt x="5" y="142"/>
                      </a:moveTo>
                      <a:cubicBezTo>
                        <a:pt x="6" y="142"/>
                        <a:pt x="6" y="142"/>
                        <a:pt x="6" y="142"/>
                      </a:cubicBezTo>
                      <a:cubicBezTo>
                        <a:pt x="6" y="143"/>
                        <a:pt x="6" y="143"/>
                        <a:pt x="6" y="143"/>
                      </a:cubicBezTo>
                      <a:cubicBezTo>
                        <a:pt x="5" y="142"/>
                        <a:pt x="5" y="142"/>
                        <a:pt x="5" y="142"/>
                      </a:cubicBezTo>
                      <a:close/>
                      <a:moveTo>
                        <a:pt x="6" y="143"/>
                      </a:moveTo>
                      <a:cubicBezTo>
                        <a:pt x="7" y="143"/>
                        <a:pt x="7" y="143"/>
                        <a:pt x="7" y="143"/>
                      </a:cubicBezTo>
                      <a:cubicBezTo>
                        <a:pt x="7" y="144"/>
                        <a:pt x="7" y="144"/>
                        <a:pt x="7" y="144"/>
                      </a:cubicBezTo>
                      <a:cubicBezTo>
                        <a:pt x="6" y="143"/>
                        <a:pt x="6" y="143"/>
                        <a:pt x="6" y="143"/>
                      </a:cubicBezTo>
                      <a:close/>
                      <a:moveTo>
                        <a:pt x="8" y="136"/>
                      </a:moveTo>
                      <a:cubicBezTo>
                        <a:pt x="9" y="136"/>
                        <a:pt x="9" y="136"/>
                        <a:pt x="9" y="136"/>
                      </a:cubicBezTo>
                      <a:cubicBezTo>
                        <a:pt x="9" y="136"/>
                        <a:pt x="9" y="136"/>
                        <a:pt x="9" y="136"/>
                      </a:cubicBezTo>
                      <a:cubicBezTo>
                        <a:pt x="8" y="136"/>
                        <a:pt x="8" y="136"/>
                        <a:pt x="8" y="136"/>
                      </a:cubicBezTo>
                      <a:cubicBezTo>
                        <a:pt x="8" y="136"/>
                        <a:pt x="8" y="136"/>
                        <a:pt x="8" y="136"/>
                      </a:cubicBezTo>
                      <a:close/>
                      <a:moveTo>
                        <a:pt x="10" y="136"/>
                      </a:moveTo>
                      <a:cubicBezTo>
                        <a:pt x="11" y="137"/>
                        <a:pt x="11" y="137"/>
                        <a:pt x="11" y="137"/>
                      </a:cubicBezTo>
                      <a:cubicBezTo>
                        <a:pt x="11" y="137"/>
                        <a:pt x="11" y="137"/>
                        <a:pt x="11" y="137"/>
                      </a:cubicBezTo>
                      <a:cubicBezTo>
                        <a:pt x="12" y="138"/>
                        <a:pt x="12" y="138"/>
                        <a:pt x="12" y="138"/>
                      </a:cubicBezTo>
                      <a:cubicBezTo>
                        <a:pt x="11" y="139"/>
                        <a:pt x="11" y="139"/>
                        <a:pt x="11" y="139"/>
                      </a:cubicBezTo>
                      <a:cubicBezTo>
                        <a:pt x="11" y="139"/>
                        <a:pt x="11" y="139"/>
                        <a:pt x="11" y="139"/>
                      </a:cubicBezTo>
                      <a:cubicBezTo>
                        <a:pt x="10" y="139"/>
                        <a:pt x="10" y="139"/>
                        <a:pt x="10" y="139"/>
                      </a:cubicBezTo>
                      <a:cubicBezTo>
                        <a:pt x="10" y="139"/>
                        <a:pt x="10" y="139"/>
                        <a:pt x="10" y="139"/>
                      </a:cubicBezTo>
                      <a:cubicBezTo>
                        <a:pt x="9" y="139"/>
                        <a:pt x="9" y="139"/>
                        <a:pt x="9" y="139"/>
                      </a:cubicBezTo>
                      <a:cubicBezTo>
                        <a:pt x="9" y="140"/>
                        <a:pt x="9" y="140"/>
                        <a:pt x="9" y="140"/>
                      </a:cubicBezTo>
                      <a:cubicBezTo>
                        <a:pt x="8" y="139"/>
                        <a:pt x="8" y="139"/>
                        <a:pt x="8" y="139"/>
                      </a:cubicBezTo>
                      <a:cubicBezTo>
                        <a:pt x="8" y="138"/>
                        <a:pt x="8" y="138"/>
                        <a:pt x="8" y="138"/>
                      </a:cubicBezTo>
                      <a:cubicBezTo>
                        <a:pt x="9" y="137"/>
                        <a:pt x="9" y="137"/>
                        <a:pt x="9" y="137"/>
                      </a:cubicBezTo>
                      <a:cubicBezTo>
                        <a:pt x="10" y="136"/>
                        <a:pt x="10" y="136"/>
                        <a:pt x="10" y="136"/>
                      </a:cubicBezTo>
                      <a:close/>
                      <a:moveTo>
                        <a:pt x="4" y="139"/>
                      </a:moveTo>
                      <a:cubicBezTo>
                        <a:pt x="5" y="138"/>
                        <a:pt x="5" y="138"/>
                        <a:pt x="5" y="138"/>
                      </a:cubicBezTo>
                      <a:cubicBezTo>
                        <a:pt x="7" y="138"/>
                        <a:pt x="7" y="138"/>
                        <a:pt x="7" y="138"/>
                      </a:cubicBezTo>
                      <a:cubicBezTo>
                        <a:pt x="6" y="139"/>
                        <a:pt x="6" y="139"/>
                        <a:pt x="6" y="139"/>
                      </a:cubicBezTo>
                      <a:cubicBezTo>
                        <a:pt x="5" y="139"/>
                        <a:pt x="5" y="139"/>
                        <a:pt x="5" y="139"/>
                      </a:cubicBezTo>
                      <a:cubicBezTo>
                        <a:pt x="5" y="139"/>
                        <a:pt x="5" y="139"/>
                        <a:pt x="5" y="139"/>
                      </a:cubicBezTo>
                      <a:cubicBezTo>
                        <a:pt x="5" y="139"/>
                        <a:pt x="4" y="139"/>
                        <a:pt x="4" y="139"/>
                      </a:cubicBezTo>
                      <a:close/>
                      <a:moveTo>
                        <a:pt x="5" y="141"/>
                      </a:moveTo>
                      <a:cubicBezTo>
                        <a:pt x="5" y="140"/>
                        <a:pt x="5" y="140"/>
                        <a:pt x="5" y="140"/>
                      </a:cubicBezTo>
                      <a:cubicBezTo>
                        <a:pt x="6" y="140"/>
                        <a:pt x="6" y="140"/>
                        <a:pt x="6" y="140"/>
                      </a:cubicBezTo>
                      <a:cubicBezTo>
                        <a:pt x="7" y="140"/>
                        <a:pt x="7" y="140"/>
                        <a:pt x="7" y="140"/>
                      </a:cubicBezTo>
                      <a:cubicBezTo>
                        <a:pt x="7" y="141"/>
                        <a:pt x="7" y="141"/>
                        <a:pt x="7" y="141"/>
                      </a:cubicBezTo>
                      <a:cubicBezTo>
                        <a:pt x="5" y="141"/>
                        <a:pt x="5" y="141"/>
                        <a:pt x="5" y="141"/>
                      </a:cubicBezTo>
                      <a:close/>
                      <a:moveTo>
                        <a:pt x="6" y="141"/>
                      </a:moveTo>
                      <a:cubicBezTo>
                        <a:pt x="7" y="141"/>
                        <a:pt x="7" y="141"/>
                        <a:pt x="7" y="141"/>
                      </a:cubicBezTo>
                      <a:cubicBezTo>
                        <a:pt x="8" y="141"/>
                        <a:pt x="8" y="141"/>
                        <a:pt x="8" y="141"/>
                      </a:cubicBezTo>
                      <a:cubicBezTo>
                        <a:pt x="8" y="142"/>
                        <a:pt x="8" y="142"/>
                        <a:pt x="8" y="142"/>
                      </a:cubicBezTo>
                      <a:cubicBezTo>
                        <a:pt x="7" y="143"/>
                        <a:pt x="7" y="143"/>
                        <a:pt x="7" y="143"/>
                      </a:cubicBezTo>
                      <a:cubicBezTo>
                        <a:pt x="7" y="143"/>
                        <a:pt x="7" y="143"/>
                        <a:pt x="7" y="143"/>
                      </a:cubicBezTo>
                      <a:cubicBezTo>
                        <a:pt x="6" y="142"/>
                        <a:pt x="6" y="142"/>
                        <a:pt x="6" y="142"/>
                      </a:cubicBezTo>
                      <a:cubicBezTo>
                        <a:pt x="6" y="141"/>
                        <a:pt x="6" y="141"/>
                        <a:pt x="6" y="141"/>
                      </a:cubicBezTo>
                      <a:close/>
                      <a:moveTo>
                        <a:pt x="5" y="144"/>
                      </a:moveTo>
                      <a:cubicBezTo>
                        <a:pt x="5" y="143"/>
                        <a:pt x="5" y="143"/>
                        <a:pt x="5" y="143"/>
                      </a:cubicBezTo>
                      <a:cubicBezTo>
                        <a:pt x="5" y="143"/>
                        <a:pt x="5" y="143"/>
                        <a:pt x="5" y="143"/>
                      </a:cubicBezTo>
                      <a:cubicBezTo>
                        <a:pt x="6" y="144"/>
                        <a:pt x="6" y="144"/>
                        <a:pt x="6" y="144"/>
                      </a:cubicBezTo>
                      <a:cubicBezTo>
                        <a:pt x="6" y="144"/>
                        <a:pt x="6" y="144"/>
                        <a:pt x="6" y="144"/>
                      </a:cubicBezTo>
                      <a:cubicBezTo>
                        <a:pt x="5" y="144"/>
                        <a:pt x="5" y="144"/>
                        <a:pt x="5" y="144"/>
                      </a:cubicBezTo>
                      <a:cubicBezTo>
                        <a:pt x="5" y="144"/>
                        <a:pt x="5" y="144"/>
                        <a:pt x="5" y="144"/>
                      </a:cubicBezTo>
                      <a:close/>
                      <a:moveTo>
                        <a:pt x="7" y="160"/>
                      </a:moveTo>
                      <a:cubicBezTo>
                        <a:pt x="8" y="160"/>
                        <a:pt x="8" y="160"/>
                        <a:pt x="8" y="160"/>
                      </a:cubicBezTo>
                      <a:cubicBezTo>
                        <a:pt x="7" y="160"/>
                        <a:pt x="7" y="160"/>
                        <a:pt x="7" y="160"/>
                      </a:cubicBezTo>
                      <a:cubicBezTo>
                        <a:pt x="7" y="160"/>
                        <a:pt x="7" y="160"/>
                        <a:pt x="7" y="160"/>
                      </a:cubicBezTo>
                      <a:cubicBezTo>
                        <a:pt x="6" y="158"/>
                        <a:pt x="6" y="158"/>
                        <a:pt x="6" y="158"/>
                      </a:cubicBezTo>
                      <a:cubicBezTo>
                        <a:pt x="5" y="158"/>
                        <a:pt x="5" y="158"/>
                        <a:pt x="5" y="158"/>
                      </a:cubicBezTo>
                      <a:cubicBezTo>
                        <a:pt x="5" y="157"/>
                        <a:pt x="5" y="157"/>
                        <a:pt x="5" y="157"/>
                      </a:cubicBezTo>
                      <a:cubicBezTo>
                        <a:pt x="6" y="157"/>
                        <a:pt x="6" y="157"/>
                        <a:pt x="6" y="157"/>
                      </a:cubicBezTo>
                      <a:cubicBezTo>
                        <a:pt x="7" y="157"/>
                        <a:pt x="7" y="157"/>
                        <a:pt x="7" y="157"/>
                      </a:cubicBezTo>
                      <a:cubicBezTo>
                        <a:pt x="7" y="158"/>
                        <a:pt x="7" y="158"/>
                        <a:pt x="7" y="158"/>
                      </a:cubicBezTo>
                      <a:cubicBezTo>
                        <a:pt x="8" y="158"/>
                        <a:pt x="8" y="158"/>
                        <a:pt x="8" y="158"/>
                      </a:cubicBezTo>
                      <a:cubicBezTo>
                        <a:pt x="8" y="159"/>
                        <a:pt x="8" y="159"/>
                        <a:pt x="8" y="159"/>
                      </a:cubicBezTo>
                      <a:cubicBezTo>
                        <a:pt x="9" y="160"/>
                        <a:pt x="9" y="160"/>
                        <a:pt x="9" y="160"/>
                      </a:cubicBezTo>
                      <a:cubicBezTo>
                        <a:pt x="9" y="161"/>
                        <a:pt x="9" y="161"/>
                        <a:pt x="9" y="161"/>
                      </a:cubicBezTo>
                      <a:cubicBezTo>
                        <a:pt x="8" y="161"/>
                        <a:pt x="8" y="161"/>
                        <a:pt x="8" y="161"/>
                      </a:cubicBezTo>
                      <a:cubicBezTo>
                        <a:pt x="7" y="161"/>
                        <a:pt x="7" y="161"/>
                        <a:pt x="7" y="161"/>
                      </a:cubicBezTo>
                      <a:cubicBezTo>
                        <a:pt x="7" y="160"/>
                        <a:pt x="7" y="160"/>
                        <a:pt x="7" y="160"/>
                      </a:cubicBezTo>
                      <a:close/>
                      <a:moveTo>
                        <a:pt x="3" y="159"/>
                      </a:moveTo>
                      <a:cubicBezTo>
                        <a:pt x="4" y="158"/>
                        <a:pt x="4" y="158"/>
                        <a:pt x="4" y="158"/>
                      </a:cubicBezTo>
                      <a:cubicBezTo>
                        <a:pt x="4" y="158"/>
                        <a:pt x="4" y="158"/>
                        <a:pt x="4" y="158"/>
                      </a:cubicBezTo>
                      <a:cubicBezTo>
                        <a:pt x="5" y="158"/>
                        <a:pt x="5" y="158"/>
                        <a:pt x="5" y="158"/>
                      </a:cubicBezTo>
                      <a:cubicBezTo>
                        <a:pt x="6" y="160"/>
                        <a:pt x="6" y="160"/>
                        <a:pt x="6" y="160"/>
                      </a:cubicBezTo>
                      <a:cubicBezTo>
                        <a:pt x="7" y="161"/>
                        <a:pt x="7" y="161"/>
                        <a:pt x="7" y="161"/>
                      </a:cubicBezTo>
                      <a:cubicBezTo>
                        <a:pt x="7" y="162"/>
                        <a:pt x="7" y="162"/>
                        <a:pt x="7" y="162"/>
                      </a:cubicBezTo>
                      <a:cubicBezTo>
                        <a:pt x="6" y="162"/>
                        <a:pt x="6" y="162"/>
                        <a:pt x="6" y="162"/>
                      </a:cubicBezTo>
                      <a:cubicBezTo>
                        <a:pt x="6" y="162"/>
                        <a:pt x="6" y="162"/>
                        <a:pt x="6" y="162"/>
                      </a:cubicBezTo>
                      <a:cubicBezTo>
                        <a:pt x="5" y="161"/>
                        <a:pt x="5" y="161"/>
                        <a:pt x="5" y="161"/>
                      </a:cubicBezTo>
                      <a:cubicBezTo>
                        <a:pt x="5" y="160"/>
                        <a:pt x="5" y="160"/>
                        <a:pt x="5" y="160"/>
                      </a:cubicBezTo>
                      <a:cubicBezTo>
                        <a:pt x="5" y="160"/>
                        <a:pt x="5" y="160"/>
                        <a:pt x="5" y="160"/>
                      </a:cubicBezTo>
                      <a:cubicBezTo>
                        <a:pt x="4" y="160"/>
                        <a:pt x="4" y="160"/>
                        <a:pt x="4" y="160"/>
                      </a:cubicBezTo>
                      <a:cubicBezTo>
                        <a:pt x="3" y="159"/>
                        <a:pt x="3" y="159"/>
                        <a:pt x="3" y="159"/>
                      </a:cubicBezTo>
                      <a:close/>
                      <a:moveTo>
                        <a:pt x="4" y="160"/>
                      </a:moveTo>
                      <a:cubicBezTo>
                        <a:pt x="4" y="160"/>
                        <a:pt x="4" y="160"/>
                        <a:pt x="4" y="160"/>
                      </a:cubicBezTo>
                      <a:cubicBezTo>
                        <a:pt x="5" y="160"/>
                        <a:pt x="5" y="160"/>
                        <a:pt x="5" y="160"/>
                      </a:cubicBezTo>
                      <a:cubicBezTo>
                        <a:pt x="5" y="161"/>
                        <a:pt x="5" y="161"/>
                        <a:pt x="5" y="161"/>
                      </a:cubicBezTo>
                      <a:cubicBezTo>
                        <a:pt x="5" y="162"/>
                        <a:pt x="5" y="162"/>
                        <a:pt x="5" y="162"/>
                      </a:cubicBezTo>
                      <a:cubicBezTo>
                        <a:pt x="4" y="162"/>
                        <a:pt x="4" y="162"/>
                        <a:pt x="4" y="162"/>
                      </a:cubicBezTo>
                      <a:cubicBezTo>
                        <a:pt x="4" y="162"/>
                        <a:pt x="4" y="162"/>
                        <a:pt x="4" y="162"/>
                      </a:cubicBezTo>
                      <a:cubicBezTo>
                        <a:pt x="4" y="161"/>
                        <a:pt x="4" y="161"/>
                        <a:pt x="4" y="161"/>
                      </a:cubicBezTo>
                      <a:cubicBezTo>
                        <a:pt x="4" y="160"/>
                        <a:pt x="4" y="160"/>
                        <a:pt x="4" y="160"/>
                      </a:cubicBezTo>
                      <a:close/>
                      <a:moveTo>
                        <a:pt x="5" y="165"/>
                      </a:moveTo>
                      <a:cubicBezTo>
                        <a:pt x="5" y="165"/>
                        <a:pt x="5" y="165"/>
                        <a:pt x="5" y="165"/>
                      </a:cubicBezTo>
                      <a:cubicBezTo>
                        <a:pt x="5" y="164"/>
                        <a:pt x="5" y="164"/>
                        <a:pt x="5" y="164"/>
                      </a:cubicBezTo>
                      <a:cubicBezTo>
                        <a:pt x="5" y="163"/>
                        <a:pt x="5" y="163"/>
                        <a:pt x="5" y="163"/>
                      </a:cubicBezTo>
                      <a:cubicBezTo>
                        <a:pt x="5" y="162"/>
                        <a:pt x="5" y="162"/>
                        <a:pt x="5" y="162"/>
                      </a:cubicBezTo>
                      <a:cubicBezTo>
                        <a:pt x="5" y="163"/>
                        <a:pt x="5" y="163"/>
                        <a:pt x="5" y="163"/>
                      </a:cubicBezTo>
                      <a:cubicBezTo>
                        <a:pt x="6" y="163"/>
                        <a:pt x="6" y="163"/>
                        <a:pt x="6" y="163"/>
                      </a:cubicBezTo>
                      <a:cubicBezTo>
                        <a:pt x="7" y="164"/>
                        <a:pt x="7" y="164"/>
                        <a:pt x="7" y="164"/>
                      </a:cubicBezTo>
                      <a:cubicBezTo>
                        <a:pt x="6" y="164"/>
                        <a:pt x="6" y="164"/>
                        <a:pt x="6" y="164"/>
                      </a:cubicBezTo>
                      <a:cubicBezTo>
                        <a:pt x="5" y="165"/>
                        <a:pt x="5" y="165"/>
                        <a:pt x="5" y="165"/>
                      </a:cubicBezTo>
                      <a:close/>
                      <a:moveTo>
                        <a:pt x="7" y="169"/>
                      </a:moveTo>
                      <a:cubicBezTo>
                        <a:pt x="6" y="169"/>
                        <a:pt x="6" y="169"/>
                        <a:pt x="6" y="169"/>
                      </a:cubicBezTo>
                      <a:cubicBezTo>
                        <a:pt x="6" y="168"/>
                        <a:pt x="6" y="168"/>
                        <a:pt x="6" y="168"/>
                      </a:cubicBezTo>
                      <a:cubicBezTo>
                        <a:pt x="6" y="168"/>
                        <a:pt x="6" y="168"/>
                        <a:pt x="6" y="168"/>
                      </a:cubicBezTo>
                      <a:cubicBezTo>
                        <a:pt x="5" y="167"/>
                        <a:pt x="5" y="167"/>
                        <a:pt x="5" y="167"/>
                      </a:cubicBezTo>
                      <a:cubicBezTo>
                        <a:pt x="6" y="167"/>
                        <a:pt x="6" y="167"/>
                        <a:pt x="6" y="167"/>
                      </a:cubicBezTo>
                      <a:cubicBezTo>
                        <a:pt x="7" y="168"/>
                        <a:pt x="7" y="168"/>
                        <a:pt x="7" y="168"/>
                      </a:cubicBezTo>
                      <a:cubicBezTo>
                        <a:pt x="7" y="169"/>
                        <a:pt x="7" y="169"/>
                        <a:pt x="7" y="169"/>
                      </a:cubicBezTo>
                      <a:close/>
                      <a:moveTo>
                        <a:pt x="9" y="168"/>
                      </a:moveTo>
                      <a:cubicBezTo>
                        <a:pt x="9" y="169"/>
                        <a:pt x="9" y="169"/>
                        <a:pt x="9" y="169"/>
                      </a:cubicBezTo>
                      <a:cubicBezTo>
                        <a:pt x="8" y="169"/>
                        <a:pt x="8" y="169"/>
                        <a:pt x="8" y="169"/>
                      </a:cubicBezTo>
                      <a:cubicBezTo>
                        <a:pt x="8" y="169"/>
                        <a:pt x="8" y="169"/>
                        <a:pt x="8" y="169"/>
                      </a:cubicBezTo>
                      <a:cubicBezTo>
                        <a:pt x="7" y="168"/>
                        <a:pt x="7" y="168"/>
                        <a:pt x="7" y="168"/>
                      </a:cubicBezTo>
                      <a:cubicBezTo>
                        <a:pt x="6" y="166"/>
                        <a:pt x="6" y="166"/>
                        <a:pt x="6" y="166"/>
                      </a:cubicBezTo>
                      <a:cubicBezTo>
                        <a:pt x="7" y="166"/>
                        <a:pt x="7" y="166"/>
                        <a:pt x="7" y="166"/>
                      </a:cubicBezTo>
                      <a:cubicBezTo>
                        <a:pt x="8" y="165"/>
                        <a:pt x="8" y="165"/>
                        <a:pt x="8" y="165"/>
                      </a:cubicBezTo>
                      <a:cubicBezTo>
                        <a:pt x="8" y="165"/>
                        <a:pt x="8" y="165"/>
                        <a:pt x="8" y="165"/>
                      </a:cubicBezTo>
                      <a:cubicBezTo>
                        <a:pt x="8" y="165"/>
                        <a:pt x="8" y="165"/>
                        <a:pt x="8" y="165"/>
                      </a:cubicBezTo>
                      <a:cubicBezTo>
                        <a:pt x="7" y="165"/>
                        <a:pt x="7" y="165"/>
                        <a:pt x="7" y="165"/>
                      </a:cubicBezTo>
                      <a:cubicBezTo>
                        <a:pt x="7" y="165"/>
                        <a:pt x="7" y="165"/>
                        <a:pt x="7" y="165"/>
                      </a:cubicBezTo>
                      <a:cubicBezTo>
                        <a:pt x="7" y="164"/>
                        <a:pt x="7" y="164"/>
                        <a:pt x="7" y="164"/>
                      </a:cubicBezTo>
                      <a:cubicBezTo>
                        <a:pt x="7" y="163"/>
                        <a:pt x="7" y="163"/>
                        <a:pt x="7" y="163"/>
                      </a:cubicBezTo>
                      <a:cubicBezTo>
                        <a:pt x="7" y="162"/>
                        <a:pt x="7" y="162"/>
                        <a:pt x="7" y="162"/>
                      </a:cubicBezTo>
                      <a:cubicBezTo>
                        <a:pt x="7" y="162"/>
                        <a:pt x="7" y="162"/>
                        <a:pt x="7" y="162"/>
                      </a:cubicBezTo>
                      <a:cubicBezTo>
                        <a:pt x="9" y="162"/>
                        <a:pt x="9" y="162"/>
                        <a:pt x="9" y="162"/>
                      </a:cubicBezTo>
                      <a:cubicBezTo>
                        <a:pt x="9" y="162"/>
                        <a:pt x="9" y="162"/>
                        <a:pt x="9" y="162"/>
                      </a:cubicBezTo>
                      <a:cubicBezTo>
                        <a:pt x="10" y="164"/>
                        <a:pt x="10" y="164"/>
                        <a:pt x="10" y="164"/>
                      </a:cubicBezTo>
                      <a:cubicBezTo>
                        <a:pt x="10" y="165"/>
                        <a:pt x="10" y="165"/>
                        <a:pt x="10" y="165"/>
                      </a:cubicBezTo>
                      <a:cubicBezTo>
                        <a:pt x="10" y="167"/>
                        <a:pt x="10" y="167"/>
                        <a:pt x="10" y="167"/>
                      </a:cubicBezTo>
                      <a:cubicBezTo>
                        <a:pt x="10" y="167"/>
                        <a:pt x="10" y="167"/>
                        <a:pt x="10" y="167"/>
                      </a:cubicBezTo>
                      <a:cubicBezTo>
                        <a:pt x="11" y="168"/>
                        <a:pt x="11" y="168"/>
                        <a:pt x="11" y="168"/>
                      </a:cubicBezTo>
                      <a:cubicBezTo>
                        <a:pt x="11" y="170"/>
                        <a:pt x="11" y="170"/>
                        <a:pt x="11" y="170"/>
                      </a:cubicBezTo>
                      <a:cubicBezTo>
                        <a:pt x="10" y="170"/>
                        <a:pt x="10" y="170"/>
                        <a:pt x="10" y="170"/>
                      </a:cubicBezTo>
                      <a:cubicBezTo>
                        <a:pt x="10" y="170"/>
                        <a:pt x="10" y="170"/>
                        <a:pt x="10" y="170"/>
                      </a:cubicBezTo>
                      <a:cubicBezTo>
                        <a:pt x="9" y="169"/>
                        <a:pt x="9" y="169"/>
                        <a:pt x="9" y="169"/>
                      </a:cubicBezTo>
                      <a:cubicBezTo>
                        <a:pt x="9" y="168"/>
                        <a:pt x="9" y="168"/>
                        <a:pt x="9" y="168"/>
                      </a:cubicBezTo>
                      <a:close/>
                      <a:moveTo>
                        <a:pt x="8" y="173"/>
                      </a:moveTo>
                      <a:cubicBezTo>
                        <a:pt x="8" y="172"/>
                        <a:pt x="8" y="172"/>
                        <a:pt x="8" y="172"/>
                      </a:cubicBezTo>
                      <a:cubicBezTo>
                        <a:pt x="8" y="171"/>
                        <a:pt x="8" y="171"/>
                        <a:pt x="8" y="171"/>
                      </a:cubicBezTo>
                      <a:cubicBezTo>
                        <a:pt x="8" y="171"/>
                        <a:pt x="8" y="171"/>
                        <a:pt x="8" y="171"/>
                      </a:cubicBezTo>
                      <a:cubicBezTo>
                        <a:pt x="8" y="171"/>
                        <a:pt x="8" y="171"/>
                        <a:pt x="8" y="171"/>
                      </a:cubicBezTo>
                      <a:cubicBezTo>
                        <a:pt x="8" y="170"/>
                        <a:pt x="8" y="170"/>
                        <a:pt x="8" y="170"/>
                      </a:cubicBezTo>
                      <a:cubicBezTo>
                        <a:pt x="9" y="171"/>
                        <a:pt x="9" y="171"/>
                        <a:pt x="9" y="171"/>
                      </a:cubicBezTo>
                      <a:cubicBezTo>
                        <a:pt x="10" y="171"/>
                        <a:pt x="10" y="171"/>
                        <a:pt x="10" y="171"/>
                      </a:cubicBezTo>
                      <a:cubicBezTo>
                        <a:pt x="9" y="171"/>
                        <a:pt x="9" y="171"/>
                        <a:pt x="9" y="171"/>
                      </a:cubicBezTo>
                      <a:cubicBezTo>
                        <a:pt x="9" y="172"/>
                        <a:pt x="9" y="172"/>
                        <a:pt x="9" y="172"/>
                      </a:cubicBezTo>
                      <a:cubicBezTo>
                        <a:pt x="9" y="173"/>
                        <a:pt x="9" y="173"/>
                        <a:pt x="9" y="173"/>
                      </a:cubicBezTo>
                      <a:cubicBezTo>
                        <a:pt x="8" y="173"/>
                        <a:pt x="8" y="173"/>
                        <a:pt x="8" y="173"/>
                      </a:cubicBezTo>
                      <a:close/>
                      <a:moveTo>
                        <a:pt x="8" y="174"/>
                      </a:moveTo>
                      <a:cubicBezTo>
                        <a:pt x="8" y="173"/>
                        <a:pt x="8" y="173"/>
                        <a:pt x="8" y="173"/>
                      </a:cubicBezTo>
                      <a:cubicBezTo>
                        <a:pt x="9" y="173"/>
                        <a:pt x="9" y="173"/>
                        <a:pt x="9" y="173"/>
                      </a:cubicBezTo>
                      <a:cubicBezTo>
                        <a:pt x="8" y="173"/>
                        <a:pt x="8" y="173"/>
                        <a:pt x="8" y="173"/>
                      </a:cubicBezTo>
                      <a:cubicBezTo>
                        <a:pt x="8" y="174"/>
                        <a:pt x="8" y="174"/>
                        <a:pt x="8" y="174"/>
                      </a:cubicBezTo>
                      <a:close/>
                      <a:moveTo>
                        <a:pt x="10" y="173"/>
                      </a:moveTo>
                      <a:cubicBezTo>
                        <a:pt x="10" y="174"/>
                        <a:pt x="10" y="174"/>
                        <a:pt x="10" y="174"/>
                      </a:cubicBezTo>
                      <a:cubicBezTo>
                        <a:pt x="10" y="175"/>
                        <a:pt x="10" y="175"/>
                        <a:pt x="10" y="175"/>
                      </a:cubicBezTo>
                      <a:cubicBezTo>
                        <a:pt x="10" y="175"/>
                        <a:pt x="10" y="175"/>
                        <a:pt x="10" y="175"/>
                      </a:cubicBezTo>
                      <a:cubicBezTo>
                        <a:pt x="9" y="174"/>
                        <a:pt x="9" y="174"/>
                        <a:pt x="9" y="174"/>
                      </a:cubicBezTo>
                      <a:cubicBezTo>
                        <a:pt x="10" y="173"/>
                        <a:pt x="10" y="173"/>
                        <a:pt x="10" y="173"/>
                      </a:cubicBezTo>
                      <a:close/>
                      <a:moveTo>
                        <a:pt x="10" y="173"/>
                      </a:moveTo>
                      <a:cubicBezTo>
                        <a:pt x="10" y="173"/>
                        <a:pt x="10" y="173"/>
                        <a:pt x="10" y="173"/>
                      </a:cubicBezTo>
                      <a:cubicBezTo>
                        <a:pt x="11" y="173"/>
                        <a:pt x="11" y="173"/>
                        <a:pt x="11" y="173"/>
                      </a:cubicBezTo>
                      <a:cubicBezTo>
                        <a:pt x="11" y="173"/>
                        <a:pt x="11" y="173"/>
                        <a:pt x="11" y="173"/>
                      </a:cubicBezTo>
                      <a:cubicBezTo>
                        <a:pt x="12" y="173"/>
                        <a:pt x="12" y="173"/>
                        <a:pt x="12" y="173"/>
                      </a:cubicBezTo>
                      <a:cubicBezTo>
                        <a:pt x="13" y="174"/>
                        <a:pt x="13" y="174"/>
                        <a:pt x="13" y="174"/>
                      </a:cubicBezTo>
                      <a:cubicBezTo>
                        <a:pt x="13" y="175"/>
                        <a:pt x="13" y="175"/>
                        <a:pt x="13" y="175"/>
                      </a:cubicBezTo>
                      <a:cubicBezTo>
                        <a:pt x="12" y="174"/>
                        <a:pt x="12" y="174"/>
                        <a:pt x="12" y="174"/>
                      </a:cubicBezTo>
                      <a:cubicBezTo>
                        <a:pt x="11" y="174"/>
                        <a:pt x="11" y="174"/>
                        <a:pt x="11" y="174"/>
                      </a:cubicBezTo>
                      <a:cubicBezTo>
                        <a:pt x="10" y="173"/>
                        <a:pt x="10" y="173"/>
                        <a:pt x="10" y="173"/>
                      </a:cubicBezTo>
                      <a:close/>
                      <a:moveTo>
                        <a:pt x="10" y="174"/>
                      </a:moveTo>
                      <a:cubicBezTo>
                        <a:pt x="11" y="174"/>
                        <a:pt x="11" y="174"/>
                        <a:pt x="11" y="174"/>
                      </a:cubicBezTo>
                      <a:cubicBezTo>
                        <a:pt x="12" y="175"/>
                        <a:pt x="12" y="175"/>
                        <a:pt x="12" y="175"/>
                      </a:cubicBezTo>
                      <a:cubicBezTo>
                        <a:pt x="13" y="176"/>
                        <a:pt x="13" y="176"/>
                        <a:pt x="13" y="176"/>
                      </a:cubicBezTo>
                      <a:cubicBezTo>
                        <a:pt x="12" y="177"/>
                        <a:pt x="12" y="177"/>
                        <a:pt x="12" y="177"/>
                      </a:cubicBezTo>
                      <a:cubicBezTo>
                        <a:pt x="12" y="177"/>
                        <a:pt x="12" y="177"/>
                        <a:pt x="12" y="177"/>
                      </a:cubicBezTo>
                      <a:cubicBezTo>
                        <a:pt x="11" y="175"/>
                        <a:pt x="11" y="175"/>
                        <a:pt x="11" y="175"/>
                      </a:cubicBezTo>
                      <a:cubicBezTo>
                        <a:pt x="10" y="174"/>
                        <a:pt x="10" y="174"/>
                        <a:pt x="10" y="174"/>
                      </a:cubicBezTo>
                      <a:close/>
                      <a:moveTo>
                        <a:pt x="11" y="179"/>
                      </a:moveTo>
                      <a:cubicBezTo>
                        <a:pt x="10" y="179"/>
                        <a:pt x="10" y="179"/>
                        <a:pt x="10" y="179"/>
                      </a:cubicBezTo>
                      <a:cubicBezTo>
                        <a:pt x="10" y="179"/>
                        <a:pt x="10" y="179"/>
                        <a:pt x="10" y="179"/>
                      </a:cubicBezTo>
                      <a:cubicBezTo>
                        <a:pt x="10" y="178"/>
                        <a:pt x="10" y="178"/>
                        <a:pt x="10" y="178"/>
                      </a:cubicBezTo>
                      <a:cubicBezTo>
                        <a:pt x="10" y="177"/>
                        <a:pt x="10" y="177"/>
                        <a:pt x="10" y="177"/>
                      </a:cubicBezTo>
                      <a:cubicBezTo>
                        <a:pt x="10" y="177"/>
                        <a:pt x="10" y="177"/>
                        <a:pt x="10" y="177"/>
                      </a:cubicBezTo>
                      <a:cubicBezTo>
                        <a:pt x="11" y="176"/>
                        <a:pt x="11" y="176"/>
                        <a:pt x="11" y="176"/>
                      </a:cubicBezTo>
                      <a:cubicBezTo>
                        <a:pt x="11" y="177"/>
                        <a:pt x="11" y="177"/>
                        <a:pt x="11" y="177"/>
                      </a:cubicBezTo>
                      <a:cubicBezTo>
                        <a:pt x="12" y="177"/>
                        <a:pt x="12" y="177"/>
                        <a:pt x="12" y="177"/>
                      </a:cubicBezTo>
                      <a:cubicBezTo>
                        <a:pt x="13" y="178"/>
                        <a:pt x="13" y="178"/>
                        <a:pt x="13" y="178"/>
                      </a:cubicBezTo>
                      <a:cubicBezTo>
                        <a:pt x="13" y="178"/>
                        <a:pt x="13" y="178"/>
                        <a:pt x="13" y="178"/>
                      </a:cubicBezTo>
                      <a:cubicBezTo>
                        <a:pt x="12" y="178"/>
                        <a:pt x="12" y="178"/>
                        <a:pt x="12" y="178"/>
                      </a:cubicBezTo>
                      <a:cubicBezTo>
                        <a:pt x="12" y="179"/>
                        <a:pt x="12" y="179"/>
                        <a:pt x="12" y="179"/>
                      </a:cubicBezTo>
                      <a:cubicBezTo>
                        <a:pt x="11" y="179"/>
                        <a:pt x="11" y="179"/>
                        <a:pt x="11" y="179"/>
                      </a:cubicBezTo>
                      <a:close/>
                      <a:moveTo>
                        <a:pt x="12" y="182"/>
                      </a:moveTo>
                      <a:cubicBezTo>
                        <a:pt x="12" y="182"/>
                        <a:pt x="12" y="182"/>
                        <a:pt x="12" y="182"/>
                      </a:cubicBezTo>
                      <a:cubicBezTo>
                        <a:pt x="11" y="182"/>
                        <a:pt x="11" y="182"/>
                        <a:pt x="11" y="182"/>
                      </a:cubicBezTo>
                      <a:cubicBezTo>
                        <a:pt x="11" y="181"/>
                        <a:pt x="11" y="181"/>
                        <a:pt x="11" y="181"/>
                      </a:cubicBezTo>
                      <a:cubicBezTo>
                        <a:pt x="11" y="181"/>
                        <a:pt x="11" y="181"/>
                        <a:pt x="11" y="181"/>
                      </a:cubicBezTo>
                      <a:cubicBezTo>
                        <a:pt x="12" y="180"/>
                        <a:pt x="12" y="180"/>
                        <a:pt x="12" y="180"/>
                      </a:cubicBezTo>
                      <a:cubicBezTo>
                        <a:pt x="12" y="180"/>
                        <a:pt x="12" y="180"/>
                        <a:pt x="12" y="180"/>
                      </a:cubicBezTo>
                      <a:cubicBezTo>
                        <a:pt x="11" y="180"/>
                        <a:pt x="11" y="180"/>
                        <a:pt x="11" y="180"/>
                      </a:cubicBezTo>
                      <a:cubicBezTo>
                        <a:pt x="12" y="180"/>
                        <a:pt x="12" y="180"/>
                        <a:pt x="12" y="180"/>
                      </a:cubicBezTo>
                      <a:cubicBezTo>
                        <a:pt x="12" y="180"/>
                        <a:pt x="12" y="180"/>
                        <a:pt x="12" y="180"/>
                      </a:cubicBezTo>
                      <a:cubicBezTo>
                        <a:pt x="12" y="181"/>
                        <a:pt x="12" y="181"/>
                        <a:pt x="12" y="181"/>
                      </a:cubicBezTo>
                      <a:cubicBezTo>
                        <a:pt x="12" y="182"/>
                        <a:pt x="12" y="182"/>
                        <a:pt x="12" y="182"/>
                      </a:cubicBezTo>
                      <a:cubicBezTo>
                        <a:pt x="12" y="182"/>
                        <a:pt x="12" y="182"/>
                        <a:pt x="12" y="182"/>
                      </a:cubicBezTo>
                      <a:close/>
                      <a:moveTo>
                        <a:pt x="13" y="181"/>
                      </a:moveTo>
                      <a:cubicBezTo>
                        <a:pt x="13" y="180"/>
                        <a:pt x="13" y="180"/>
                        <a:pt x="13" y="180"/>
                      </a:cubicBezTo>
                      <a:cubicBezTo>
                        <a:pt x="13" y="180"/>
                        <a:pt x="13" y="180"/>
                        <a:pt x="13" y="180"/>
                      </a:cubicBezTo>
                      <a:cubicBezTo>
                        <a:pt x="14" y="181"/>
                        <a:pt x="14" y="181"/>
                        <a:pt x="14" y="181"/>
                      </a:cubicBezTo>
                      <a:cubicBezTo>
                        <a:pt x="14" y="181"/>
                        <a:pt x="14" y="181"/>
                        <a:pt x="14" y="181"/>
                      </a:cubicBezTo>
                      <a:cubicBezTo>
                        <a:pt x="14" y="182"/>
                        <a:pt x="14" y="182"/>
                        <a:pt x="14" y="182"/>
                      </a:cubicBezTo>
                      <a:cubicBezTo>
                        <a:pt x="13" y="182"/>
                        <a:pt x="13" y="182"/>
                        <a:pt x="13" y="182"/>
                      </a:cubicBezTo>
                      <a:cubicBezTo>
                        <a:pt x="13" y="182"/>
                        <a:pt x="13" y="182"/>
                        <a:pt x="13" y="182"/>
                      </a:cubicBezTo>
                      <a:cubicBezTo>
                        <a:pt x="13" y="182"/>
                        <a:pt x="13" y="182"/>
                        <a:pt x="13" y="182"/>
                      </a:cubicBezTo>
                      <a:cubicBezTo>
                        <a:pt x="13" y="181"/>
                        <a:pt x="13" y="181"/>
                        <a:pt x="13" y="181"/>
                      </a:cubicBezTo>
                      <a:cubicBezTo>
                        <a:pt x="13" y="181"/>
                        <a:pt x="13" y="181"/>
                        <a:pt x="13" y="181"/>
                      </a:cubicBezTo>
                      <a:close/>
                      <a:moveTo>
                        <a:pt x="14" y="181"/>
                      </a:moveTo>
                      <a:cubicBezTo>
                        <a:pt x="15" y="182"/>
                        <a:pt x="15" y="182"/>
                        <a:pt x="15" y="182"/>
                      </a:cubicBezTo>
                      <a:cubicBezTo>
                        <a:pt x="15" y="182"/>
                        <a:pt x="15" y="182"/>
                        <a:pt x="15" y="182"/>
                      </a:cubicBezTo>
                      <a:cubicBezTo>
                        <a:pt x="15" y="182"/>
                        <a:pt x="15" y="182"/>
                        <a:pt x="15" y="182"/>
                      </a:cubicBezTo>
                      <a:cubicBezTo>
                        <a:pt x="14" y="182"/>
                        <a:pt x="14" y="182"/>
                        <a:pt x="14" y="182"/>
                      </a:cubicBezTo>
                      <a:cubicBezTo>
                        <a:pt x="14" y="181"/>
                        <a:pt x="14" y="181"/>
                        <a:pt x="14" y="181"/>
                      </a:cubicBezTo>
                      <a:close/>
                      <a:moveTo>
                        <a:pt x="14" y="184"/>
                      </a:moveTo>
                      <a:cubicBezTo>
                        <a:pt x="13" y="184"/>
                        <a:pt x="13" y="184"/>
                        <a:pt x="13" y="184"/>
                      </a:cubicBezTo>
                      <a:cubicBezTo>
                        <a:pt x="13" y="184"/>
                        <a:pt x="13" y="184"/>
                        <a:pt x="13" y="184"/>
                      </a:cubicBezTo>
                      <a:cubicBezTo>
                        <a:pt x="14" y="184"/>
                        <a:pt x="14" y="184"/>
                        <a:pt x="14" y="184"/>
                      </a:cubicBezTo>
                      <a:cubicBezTo>
                        <a:pt x="14" y="183"/>
                        <a:pt x="14" y="183"/>
                        <a:pt x="14" y="183"/>
                      </a:cubicBezTo>
                      <a:cubicBezTo>
                        <a:pt x="14" y="183"/>
                        <a:pt x="14" y="183"/>
                        <a:pt x="14" y="183"/>
                      </a:cubicBezTo>
                      <a:cubicBezTo>
                        <a:pt x="14" y="183"/>
                        <a:pt x="14" y="183"/>
                        <a:pt x="14" y="183"/>
                      </a:cubicBezTo>
                      <a:cubicBezTo>
                        <a:pt x="14" y="184"/>
                        <a:pt x="14" y="184"/>
                        <a:pt x="14" y="184"/>
                      </a:cubicBezTo>
                      <a:close/>
                      <a:moveTo>
                        <a:pt x="17" y="182"/>
                      </a:moveTo>
                      <a:cubicBezTo>
                        <a:pt x="15" y="181"/>
                        <a:pt x="15" y="181"/>
                        <a:pt x="15" y="181"/>
                      </a:cubicBezTo>
                      <a:cubicBezTo>
                        <a:pt x="15" y="181"/>
                        <a:pt x="15" y="181"/>
                        <a:pt x="15" y="181"/>
                      </a:cubicBezTo>
                      <a:cubicBezTo>
                        <a:pt x="15" y="180"/>
                        <a:pt x="15" y="180"/>
                        <a:pt x="15" y="180"/>
                      </a:cubicBezTo>
                      <a:cubicBezTo>
                        <a:pt x="15" y="180"/>
                        <a:pt x="15" y="180"/>
                        <a:pt x="15" y="180"/>
                      </a:cubicBezTo>
                      <a:cubicBezTo>
                        <a:pt x="16" y="181"/>
                        <a:pt x="16" y="181"/>
                        <a:pt x="16" y="181"/>
                      </a:cubicBezTo>
                      <a:cubicBezTo>
                        <a:pt x="17" y="181"/>
                        <a:pt x="17" y="181"/>
                        <a:pt x="17" y="181"/>
                      </a:cubicBezTo>
                      <a:cubicBezTo>
                        <a:pt x="17" y="182"/>
                        <a:pt x="17" y="182"/>
                        <a:pt x="17" y="182"/>
                      </a:cubicBezTo>
                      <a:cubicBezTo>
                        <a:pt x="17" y="182"/>
                        <a:pt x="17" y="182"/>
                        <a:pt x="17" y="182"/>
                      </a:cubicBezTo>
                      <a:close/>
                      <a:moveTo>
                        <a:pt x="16" y="183"/>
                      </a:moveTo>
                      <a:cubicBezTo>
                        <a:pt x="16" y="182"/>
                        <a:pt x="16" y="182"/>
                        <a:pt x="16" y="182"/>
                      </a:cubicBezTo>
                      <a:cubicBezTo>
                        <a:pt x="16" y="182"/>
                        <a:pt x="16" y="182"/>
                        <a:pt x="16" y="182"/>
                      </a:cubicBezTo>
                      <a:cubicBezTo>
                        <a:pt x="17" y="182"/>
                        <a:pt x="17" y="182"/>
                        <a:pt x="17" y="182"/>
                      </a:cubicBezTo>
                      <a:cubicBezTo>
                        <a:pt x="17" y="183"/>
                        <a:pt x="17" y="183"/>
                        <a:pt x="17" y="183"/>
                      </a:cubicBezTo>
                      <a:cubicBezTo>
                        <a:pt x="16" y="183"/>
                        <a:pt x="16" y="183"/>
                        <a:pt x="16" y="183"/>
                      </a:cubicBezTo>
                      <a:close/>
                      <a:moveTo>
                        <a:pt x="17" y="185"/>
                      </a:moveTo>
                      <a:cubicBezTo>
                        <a:pt x="16" y="184"/>
                        <a:pt x="16" y="184"/>
                        <a:pt x="16" y="184"/>
                      </a:cubicBezTo>
                      <a:cubicBezTo>
                        <a:pt x="15" y="183"/>
                        <a:pt x="15" y="183"/>
                        <a:pt x="15" y="183"/>
                      </a:cubicBezTo>
                      <a:cubicBezTo>
                        <a:pt x="16" y="183"/>
                        <a:pt x="16" y="183"/>
                        <a:pt x="16" y="183"/>
                      </a:cubicBezTo>
                      <a:cubicBezTo>
                        <a:pt x="17" y="184"/>
                        <a:pt x="17" y="184"/>
                        <a:pt x="17" y="184"/>
                      </a:cubicBezTo>
                      <a:cubicBezTo>
                        <a:pt x="17" y="185"/>
                        <a:pt x="17" y="185"/>
                        <a:pt x="17" y="185"/>
                      </a:cubicBezTo>
                      <a:cubicBezTo>
                        <a:pt x="17" y="185"/>
                        <a:pt x="17" y="185"/>
                        <a:pt x="17" y="185"/>
                      </a:cubicBezTo>
                      <a:close/>
                      <a:moveTo>
                        <a:pt x="18" y="187"/>
                      </a:moveTo>
                      <a:cubicBezTo>
                        <a:pt x="18" y="187"/>
                        <a:pt x="18" y="187"/>
                        <a:pt x="18" y="187"/>
                      </a:cubicBezTo>
                      <a:cubicBezTo>
                        <a:pt x="17" y="186"/>
                        <a:pt x="17" y="186"/>
                        <a:pt x="17" y="186"/>
                      </a:cubicBezTo>
                      <a:cubicBezTo>
                        <a:pt x="17" y="186"/>
                        <a:pt x="17" y="186"/>
                        <a:pt x="17" y="186"/>
                      </a:cubicBezTo>
                      <a:cubicBezTo>
                        <a:pt x="16" y="186"/>
                        <a:pt x="16" y="186"/>
                        <a:pt x="16" y="186"/>
                      </a:cubicBezTo>
                      <a:cubicBezTo>
                        <a:pt x="16" y="186"/>
                        <a:pt x="16" y="186"/>
                        <a:pt x="16" y="186"/>
                      </a:cubicBezTo>
                      <a:cubicBezTo>
                        <a:pt x="16" y="185"/>
                        <a:pt x="16" y="185"/>
                        <a:pt x="16" y="185"/>
                      </a:cubicBezTo>
                      <a:cubicBezTo>
                        <a:pt x="17" y="185"/>
                        <a:pt x="17" y="185"/>
                        <a:pt x="17" y="185"/>
                      </a:cubicBezTo>
                      <a:cubicBezTo>
                        <a:pt x="18" y="185"/>
                        <a:pt x="18" y="185"/>
                        <a:pt x="18" y="185"/>
                      </a:cubicBezTo>
                      <a:cubicBezTo>
                        <a:pt x="18" y="186"/>
                        <a:pt x="18" y="186"/>
                        <a:pt x="18" y="186"/>
                      </a:cubicBezTo>
                      <a:cubicBezTo>
                        <a:pt x="18" y="187"/>
                        <a:pt x="18" y="187"/>
                        <a:pt x="18" y="187"/>
                      </a:cubicBezTo>
                      <a:close/>
                      <a:moveTo>
                        <a:pt x="21" y="191"/>
                      </a:moveTo>
                      <a:cubicBezTo>
                        <a:pt x="20" y="191"/>
                        <a:pt x="20" y="191"/>
                        <a:pt x="20" y="191"/>
                      </a:cubicBezTo>
                      <a:cubicBezTo>
                        <a:pt x="19" y="191"/>
                        <a:pt x="19" y="191"/>
                        <a:pt x="19" y="191"/>
                      </a:cubicBezTo>
                      <a:cubicBezTo>
                        <a:pt x="18" y="191"/>
                        <a:pt x="18" y="191"/>
                        <a:pt x="18" y="191"/>
                      </a:cubicBezTo>
                      <a:cubicBezTo>
                        <a:pt x="18" y="190"/>
                        <a:pt x="18" y="190"/>
                        <a:pt x="18" y="190"/>
                      </a:cubicBezTo>
                      <a:cubicBezTo>
                        <a:pt x="17" y="190"/>
                        <a:pt x="17" y="190"/>
                        <a:pt x="17" y="190"/>
                      </a:cubicBezTo>
                      <a:cubicBezTo>
                        <a:pt x="16" y="190"/>
                        <a:pt x="16" y="190"/>
                        <a:pt x="16" y="190"/>
                      </a:cubicBezTo>
                      <a:cubicBezTo>
                        <a:pt x="15" y="189"/>
                        <a:pt x="15" y="189"/>
                        <a:pt x="15" y="189"/>
                      </a:cubicBezTo>
                      <a:cubicBezTo>
                        <a:pt x="15" y="188"/>
                        <a:pt x="15" y="188"/>
                        <a:pt x="15" y="188"/>
                      </a:cubicBezTo>
                      <a:cubicBezTo>
                        <a:pt x="15" y="187"/>
                        <a:pt x="15" y="187"/>
                        <a:pt x="15" y="187"/>
                      </a:cubicBezTo>
                      <a:cubicBezTo>
                        <a:pt x="16" y="188"/>
                        <a:pt x="16" y="188"/>
                        <a:pt x="16" y="188"/>
                      </a:cubicBezTo>
                      <a:cubicBezTo>
                        <a:pt x="17" y="189"/>
                        <a:pt x="17" y="189"/>
                        <a:pt x="17" y="189"/>
                      </a:cubicBezTo>
                      <a:cubicBezTo>
                        <a:pt x="17" y="189"/>
                        <a:pt x="17" y="189"/>
                        <a:pt x="17" y="189"/>
                      </a:cubicBezTo>
                      <a:cubicBezTo>
                        <a:pt x="18" y="189"/>
                        <a:pt x="18" y="189"/>
                        <a:pt x="18" y="189"/>
                      </a:cubicBezTo>
                      <a:cubicBezTo>
                        <a:pt x="19" y="189"/>
                        <a:pt x="19" y="189"/>
                        <a:pt x="19" y="189"/>
                      </a:cubicBezTo>
                      <a:cubicBezTo>
                        <a:pt x="20" y="190"/>
                        <a:pt x="20" y="190"/>
                        <a:pt x="20" y="190"/>
                      </a:cubicBezTo>
                      <a:cubicBezTo>
                        <a:pt x="21" y="190"/>
                        <a:pt x="21" y="190"/>
                        <a:pt x="21" y="190"/>
                      </a:cubicBezTo>
                      <a:cubicBezTo>
                        <a:pt x="21" y="190"/>
                        <a:pt x="21" y="190"/>
                        <a:pt x="21" y="190"/>
                      </a:cubicBezTo>
                      <a:cubicBezTo>
                        <a:pt x="22" y="191"/>
                        <a:pt x="22" y="191"/>
                        <a:pt x="22" y="191"/>
                      </a:cubicBezTo>
                      <a:cubicBezTo>
                        <a:pt x="22" y="191"/>
                        <a:pt x="22" y="191"/>
                        <a:pt x="22" y="191"/>
                      </a:cubicBezTo>
                      <a:cubicBezTo>
                        <a:pt x="23" y="191"/>
                        <a:pt x="23" y="191"/>
                        <a:pt x="23" y="191"/>
                      </a:cubicBezTo>
                      <a:cubicBezTo>
                        <a:pt x="23" y="191"/>
                        <a:pt x="23" y="191"/>
                        <a:pt x="23" y="191"/>
                      </a:cubicBezTo>
                      <a:cubicBezTo>
                        <a:pt x="22" y="191"/>
                        <a:pt x="22" y="191"/>
                        <a:pt x="22" y="191"/>
                      </a:cubicBezTo>
                      <a:cubicBezTo>
                        <a:pt x="21" y="191"/>
                        <a:pt x="21" y="191"/>
                        <a:pt x="21" y="191"/>
                      </a:cubicBezTo>
                      <a:close/>
                      <a:moveTo>
                        <a:pt x="18" y="191"/>
                      </a:moveTo>
                      <a:cubicBezTo>
                        <a:pt x="18" y="192"/>
                        <a:pt x="18" y="192"/>
                        <a:pt x="18" y="192"/>
                      </a:cubicBezTo>
                      <a:cubicBezTo>
                        <a:pt x="17" y="192"/>
                        <a:pt x="17" y="192"/>
                        <a:pt x="17" y="192"/>
                      </a:cubicBezTo>
                      <a:cubicBezTo>
                        <a:pt x="18" y="191"/>
                        <a:pt x="18" y="191"/>
                        <a:pt x="18" y="191"/>
                      </a:cubicBezTo>
                      <a:close/>
                      <a:moveTo>
                        <a:pt x="24" y="195"/>
                      </a:moveTo>
                      <a:cubicBezTo>
                        <a:pt x="25" y="196"/>
                        <a:pt x="25" y="196"/>
                        <a:pt x="25" y="196"/>
                      </a:cubicBezTo>
                      <a:cubicBezTo>
                        <a:pt x="25" y="195"/>
                        <a:pt x="25" y="195"/>
                        <a:pt x="25" y="195"/>
                      </a:cubicBezTo>
                      <a:cubicBezTo>
                        <a:pt x="25" y="195"/>
                        <a:pt x="25" y="195"/>
                        <a:pt x="25" y="195"/>
                      </a:cubicBezTo>
                      <a:cubicBezTo>
                        <a:pt x="24" y="195"/>
                        <a:pt x="24" y="195"/>
                        <a:pt x="24" y="195"/>
                      </a:cubicBezTo>
                      <a:cubicBezTo>
                        <a:pt x="24" y="195"/>
                        <a:pt x="24" y="195"/>
                        <a:pt x="24" y="195"/>
                      </a:cubicBezTo>
                      <a:close/>
                      <a:moveTo>
                        <a:pt x="27" y="196"/>
                      </a:moveTo>
                      <a:cubicBezTo>
                        <a:pt x="26" y="196"/>
                        <a:pt x="26" y="196"/>
                        <a:pt x="26" y="196"/>
                      </a:cubicBezTo>
                      <a:cubicBezTo>
                        <a:pt x="25" y="195"/>
                        <a:pt x="25" y="195"/>
                        <a:pt x="25" y="195"/>
                      </a:cubicBezTo>
                      <a:cubicBezTo>
                        <a:pt x="25" y="195"/>
                        <a:pt x="25" y="195"/>
                        <a:pt x="25" y="195"/>
                      </a:cubicBezTo>
                      <a:cubicBezTo>
                        <a:pt x="25" y="195"/>
                        <a:pt x="25" y="195"/>
                        <a:pt x="25" y="195"/>
                      </a:cubicBezTo>
                      <a:cubicBezTo>
                        <a:pt x="24" y="195"/>
                        <a:pt x="24" y="195"/>
                        <a:pt x="24" y="195"/>
                      </a:cubicBezTo>
                      <a:cubicBezTo>
                        <a:pt x="23" y="195"/>
                        <a:pt x="23" y="195"/>
                        <a:pt x="23" y="195"/>
                      </a:cubicBezTo>
                      <a:cubicBezTo>
                        <a:pt x="22" y="194"/>
                        <a:pt x="22" y="194"/>
                        <a:pt x="22" y="194"/>
                      </a:cubicBezTo>
                      <a:cubicBezTo>
                        <a:pt x="21" y="193"/>
                        <a:pt x="21" y="193"/>
                        <a:pt x="21" y="193"/>
                      </a:cubicBezTo>
                      <a:cubicBezTo>
                        <a:pt x="21" y="193"/>
                        <a:pt x="21" y="193"/>
                        <a:pt x="21" y="193"/>
                      </a:cubicBezTo>
                      <a:cubicBezTo>
                        <a:pt x="20" y="192"/>
                        <a:pt x="20" y="192"/>
                        <a:pt x="20" y="192"/>
                      </a:cubicBezTo>
                      <a:cubicBezTo>
                        <a:pt x="20" y="192"/>
                        <a:pt x="20" y="192"/>
                        <a:pt x="20" y="192"/>
                      </a:cubicBezTo>
                      <a:cubicBezTo>
                        <a:pt x="20" y="191"/>
                        <a:pt x="20" y="191"/>
                        <a:pt x="20" y="191"/>
                      </a:cubicBezTo>
                      <a:cubicBezTo>
                        <a:pt x="21" y="191"/>
                        <a:pt x="21" y="191"/>
                        <a:pt x="21" y="191"/>
                      </a:cubicBezTo>
                      <a:cubicBezTo>
                        <a:pt x="21" y="192"/>
                        <a:pt x="21" y="192"/>
                        <a:pt x="21" y="192"/>
                      </a:cubicBezTo>
                      <a:cubicBezTo>
                        <a:pt x="22" y="192"/>
                        <a:pt x="22" y="192"/>
                        <a:pt x="22" y="192"/>
                      </a:cubicBezTo>
                      <a:cubicBezTo>
                        <a:pt x="23" y="192"/>
                        <a:pt x="23" y="192"/>
                        <a:pt x="23" y="192"/>
                      </a:cubicBezTo>
                      <a:cubicBezTo>
                        <a:pt x="24" y="192"/>
                        <a:pt x="24" y="192"/>
                        <a:pt x="24" y="192"/>
                      </a:cubicBezTo>
                      <a:cubicBezTo>
                        <a:pt x="25" y="193"/>
                        <a:pt x="25" y="193"/>
                        <a:pt x="25" y="193"/>
                      </a:cubicBezTo>
                      <a:cubicBezTo>
                        <a:pt x="26" y="193"/>
                        <a:pt x="26" y="193"/>
                        <a:pt x="26" y="193"/>
                      </a:cubicBezTo>
                      <a:cubicBezTo>
                        <a:pt x="26" y="193"/>
                        <a:pt x="26" y="193"/>
                        <a:pt x="26" y="193"/>
                      </a:cubicBezTo>
                      <a:cubicBezTo>
                        <a:pt x="27" y="193"/>
                        <a:pt x="27" y="193"/>
                        <a:pt x="27" y="193"/>
                      </a:cubicBezTo>
                      <a:cubicBezTo>
                        <a:pt x="28" y="193"/>
                        <a:pt x="28" y="193"/>
                        <a:pt x="28" y="193"/>
                      </a:cubicBezTo>
                      <a:cubicBezTo>
                        <a:pt x="28" y="194"/>
                        <a:pt x="28" y="194"/>
                        <a:pt x="28" y="194"/>
                      </a:cubicBezTo>
                      <a:cubicBezTo>
                        <a:pt x="27" y="194"/>
                        <a:pt x="27" y="194"/>
                        <a:pt x="27" y="194"/>
                      </a:cubicBezTo>
                      <a:cubicBezTo>
                        <a:pt x="27" y="194"/>
                        <a:pt x="27" y="194"/>
                        <a:pt x="27" y="194"/>
                      </a:cubicBezTo>
                      <a:cubicBezTo>
                        <a:pt x="27" y="194"/>
                        <a:pt x="27" y="194"/>
                        <a:pt x="27" y="194"/>
                      </a:cubicBezTo>
                      <a:cubicBezTo>
                        <a:pt x="27" y="195"/>
                        <a:pt x="27" y="195"/>
                        <a:pt x="27" y="195"/>
                      </a:cubicBezTo>
                      <a:cubicBezTo>
                        <a:pt x="26" y="195"/>
                        <a:pt x="26" y="195"/>
                        <a:pt x="26" y="195"/>
                      </a:cubicBezTo>
                      <a:cubicBezTo>
                        <a:pt x="27" y="196"/>
                        <a:pt x="27" y="196"/>
                        <a:pt x="27" y="196"/>
                      </a:cubicBezTo>
                      <a:close/>
                      <a:moveTo>
                        <a:pt x="28" y="196"/>
                      </a:moveTo>
                      <a:cubicBezTo>
                        <a:pt x="27" y="196"/>
                        <a:pt x="27" y="196"/>
                        <a:pt x="27" y="196"/>
                      </a:cubicBezTo>
                      <a:cubicBezTo>
                        <a:pt x="27" y="197"/>
                        <a:pt x="27" y="197"/>
                        <a:pt x="27" y="197"/>
                      </a:cubicBezTo>
                      <a:cubicBezTo>
                        <a:pt x="28" y="196"/>
                        <a:pt x="28" y="196"/>
                        <a:pt x="28" y="196"/>
                      </a:cubicBezTo>
                      <a:cubicBezTo>
                        <a:pt x="28" y="196"/>
                        <a:pt x="28" y="196"/>
                        <a:pt x="28" y="196"/>
                      </a:cubicBezTo>
                      <a:cubicBezTo>
                        <a:pt x="29" y="196"/>
                        <a:pt x="29" y="196"/>
                        <a:pt x="29" y="196"/>
                      </a:cubicBezTo>
                      <a:cubicBezTo>
                        <a:pt x="28" y="195"/>
                        <a:pt x="28" y="195"/>
                        <a:pt x="28" y="195"/>
                      </a:cubicBezTo>
                      <a:cubicBezTo>
                        <a:pt x="28" y="196"/>
                        <a:pt x="28" y="196"/>
                        <a:pt x="28" y="196"/>
                      </a:cubicBezTo>
                      <a:close/>
                      <a:moveTo>
                        <a:pt x="33" y="195"/>
                      </a:moveTo>
                      <a:cubicBezTo>
                        <a:pt x="33" y="195"/>
                        <a:pt x="33" y="195"/>
                        <a:pt x="33" y="195"/>
                      </a:cubicBezTo>
                      <a:cubicBezTo>
                        <a:pt x="33" y="196"/>
                        <a:pt x="33" y="196"/>
                        <a:pt x="33" y="196"/>
                      </a:cubicBezTo>
                      <a:cubicBezTo>
                        <a:pt x="33" y="196"/>
                        <a:pt x="33" y="196"/>
                        <a:pt x="33" y="196"/>
                      </a:cubicBezTo>
                      <a:cubicBezTo>
                        <a:pt x="32" y="196"/>
                        <a:pt x="32" y="196"/>
                        <a:pt x="32" y="196"/>
                      </a:cubicBezTo>
                      <a:cubicBezTo>
                        <a:pt x="31" y="196"/>
                        <a:pt x="31" y="196"/>
                        <a:pt x="31" y="196"/>
                      </a:cubicBezTo>
                      <a:cubicBezTo>
                        <a:pt x="31" y="196"/>
                        <a:pt x="31" y="196"/>
                        <a:pt x="31" y="196"/>
                      </a:cubicBezTo>
                      <a:cubicBezTo>
                        <a:pt x="30" y="196"/>
                        <a:pt x="30" y="196"/>
                        <a:pt x="30" y="196"/>
                      </a:cubicBezTo>
                      <a:cubicBezTo>
                        <a:pt x="30" y="195"/>
                        <a:pt x="30" y="195"/>
                        <a:pt x="30" y="195"/>
                      </a:cubicBezTo>
                      <a:cubicBezTo>
                        <a:pt x="29" y="196"/>
                        <a:pt x="29" y="196"/>
                        <a:pt x="29" y="196"/>
                      </a:cubicBezTo>
                      <a:cubicBezTo>
                        <a:pt x="29" y="195"/>
                        <a:pt x="29" y="195"/>
                        <a:pt x="29" y="195"/>
                      </a:cubicBezTo>
                      <a:cubicBezTo>
                        <a:pt x="28" y="195"/>
                        <a:pt x="28" y="195"/>
                        <a:pt x="28" y="195"/>
                      </a:cubicBezTo>
                      <a:cubicBezTo>
                        <a:pt x="28" y="194"/>
                        <a:pt x="28" y="194"/>
                        <a:pt x="28" y="194"/>
                      </a:cubicBezTo>
                      <a:cubicBezTo>
                        <a:pt x="30" y="194"/>
                        <a:pt x="30" y="194"/>
                        <a:pt x="30" y="194"/>
                      </a:cubicBezTo>
                      <a:cubicBezTo>
                        <a:pt x="30" y="194"/>
                        <a:pt x="30" y="194"/>
                        <a:pt x="30" y="194"/>
                      </a:cubicBezTo>
                      <a:cubicBezTo>
                        <a:pt x="32" y="194"/>
                        <a:pt x="32" y="194"/>
                        <a:pt x="32" y="194"/>
                      </a:cubicBezTo>
                      <a:cubicBezTo>
                        <a:pt x="32" y="195"/>
                        <a:pt x="32" y="195"/>
                        <a:pt x="32" y="195"/>
                      </a:cubicBezTo>
                      <a:cubicBezTo>
                        <a:pt x="32" y="195"/>
                        <a:pt x="32" y="195"/>
                        <a:pt x="32" y="195"/>
                      </a:cubicBezTo>
                      <a:cubicBezTo>
                        <a:pt x="33" y="195"/>
                        <a:pt x="33" y="195"/>
                        <a:pt x="33" y="195"/>
                      </a:cubicBezTo>
                      <a:cubicBezTo>
                        <a:pt x="33" y="195"/>
                        <a:pt x="33" y="195"/>
                        <a:pt x="33" y="195"/>
                      </a:cubicBezTo>
                      <a:close/>
                      <a:moveTo>
                        <a:pt x="36" y="194"/>
                      </a:moveTo>
                      <a:cubicBezTo>
                        <a:pt x="35" y="194"/>
                        <a:pt x="35" y="194"/>
                        <a:pt x="35" y="194"/>
                      </a:cubicBezTo>
                      <a:cubicBezTo>
                        <a:pt x="35" y="193"/>
                        <a:pt x="35" y="193"/>
                        <a:pt x="35" y="193"/>
                      </a:cubicBezTo>
                      <a:cubicBezTo>
                        <a:pt x="35" y="193"/>
                        <a:pt x="35" y="193"/>
                        <a:pt x="35" y="193"/>
                      </a:cubicBezTo>
                      <a:cubicBezTo>
                        <a:pt x="35" y="192"/>
                        <a:pt x="35" y="192"/>
                        <a:pt x="35" y="192"/>
                      </a:cubicBezTo>
                      <a:cubicBezTo>
                        <a:pt x="35" y="192"/>
                        <a:pt x="35" y="192"/>
                        <a:pt x="35" y="192"/>
                      </a:cubicBezTo>
                      <a:cubicBezTo>
                        <a:pt x="34" y="191"/>
                        <a:pt x="34" y="191"/>
                        <a:pt x="34" y="191"/>
                      </a:cubicBezTo>
                      <a:cubicBezTo>
                        <a:pt x="34" y="190"/>
                        <a:pt x="34" y="190"/>
                        <a:pt x="34" y="190"/>
                      </a:cubicBezTo>
                      <a:cubicBezTo>
                        <a:pt x="34" y="191"/>
                        <a:pt x="34" y="191"/>
                        <a:pt x="34" y="191"/>
                      </a:cubicBezTo>
                      <a:cubicBezTo>
                        <a:pt x="33" y="192"/>
                        <a:pt x="33" y="192"/>
                        <a:pt x="33" y="192"/>
                      </a:cubicBezTo>
                      <a:cubicBezTo>
                        <a:pt x="34" y="193"/>
                        <a:pt x="34" y="193"/>
                        <a:pt x="34" y="193"/>
                      </a:cubicBezTo>
                      <a:cubicBezTo>
                        <a:pt x="33" y="193"/>
                        <a:pt x="33" y="193"/>
                        <a:pt x="33" y="193"/>
                      </a:cubicBezTo>
                      <a:cubicBezTo>
                        <a:pt x="33" y="194"/>
                        <a:pt x="33" y="194"/>
                        <a:pt x="33" y="194"/>
                      </a:cubicBezTo>
                      <a:cubicBezTo>
                        <a:pt x="34" y="194"/>
                        <a:pt x="34" y="194"/>
                        <a:pt x="34" y="194"/>
                      </a:cubicBezTo>
                      <a:cubicBezTo>
                        <a:pt x="35" y="195"/>
                        <a:pt x="35" y="195"/>
                        <a:pt x="35" y="195"/>
                      </a:cubicBezTo>
                      <a:cubicBezTo>
                        <a:pt x="36" y="195"/>
                        <a:pt x="36" y="195"/>
                        <a:pt x="36" y="195"/>
                      </a:cubicBezTo>
                      <a:cubicBezTo>
                        <a:pt x="36" y="194"/>
                        <a:pt x="36" y="194"/>
                        <a:pt x="36" y="194"/>
                      </a:cubicBezTo>
                      <a:close/>
                      <a:moveTo>
                        <a:pt x="32" y="201"/>
                      </a:moveTo>
                      <a:cubicBezTo>
                        <a:pt x="33" y="201"/>
                        <a:pt x="33" y="201"/>
                        <a:pt x="33" y="201"/>
                      </a:cubicBezTo>
                      <a:cubicBezTo>
                        <a:pt x="34" y="201"/>
                        <a:pt x="34" y="201"/>
                        <a:pt x="34" y="201"/>
                      </a:cubicBezTo>
                      <a:cubicBezTo>
                        <a:pt x="33" y="201"/>
                        <a:pt x="33" y="201"/>
                        <a:pt x="33" y="201"/>
                      </a:cubicBezTo>
                      <a:cubicBezTo>
                        <a:pt x="32" y="201"/>
                        <a:pt x="32" y="201"/>
                        <a:pt x="32" y="201"/>
                      </a:cubicBezTo>
                      <a:close/>
                      <a:moveTo>
                        <a:pt x="33" y="200"/>
                      </a:moveTo>
                      <a:cubicBezTo>
                        <a:pt x="32" y="200"/>
                        <a:pt x="32" y="200"/>
                        <a:pt x="32" y="200"/>
                      </a:cubicBezTo>
                      <a:cubicBezTo>
                        <a:pt x="33" y="199"/>
                        <a:pt x="33" y="199"/>
                        <a:pt x="33" y="199"/>
                      </a:cubicBezTo>
                      <a:cubicBezTo>
                        <a:pt x="33" y="200"/>
                        <a:pt x="33" y="200"/>
                        <a:pt x="33" y="200"/>
                      </a:cubicBezTo>
                      <a:cubicBezTo>
                        <a:pt x="33" y="200"/>
                        <a:pt x="33" y="200"/>
                        <a:pt x="33" y="200"/>
                      </a:cubicBezTo>
                      <a:cubicBezTo>
                        <a:pt x="33" y="200"/>
                        <a:pt x="33" y="200"/>
                        <a:pt x="33" y="200"/>
                      </a:cubicBezTo>
                      <a:close/>
                      <a:moveTo>
                        <a:pt x="51" y="205"/>
                      </a:moveTo>
                      <a:cubicBezTo>
                        <a:pt x="51" y="204"/>
                        <a:pt x="51" y="204"/>
                        <a:pt x="51" y="204"/>
                      </a:cubicBezTo>
                      <a:cubicBezTo>
                        <a:pt x="51" y="204"/>
                        <a:pt x="51" y="204"/>
                        <a:pt x="51" y="204"/>
                      </a:cubicBezTo>
                      <a:cubicBezTo>
                        <a:pt x="51" y="203"/>
                        <a:pt x="51" y="203"/>
                        <a:pt x="51" y="203"/>
                      </a:cubicBezTo>
                      <a:cubicBezTo>
                        <a:pt x="52" y="203"/>
                        <a:pt x="52" y="203"/>
                        <a:pt x="52" y="203"/>
                      </a:cubicBezTo>
                      <a:cubicBezTo>
                        <a:pt x="52" y="204"/>
                        <a:pt x="52" y="204"/>
                        <a:pt x="52" y="204"/>
                      </a:cubicBezTo>
                      <a:cubicBezTo>
                        <a:pt x="52" y="205"/>
                        <a:pt x="52" y="205"/>
                        <a:pt x="52" y="205"/>
                      </a:cubicBezTo>
                      <a:cubicBezTo>
                        <a:pt x="51" y="205"/>
                        <a:pt x="51" y="205"/>
                        <a:pt x="51" y="205"/>
                      </a:cubicBezTo>
                      <a:close/>
                      <a:moveTo>
                        <a:pt x="39" y="200"/>
                      </a:moveTo>
                      <a:cubicBezTo>
                        <a:pt x="40" y="200"/>
                        <a:pt x="40" y="200"/>
                        <a:pt x="40" y="200"/>
                      </a:cubicBezTo>
                      <a:cubicBezTo>
                        <a:pt x="41" y="200"/>
                        <a:pt x="41" y="200"/>
                        <a:pt x="41" y="200"/>
                      </a:cubicBezTo>
                      <a:cubicBezTo>
                        <a:pt x="41" y="200"/>
                        <a:pt x="41" y="200"/>
                        <a:pt x="41" y="200"/>
                      </a:cubicBezTo>
                      <a:cubicBezTo>
                        <a:pt x="43" y="200"/>
                        <a:pt x="43" y="200"/>
                        <a:pt x="43" y="200"/>
                      </a:cubicBezTo>
                      <a:cubicBezTo>
                        <a:pt x="45" y="200"/>
                        <a:pt x="45" y="200"/>
                        <a:pt x="45" y="200"/>
                      </a:cubicBezTo>
                      <a:cubicBezTo>
                        <a:pt x="46" y="199"/>
                        <a:pt x="46" y="199"/>
                        <a:pt x="46" y="199"/>
                      </a:cubicBezTo>
                      <a:cubicBezTo>
                        <a:pt x="48" y="199"/>
                        <a:pt x="48" y="199"/>
                        <a:pt x="48" y="199"/>
                      </a:cubicBezTo>
                      <a:cubicBezTo>
                        <a:pt x="49" y="199"/>
                        <a:pt x="49" y="199"/>
                        <a:pt x="49" y="199"/>
                      </a:cubicBezTo>
                      <a:cubicBezTo>
                        <a:pt x="50" y="199"/>
                        <a:pt x="50" y="199"/>
                        <a:pt x="50" y="199"/>
                      </a:cubicBezTo>
                      <a:cubicBezTo>
                        <a:pt x="51" y="199"/>
                        <a:pt x="51" y="199"/>
                        <a:pt x="51" y="199"/>
                      </a:cubicBezTo>
                      <a:cubicBezTo>
                        <a:pt x="51" y="200"/>
                        <a:pt x="51" y="200"/>
                        <a:pt x="51" y="200"/>
                      </a:cubicBezTo>
                      <a:cubicBezTo>
                        <a:pt x="52" y="201"/>
                        <a:pt x="52" y="201"/>
                        <a:pt x="52" y="201"/>
                      </a:cubicBezTo>
                      <a:cubicBezTo>
                        <a:pt x="51" y="201"/>
                        <a:pt x="51" y="201"/>
                        <a:pt x="51" y="201"/>
                      </a:cubicBezTo>
                      <a:cubicBezTo>
                        <a:pt x="50" y="201"/>
                        <a:pt x="50" y="201"/>
                        <a:pt x="50" y="201"/>
                      </a:cubicBezTo>
                      <a:cubicBezTo>
                        <a:pt x="50" y="201"/>
                        <a:pt x="50" y="201"/>
                        <a:pt x="50" y="201"/>
                      </a:cubicBezTo>
                      <a:cubicBezTo>
                        <a:pt x="49" y="201"/>
                        <a:pt x="49" y="201"/>
                        <a:pt x="49" y="201"/>
                      </a:cubicBezTo>
                      <a:cubicBezTo>
                        <a:pt x="49" y="201"/>
                        <a:pt x="49" y="201"/>
                        <a:pt x="49" y="201"/>
                      </a:cubicBezTo>
                      <a:cubicBezTo>
                        <a:pt x="47" y="201"/>
                        <a:pt x="47" y="201"/>
                        <a:pt x="47" y="201"/>
                      </a:cubicBezTo>
                      <a:cubicBezTo>
                        <a:pt x="47" y="201"/>
                        <a:pt x="47" y="201"/>
                        <a:pt x="47" y="201"/>
                      </a:cubicBezTo>
                      <a:cubicBezTo>
                        <a:pt x="47" y="200"/>
                        <a:pt x="47" y="200"/>
                        <a:pt x="47" y="200"/>
                      </a:cubicBezTo>
                      <a:cubicBezTo>
                        <a:pt x="46" y="200"/>
                        <a:pt x="46" y="200"/>
                        <a:pt x="46" y="200"/>
                      </a:cubicBezTo>
                      <a:cubicBezTo>
                        <a:pt x="45" y="201"/>
                        <a:pt x="45" y="201"/>
                        <a:pt x="45" y="201"/>
                      </a:cubicBezTo>
                      <a:cubicBezTo>
                        <a:pt x="45" y="201"/>
                        <a:pt x="45" y="201"/>
                        <a:pt x="45" y="201"/>
                      </a:cubicBezTo>
                      <a:cubicBezTo>
                        <a:pt x="44" y="201"/>
                        <a:pt x="44" y="201"/>
                        <a:pt x="44" y="201"/>
                      </a:cubicBezTo>
                      <a:cubicBezTo>
                        <a:pt x="44" y="201"/>
                        <a:pt x="44" y="201"/>
                        <a:pt x="44" y="201"/>
                      </a:cubicBezTo>
                      <a:cubicBezTo>
                        <a:pt x="45" y="201"/>
                        <a:pt x="45" y="201"/>
                        <a:pt x="45" y="201"/>
                      </a:cubicBezTo>
                      <a:cubicBezTo>
                        <a:pt x="46" y="201"/>
                        <a:pt x="46" y="201"/>
                        <a:pt x="46" y="201"/>
                      </a:cubicBezTo>
                      <a:cubicBezTo>
                        <a:pt x="46" y="202"/>
                        <a:pt x="46" y="202"/>
                        <a:pt x="46" y="202"/>
                      </a:cubicBezTo>
                      <a:cubicBezTo>
                        <a:pt x="46" y="202"/>
                        <a:pt x="46" y="202"/>
                        <a:pt x="46" y="202"/>
                      </a:cubicBezTo>
                      <a:cubicBezTo>
                        <a:pt x="47" y="202"/>
                        <a:pt x="47" y="202"/>
                        <a:pt x="47" y="202"/>
                      </a:cubicBezTo>
                      <a:cubicBezTo>
                        <a:pt x="48" y="203"/>
                        <a:pt x="48" y="203"/>
                        <a:pt x="48" y="203"/>
                      </a:cubicBezTo>
                      <a:cubicBezTo>
                        <a:pt x="48" y="204"/>
                        <a:pt x="48" y="204"/>
                        <a:pt x="48" y="204"/>
                      </a:cubicBezTo>
                      <a:cubicBezTo>
                        <a:pt x="47" y="204"/>
                        <a:pt x="47" y="204"/>
                        <a:pt x="47" y="204"/>
                      </a:cubicBezTo>
                      <a:cubicBezTo>
                        <a:pt x="46" y="203"/>
                        <a:pt x="46" y="203"/>
                        <a:pt x="46" y="203"/>
                      </a:cubicBezTo>
                      <a:cubicBezTo>
                        <a:pt x="46" y="203"/>
                        <a:pt x="46" y="203"/>
                        <a:pt x="46" y="203"/>
                      </a:cubicBezTo>
                      <a:cubicBezTo>
                        <a:pt x="45" y="203"/>
                        <a:pt x="45" y="203"/>
                        <a:pt x="45" y="203"/>
                      </a:cubicBezTo>
                      <a:cubicBezTo>
                        <a:pt x="44" y="203"/>
                        <a:pt x="44" y="203"/>
                        <a:pt x="44" y="203"/>
                      </a:cubicBezTo>
                      <a:cubicBezTo>
                        <a:pt x="44" y="202"/>
                        <a:pt x="44" y="202"/>
                        <a:pt x="44" y="202"/>
                      </a:cubicBezTo>
                      <a:cubicBezTo>
                        <a:pt x="43" y="202"/>
                        <a:pt x="43" y="202"/>
                        <a:pt x="43" y="202"/>
                      </a:cubicBezTo>
                      <a:cubicBezTo>
                        <a:pt x="43" y="202"/>
                        <a:pt x="43" y="202"/>
                        <a:pt x="43" y="202"/>
                      </a:cubicBezTo>
                      <a:cubicBezTo>
                        <a:pt x="43" y="203"/>
                        <a:pt x="43" y="203"/>
                        <a:pt x="43" y="203"/>
                      </a:cubicBezTo>
                      <a:cubicBezTo>
                        <a:pt x="43" y="204"/>
                        <a:pt x="43" y="204"/>
                        <a:pt x="43" y="204"/>
                      </a:cubicBezTo>
                      <a:cubicBezTo>
                        <a:pt x="43" y="204"/>
                        <a:pt x="43" y="204"/>
                        <a:pt x="43" y="204"/>
                      </a:cubicBezTo>
                      <a:cubicBezTo>
                        <a:pt x="42" y="203"/>
                        <a:pt x="42" y="203"/>
                        <a:pt x="42" y="203"/>
                      </a:cubicBezTo>
                      <a:cubicBezTo>
                        <a:pt x="41" y="203"/>
                        <a:pt x="41" y="203"/>
                        <a:pt x="41" y="203"/>
                      </a:cubicBezTo>
                      <a:cubicBezTo>
                        <a:pt x="41" y="203"/>
                        <a:pt x="41" y="203"/>
                        <a:pt x="41" y="203"/>
                      </a:cubicBezTo>
                      <a:cubicBezTo>
                        <a:pt x="40" y="203"/>
                        <a:pt x="40" y="203"/>
                        <a:pt x="40" y="203"/>
                      </a:cubicBezTo>
                      <a:cubicBezTo>
                        <a:pt x="41" y="202"/>
                        <a:pt x="41" y="202"/>
                        <a:pt x="41" y="202"/>
                      </a:cubicBezTo>
                      <a:cubicBezTo>
                        <a:pt x="40" y="203"/>
                        <a:pt x="40" y="203"/>
                        <a:pt x="40" y="203"/>
                      </a:cubicBezTo>
                      <a:cubicBezTo>
                        <a:pt x="39" y="202"/>
                        <a:pt x="39" y="202"/>
                        <a:pt x="39" y="202"/>
                      </a:cubicBezTo>
                      <a:cubicBezTo>
                        <a:pt x="39" y="202"/>
                        <a:pt x="39" y="202"/>
                        <a:pt x="39" y="202"/>
                      </a:cubicBezTo>
                      <a:cubicBezTo>
                        <a:pt x="40" y="201"/>
                        <a:pt x="40" y="201"/>
                        <a:pt x="40" y="201"/>
                      </a:cubicBezTo>
                      <a:cubicBezTo>
                        <a:pt x="41" y="201"/>
                        <a:pt x="41" y="201"/>
                        <a:pt x="41" y="201"/>
                      </a:cubicBezTo>
                      <a:cubicBezTo>
                        <a:pt x="41" y="201"/>
                        <a:pt x="41" y="201"/>
                        <a:pt x="41" y="201"/>
                      </a:cubicBezTo>
                      <a:cubicBezTo>
                        <a:pt x="40" y="201"/>
                        <a:pt x="40" y="201"/>
                        <a:pt x="40" y="201"/>
                      </a:cubicBezTo>
                      <a:lnTo>
                        <a:pt x="39" y="200"/>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3" name="Freeform 198">
                  <a:extLst>
                    <a:ext uri="{FF2B5EF4-FFF2-40B4-BE49-F238E27FC236}">
                      <a16:creationId xmlns:a16="http://schemas.microsoft.com/office/drawing/2014/main" id="{C54B5425-AF91-2E6F-9513-7DD115A89835}"/>
                    </a:ext>
                  </a:extLst>
                </p:cNvPr>
                <p:cNvSpPr>
                  <a:spLocks/>
                </p:cNvSpPr>
                <p:nvPr/>
              </p:nvSpPr>
              <p:spPr bwMode="auto">
                <a:xfrm>
                  <a:off x="1961" y="2424"/>
                  <a:ext cx="2" cy="3"/>
                </a:xfrm>
                <a:custGeom>
                  <a:avLst/>
                  <a:gdLst>
                    <a:gd name="T0" fmla="*/ 2 w 2"/>
                    <a:gd name="T1" fmla="*/ 0 h 3"/>
                    <a:gd name="T2" fmla="*/ 0 w 2"/>
                    <a:gd name="T3" fmla="*/ 3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lnTo>
                        <a:pt x="0" y="3"/>
                      </a:lnTo>
                      <a:lnTo>
                        <a:pt x="2" y="3"/>
                      </a:lnTo>
                      <a:lnTo>
                        <a:pt x="2" y="0"/>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4" name="Freeform 199">
                  <a:extLst>
                    <a:ext uri="{FF2B5EF4-FFF2-40B4-BE49-F238E27FC236}">
                      <a16:creationId xmlns:a16="http://schemas.microsoft.com/office/drawing/2014/main" id="{7F0F98AC-19F5-164A-E823-49E2C951A4EB}"/>
                    </a:ext>
                  </a:extLst>
                </p:cNvPr>
                <p:cNvSpPr>
                  <a:spLocks noEditPoints="1"/>
                </p:cNvSpPr>
                <p:nvPr/>
              </p:nvSpPr>
              <p:spPr bwMode="auto">
                <a:xfrm>
                  <a:off x="1966" y="2427"/>
                  <a:ext cx="9" cy="9"/>
                </a:xfrm>
                <a:custGeom>
                  <a:avLst/>
                  <a:gdLst>
                    <a:gd name="T0" fmla="*/ 9 w 9"/>
                    <a:gd name="T1" fmla="*/ 7 h 9"/>
                    <a:gd name="T2" fmla="*/ 7 w 9"/>
                    <a:gd name="T3" fmla="*/ 9 h 9"/>
                    <a:gd name="T4" fmla="*/ 7 w 9"/>
                    <a:gd name="T5" fmla="*/ 9 h 9"/>
                    <a:gd name="T6" fmla="*/ 9 w 9"/>
                    <a:gd name="T7" fmla="*/ 7 h 9"/>
                    <a:gd name="T8" fmla="*/ 9 w 9"/>
                    <a:gd name="T9" fmla="*/ 7 h 9"/>
                    <a:gd name="T10" fmla="*/ 7 w 9"/>
                    <a:gd name="T11" fmla="*/ 0 h 9"/>
                    <a:gd name="T12" fmla="*/ 4 w 9"/>
                    <a:gd name="T13" fmla="*/ 2 h 9"/>
                    <a:gd name="T14" fmla="*/ 7 w 9"/>
                    <a:gd name="T15" fmla="*/ 4 h 9"/>
                    <a:gd name="T16" fmla="*/ 9 w 9"/>
                    <a:gd name="T17" fmla="*/ 4 h 9"/>
                    <a:gd name="T18" fmla="*/ 7 w 9"/>
                    <a:gd name="T19" fmla="*/ 0 h 9"/>
                    <a:gd name="T20" fmla="*/ 7 w 9"/>
                    <a:gd name="T21" fmla="*/ 0 h 9"/>
                    <a:gd name="T22" fmla="*/ 2 w 9"/>
                    <a:gd name="T23" fmla="*/ 2 h 9"/>
                    <a:gd name="T24" fmla="*/ 4 w 9"/>
                    <a:gd name="T25" fmla="*/ 4 h 9"/>
                    <a:gd name="T26" fmla="*/ 4 w 9"/>
                    <a:gd name="T27" fmla="*/ 9 h 9"/>
                    <a:gd name="T28" fmla="*/ 0 w 9"/>
                    <a:gd name="T29" fmla="*/ 4 h 9"/>
                    <a:gd name="T30" fmla="*/ 2 w 9"/>
                    <a:gd name="T31" fmla="*/ 2 h 9"/>
                    <a:gd name="T32" fmla="*/ 2 w 9"/>
                    <a:gd name="T33" fmla="*/ 2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 h="9">
                      <a:moveTo>
                        <a:pt x="9" y="7"/>
                      </a:moveTo>
                      <a:lnTo>
                        <a:pt x="7" y="9"/>
                      </a:lnTo>
                      <a:lnTo>
                        <a:pt x="7" y="9"/>
                      </a:lnTo>
                      <a:lnTo>
                        <a:pt x="9" y="7"/>
                      </a:lnTo>
                      <a:lnTo>
                        <a:pt x="9" y="7"/>
                      </a:lnTo>
                      <a:close/>
                      <a:moveTo>
                        <a:pt x="7" y="0"/>
                      </a:moveTo>
                      <a:lnTo>
                        <a:pt x="4" y="2"/>
                      </a:lnTo>
                      <a:lnTo>
                        <a:pt x="7" y="4"/>
                      </a:lnTo>
                      <a:lnTo>
                        <a:pt x="9" y="4"/>
                      </a:lnTo>
                      <a:lnTo>
                        <a:pt x="7" y="0"/>
                      </a:lnTo>
                      <a:lnTo>
                        <a:pt x="7" y="0"/>
                      </a:lnTo>
                      <a:close/>
                      <a:moveTo>
                        <a:pt x="2" y="2"/>
                      </a:moveTo>
                      <a:lnTo>
                        <a:pt x="4" y="4"/>
                      </a:lnTo>
                      <a:lnTo>
                        <a:pt x="4" y="9"/>
                      </a:lnTo>
                      <a:lnTo>
                        <a:pt x="0" y="4"/>
                      </a:lnTo>
                      <a:lnTo>
                        <a:pt x="2" y="2"/>
                      </a:lnTo>
                      <a:lnTo>
                        <a:pt x="2" y="2"/>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5" name="Freeform 200">
                  <a:extLst>
                    <a:ext uri="{FF2B5EF4-FFF2-40B4-BE49-F238E27FC236}">
                      <a16:creationId xmlns:a16="http://schemas.microsoft.com/office/drawing/2014/main" id="{C1B05C18-5D6D-EAD6-A30D-859B37A164C6}"/>
                    </a:ext>
                  </a:extLst>
                </p:cNvPr>
                <p:cNvSpPr>
                  <a:spLocks/>
                </p:cNvSpPr>
                <p:nvPr/>
              </p:nvSpPr>
              <p:spPr bwMode="auto">
                <a:xfrm>
                  <a:off x="1970" y="2439"/>
                  <a:ext cx="3" cy="4"/>
                </a:xfrm>
                <a:custGeom>
                  <a:avLst/>
                  <a:gdLst>
                    <a:gd name="T0" fmla="*/ 0 w 1"/>
                    <a:gd name="T1" fmla="*/ 0 h 2"/>
                    <a:gd name="T2" fmla="*/ 1 w 1"/>
                    <a:gd name="T3" fmla="*/ 0 h 2"/>
                    <a:gd name="T4" fmla="*/ 1 w 1"/>
                    <a:gd name="T5" fmla="*/ 2 h 2"/>
                    <a:gd name="T6" fmla="*/ 0 w 1"/>
                    <a:gd name="T7" fmla="*/ 2 h 2"/>
                    <a:gd name="T8" fmla="*/ 0 w 1"/>
                    <a:gd name="T9" fmla="*/ 1 h 2"/>
                    <a:gd name="T10" fmla="*/ 0 w 1"/>
                    <a:gd name="T11" fmla="*/ 0 h 2"/>
                  </a:gdLst>
                  <a:ahLst/>
                  <a:cxnLst>
                    <a:cxn ang="0">
                      <a:pos x="T0" y="T1"/>
                    </a:cxn>
                    <a:cxn ang="0">
                      <a:pos x="T2" y="T3"/>
                    </a:cxn>
                    <a:cxn ang="0">
                      <a:pos x="T4" y="T5"/>
                    </a:cxn>
                    <a:cxn ang="0">
                      <a:pos x="T6" y="T7"/>
                    </a:cxn>
                    <a:cxn ang="0">
                      <a:pos x="T8" y="T9"/>
                    </a:cxn>
                    <a:cxn ang="0">
                      <a:pos x="T10" y="T11"/>
                    </a:cxn>
                  </a:cxnLst>
                  <a:rect l="0" t="0" r="r" b="b"/>
                  <a:pathLst>
                    <a:path w="1" h="2">
                      <a:moveTo>
                        <a:pt x="0" y="0"/>
                      </a:moveTo>
                      <a:cubicBezTo>
                        <a:pt x="1" y="0"/>
                        <a:pt x="1" y="0"/>
                        <a:pt x="1" y="0"/>
                      </a:cubicBezTo>
                      <a:cubicBezTo>
                        <a:pt x="1" y="2"/>
                        <a:pt x="1" y="2"/>
                        <a:pt x="1" y="2"/>
                      </a:cubicBezTo>
                      <a:cubicBezTo>
                        <a:pt x="0" y="2"/>
                        <a:pt x="0" y="2"/>
                        <a:pt x="0" y="2"/>
                      </a:cubicBezTo>
                      <a:cubicBezTo>
                        <a:pt x="0" y="1"/>
                        <a:pt x="0" y="1"/>
                        <a:pt x="0" y="1"/>
                      </a:cubicBezTo>
                      <a:cubicBezTo>
                        <a:pt x="0" y="1"/>
                        <a:pt x="1" y="0"/>
                        <a:pt x="0" y="0"/>
                      </a:cubicBez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6" name="Freeform 201">
                  <a:extLst>
                    <a:ext uri="{FF2B5EF4-FFF2-40B4-BE49-F238E27FC236}">
                      <a16:creationId xmlns:a16="http://schemas.microsoft.com/office/drawing/2014/main" id="{AA73ECCF-FAB3-AA23-4B86-8F77C5FC8A45}"/>
                    </a:ext>
                  </a:extLst>
                </p:cNvPr>
                <p:cNvSpPr>
                  <a:spLocks noEditPoints="1"/>
                </p:cNvSpPr>
                <p:nvPr/>
              </p:nvSpPr>
              <p:spPr bwMode="auto">
                <a:xfrm>
                  <a:off x="1970" y="2446"/>
                  <a:ext cx="7" cy="14"/>
                </a:xfrm>
                <a:custGeom>
                  <a:avLst/>
                  <a:gdLst>
                    <a:gd name="T0" fmla="*/ 5 w 7"/>
                    <a:gd name="T1" fmla="*/ 9 h 14"/>
                    <a:gd name="T2" fmla="*/ 3 w 7"/>
                    <a:gd name="T3" fmla="*/ 11 h 14"/>
                    <a:gd name="T4" fmla="*/ 3 w 7"/>
                    <a:gd name="T5" fmla="*/ 14 h 14"/>
                    <a:gd name="T6" fmla="*/ 5 w 7"/>
                    <a:gd name="T7" fmla="*/ 14 h 14"/>
                    <a:gd name="T8" fmla="*/ 7 w 7"/>
                    <a:gd name="T9" fmla="*/ 11 h 14"/>
                    <a:gd name="T10" fmla="*/ 5 w 7"/>
                    <a:gd name="T11" fmla="*/ 9 h 14"/>
                    <a:gd name="T12" fmla="*/ 5 w 7"/>
                    <a:gd name="T13" fmla="*/ 9 h 14"/>
                    <a:gd name="T14" fmla="*/ 0 w 7"/>
                    <a:gd name="T15" fmla="*/ 0 h 14"/>
                    <a:gd name="T16" fmla="*/ 5 w 7"/>
                    <a:gd name="T17" fmla="*/ 2 h 14"/>
                    <a:gd name="T18" fmla="*/ 7 w 7"/>
                    <a:gd name="T19" fmla="*/ 4 h 14"/>
                    <a:gd name="T20" fmla="*/ 7 w 7"/>
                    <a:gd name="T21" fmla="*/ 7 h 14"/>
                    <a:gd name="T22" fmla="*/ 5 w 7"/>
                    <a:gd name="T23" fmla="*/ 4 h 14"/>
                    <a:gd name="T24" fmla="*/ 3 w 7"/>
                    <a:gd name="T25" fmla="*/ 4 h 14"/>
                    <a:gd name="T26" fmla="*/ 5 w 7"/>
                    <a:gd name="T27" fmla="*/ 4 h 14"/>
                    <a:gd name="T28" fmla="*/ 0 w 7"/>
                    <a:gd name="T29" fmla="*/ 2 h 14"/>
                    <a:gd name="T30" fmla="*/ 0 w 7"/>
                    <a:gd name="T3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 h="14">
                      <a:moveTo>
                        <a:pt x="5" y="9"/>
                      </a:moveTo>
                      <a:lnTo>
                        <a:pt x="3" y="11"/>
                      </a:lnTo>
                      <a:lnTo>
                        <a:pt x="3" y="14"/>
                      </a:lnTo>
                      <a:lnTo>
                        <a:pt x="5" y="14"/>
                      </a:lnTo>
                      <a:lnTo>
                        <a:pt x="7" y="11"/>
                      </a:lnTo>
                      <a:lnTo>
                        <a:pt x="5" y="9"/>
                      </a:lnTo>
                      <a:lnTo>
                        <a:pt x="5" y="9"/>
                      </a:lnTo>
                      <a:close/>
                      <a:moveTo>
                        <a:pt x="0" y="0"/>
                      </a:moveTo>
                      <a:lnTo>
                        <a:pt x="5" y="2"/>
                      </a:lnTo>
                      <a:lnTo>
                        <a:pt x="7" y="4"/>
                      </a:lnTo>
                      <a:lnTo>
                        <a:pt x="7" y="7"/>
                      </a:lnTo>
                      <a:lnTo>
                        <a:pt x="5" y="4"/>
                      </a:lnTo>
                      <a:lnTo>
                        <a:pt x="3" y="4"/>
                      </a:lnTo>
                      <a:lnTo>
                        <a:pt x="5" y="4"/>
                      </a:lnTo>
                      <a:lnTo>
                        <a:pt x="0" y="2"/>
                      </a:lnTo>
                      <a:lnTo>
                        <a:pt x="0" y="0"/>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7" name="Freeform 202">
                  <a:extLst>
                    <a:ext uri="{FF2B5EF4-FFF2-40B4-BE49-F238E27FC236}">
                      <a16:creationId xmlns:a16="http://schemas.microsoft.com/office/drawing/2014/main" id="{1B906748-879D-7E46-33DC-B963EA60057E}"/>
                    </a:ext>
                  </a:extLst>
                </p:cNvPr>
                <p:cNvSpPr>
                  <a:spLocks/>
                </p:cNvSpPr>
                <p:nvPr/>
              </p:nvSpPr>
              <p:spPr bwMode="auto">
                <a:xfrm>
                  <a:off x="1989" y="2462"/>
                  <a:ext cx="5" cy="5"/>
                </a:xfrm>
                <a:custGeom>
                  <a:avLst/>
                  <a:gdLst>
                    <a:gd name="T0" fmla="*/ 3 w 5"/>
                    <a:gd name="T1" fmla="*/ 0 h 5"/>
                    <a:gd name="T2" fmla="*/ 0 w 5"/>
                    <a:gd name="T3" fmla="*/ 3 h 5"/>
                    <a:gd name="T4" fmla="*/ 3 w 5"/>
                    <a:gd name="T5" fmla="*/ 5 h 5"/>
                    <a:gd name="T6" fmla="*/ 5 w 5"/>
                    <a:gd name="T7" fmla="*/ 5 h 5"/>
                    <a:gd name="T8" fmla="*/ 5 w 5"/>
                    <a:gd name="T9" fmla="*/ 3 h 5"/>
                    <a:gd name="T10" fmla="*/ 3 w 5"/>
                    <a:gd name="T11" fmla="*/ 0 h 5"/>
                  </a:gdLst>
                  <a:ahLst/>
                  <a:cxnLst>
                    <a:cxn ang="0">
                      <a:pos x="T0" y="T1"/>
                    </a:cxn>
                    <a:cxn ang="0">
                      <a:pos x="T2" y="T3"/>
                    </a:cxn>
                    <a:cxn ang="0">
                      <a:pos x="T4" y="T5"/>
                    </a:cxn>
                    <a:cxn ang="0">
                      <a:pos x="T6" y="T7"/>
                    </a:cxn>
                    <a:cxn ang="0">
                      <a:pos x="T8" y="T9"/>
                    </a:cxn>
                    <a:cxn ang="0">
                      <a:pos x="T10" y="T11"/>
                    </a:cxn>
                  </a:cxnLst>
                  <a:rect l="0" t="0" r="r" b="b"/>
                  <a:pathLst>
                    <a:path w="5" h="5">
                      <a:moveTo>
                        <a:pt x="3" y="0"/>
                      </a:moveTo>
                      <a:lnTo>
                        <a:pt x="0" y="3"/>
                      </a:lnTo>
                      <a:lnTo>
                        <a:pt x="3" y="5"/>
                      </a:lnTo>
                      <a:lnTo>
                        <a:pt x="5" y="5"/>
                      </a:lnTo>
                      <a:lnTo>
                        <a:pt x="5" y="3"/>
                      </a:lnTo>
                      <a:lnTo>
                        <a:pt x="3" y="0"/>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8" name="Freeform 203">
                  <a:extLst>
                    <a:ext uri="{FF2B5EF4-FFF2-40B4-BE49-F238E27FC236}">
                      <a16:creationId xmlns:a16="http://schemas.microsoft.com/office/drawing/2014/main" id="{B59EC7C9-15AD-6968-391D-3F6F00F52251}"/>
                    </a:ext>
                  </a:extLst>
                </p:cNvPr>
                <p:cNvSpPr>
                  <a:spLocks noEditPoints="1"/>
                </p:cNvSpPr>
                <p:nvPr/>
              </p:nvSpPr>
              <p:spPr bwMode="auto">
                <a:xfrm>
                  <a:off x="1966" y="2462"/>
                  <a:ext cx="7" cy="14"/>
                </a:xfrm>
                <a:custGeom>
                  <a:avLst/>
                  <a:gdLst>
                    <a:gd name="T0" fmla="*/ 2 w 3"/>
                    <a:gd name="T1" fmla="*/ 6 h 6"/>
                    <a:gd name="T2" fmla="*/ 1 w 3"/>
                    <a:gd name="T3" fmla="*/ 5 h 6"/>
                    <a:gd name="T4" fmla="*/ 0 w 3"/>
                    <a:gd name="T5" fmla="*/ 5 h 6"/>
                    <a:gd name="T6" fmla="*/ 0 w 3"/>
                    <a:gd name="T7" fmla="*/ 6 h 6"/>
                    <a:gd name="T8" fmla="*/ 1 w 3"/>
                    <a:gd name="T9" fmla="*/ 6 h 6"/>
                    <a:gd name="T10" fmla="*/ 2 w 3"/>
                    <a:gd name="T11" fmla="*/ 6 h 6"/>
                    <a:gd name="T12" fmla="*/ 2 w 3"/>
                    <a:gd name="T13" fmla="*/ 4 h 6"/>
                    <a:gd name="T14" fmla="*/ 3 w 3"/>
                    <a:gd name="T15" fmla="*/ 4 h 6"/>
                    <a:gd name="T16" fmla="*/ 2 w 3"/>
                    <a:gd name="T17" fmla="*/ 4 h 6"/>
                    <a:gd name="T18" fmla="*/ 2 w 3"/>
                    <a:gd name="T19" fmla="*/ 4 h 6"/>
                    <a:gd name="T20" fmla="*/ 3 w 3"/>
                    <a:gd name="T21" fmla="*/ 0 h 6"/>
                    <a:gd name="T22" fmla="*/ 3 w 3"/>
                    <a:gd name="T23" fmla="*/ 1 h 6"/>
                    <a:gd name="T24" fmla="*/ 3 w 3"/>
                    <a:gd name="T25" fmla="*/ 2 h 6"/>
                    <a:gd name="T26" fmla="*/ 3 w 3"/>
                    <a:gd name="T2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6">
                      <a:moveTo>
                        <a:pt x="2" y="6"/>
                      </a:moveTo>
                      <a:cubicBezTo>
                        <a:pt x="1" y="5"/>
                        <a:pt x="1" y="5"/>
                        <a:pt x="1" y="5"/>
                      </a:cubicBezTo>
                      <a:cubicBezTo>
                        <a:pt x="0" y="5"/>
                        <a:pt x="0" y="5"/>
                        <a:pt x="0" y="5"/>
                      </a:cubicBezTo>
                      <a:cubicBezTo>
                        <a:pt x="0" y="6"/>
                        <a:pt x="0" y="6"/>
                        <a:pt x="0" y="6"/>
                      </a:cubicBezTo>
                      <a:cubicBezTo>
                        <a:pt x="1" y="6"/>
                        <a:pt x="1" y="6"/>
                        <a:pt x="1" y="6"/>
                      </a:cubicBezTo>
                      <a:cubicBezTo>
                        <a:pt x="2" y="6"/>
                        <a:pt x="2" y="6"/>
                        <a:pt x="2" y="6"/>
                      </a:cubicBezTo>
                      <a:close/>
                      <a:moveTo>
                        <a:pt x="2" y="4"/>
                      </a:moveTo>
                      <a:cubicBezTo>
                        <a:pt x="3" y="4"/>
                        <a:pt x="3" y="4"/>
                        <a:pt x="3" y="4"/>
                      </a:cubicBezTo>
                      <a:cubicBezTo>
                        <a:pt x="2" y="4"/>
                        <a:pt x="2" y="4"/>
                        <a:pt x="2" y="4"/>
                      </a:cubicBezTo>
                      <a:cubicBezTo>
                        <a:pt x="2" y="4"/>
                        <a:pt x="2" y="4"/>
                        <a:pt x="2" y="4"/>
                      </a:cubicBezTo>
                      <a:close/>
                      <a:moveTo>
                        <a:pt x="3" y="0"/>
                      </a:moveTo>
                      <a:cubicBezTo>
                        <a:pt x="3" y="1"/>
                        <a:pt x="3" y="1"/>
                        <a:pt x="3" y="1"/>
                      </a:cubicBezTo>
                      <a:cubicBezTo>
                        <a:pt x="3" y="2"/>
                        <a:pt x="3" y="2"/>
                        <a:pt x="3" y="2"/>
                      </a:cubicBezTo>
                      <a:lnTo>
                        <a:pt x="3" y="0"/>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9" name="Freeform 204">
                  <a:extLst>
                    <a:ext uri="{FF2B5EF4-FFF2-40B4-BE49-F238E27FC236}">
                      <a16:creationId xmlns:a16="http://schemas.microsoft.com/office/drawing/2014/main" id="{53405E98-8289-45A6-1BCA-3972D4A32322}"/>
                    </a:ext>
                  </a:extLst>
                </p:cNvPr>
                <p:cNvSpPr>
                  <a:spLocks noEditPoints="1"/>
                </p:cNvSpPr>
                <p:nvPr/>
              </p:nvSpPr>
              <p:spPr bwMode="auto">
                <a:xfrm>
                  <a:off x="1963" y="2486"/>
                  <a:ext cx="17" cy="12"/>
                </a:xfrm>
                <a:custGeom>
                  <a:avLst/>
                  <a:gdLst>
                    <a:gd name="T0" fmla="*/ 14 w 17"/>
                    <a:gd name="T1" fmla="*/ 0 h 12"/>
                    <a:gd name="T2" fmla="*/ 17 w 17"/>
                    <a:gd name="T3" fmla="*/ 0 h 12"/>
                    <a:gd name="T4" fmla="*/ 14 w 17"/>
                    <a:gd name="T5" fmla="*/ 2 h 12"/>
                    <a:gd name="T6" fmla="*/ 14 w 17"/>
                    <a:gd name="T7" fmla="*/ 0 h 12"/>
                    <a:gd name="T8" fmla="*/ 14 w 17"/>
                    <a:gd name="T9" fmla="*/ 0 h 12"/>
                    <a:gd name="T10" fmla="*/ 12 w 17"/>
                    <a:gd name="T11" fmla="*/ 2 h 12"/>
                    <a:gd name="T12" fmla="*/ 7 w 17"/>
                    <a:gd name="T13" fmla="*/ 5 h 12"/>
                    <a:gd name="T14" fmla="*/ 5 w 17"/>
                    <a:gd name="T15" fmla="*/ 2 h 12"/>
                    <a:gd name="T16" fmla="*/ 3 w 17"/>
                    <a:gd name="T17" fmla="*/ 5 h 12"/>
                    <a:gd name="T18" fmla="*/ 3 w 17"/>
                    <a:gd name="T19" fmla="*/ 5 h 12"/>
                    <a:gd name="T20" fmla="*/ 5 w 17"/>
                    <a:gd name="T21" fmla="*/ 7 h 12"/>
                    <a:gd name="T22" fmla="*/ 5 w 17"/>
                    <a:gd name="T23" fmla="*/ 9 h 12"/>
                    <a:gd name="T24" fmla="*/ 3 w 17"/>
                    <a:gd name="T25" fmla="*/ 9 h 12"/>
                    <a:gd name="T26" fmla="*/ 0 w 17"/>
                    <a:gd name="T27" fmla="*/ 12 h 12"/>
                    <a:gd name="T28" fmla="*/ 3 w 17"/>
                    <a:gd name="T29" fmla="*/ 12 h 12"/>
                    <a:gd name="T30" fmla="*/ 10 w 17"/>
                    <a:gd name="T31" fmla="*/ 12 h 12"/>
                    <a:gd name="T32" fmla="*/ 12 w 17"/>
                    <a:gd name="T33" fmla="*/ 9 h 12"/>
                    <a:gd name="T34" fmla="*/ 12 w 17"/>
                    <a:gd name="T35" fmla="*/ 7 h 12"/>
                    <a:gd name="T36" fmla="*/ 10 w 17"/>
                    <a:gd name="T37" fmla="*/ 5 h 12"/>
                    <a:gd name="T38" fmla="*/ 12 w 17"/>
                    <a:gd name="T39" fmla="*/ 2 h 12"/>
                    <a:gd name="T40" fmla="*/ 12 w 17"/>
                    <a:gd name="T41" fmla="*/ 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 h="12">
                      <a:moveTo>
                        <a:pt x="14" y="0"/>
                      </a:moveTo>
                      <a:lnTo>
                        <a:pt x="17" y="0"/>
                      </a:lnTo>
                      <a:lnTo>
                        <a:pt x="14" y="2"/>
                      </a:lnTo>
                      <a:lnTo>
                        <a:pt x="14" y="0"/>
                      </a:lnTo>
                      <a:lnTo>
                        <a:pt x="14" y="0"/>
                      </a:lnTo>
                      <a:close/>
                      <a:moveTo>
                        <a:pt x="12" y="2"/>
                      </a:moveTo>
                      <a:lnTo>
                        <a:pt x="7" y="5"/>
                      </a:lnTo>
                      <a:lnTo>
                        <a:pt x="5" y="2"/>
                      </a:lnTo>
                      <a:lnTo>
                        <a:pt x="3" y="5"/>
                      </a:lnTo>
                      <a:lnTo>
                        <a:pt x="3" y="5"/>
                      </a:lnTo>
                      <a:lnTo>
                        <a:pt x="5" y="7"/>
                      </a:lnTo>
                      <a:lnTo>
                        <a:pt x="5" y="9"/>
                      </a:lnTo>
                      <a:lnTo>
                        <a:pt x="3" y="9"/>
                      </a:lnTo>
                      <a:lnTo>
                        <a:pt x="0" y="12"/>
                      </a:lnTo>
                      <a:lnTo>
                        <a:pt x="3" y="12"/>
                      </a:lnTo>
                      <a:lnTo>
                        <a:pt x="10" y="12"/>
                      </a:lnTo>
                      <a:lnTo>
                        <a:pt x="12" y="9"/>
                      </a:lnTo>
                      <a:lnTo>
                        <a:pt x="12" y="7"/>
                      </a:lnTo>
                      <a:lnTo>
                        <a:pt x="10" y="5"/>
                      </a:lnTo>
                      <a:lnTo>
                        <a:pt x="12" y="2"/>
                      </a:lnTo>
                      <a:lnTo>
                        <a:pt x="12" y="2"/>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15" name="Rectangle 207">
                <a:extLst>
                  <a:ext uri="{FF2B5EF4-FFF2-40B4-BE49-F238E27FC236}">
                    <a16:creationId xmlns:a16="http://schemas.microsoft.com/office/drawing/2014/main" id="{B672DD48-9E41-C325-74DB-12060E6992DC}"/>
                  </a:ext>
                </a:extLst>
              </p:cNvPr>
              <p:cNvSpPr>
                <a:spLocks noChangeArrowheads="1"/>
              </p:cNvSpPr>
              <p:nvPr/>
            </p:nvSpPr>
            <p:spPr bwMode="auto">
              <a:xfrm>
                <a:off x="6564621" y="2445555"/>
                <a:ext cx="1588" cy="1588"/>
              </a:xfrm>
              <a:prstGeom prst="rect">
                <a:avLst/>
              </a:prstGeom>
              <a:grpFill/>
              <a:ln w="12700">
                <a:solidFill>
                  <a:schemeClr val="bg1"/>
                </a:solidFill>
              </a:ln>
            </p:spPr>
            <p:txBody>
              <a:bodyPr vert="horz" wrap="square" lIns="91440" tIns="45720" rIns="91440" bIns="45720" numCol="1" anchor="t" anchorCtr="0" compatLnSpc="1">
                <a:prstTxWarp prst="textNoShape">
                  <a:avLst/>
                </a:prstTxWarp>
              </a:bodyPr>
              <a:lstStyle/>
              <a:p>
                <a:endParaRPr lang="en-US" dirty="0"/>
              </a:p>
            </p:txBody>
          </p:sp>
          <p:sp>
            <p:nvSpPr>
              <p:cNvPr id="16" name="Rectangle 208">
                <a:extLst>
                  <a:ext uri="{FF2B5EF4-FFF2-40B4-BE49-F238E27FC236}">
                    <a16:creationId xmlns:a16="http://schemas.microsoft.com/office/drawing/2014/main" id="{B8691332-C926-F8F3-208F-78FDB139402E}"/>
                  </a:ext>
                </a:extLst>
              </p:cNvPr>
              <p:cNvSpPr>
                <a:spLocks noChangeArrowheads="1"/>
              </p:cNvSpPr>
              <p:nvPr/>
            </p:nvSpPr>
            <p:spPr bwMode="auto">
              <a:xfrm>
                <a:off x="6564621" y="2445555"/>
                <a:ext cx="1588" cy="1588"/>
              </a:xfrm>
              <a:prstGeom prst="rect">
                <a:avLst/>
              </a:prstGeom>
              <a:grpFill/>
              <a:ln w="12700">
                <a:solidFill>
                  <a:schemeClr val="bg1"/>
                </a:solidFill>
              </a:ln>
            </p:spPr>
            <p:txBody>
              <a:bodyPr vert="horz" wrap="square" lIns="91440" tIns="45720" rIns="91440" bIns="45720" numCol="1" anchor="t" anchorCtr="0" compatLnSpc="1">
                <a:prstTxWarp prst="textNoShape">
                  <a:avLst/>
                </a:prstTxWarp>
              </a:bodyPr>
              <a:lstStyle/>
              <a:p>
                <a:endParaRPr lang="en-US" dirty="0"/>
              </a:p>
            </p:txBody>
          </p:sp>
          <p:sp>
            <p:nvSpPr>
              <p:cNvPr id="17" name="Rectangle 209">
                <a:extLst>
                  <a:ext uri="{FF2B5EF4-FFF2-40B4-BE49-F238E27FC236}">
                    <a16:creationId xmlns:a16="http://schemas.microsoft.com/office/drawing/2014/main" id="{276A927E-1035-635B-3C4F-4F5F6F1D823D}"/>
                  </a:ext>
                </a:extLst>
              </p:cNvPr>
              <p:cNvSpPr>
                <a:spLocks noChangeArrowheads="1"/>
              </p:cNvSpPr>
              <p:nvPr/>
            </p:nvSpPr>
            <p:spPr bwMode="auto">
              <a:xfrm>
                <a:off x="6564621" y="2445555"/>
                <a:ext cx="1588" cy="1588"/>
              </a:xfrm>
              <a:prstGeom prst="rect">
                <a:avLst/>
              </a:prstGeom>
              <a:grpFill/>
              <a:ln w="12700">
                <a:solidFill>
                  <a:schemeClr val="bg1"/>
                </a:solidFill>
              </a:ln>
            </p:spPr>
            <p:txBody>
              <a:bodyPr vert="horz" wrap="square" lIns="91440" tIns="45720" rIns="91440" bIns="45720" numCol="1" anchor="t" anchorCtr="0" compatLnSpc="1">
                <a:prstTxWarp prst="textNoShape">
                  <a:avLst/>
                </a:prstTxWarp>
              </a:bodyPr>
              <a:lstStyle/>
              <a:p>
                <a:endParaRPr lang="en-US" dirty="0"/>
              </a:p>
            </p:txBody>
          </p:sp>
          <p:sp>
            <p:nvSpPr>
              <p:cNvPr id="18" name="Rectangle 210">
                <a:extLst>
                  <a:ext uri="{FF2B5EF4-FFF2-40B4-BE49-F238E27FC236}">
                    <a16:creationId xmlns:a16="http://schemas.microsoft.com/office/drawing/2014/main" id="{2C6B0B8F-016B-614B-F3B1-64AEA8B85F6C}"/>
                  </a:ext>
                </a:extLst>
              </p:cNvPr>
              <p:cNvSpPr>
                <a:spLocks noChangeArrowheads="1"/>
              </p:cNvSpPr>
              <p:nvPr/>
            </p:nvSpPr>
            <p:spPr bwMode="auto">
              <a:xfrm>
                <a:off x="6564621" y="2445555"/>
                <a:ext cx="1588" cy="1588"/>
              </a:xfrm>
              <a:prstGeom prst="rect">
                <a:avLst/>
              </a:prstGeom>
              <a:grpFill/>
              <a:ln w="12700">
                <a:solidFill>
                  <a:schemeClr val="bg1"/>
                </a:solidFill>
              </a:ln>
            </p:spPr>
            <p:txBody>
              <a:bodyPr vert="horz" wrap="square" lIns="91440" tIns="45720" rIns="91440" bIns="45720" numCol="1" anchor="t" anchorCtr="0" compatLnSpc="1">
                <a:prstTxWarp prst="textNoShape">
                  <a:avLst/>
                </a:prstTxWarp>
              </a:bodyPr>
              <a:lstStyle/>
              <a:p>
                <a:endParaRPr lang="en-US" dirty="0"/>
              </a:p>
            </p:txBody>
          </p:sp>
          <p:sp>
            <p:nvSpPr>
              <p:cNvPr id="19" name="Rectangle 211">
                <a:extLst>
                  <a:ext uri="{FF2B5EF4-FFF2-40B4-BE49-F238E27FC236}">
                    <a16:creationId xmlns:a16="http://schemas.microsoft.com/office/drawing/2014/main" id="{7DED7BC7-2818-D541-8223-AEBE21BE0783}"/>
                  </a:ext>
                </a:extLst>
              </p:cNvPr>
              <p:cNvSpPr>
                <a:spLocks noChangeArrowheads="1"/>
              </p:cNvSpPr>
              <p:nvPr/>
            </p:nvSpPr>
            <p:spPr bwMode="auto">
              <a:xfrm>
                <a:off x="6564621" y="2445555"/>
                <a:ext cx="1588" cy="1588"/>
              </a:xfrm>
              <a:prstGeom prst="rect">
                <a:avLst/>
              </a:prstGeom>
              <a:grpFill/>
              <a:ln w="12700">
                <a:solidFill>
                  <a:schemeClr val="bg1"/>
                </a:solidFill>
              </a:ln>
            </p:spPr>
            <p:txBody>
              <a:bodyPr vert="horz" wrap="square" lIns="91440" tIns="45720" rIns="91440" bIns="45720" numCol="1" anchor="t" anchorCtr="0" compatLnSpc="1">
                <a:prstTxWarp prst="textNoShape">
                  <a:avLst/>
                </a:prstTxWarp>
              </a:bodyPr>
              <a:lstStyle/>
              <a:p>
                <a:endParaRPr lang="en-US" dirty="0"/>
              </a:p>
            </p:txBody>
          </p:sp>
          <p:sp>
            <p:nvSpPr>
              <p:cNvPr id="20" name="Rectangle 212">
                <a:extLst>
                  <a:ext uri="{FF2B5EF4-FFF2-40B4-BE49-F238E27FC236}">
                    <a16:creationId xmlns:a16="http://schemas.microsoft.com/office/drawing/2014/main" id="{8BD4BEB5-27CC-BC5C-DEFC-ECA25AC845A8}"/>
                  </a:ext>
                </a:extLst>
              </p:cNvPr>
              <p:cNvSpPr>
                <a:spLocks noChangeArrowheads="1"/>
              </p:cNvSpPr>
              <p:nvPr/>
            </p:nvSpPr>
            <p:spPr bwMode="auto">
              <a:xfrm>
                <a:off x="6564621" y="2445555"/>
                <a:ext cx="1588" cy="1588"/>
              </a:xfrm>
              <a:prstGeom prst="rect">
                <a:avLst/>
              </a:prstGeom>
              <a:grpFill/>
              <a:ln w="12700">
                <a:solidFill>
                  <a:schemeClr val="bg1"/>
                </a:solidFill>
              </a:ln>
            </p:spPr>
            <p:txBody>
              <a:bodyPr vert="horz" wrap="square" lIns="91440" tIns="45720" rIns="91440" bIns="45720" numCol="1" anchor="t" anchorCtr="0" compatLnSpc="1">
                <a:prstTxWarp prst="textNoShape">
                  <a:avLst/>
                </a:prstTxWarp>
              </a:bodyPr>
              <a:lstStyle/>
              <a:p>
                <a:endParaRPr lang="en-US" dirty="0"/>
              </a:p>
            </p:txBody>
          </p:sp>
          <p:sp>
            <p:nvSpPr>
              <p:cNvPr id="21" name="Rectangle 213">
                <a:extLst>
                  <a:ext uri="{FF2B5EF4-FFF2-40B4-BE49-F238E27FC236}">
                    <a16:creationId xmlns:a16="http://schemas.microsoft.com/office/drawing/2014/main" id="{D0110136-4C8D-EA4E-00EC-7B96227B3352}"/>
                  </a:ext>
                </a:extLst>
              </p:cNvPr>
              <p:cNvSpPr>
                <a:spLocks noChangeArrowheads="1"/>
              </p:cNvSpPr>
              <p:nvPr/>
            </p:nvSpPr>
            <p:spPr bwMode="auto">
              <a:xfrm>
                <a:off x="6564621" y="2445555"/>
                <a:ext cx="1588" cy="1588"/>
              </a:xfrm>
              <a:prstGeom prst="rect">
                <a:avLst/>
              </a:prstGeom>
              <a:grpFill/>
              <a:ln w="12700">
                <a:solidFill>
                  <a:schemeClr val="bg1"/>
                </a:solidFill>
              </a:ln>
            </p:spPr>
            <p:txBody>
              <a:bodyPr vert="horz" wrap="square" lIns="91440" tIns="45720" rIns="91440" bIns="45720" numCol="1" anchor="t" anchorCtr="0" compatLnSpc="1">
                <a:prstTxWarp prst="textNoShape">
                  <a:avLst/>
                </a:prstTxWarp>
              </a:bodyPr>
              <a:lstStyle/>
              <a:p>
                <a:endParaRPr lang="en-US" dirty="0"/>
              </a:p>
            </p:txBody>
          </p:sp>
          <p:sp>
            <p:nvSpPr>
              <p:cNvPr id="22" name="Rectangle 214">
                <a:extLst>
                  <a:ext uri="{FF2B5EF4-FFF2-40B4-BE49-F238E27FC236}">
                    <a16:creationId xmlns:a16="http://schemas.microsoft.com/office/drawing/2014/main" id="{AC6ACED1-1CFF-D8DF-F360-E90F1444AFE2}"/>
                  </a:ext>
                </a:extLst>
              </p:cNvPr>
              <p:cNvSpPr>
                <a:spLocks noChangeArrowheads="1"/>
              </p:cNvSpPr>
              <p:nvPr/>
            </p:nvSpPr>
            <p:spPr bwMode="auto">
              <a:xfrm>
                <a:off x="6564621" y="2445555"/>
                <a:ext cx="1588" cy="1588"/>
              </a:xfrm>
              <a:prstGeom prst="rect">
                <a:avLst/>
              </a:prstGeom>
              <a:grpFill/>
              <a:ln w="12700">
                <a:solidFill>
                  <a:schemeClr val="bg1"/>
                </a:solidFill>
              </a:ln>
            </p:spPr>
            <p:txBody>
              <a:bodyPr vert="horz" wrap="square" lIns="91440" tIns="45720" rIns="91440" bIns="45720" numCol="1" anchor="t" anchorCtr="0" compatLnSpc="1">
                <a:prstTxWarp prst="textNoShape">
                  <a:avLst/>
                </a:prstTxWarp>
              </a:bodyPr>
              <a:lstStyle/>
              <a:p>
                <a:endParaRPr lang="en-US" dirty="0"/>
              </a:p>
            </p:txBody>
          </p:sp>
          <p:sp>
            <p:nvSpPr>
              <p:cNvPr id="23" name="Rectangle 215">
                <a:extLst>
                  <a:ext uri="{FF2B5EF4-FFF2-40B4-BE49-F238E27FC236}">
                    <a16:creationId xmlns:a16="http://schemas.microsoft.com/office/drawing/2014/main" id="{5E8E0757-8E56-40A2-0CAF-165AED9B5A72}"/>
                  </a:ext>
                </a:extLst>
              </p:cNvPr>
              <p:cNvSpPr>
                <a:spLocks noChangeArrowheads="1"/>
              </p:cNvSpPr>
              <p:nvPr/>
            </p:nvSpPr>
            <p:spPr bwMode="auto">
              <a:xfrm>
                <a:off x="6564621" y="2445555"/>
                <a:ext cx="1588" cy="1588"/>
              </a:xfrm>
              <a:prstGeom prst="rect">
                <a:avLst/>
              </a:prstGeom>
              <a:grpFill/>
              <a:ln w="12700">
                <a:solidFill>
                  <a:schemeClr val="bg1"/>
                </a:solidFill>
              </a:ln>
            </p:spPr>
            <p:txBody>
              <a:bodyPr vert="horz" wrap="square" lIns="91440" tIns="45720" rIns="91440" bIns="45720" numCol="1" anchor="t" anchorCtr="0" compatLnSpc="1">
                <a:prstTxWarp prst="textNoShape">
                  <a:avLst/>
                </a:prstTxWarp>
              </a:bodyPr>
              <a:lstStyle/>
              <a:p>
                <a:endParaRPr lang="en-US" dirty="0"/>
              </a:p>
            </p:txBody>
          </p:sp>
          <p:sp>
            <p:nvSpPr>
              <p:cNvPr id="24" name="Rectangle 216">
                <a:extLst>
                  <a:ext uri="{FF2B5EF4-FFF2-40B4-BE49-F238E27FC236}">
                    <a16:creationId xmlns:a16="http://schemas.microsoft.com/office/drawing/2014/main" id="{624A7473-3DC5-D7E5-A4AF-C795376E259B}"/>
                  </a:ext>
                </a:extLst>
              </p:cNvPr>
              <p:cNvSpPr>
                <a:spLocks noChangeArrowheads="1"/>
              </p:cNvSpPr>
              <p:nvPr/>
            </p:nvSpPr>
            <p:spPr bwMode="auto">
              <a:xfrm>
                <a:off x="6564621" y="2445555"/>
                <a:ext cx="1588" cy="1588"/>
              </a:xfrm>
              <a:prstGeom prst="rect">
                <a:avLst/>
              </a:prstGeom>
              <a:grpFill/>
              <a:ln w="12700">
                <a:solidFill>
                  <a:schemeClr val="bg1"/>
                </a:solidFill>
              </a:ln>
            </p:spPr>
            <p:txBody>
              <a:bodyPr vert="horz" wrap="square" lIns="91440" tIns="45720" rIns="91440" bIns="45720" numCol="1" anchor="t" anchorCtr="0" compatLnSpc="1">
                <a:prstTxWarp prst="textNoShape">
                  <a:avLst/>
                </a:prstTxWarp>
              </a:bodyPr>
              <a:lstStyle/>
              <a:p>
                <a:endParaRPr lang="en-US" dirty="0"/>
              </a:p>
            </p:txBody>
          </p:sp>
          <p:sp>
            <p:nvSpPr>
              <p:cNvPr id="25" name="Rectangle 217">
                <a:extLst>
                  <a:ext uri="{FF2B5EF4-FFF2-40B4-BE49-F238E27FC236}">
                    <a16:creationId xmlns:a16="http://schemas.microsoft.com/office/drawing/2014/main" id="{17407D4F-594B-8CA1-95AE-ADFE89DF8655}"/>
                  </a:ext>
                </a:extLst>
              </p:cNvPr>
              <p:cNvSpPr>
                <a:spLocks noChangeArrowheads="1"/>
              </p:cNvSpPr>
              <p:nvPr/>
            </p:nvSpPr>
            <p:spPr bwMode="auto">
              <a:xfrm>
                <a:off x="6564621" y="2445555"/>
                <a:ext cx="1588" cy="1588"/>
              </a:xfrm>
              <a:prstGeom prst="rect">
                <a:avLst/>
              </a:prstGeom>
              <a:grpFill/>
              <a:ln w="12700">
                <a:solidFill>
                  <a:schemeClr val="bg1"/>
                </a:solidFill>
              </a:ln>
            </p:spPr>
            <p:txBody>
              <a:bodyPr vert="horz" wrap="square" lIns="91440" tIns="45720" rIns="91440" bIns="45720" numCol="1" anchor="t" anchorCtr="0" compatLnSpc="1">
                <a:prstTxWarp prst="textNoShape">
                  <a:avLst/>
                </a:prstTxWarp>
              </a:bodyPr>
              <a:lstStyle/>
              <a:p>
                <a:endParaRPr lang="en-US" dirty="0"/>
              </a:p>
            </p:txBody>
          </p:sp>
          <p:sp>
            <p:nvSpPr>
              <p:cNvPr id="26" name="Rectangle 218">
                <a:extLst>
                  <a:ext uri="{FF2B5EF4-FFF2-40B4-BE49-F238E27FC236}">
                    <a16:creationId xmlns:a16="http://schemas.microsoft.com/office/drawing/2014/main" id="{68E8D3A5-866F-0B26-4982-9616C1F3A8BB}"/>
                  </a:ext>
                </a:extLst>
              </p:cNvPr>
              <p:cNvSpPr>
                <a:spLocks noChangeArrowheads="1"/>
              </p:cNvSpPr>
              <p:nvPr/>
            </p:nvSpPr>
            <p:spPr bwMode="auto">
              <a:xfrm>
                <a:off x="6564621" y="2445555"/>
                <a:ext cx="1588" cy="1588"/>
              </a:xfrm>
              <a:prstGeom prst="rect">
                <a:avLst/>
              </a:prstGeom>
              <a:grpFill/>
              <a:ln w="12700">
                <a:solidFill>
                  <a:schemeClr val="bg1"/>
                </a:solidFill>
              </a:ln>
            </p:spPr>
            <p:txBody>
              <a:bodyPr vert="horz" wrap="square" lIns="91440" tIns="45720" rIns="91440" bIns="45720" numCol="1" anchor="t" anchorCtr="0" compatLnSpc="1">
                <a:prstTxWarp prst="textNoShape">
                  <a:avLst/>
                </a:prstTxWarp>
              </a:bodyPr>
              <a:lstStyle/>
              <a:p>
                <a:endParaRPr lang="en-US" dirty="0"/>
              </a:p>
            </p:txBody>
          </p:sp>
          <p:sp>
            <p:nvSpPr>
              <p:cNvPr id="27" name="Rectangle 219">
                <a:extLst>
                  <a:ext uri="{FF2B5EF4-FFF2-40B4-BE49-F238E27FC236}">
                    <a16:creationId xmlns:a16="http://schemas.microsoft.com/office/drawing/2014/main" id="{BE310A37-A61D-6A86-8EA1-062E2FD269CF}"/>
                  </a:ext>
                </a:extLst>
              </p:cNvPr>
              <p:cNvSpPr>
                <a:spLocks noChangeArrowheads="1"/>
              </p:cNvSpPr>
              <p:nvPr/>
            </p:nvSpPr>
            <p:spPr bwMode="auto">
              <a:xfrm>
                <a:off x="6564621" y="2445555"/>
                <a:ext cx="1588" cy="1588"/>
              </a:xfrm>
              <a:prstGeom prst="rect">
                <a:avLst/>
              </a:prstGeom>
              <a:grpFill/>
              <a:ln w="12700">
                <a:solidFill>
                  <a:schemeClr val="bg1"/>
                </a:solidFill>
              </a:ln>
            </p:spPr>
            <p:txBody>
              <a:bodyPr vert="horz" wrap="square" lIns="91440" tIns="45720" rIns="91440" bIns="45720" numCol="1" anchor="t" anchorCtr="0" compatLnSpc="1">
                <a:prstTxWarp prst="textNoShape">
                  <a:avLst/>
                </a:prstTxWarp>
              </a:bodyPr>
              <a:lstStyle/>
              <a:p>
                <a:endParaRPr lang="en-US" dirty="0"/>
              </a:p>
            </p:txBody>
          </p:sp>
          <p:sp>
            <p:nvSpPr>
              <p:cNvPr id="28" name="Rectangle 220">
                <a:extLst>
                  <a:ext uri="{FF2B5EF4-FFF2-40B4-BE49-F238E27FC236}">
                    <a16:creationId xmlns:a16="http://schemas.microsoft.com/office/drawing/2014/main" id="{64C3A47A-F7E9-E1DE-6513-5A8B4B52713B}"/>
                  </a:ext>
                </a:extLst>
              </p:cNvPr>
              <p:cNvSpPr>
                <a:spLocks noChangeArrowheads="1"/>
              </p:cNvSpPr>
              <p:nvPr/>
            </p:nvSpPr>
            <p:spPr bwMode="auto">
              <a:xfrm>
                <a:off x="6564621" y="2445555"/>
                <a:ext cx="1588" cy="1588"/>
              </a:xfrm>
              <a:prstGeom prst="rect">
                <a:avLst/>
              </a:prstGeom>
              <a:grpFill/>
              <a:ln w="12700">
                <a:solidFill>
                  <a:schemeClr val="bg1"/>
                </a:solidFill>
              </a:ln>
            </p:spPr>
            <p:txBody>
              <a:bodyPr vert="horz" wrap="square" lIns="91440" tIns="45720" rIns="91440" bIns="45720" numCol="1" anchor="t" anchorCtr="0" compatLnSpc="1">
                <a:prstTxWarp prst="textNoShape">
                  <a:avLst/>
                </a:prstTxWarp>
              </a:bodyPr>
              <a:lstStyle/>
              <a:p>
                <a:endParaRPr lang="en-US" dirty="0"/>
              </a:p>
            </p:txBody>
          </p:sp>
          <p:sp>
            <p:nvSpPr>
              <p:cNvPr id="29" name="Rectangle 221">
                <a:extLst>
                  <a:ext uri="{FF2B5EF4-FFF2-40B4-BE49-F238E27FC236}">
                    <a16:creationId xmlns:a16="http://schemas.microsoft.com/office/drawing/2014/main" id="{B7999743-896E-E89E-FB2C-FCB8D28C80AA}"/>
                  </a:ext>
                </a:extLst>
              </p:cNvPr>
              <p:cNvSpPr>
                <a:spLocks noChangeArrowheads="1"/>
              </p:cNvSpPr>
              <p:nvPr/>
            </p:nvSpPr>
            <p:spPr bwMode="auto">
              <a:xfrm>
                <a:off x="6564621" y="2445555"/>
                <a:ext cx="1588" cy="1588"/>
              </a:xfrm>
              <a:prstGeom prst="rect">
                <a:avLst/>
              </a:prstGeom>
              <a:grpFill/>
              <a:ln w="12700">
                <a:solidFill>
                  <a:schemeClr val="bg1"/>
                </a:solidFill>
              </a:ln>
            </p:spPr>
            <p:txBody>
              <a:bodyPr vert="horz" wrap="square" lIns="91440" tIns="45720" rIns="91440" bIns="45720" numCol="1" anchor="t" anchorCtr="0" compatLnSpc="1">
                <a:prstTxWarp prst="textNoShape">
                  <a:avLst/>
                </a:prstTxWarp>
              </a:bodyPr>
              <a:lstStyle/>
              <a:p>
                <a:endParaRPr lang="en-US" dirty="0"/>
              </a:p>
            </p:txBody>
          </p:sp>
          <p:sp>
            <p:nvSpPr>
              <p:cNvPr id="30" name="Rectangle 222">
                <a:extLst>
                  <a:ext uri="{FF2B5EF4-FFF2-40B4-BE49-F238E27FC236}">
                    <a16:creationId xmlns:a16="http://schemas.microsoft.com/office/drawing/2014/main" id="{10322282-C826-FC3F-D85F-6F5C9C20DD70}"/>
                  </a:ext>
                </a:extLst>
              </p:cNvPr>
              <p:cNvSpPr>
                <a:spLocks noChangeArrowheads="1"/>
              </p:cNvSpPr>
              <p:nvPr/>
            </p:nvSpPr>
            <p:spPr bwMode="auto">
              <a:xfrm>
                <a:off x="6564621" y="2445555"/>
                <a:ext cx="1588" cy="1588"/>
              </a:xfrm>
              <a:prstGeom prst="rect">
                <a:avLst/>
              </a:prstGeom>
              <a:grpFill/>
              <a:ln w="12700">
                <a:solidFill>
                  <a:schemeClr val="bg1"/>
                </a:solidFill>
              </a:ln>
            </p:spPr>
            <p:txBody>
              <a:bodyPr vert="horz" wrap="square" lIns="91440" tIns="45720" rIns="91440" bIns="45720" numCol="1" anchor="t" anchorCtr="0" compatLnSpc="1">
                <a:prstTxWarp prst="textNoShape">
                  <a:avLst/>
                </a:prstTxWarp>
              </a:bodyPr>
              <a:lstStyle/>
              <a:p>
                <a:endParaRPr lang="en-US" dirty="0"/>
              </a:p>
            </p:txBody>
          </p:sp>
          <p:sp>
            <p:nvSpPr>
              <p:cNvPr id="31" name="Rectangle 223">
                <a:extLst>
                  <a:ext uri="{FF2B5EF4-FFF2-40B4-BE49-F238E27FC236}">
                    <a16:creationId xmlns:a16="http://schemas.microsoft.com/office/drawing/2014/main" id="{BB31BB6C-D81F-C4E0-12E6-110FCBE034FF}"/>
                  </a:ext>
                </a:extLst>
              </p:cNvPr>
              <p:cNvSpPr>
                <a:spLocks noChangeArrowheads="1"/>
              </p:cNvSpPr>
              <p:nvPr/>
            </p:nvSpPr>
            <p:spPr bwMode="auto">
              <a:xfrm>
                <a:off x="6564621" y="2445555"/>
                <a:ext cx="1588" cy="1588"/>
              </a:xfrm>
              <a:prstGeom prst="rect">
                <a:avLst/>
              </a:prstGeom>
              <a:grpFill/>
              <a:ln w="12700">
                <a:solidFill>
                  <a:schemeClr val="bg1"/>
                </a:solidFill>
              </a:ln>
            </p:spPr>
            <p:txBody>
              <a:bodyPr vert="horz" wrap="square" lIns="91440" tIns="45720" rIns="91440" bIns="45720" numCol="1" anchor="t" anchorCtr="0" compatLnSpc="1">
                <a:prstTxWarp prst="textNoShape">
                  <a:avLst/>
                </a:prstTxWarp>
              </a:bodyPr>
              <a:lstStyle/>
              <a:p>
                <a:endParaRPr lang="en-US" dirty="0"/>
              </a:p>
            </p:txBody>
          </p:sp>
          <p:sp>
            <p:nvSpPr>
              <p:cNvPr id="32" name="Rectangle 224">
                <a:extLst>
                  <a:ext uri="{FF2B5EF4-FFF2-40B4-BE49-F238E27FC236}">
                    <a16:creationId xmlns:a16="http://schemas.microsoft.com/office/drawing/2014/main" id="{AB24BFF0-D876-462E-793B-4D53DCAF5BD6}"/>
                  </a:ext>
                </a:extLst>
              </p:cNvPr>
              <p:cNvSpPr>
                <a:spLocks noChangeArrowheads="1"/>
              </p:cNvSpPr>
              <p:nvPr/>
            </p:nvSpPr>
            <p:spPr bwMode="auto">
              <a:xfrm>
                <a:off x="6564621" y="2445555"/>
                <a:ext cx="1588" cy="1588"/>
              </a:xfrm>
              <a:prstGeom prst="rect">
                <a:avLst/>
              </a:prstGeom>
              <a:grpFill/>
              <a:ln w="12700">
                <a:solidFill>
                  <a:schemeClr val="bg1"/>
                </a:solidFill>
              </a:ln>
            </p:spPr>
            <p:txBody>
              <a:bodyPr vert="horz" wrap="square" lIns="91440" tIns="45720" rIns="91440" bIns="45720" numCol="1" anchor="t" anchorCtr="0" compatLnSpc="1">
                <a:prstTxWarp prst="textNoShape">
                  <a:avLst/>
                </a:prstTxWarp>
              </a:bodyPr>
              <a:lstStyle/>
              <a:p>
                <a:endParaRPr lang="en-US" dirty="0"/>
              </a:p>
            </p:txBody>
          </p:sp>
          <p:sp>
            <p:nvSpPr>
              <p:cNvPr id="33" name="Rectangle 225">
                <a:extLst>
                  <a:ext uri="{FF2B5EF4-FFF2-40B4-BE49-F238E27FC236}">
                    <a16:creationId xmlns:a16="http://schemas.microsoft.com/office/drawing/2014/main" id="{C1BA9695-E712-9A94-634B-3FA0E0E4B4DD}"/>
                  </a:ext>
                </a:extLst>
              </p:cNvPr>
              <p:cNvSpPr>
                <a:spLocks noChangeArrowheads="1"/>
              </p:cNvSpPr>
              <p:nvPr/>
            </p:nvSpPr>
            <p:spPr bwMode="auto">
              <a:xfrm>
                <a:off x="6564621" y="2445555"/>
                <a:ext cx="1588" cy="1588"/>
              </a:xfrm>
              <a:prstGeom prst="rect">
                <a:avLst/>
              </a:prstGeom>
              <a:grpFill/>
              <a:ln w="12700">
                <a:solidFill>
                  <a:schemeClr val="bg1"/>
                </a:solidFill>
              </a:ln>
            </p:spPr>
            <p:txBody>
              <a:bodyPr vert="horz" wrap="square" lIns="91440" tIns="45720" rIns="91440" bIns="45720" numCol="1" anchor="t" anchorCtr="0" compatLnSpc="1">
                <a:prstTxWarp prst="textNoShape">
                  <a:avLst/>
                </a:prstTxWarp>
              </a:bodyPr>
              <a:lstStyle/>
              <a:p>
                <a:endParaRPr lang="en-US" dirty="0"/>
              </a:p>
            </p:txBody>
          </p:sp>
          <p:sp>
            <p:nvSpPr>
              <p:cNvPr id="34" name="Rectangle 226">
                <a:extLst>
                  <a:ext uri="{FF2B5EF4-FFF2-40B4-BE49-F238E27FC236}">
                    <a16:creationId xmlns:a16="http://schemas.microsoft.com/office/drawing/2014/main" id="{2B2BF241-3ED0-B324-6362-193C2EEECFE8}"/>
                  </a:ext>
                </a:extLst>
              </p:cNvPr>
              <p:cNvSpPr>
                <a:spLocks noChangeArrowheads="1"/>
              </p:cNvSpPr>
              <p:nvPr/>
            </p:nvSpPr>
            <p:spPr bwMode="auto">
              <a:xfrm>
                <a:off x="6564621" y="2445555"/>
                <a:ext cx="1588" cy="1588"/>
              </a:xfrm>
              <a:prstGeom prst="rect">
                <a:avLst/>
              </a:prstGeom>
              <a:grpFill/>
              <a:ln w="12700">
                <a:solidFill>
                  <a:schemeClr val="bg1"/>
                </a:solidFill>
              </a:ln>
            </p:spPr>
            <p:txBody>
              <a:bodyPr vert="horz" wrap="square" lIns="91440" tIns="45720" rIns="91440" bIns="45720" numCol="1" anchor="t" anchorCtr="0" compatLnSpc="1">
                <a:prstTxWarp prst="textNoShape">
                  <a:avLst/>
                </a:prstTxWarp>
              </a:bodyPr>
              <a:lstStyle/>
              <a:p>
                <a:endParaRPr lang="en-US" dirty="0"/>
              </a:p>
            </p:txBody>
          </p:sp>
          <p:sp>
            <p:nvSpPr>
              <p:cNvPr id="35" name="Rectangle 227">
                <a:extLst>
                  <a:ext uri="{FF2B5EF4-FFF2-40B4-BE49-F238E27FC236}">
                    <a16:creationId xmlns:a16="http://schemas.microsoft.com/office/drawing/2014/main" id="{5F368861-C66B-585C-AD84-ACD345BB58B6}"/>
                  </a:ext>
                </a:extLst>
              </p:cNvPr>
              <p:cNvSpPr>
                <a:spLocks noChangeArrowheads="1"/>
              </p:cNvSpPr>
              <p:nvPr/>
            </p:nvSpPr>
            <p:spPr bwMode="auto">
              <a:xfrm>
                <a:off x="6564621" y="2445555"/>
                <a:ext cx="1588" cy="1588"/>
              </a:xfrm>
              <a:prstGeom prst="rect">
                <a:avLst/>
              </a:prstGeom>
              <a:grpFill/>
              <a:ln w="12700">
                <a:solidFill>
                  <a:schemeClr val="bg1"/>
                </a:solidFill>
              </a:ln>
            </p:spPr>
            <p:txBody>
              <a:bodyPr vert="horz" wrap="square" lIns="91440" tIns="45720" rIns="91440" bIns="45720" numCol="1" anchor="t" anchorCtr="0" compatLnSpc="1">
                <a:prstTxWarp prst="textNoShape">
                  <a:avLst/>
                </a:prstTxWarp>
              </a:bodyPr>
              <a:lstStyle/>
              <a:p>
                <a:endParaRPr lang="en-US" dirty="0"/>
              </a:p>
            </p:txBody>
          </p:sp>
          <p:sp>
            <p:nvSpPr>
              <p:cNvPr id="36" name="Rectangle 228">
                <a:extLst>
                  <a:ext uri="{FF2B5EF4-FFF2-40B4-BE49-F238E27FC236}">
                    <a16:creationId xmlns:a16="http://schemas.microsoft.com/office/drawing/2014/main" id="{B5B664E5-4377-15B5-CEC3-F3D0CCA1652C}"/>
                  </a:ext>
                </a:extLst>
              </p:cNvPr>
              <p:cNvSpPr>
                <a:spLocks noChangeArrowheads="1"/>
              </p:cNvSpPr>
              <p:nvPr/>
            </p:nvSpPr>
            <p:spPr bwMode="auto">
              <a:xfrm>
                <a:off x="6564621" y="2445555"/>
                <a:ext cx="1588" cy="1588"/>
              </a:xfrm>
              <a:prstGeom prst="rect">
                <a:avLst/>
              </a:prstGeom>
              <a:grpFill/>
              <a:ln w="12700">
                <a:solidFill>
                  <a:schemeClr val="bg1"/>
                </a:solidFill>
              </a:ln>
            </p:spPr>
            <p:txBody>
              <a:bodyPr vert="horz" wrap="square" lIns="91440" tIns="45720" rIns="91440" bIns="45720" numCol="1" anchor="t" anchorCtr="0" compatLnSpc="1">
                <a:prstTxWarp prst="textNoShape">
                  <a:avLst/>
                </a:prstTxWarp>
              </a:bodyPr>
              <a:lstStyle/>
              <a:p>
                <a:endParaRPr lang="en-US" dirty="0"/>
              </a:p>
            </p:txBody>
          </p:sp>
          <p:sp>
            <p:nvSpPr>
              <p:cNvPr id="37" name="Rectangle 229">
                <a:extLst>
                  <a:ext uri="{FF2B5EF4-FFF2-40B4-BE49-F238E27FC236}">
                    <a16:creationId xmlns:a16="http://schemas.microsoft.com/office/drawing/2014/main" id="{29205B8D-8697-CE3C-2FDC-5E19C41BDB82}"/>
                  </a:ext>
                </a:extLst>
              </p:cNvPr>
              <p:cNvSpPr>
                <a:spLocks noChangeArrowheads="1"/>
              </p:cNvSpPr>
              <p:nvPr/>
            </p:nvSpPr>
            <p:spPr bwMode="auto">
              <a:xfrm>
                <a:off x="6564621" y="2445555"/>
                <a:ext cx="1588" cy="1588"/>
              </a:xfrm>
              <a:prstGeom prst="rect">
                <a:avLst/>
              </a:prstGeom>
              <a:grpFill/>
              <a:ln w="12700">
                <a:solidFill>
                  <a:schemeClr val="bg1"/>
                </a:solidFill>
              </a:ln>
            </p:spPr>
            <p:txBody>
              <a:bodyPr vert="horz" wrap="square" lIns="91440" tIns="45720" rIns="91440" bIns="45720" numCol="1" anchor="t" anchorCtr="0" compatLnSpc="1">
                <a:prstTxWarp prst="textNoShape">
                  <a:avLst/>
                </a:prstTxWarp>
              </a:bodyPr>
              <a:lstStyle/>
              <a:p>
                <a:endParaRPr lang="en-US" dirty="0"/>
              </a:p>
            </p:txBody>
          </p:sp>
          <p:sp>
            <p:nvSpPr>
              <p:cNvPr id="38" name="Rectangle 230">
                <a:extLst>
                  <a:ext uri="{FF2B5EF4-FFF2-40B4-BE49-F238E27FC236}">
                    <a16:creationId xmlns:a16="http://schemas.microsoft.com/office/drawing/2014/main" id="{C1200FF0-EDEB-B8D8-4608-E84A5492C2BD}"/>
                  </a:ext>
                </a:extLst>
              </p:cNvPr>
              <p:cNvSpPr>
                <a:spLocks noChangeArrowheads="1"/>
              </p:cNvSpPr>
              <p:nvPr/>
            </p:nvSpPr>
            <p:spPr bwMode="auto">
              <a:xfrm>
                <a:off x="6564621" y="2445555"/>
                <a:ext cx="1588" cy="1588"/>
              </a:xfrm>
              <a:prstGeom prst="rect">
                <a:avLst/>
              </a:prstGeom>
              <a:grpFill/>
              <a:ln w="12700">
                <a:solidFill>
                  <a:schemeClr val="bg1"/>
                </a:solidFill>
              </a:ln>
            </p:spPr>
            <p:txBody>
              <a:bodyPr vert="horz" wrap="square" lIns="91440" tIns="45720" rIns="91440" bIns="45720" numCol="1" anchor="t" anchorCtr="0" compatLnSpc="1">
                <a:prstTxWarp prst="textNoShape">
                  <a:avLst/>
                </a:prstTxWarp>
              </a:bodyPr>
              <a:lstStyle/>
              <a:p>
                <a:endParaRPr lang="en-US" dirty="0"/>
              </a:p>
            </p:txBody>
          </p:sp>
          <p:sp>
            <p:nvSpPr>
              <p:cNvPr id="39" name="Rectangle 231">
                <a:extLst>
                  <a:ext uri="{FF2B5EF4-FFF2-40B4-BE49-F238E27FC236}">
                    <a16:creationId xmlns:a16="http://schemas.microsoft.com/office/drawing/2014/main" id="{B6AE65CE-1869-6E17-D72E-71F4EE702728}"/>
                  </a:ext>
                </a:extLst>
              </p:cNvPr>
              <p:cNvSpPr>
                <a:spLocks noChangeArrowheads="1"/>
              </p:cNvSpPr>
              <p:nvPr/>
            </p:nvSpPr>
            <p:spPr bwMode="auto">
              <a:xfrm>
                <a:off x="6564621" y="2445555"/>
                <a:ext cx="1588" cy="1588"/>
              </a:xfrm>
              <a:prstGeom prst="rect">
                <a:avLst/>
              </a:prstGeom>
              <a:grpFill/>
              <a:ln w="12700">
                <a:solidFill>
                  <a:schemeClr val="bg1"/>
                </a:solidFill>
              </a:ln>
            </p:spPr>
            <p:txBody>
              <a:bodyPr vert="horz" wrap="square" lIns="91440" tIns="45720" rIns="91440" bIns="45720" numCol="1" anchor="t" anchorCtr="0" compatLnSpc="1">
                <a:prstTxWarp prst="textNoShape">
                  <a:avLst/>
                </a:prstTxWarp>
              </a:bodyPr>
              <a:lstStyle/>
              <a:p>
                <a:endParaRPr lang="en-US" dirty="0"/>
              </a:p>
            </p:txBody>
          </p:sp>
          <p:sp>
            <p:nvSpPr>
              <p:cNvPr id="40" name="Rectangle 232">
                <a:extLst>
                  <a:ext uri="{FF2B5EF4-FFF2-40B4-BE49-F238E27FC236}">
                    <a16:creationId xmlns:a16="http://schemas.microsoft.com/office/drawing/2014/main" id="{61C2EFAB-FC9E-ECA1-C7ED-8DDB10329AC5}"/>
                  </a:ext>
                </a:extLst>
              </p:cNvPr>
              <p:cNvSpPr>
                <a:spLocks noChangeArrowheads="1"/>
              </p:cNvSpPr>
              <p:nvPr/>
            </p:nvSpPr>
            <p:spPr bwMode="auto">
              <a:xfrm>
                <a:off x="6564621" y="2445555"/>
                <a:ext cx="1588" cy="1588"/>
              </a:xfrm>
              <a:prstGeom prst="rect">
                <a:avLst/>
              </a:prstGeom>
              <a:grpFill/>
              <a:ln w="12700">
                <a:solidFill>
                  <a:schemeClr val="bg1"/>
                </a:solidFill>
              </a:ln>
            </p:spPr>
            <p:txBody>
              <a:bodyPr vert="horz" wrap="square" lIns="91440" tIns="45720" rIns="91440" bIns="45720" numCol="1" anchor="t" anchorCtr="0" compatLnSpc="1">
                <a:prstTxWarp prst="textNoShape">
                  <a:avLst/>
                </a:prstTxWarp>
              </a:bodyPr>
              <a:lstStyle/>
              <a:p>
                <a:endParaRPr lang="en-US" dirty="0"/>
              </a:p>
            </p:txBody>
          </p:sp>
          <p:sp>
            <p:nvSpPr>
              <p:cNvPr id="41" name="Rectangle 233">
                <a:extLst>
                  <a:ext uri="{FF2B5EF4-FFF2-40B4-BE49-F238E27FC236}">
                    <a16:creationId xmlns:a16="http://schemas.microsoft.com/office/drawing/2014/main" id="{2473791F-0023-AAA2-A8D9-422994764AFB}"/>
                  </a:ext>
                </a:extLst>
              </p:cNvPr>
              <p:cNvSpPr>
                <a:spLocks noChangeArrowheads="1"/>
              </p:cNvSpPr>
              <p:nvPr/>
            </p:nvSpPr>
            <p:spPr bwMode="auto">
              <a:xfrm>
                <a:off x="6564621" y="2445555"/>
                <a:ext cx="1588" cy="1588"/>
              </a:xfrm>
              <a:prstGeom prst="rect">
                <a:avLst/>
              </a:prstGeom>
              <a:grpFill/>
              <a:ln w="12700">
                <a:solidFill>
                  <a:schemeClr val="bg1"/>
                </a:solidFill>
              </a:ln>
            </p:spPr>
            <p:txBody>
              <a:bodyPr vert="horz" wrap="square" lIns="91440" tIns="45720" rIns="91440" bIns="45720" numCol="1" anchor="t" anchorCtr="0" compatLnSpc="1">
                <a:prstTxWarp prst="textNoShape">
                  <a:avLst/>
                </a:prstTxWarp>
              </a:bodyPr>
              <a:lstStyle/>
              <a:p>
                <a:endParaRPr lang="en-US" dirty="0"/>
              </a:p>
            </p:txBody>
          </p:sp>
          <p:sp>
            <p:nvSpPr>
              <p:cNvPr id="42" name="Rectangle 234">
                <a:extLst>
                  <a:ext uri="{FF2B5EF4-FFF2-40B4-BE49-F238E27FC236}">
                    <a16:creationId xmlns:a16="http://schemas.microsoft.com/office/drawing/2014/main" id="{9EF456CE-32A2-6C1F-5EA5-60C82FE32EBB}"/>
                  </a:ext>
                </a:extLst>
              </p:cNvPr>
              <p:cNvSpPr>
                <a:spLocks noChangeArrowheads="1"/>
              </p:cNvSpPr>
              <p:nvPr/>
            </p:nvSpPr>
            <p:spPr bwMode="auto">
              <a:xfrm>
                <a:off x="6564621" y="2445555"/>
                <a:ext cx="1588" cy="1588"/>
              </a:xfrm>
              <a:prstGeom prst="rect">
                <a:avLst/>
              </a:prstGeom>
              <a:grpFill/>
              <a:ln w="12700">
                <a:solidFill>
                  <a:schemeClr val="bg1"/>
                </a:solidFill>
              </a:ln>
            </p:spPr>
            <p:txBody>
              <a:bodyPr vert="horz" wrap="square" lIns="91440" tIns="45720" rIns="91440" bIns="45720" numCol="1" anchor="t" anchorCtr="0" compatLnSpc="1">
                <a:prstTxWarp prst="textNoShape">
                  <a:avLst/>
                </a:prstTxWarp>
              </a:bodyPr>
              <a:lstStyle/>
              <a:p>
                <a:endParaRPr lang="en-US" dirty="0"/>
              </a:p>
            </p:txBody>
          </p:sp>
          <p:sp>
            <p:nvSpPr>
              <p:cNvPr id="43" name="Rectangle 235">
                <a:extLst>
                  <a:ext uri="{FF2B5EF4-FFF2-40B4-BE49-F238E27FC236}">
                    <a16:creationId xmlns:a16="http://schemas.microsoft.com/office/drawing/2014/main" id="{2323FA87-D991-7048-0B2C-032C1961E3A7}"/>
                  </a:ext>
                </a:extLst>
              </p:cNvPr>
              <p:cNvSpPr>
                <a:spLocks noChangeArrowheads="1"/>
              </p:cNvSpPr>
              <p:nvPr/>
            </p:nvSpPr>
            <p:spPr bwMode="auto">
              <a:xfrm>
                <a:off x="6564621" y="2445555"/>
                <a:ext cx="1588" cy="1588"/>
              </a:xfrm>
              <a:prstGeom prst="rect">
                <a:avLst/>
              </a:prstGeom>
              <a:grpFill/>
              <a:ln w="12700">
                <a:solidFill>
                  <a:schemeClr val="bg1"/>
                </a:solidFill>
              </a:ln>
            </p:spPr>
            <p:txBody>
              <a:bodyPr vert="horz" wrap="square" lIns="91440" tIns="45720" rIns="91440" bIns="45720" numCol="1" anchor="t" anchorCtr="0" compatLnSpc="1">
                <a:prstTxWarp prst="textNoShape">
                  <a:avLst/>
                </a:prstTxWarp>
              </a:bodyPr>
              <a:lstStyle/>
              <a:p>
                <a:endParaRPr lang="en-US" dirty="0"/>
              </a:p>
            </p:txBody>
          </p:sp>
          <p:sp>
            <p:nvSpPr>
              <p:cNvPr id="44" name="Rectangle 236">
                <a:extLst>
                  <a:ext uri="{FF2B5EF4-FFF2-40B4-BE49-F238E27FC236}">
                    <a16:creationId xmlns:a16="http://schemas.microsoft.com/office/drawing/2014/main" id="{CAEF11C2-4C23-2249-FDB4-3071B0A2A626}"/>
                  </a:ext>
                </a:extLst>
              </p:cNvPr>
              <p:cNvSpPr>
                <a:spLocks noChangeArrowheads="1"/>
              </p:cNvSpPr>
              <p:nvPr/>
            </p:nvSpPr>
            <p:spPr bwMode="auto">
              <a:xfrm>
                <a:off x="6564621" y="2445555"/>
                <a:ext cx="1588" cy="1588"/>
              </a:xfrm>
              <a:prstGeom prst="rect">
                <a:avLst/>
              </a:prstGeom>
              <a:grpFill/>
              <a:ln w="12700">
                <a:solidFill>
                  <a:schemeClr val="bg1"/>
                </a:solidFill>
              </a:ln>
            </p:spPr>
            <p:txBody>
              <a:bodyPr vert="horz" wrap="square" lIns="91440" tIns="45720" rIns="91440" bIns="45720" numCol="1" anchor="t" anchorCtr="0" compatLnSpc="1">
                <a:prstTxWarp prst="textNoShape">
                  <a:avLst/>
                </a:prstTxWarp>
              </a:bodyPr>
              <a:lstStyle/>
              <a:p>
                <a:endParaRPr lang="en-US" dirty="0"/>
              </a:p>
            </p:txBody>
          </p:sp>
          <p:sp>
            <p:nvSpPr>
              <p:cNvPr id="45" name="Rectangle 237">
                <a:extLst>
                  <a:ext uri="{FF2B5EF4-FFF2-40B4-BE49-F238E27FC236}">
                    <a16:creationId xmlns:a16="http://schemas.microsoft.com/office/drawing/2014/main" id="{FDC8CC17-6196-F8C9-59D2-79B5D381A338}"/>
                  </a:ext>
                </a:extLst>
              </p:cNvPr>
              <p:cNvSpPr>
                <a:spLocks noChangeArrowheads="1"/>
              </p:cNvSpPr>
              <p:nvPr/>
            </p:nvSpPr>
            <p:spPr bwMode="auto">
              <a:xfrm>
                <a:off x="6564621" y="2445555"/>
                <a:ext cx="1588" cy="1588"/>
              </a:xfrm>
              <a:prstGeom prst="rect">
                <a:avLst/>
              </a:prstGeom>
              <a:grpFill/>
              <a:ln w="12700">
                <a:solidFill>
                  <a:schemeClr val="bg1"/>
                </a:solidFill>
              </a:ln>
            </p:spPr>
            <p:txBody>
              <a:bodyPr vert="horz" wrap="square" lIns="91440" tIns="45720" rIns="91440" bIns="45720" numCol="1" anchor="t" anchorCtr="0" compatLnSpc="1">
                <a:prstTxWarp prst="textNoShape">
                  <a:avLst/>
                </a:prstTxWarp>
              </a:bodyPr>
              <a:lstStyle/>
              <a:p>
                <a:endParaRPr lang="en-US" dirty="0"/>
              </a:p>
            </p:txBody>
          </p:sp>
          <p:sp>
            <p:nvSpPr>
              <p:cNvPr id="46" name="Rectangle 238">
                <a:extLst>
                  <a:ext uri="{FF2B5EF4-FFF2-40B4-BE49-F238E27FC236}">
                    <a16:creationId xmlns:a16="http://schemas.microsoft.com/office/drawing/2014/main" id="{040D0C47-8B18-6BEF-44AD-631191ACAD13}"/>
                  </a:ext>
                </a:extLst>
              </p:cNvPr>
              <p:cNvSpPr>
                <a:spLocks noChangeArrowheads="1"/>
              </p:cNvSpPr>
              <p:nvPr/>
            </p:nvSpPr>
            <p:spPr bwMode="auto">
              <a:xfrm>
                <a:off x="6564621" y="2445555"/>
                <a:ext cx="1588" cy="1588"/>
              </a:xfrm>
              <a:prstGeom prst="rect">
                <a:avLst/>
              </a:prstGeom>
              <a:grpFill/>
              <a:ln w="12700">
                <a:solidFill>
                  <a:schemeClr val="bg1"/>
                </a:solidFill>
              </a:ln>
            </p:spPr>
            <p:txBody>
              <a:bodyPr vert="horz" wrap="square" lIns="91440" tIns="45720" rIns="91440" bIns="45720" numCol="1" anchor="t" anchorCtr="0" compatLnSpc="1">
                <a:prstTxWarp prst="textNoShape">
                  <a:avLst/>
                </a:prstTxWarp>
              </a:bodyPr>
              <a:lstStyle/>
              <a:p>
                <a:endParaRPr lang="en-US" dirty="0"/>
              </a:p>
            </p:txBody>
          </p:sp>
          <p:sp>
            <p:nvSpPr>
              <p:cNvPr id="47" name="Rectangle 239">
                <a:extLst>
                  <a:ext uri="{FF2B5EF4-FFF2-40B4-BE49-F238E27FC236}">
                    <a16:creationId xmlns:a16="http://schemas.microsoft.com/office/drawing/2014/main" id="{3D10F06C-44F9-8449-A48B-02C494616D72}"/>
                  </a:ext>
                </a:extLst>
              </p:cNvPr>
              <p:cNvSpPr>
                <a:spLocks noChangeArrowheads="1"/>
              </p:cNvSpPr>
              <p:nvPr/>
            </p:nvSpPr>
            <p:spPr bwMode="auto">
              <a:xfrm>
                <a:off x="6564621" y="2445555"/>
                <a:ext cx="1588" cy="1588"/>
              </a:xfrm>
              <a:prstGeom prst="rect">
                <a:avLst/>
              </a:prstGeom>
              <a:grpFill/>
              <a:ln w="12700">
                <a:solidFill>
                  <a:schemeClr val="bg1"/>
                </a:solidFill>
              </a:ln>
            </p:spPr>
            <p:txBody>
              <a:bodyPr vert="horz" wrap="square" lIns="91440" tIns="45720" rIns="91440" bIns="45720" numCol="1" anchor="t" anchorCtr="0" compatLnSpc="1">
                <a:prstTxWarp prst="textNoShape">
                  <a:avLst/>
                </a:prstTxWarp>
              </a:bodyPr>
              <a:lstStyle/>
              <a:p>
                <a:endParaRPr lang="en-US" dirty="0"/>
              </a:p>
            </p:txBody>
          </p:sp>
          <p:sp>
            <p:nvSpPr>
              <p:cNvPr id="48" name="Rectangle 240">
                <a:extLst>
                  <a:ext uri="{FF2B5EF4-FFF2-40B4-BE49-F238E27FC236}">
                    <a16:creationId xmlns:a16="http://schemas.microsoft.com/office/drawing/2014/main" id="{5A5AE346-B9A9-19D1-8801-E63903F3D671}"/>
                  </a:ext>
                </a:extLst>
              </p:cNvPr>
              <p:cNvSpPr>
                <a:spLocks noChangeArrowheads="1"/>
              </p:cNvSpPr>
              <p:nvPr/>
            </p:nvSpPr>
            <p:spPr bwMode="auto">
              <a:xfrm>
                <a:off x="6564621" y="2445555"/>
                <a:ext cx="1588" cy="1588"/>
              </a:xfrm>
              <a:prstGeom prst="rect">
                <a:avLst/>
              </a:prstGeom>
              <a:grpFill/>
              <a:ln w="12700">
                <a:solidFill>
                  <a:schemeClr val="bg1"/>
                </a:solidFill>
              </a:ln>
            </p:spPr>
            <p:txBody>
              <a:bodyPr vert="horz" wrap="square" lIns="91440" tIns="45720" rIns="91440" bIns="45720" numCol="1" anchor="t" anchorCtr="0" compatLnSpc="1">
                <a:prstTxWarp prst="textNoShape">
                  <a:avLst/>
                </a:prstTxWarp>
              </a:bodyPr>
              <a:lstStyle/>
              <a:p>
                <a:endParaRPr lang="en-US" dirty="0"/>
              </a:p>
            </p:txBody>
          </p:sp>
          <p:sp>
            <p:nvSpPr>
              <p:cNvPr id="49" name="Rectangle 241">
                <a:extLst>
                  <a:ext uri="{FF2B5EF4-FFF2-40B4-BE49-F238E27FC236}">
                    <a16:creationId xmlns:a16="http://schemas.microsoft.com/office/drawing/2014/main" id="{F4CC0C37-9E3C-2969-282E-84D6A99C56F7}"/>
                  </a:ext>
                </a:extLst>
              </p:cNvPr>
              <p:cNvSpPr>
                <a:spLocks noChangeArrowheads="1"/>
              </p:cNvSpPr>
              <p:nvPr/>
            </p:nvSpPr>
            <p:spPr bwMode="auto">
              <a:xfrm>
                <a:off x="6564621" y="2445555"/>
                <a:ext cx="1588" cy="1588"/>
              </a:xfrm>
              <a:prstGeom prst="rect">
                <a:avLst/>
              </a:prstGeom>
              <a:grpFill/>
              <a:ln w="12700">
                <a:solidFill>
                  <a:schemeClr val="bg1"/>
                </a:solidFill>
              </a:ln>
            </p:spPr>
            <p:txBody>
              <a:bodyPr vert="horz" wrap="square" lIns="91440" tIns="45720" rIns="91440" bIns="45720" numCol="1" anchor="t" anchorCtr="0" compatLnSpc="1">
                <a:prstTxWarp prst="textNoShape">
                  <a:avLst/>
                </a:prstTxWarp>
              </a:bodyPr>
              <a:lstStyle/>
              <a:p>
                <a:endParaRPr lang="en-US" dirty="0"/>
              </a:p>
            </p:txBody>
          </p:sp>
          <p:sp>
            <p:nvSpPr>
              <p:cNvPr id="50" name="Rectangle 242">
                <a:extLst>
                  <a:ext uri="{FF2B5EF4-FFF2-40B4-BE49-F238E27FC236}">
                    <a16:creationId xmlns:a16="http://schemas.microsoft.com/office/drawing/2014/main" id="{E3054452-24D2-C63A-6920-1D0F1D0A3A07}"/>
                  </a:ext>
                </a:extLst>
              </p:cNvPr>
              <p:cNvSpPr>
                <a:spLocks noChangeArrowheads="1"/>
              </p:cNvSpPr>
              <p:nvPr/>
            </p:nvSpPr>
            <p:spPr bwMode="auto">
              <a:xfrm>
                <a:off x="6564621" y="2445555"/>
                <a:ext cx="1588" cy="1588"/>
              </a:xfrm>
              <a:prstGeom prst="rect">
                <a:avLst/>
              </a:prstGeom>
              <a:grpFill/>
              <a:ln w="12700">
                <a:solidFill>
                  <a:schemeClr val="bg1"/>
                </a:solidFill>
              </a:ln>
            </p:spPr>
            <p:txBody>
              <a:bodyPr vert="horz" wrap="square" lIns="91440" tIns="45720" rIns="91440" bIns="45720" numCol="1" anchor="t" anchorCtr="0" compatLnSpc="1">
                <a:prstTxWarp prst="textNoShape">
                  <a:avLst/>
                </a:prstTxWarp>
              </a:bodyPr>
              <a:lstStyle/>
              <a:p>
                <a:endParaRPr lang="en-US" dirty="0"/>
              </a:p>
            </p:txBody>
          </p:sp>
          <p:sp>
            <p:nvSpPr>
              <p:cNvPr id="51" name="Rectangle 243">
                <a:extLst>
                  <a:ext uri="{FF2B5EF4-FFF2-40B4-BE49-F238E27FC236}">
                    <a16:creationId xmlns:a16="http://schemas.microsoft.com/office/drawing/2014/main" id="{BD3C26C1-ECF3-1C94-CBE0-90F34F6C23EE}"/>
                  </a:ext>
                </a:extLst>
              </p:cNvPr>
              <p:cNvSpPr>
                <a:spLocks noChangeArrowheads="1"/>
              </p:cNvSpPr>
              <p:nvPr/>
            </p:nvSpPr>
            <p:spPr bwMode="auto">
              <a:xfrm>
                <a:off x="6564621" y="2445555"/>
                <a:ext cx="1588" cy="1588"/>
              </a:xfrm>
              <a:prstGeom prst="rect">
                <a:avLst/>
              </a:prstGeom>
              <a:grpFill/>
              <a:ln w="12700">
                <a:solidFill>
                  <a:schemeClr val="bg1"/>
                </a:solidFill>
              </a:ln>
            </p:spPr>
            <p:txBody>
              <a:bodyPr vert="horz" wrap="square" lIns="91440" tIns="45720" rIns="91440" bIns="45720" numCol="1" anchor="t" anchorCtr="0" compatLnSpc="1">
                <a:prstTxWarp prst="textNoShape">
                  <a:avLst/>
                </a:prstTxWarp>
              </a:bodyPr>
              <a:lstStyle/>
              <a:p>
                <a:endParaRPr lang="en-US" dirty="0"/>
              </a:p>
            </p:txBody>
          </p:sp>
          <p:sp>
            <p:nvSpPr>
              <p:cNvPr id="52" name="Rectangle 244">
                <a:extLst>
                  <a:ext uri="{FF2B5EF4-FFF2-40B4-BE49-F238E27FC236}">
                    <a16:creationId xmlns:a16="http://schemas.microsoft.com/office/drawing/2014/main" id="{508741F1-AFAD-FBCE-64C3-F12BF105D5C3}"/>
                  </a:ext>
                </a:extLst>
              </p:cNvPr>
              <p:cNvSpPr>
                <a:spLocks noChangeArrowheads="1"/>
              </p:cNvSpPr>
              <p:nvPr/>
            </p:nvSpPr>
            <p:spPr bwMode="auto">
              <a:xfrm>
                <a:off x="6564621" y="2445555"/>
                <a:ext cx="1588" cy="1588"/>
              </a:xfrm>
              <a:prstGeom prst="rect">
                <a:avLst/>
              </a:prstGeom>
              <a:grpFill/>
              <a:ln w="12700">
                <a:solidFill>
                  <a:schemeClr val="bg1"/>
                </a:solidFill>
              </a:ln>
            </p:spPr>
            <p:txBody>
              <a:bodyPr vert="horz" wrap="square" lIns="91440" tIns="45720" rIns="91440" bIns="45720" numCol="1" anchor="t" anchorCtr="0" compatLnSpc="1">
                <a:prstTxWarp prst="textNoShape">
                  <a:avLst/>
                </a:prstTxWarp>
              </a:bodyPr>
              <a:lstStyle/>
              <a:p>
                <a:endParaRPr lang="en-US" dirty="0"/>
              </a:p>
            </p:txBody>
          </p:sp>
          <p:sp>
            <p:nvSpPr>
              <p:cNvPr id="53" name="Rectangle 245">
                <a:extLst>
                  <a:ext uri="{FF2B5EF4-FFF2-40B4-BE49-F238E27FC236}">
                    <a16:creationId xmlns:a16="http://schemas.microsoft.com/office/drawing/2014/main" id="{9252AAE1-A11C-2013-1C23-6973C3BF9165}"/>
                  </a:ext>
                </a:extLst>
              </p:cNvPr>
              <p:cNvSpPr>
                <a:spLocks noChangeArrowheads="1"/>
              </p:cNvSpPr>
              <p:nvPr/>
            </p:nvSpPr>
            <p:spPr bwMode="auto">
              <a:xfrm>
                <a:off x="6564621" y="2445555"/>
                <a:ext cx="1588" cy="1588"/>
              </a:xfrm>
              <a:prstGeom prst="rect">
                <a:avLst/>
              </a:prstGeom>
              <a:grpFill/>
              <a:ln w="12700">
                <a:solidFill>
                  <a:schemeClr val="bg1"/>
                </a:solidFill>
              </a:ln>
            </p:spPr>
            <p:txBody>
              <a:bodyPr vert="horz" wrap="square" lIns="91440" tIns="45720" rIns="91440" bIns="45720" numCol="1" anchor="t" anchorCtr="0" compatLnSpc="1">
                <a:prstTxWarp prst="textNoShape">
                  <a:avLst/>
                </a:prstTxWarp>
              </a:bodyPr>
              <a:lstStyle/>
              <a:p>
                <a:endParaRPr lang="en-US" dirty="0"/>
              </a:p>
            </p:txBody>
          </p:sp>
          <p:sp>
            <p:nvSpPr>
              <p:cNvPr id="54" name="Rectangle 246">
                <a:extLst>
                  <a:ext uri="{FF2B5EF4-FFF2-40B4-BE49-F238E27FC236}">
                    <a16:creationId xmlns:a16="http://schemas.microsoft.com/office/drawing/2014/main" id="{F21D5E52-1AB6-4E0B-477A-6E6E8FC81B02}"/>
                  </a:ext>
                </a:extLst>
              </p:cNvPr>
              <p:cNvSpPr>
                <a:spLocks noChangeArrowheads="1"/>
              </p:cNvSpPr>
              <p:nvPr/>
            </p:nvSpPr>
            <p:spPr bwMode="auto">
              <a:xfrm>
                <a:off x="6564621" y="2445555"/>
                <a:ext cx="1588" cy="1588"/>
              </a:xfrm>
              <a:prstGeom prst="rect">
                <a:avLst/>
              </a:prstGeom>
              <a:grpFill/>
              <a:ln w="12700">
                <a:solidFill>
                  <a:schemeClr val="bg1"/>
                </a:solidFill>
              </a:ln>
            </p:spPr>
            <p:txBody>
              <a:bodyPr vert="horz" wrap="square" lIns="91440" tIns="45720" rIns="91440" bIns="45720" numCol="1" anchor="t" anchorCtr="0" compatLnSpc="1">
                <a:prstTxWarp prst="textNoShape">
                  <a:avLst/>
                </a:prstTxWarp>
              </a:bodyPr>
              <a:lstStyle/>
              <a:p>
                <a:endParaRPr lang="en-US" dirty="0"/>
              </a:p>
            </p:txBody>
          </p:sp>
          <p:sp>
            <p:nvSpPr>
              <p:cNvPr id="55" name="Rectangle 247">
                <a:extLst>
                  <a:ext uri="{FF2B5EF4-FFF2-40B4-BE49-F238E27FC236}">
                    <a16:creationId xmlns:a16="http://schemas.microsoft.com/office/drawing/2014/main" id="{C2768CE3-6B1D-46F7-4A22-7D09E106B25A}"/>
                  </a:ext>
                </a:extLst>
              </p:cNvPr>
              <p:cNvSpPr>
                <a:spLocks noChangeArrowheads="1"/>
              </p:cNvSpPr>
              <p:nvPr/>
            </p:nvSpPr>
            <p:spPr bwMode="auto">
              <a:xfrm>
                <a:off x="6564621" y="2445555"/>
                <a:ext cx="1588" cy="1588"/>
              </a:xfrm>
              <a:prstGeom prst="rect">
                <a:avLst/>
              </a:prstGeom>
              <a:grpFill/>
              <a:ln w="12700">
                <a:solidFill>
                  <a:schemeClr val="bg1"/>
                </a:solidFill>
              </a:ln>
            </p:spPr>
            <p:txBody>
              <a:bodyPr vert="horz" wrap="square" lIns="91440" tIns="45720" rIns="91440" bIns="45720" numCol="1" anchor="t" anchorCtr="0" compatLnSpc="1">
                <a:prstTxWarp prst="textNoShape">
                  <a:avLst/>
                </a:prstTxWarp>
              </a:bodyPr>
              <a:lstStyle/>
              <a:p>
                <a:endParaRPr lang="en-US" dirty="0"/>
              </a:p>
            </p:txBody>
          </p:sp>
          <p:sp>
            <p:nvSpPr>
              <p:cNvPr id="56" name="Rectangle 248">
                <a:extLst>
                  <a:ext uri="{FF2B5EF4-FFF2-40B4-BE49-F238E27FC236}">
                    <a16:creationId xmlns:a16="http://schemas.microsoft.com/office/drawing/2014/main" id="{3983D5B1-382A-BE33-5058-B975DCFACA77}"/>
                  </a:ext>
                </a:extLst>
              </p:cNvPr>
              <p:cNvSpPr>
                <a:spLocks noChangeArrowheads="1"/>
              </p:cNvSpPr>
              <p:nvPr/>
            </p:nvSpPr>
            <p:spPr bwMode="auto">
              <a:xfrm>
                <a:off x="6564621" y="2445555"/>
                <a:ext cx="1588" cy="1588"/>
              </a:xfrm>
              <a:prstGeom prst="rect">
                <a:avLst/>
              </a:prstGeom>
              <a:grpFill/>
              <a:ln w="12700">
                <a:solidFill>
                  <a:schemeClr val="bg1"/>
                </a:solidFill>
              </a:ln>
            </p:spPr>
            <p:txBody>
              <a:bodyPr vert="horz" wrap="square" lIns="91440" tIns="45720" rIns="91440" bIns="45720" numCol="1" anchor="t" anchorCtr="0" compatLnSpc="1">
                <a:prstTxWarp prst="textNoShape">
                  <a:avLst/>
                </a:prstTxWarp>
              </a:bodyPr>
              <a:lstStyle/>
              <a:p>
                <a:endParaRPr lang="en-US" dirty="0"/>
              </a:p>
            </p:txBody>
          </p:sp>
          <p:sp>
            <p:nvSpPr>
              <p:cNvPr id="57" name="Rectangle 249">
                <a:extLst>
                  <a:ext uri="{FF2B5EF4-FFF2-40B4-BE49-F238E27FC236}">
                    <a16:creationId xmlns:a16="http://schemas.microsoft.com/office/drawing/2014/main" id="{85068C1E-B601-B31F-12E5-1EA8EB509CAA}"/>
                  </a:ext>
                </a:extLst>
              </p:cNvPr>
              <p:cNvSpPr>
                <a:spLocks noChangeArrowheads="1"/>
              </p:cNvSpPr>
              <p:nvPr/>
            </p:nvSpPr>
            <p:spPr bwMode="auto">
              <a:xfrm>
                <a:off x="6564621" y="2445555"/>
                <a:ext cx="1588" cy="1588"/>
              </a:xfrm>
              <a:prstGeom prst="rect">
                <a:avLst/>
              </a:prstGeom>
              <a:grpFill/>
              <a:ln w="12700">
                <a:solidFill>
                  <a:schemeClr val="bg1"/>
                </a:solidFill>
              </a:ln>
            </p:spPr>
            <p:txBody>
              <a:bodyPr vert="horz" wrap="square" lIns="91440" tIns="45720" rIns="91440" bIns="45720" numCol="1" anchor="t" anchorCtr="0" compatLnSpc="1">
                <a:prstTxWarp prst="textNoShape">
                  <a:avLst/>
                </a:prstTxWarp>
              </a:bodyPr>
              <a:lstStyle/>
              <a:p>
                <a:endParaRPr lang="en-US" dirty="0"/>
              </a:p>
            </p:txBody>
          </p:sp>
          <p:sp>
            <p:nvSpPr>
              <p:cNvPr id="58" name="Rectangle 250">
                <a:extLst>
                  <a:ext uri="{FF2B5EF4-FFF2-40B4-BE49-F238E27FC236}">
                    <a16:creationId xmlns:a16="http://schemas.microsoft.com/office/drawing/2014/main" id="{5EA60CA7-B9C5-9A76-AC2A-940725E07540}"/>
                  </a:ext>
                </a:extLst>
              </p:cNvPr>
              <p:cNvSpPr>
                <a:spLocks noChangeArrowheads="1"/>
              </p:cNvSpPr>
              <p:nvPr/>
            </p:nvSpPr>
            <p:spPr bwMode="auto">
              <a:xfrm>
                <a:off x="6564621" y="2445555"/>
                <a:ext cx="1588" cy="1588"/>
              </a:xfrm>
              <a:prstGeom prst="rect">
                <a:avLst/>
              </a:prstGeom>
              <a:grpFill/>
              <a:ln w="12700">
                <a:solidFill>
                  <a:schemeClr val="bg1"/>
                </a:solidFill>
              </a:ln>
            </p:spPr>
            <p:txBody>
              <a:bodyPr vert="horz" wrap="square" lIns="91440" tIns="45720" rIns="91440" bIns="45720" numCol="1" anchor="t" anchorCtr="0" compatLnSpc="1">
                <a:prstTxWarp prst="textNoShape">
                  <a:avLst/>
                </a:prstTxWarp>
              </a:bodyPr>
              <a:lstStyle/>
              <a:p>
                <a:endParaRPr lang="en-US" dirty="0"/>
              </a:p>
            </p:txBody>
          </p:sp>
          <p:sp>
            <p:nvSpPr>
              <p:cNvPr id="59" name="Rectangle 251">
                <a:extLst>
                  <a:ext uri="{FF2B5EF4-FFF2-40B4-BE49-F238E27FC236}">
                    <a16:creationId xmlns:a16="http://schemas.microsoft.com/office/drawing/2014/main" id="{DE58195D-3669-A0AB-A107-6FBEA25B9BE2}"/>
                  </a:ext>
                </a:extLst>
              </p:cNvPr>
              <p:cNvSpPr>
                <a:spLocks noChangeArrowheads="1"/>
              </p:cNvSpPr>
              <p:nvPr/>
            </p:nvSpPr>
            <p:spPr bwMode="auto">
              <a:xfrm>
                <a:off x="6564621" y="2445555"/>
                <a:ext cx="1588" cy="1588"/>
              </a:xfrm>
              <a:prstGeom prst="rect">
                <a:avLst/>
              </a:prstGeom>
              <a:grpFill/>
              <a:ln w="12700">
                <a:solidFill>
                  <a:schemeClr val="bg1"/>
                </a:solidFill>
              </a:ln>
            </p:spPr>
            <p:txBody>
              <a:bodyPr vert="horz" wrap="square" lIns="91440" tIns="45720" rIns="91440" bIns="45720" numCol="1" anchor="t" anchorCtr="0" compatLnSpc="1">
                <a:prstTxWarp prst="textNoShape">
                  <a:avLst/>
                </a:prstTxWarp>
              </a:bodyPr>
              <a:lstStyle/>
              <a:p>
                <a:endParaRPr lang="en-US" dirty="0"/>
              </a:p>
            </p:txBody>
          </p:sp>
          <p:sp>
            <p:nvSpPr>
              <p:cNvPr id="60" name="Rectangle 252">
                <a:extLst>
                  <a:ext uri="{FF2B5EF4-FFF2-40B4-BE49-F238E27FC236}">
                    <a16:creationId xmlns:a16="http://schemas.microsoft.com/office/drawing/2014/main" id="{CD649425-1529-68B0-D455-565984D95DE5}"/>
                  </a:ext>
                </a:extLst>
              </p:cNvPr>
              <p:cNvSpPr>
                <a:spLocks noChangeArrowheads="1"/>
              </p:cNvSpPr>
              <p:nvPr/>
            </p:nvSpPr>
            <p:spPr bwMode="auto">
              <a:xfrm>
                <a:off x="6564621" y="2445555"/>
                <a:ext cx="1588" cy="1588"/>
              </a:xfrm>
              <a:prstGeom prst="rect">
                <a:avLst/>
              </a:prstGeom>
              <a:grpFill/>
              <a:ln w="12700">
                <a:solidFill>
                  <a:schemeClr val="bg1"/>
                </a:solidFill>
              </a:ln>
            </p:spPr>
            <p:txBody>
              <a:bodyPr vert="horz" wrap="square" lIns="91440" tIns="45720" rIns="91440" bIns="45720" numCol="1" anchor="t" anchorCtr="0" compatLnSpc="1">
                <a:prstTxWarp prst="textNoShape">
                  <a:avLst/>
                </a:prstTxWarp>
              </a:bodyPr>
              <a:lstStyle/>
              <a:p>
                <a:endParaRPr lang="en-US" dirty="0"/>
              </a:p>
            </p:txBody>
          </p:sp>
          <p:sp>
            <p:nvSpPr>
              <p:cNvPr id="61" name="Rectangle 253">
                <a:extLst>
                  <a:ext uri="{FF2B5EF4-FFF2-40B4-BE49-F238E27FC236}">
                    <a16:creationId xmlns:a16="http://schemas.microsoft.com/office/drawing/2014/main" id="{9CC9AB6C-C62D-9584-9A2D-42E60F7981AD}"/>
                  </a:ext>
                </a:extLst>
              </p:cNvPr>
              <p:cNvSpPr>
                <a:spLocks noChangeArrowheads="1"/>
              </p:cNvSpPr>
              <p:nvPr/>
            </p:nvSpPr>
            <p:spPr bwMode="auto">
              <a:xfrm>
                <a:off x="6564621" y="2445555"/>
                <a:ext cx="1588" cy="1588"/>
              </a:xfrm>
              <a:prstGeom prst="rect">
                <a:avLst/>
              </a:prstGeom>
              <a:grpFill/>
              <a:ln w="12700">
                <a:solidFill>
                  <a:schemeClr val="bg1"/>
                </a:solidFill>
              </a:ln>
            </p:spPr>
            <p:txBody>
              <a:bodyPr vert="horz" wrap="square" lIns="91440" tIns="45720" rIns="91440" bIns="45720" numCol="1" anchor="t" anchorCtr="0" compatLnSpc="1">
                <a:prstTxWarp prst="textNoShape">
                  <a:avLst/>
                </a:prstTxWarp>
              </a:bodyPr>
              <a:lstStyle/>
              <a:p>
                <a:endParaRPr lang="en-US" dirty="0"/>
              </a:p>
            </p:txBody>
          </p:sp>
          <p:sp>
            <p:nvSpPr>
              <p:cNvPr id="62" name="Rectangle 254">
                <a:extLst>
                  <a:ext uri="{FF2B5EF4-FFF2-40B4-BE49-F238E27FC236}">
                    <a16:creationId xmlns:a16="http://schemas.microsoft.com/office/drawing/2014/main" id="{C27D1C7D-700B-D1CF-6753-16F091A98A21}"/>
                  </a:ext>
                </a:extLst>
              </p:cNvPr>
              <p:cNvSpPr>
                <a:spLocks noChangeArrowheads="1"/>
              </p:cNvSpPr>
              <p:nvPr/>
            </p:nvSpPr>
            <p:spPr bwMode="auto">
              <a:xfrm>
                <a:off x="6564621" y="2445555"/>
                <a:ext cx="1588" cy="1588"/>
              </a:xfrm>
              <a:prstGeom prst="rect">
                <a:avLst/>
              </a:prstGeom>
              <a:grpFill/>
              <a:ln w="12700">
                <a:solidFill>
                  <a:schemeClr val="bg1"/>
                </a:solidFill>
              </a:ln>
            </p:spPr>
            <p:txBody>
              <a:bodyPr vert="horz" wrap="square" lIns="91440" tIns="45720" rIns="91440" bIns="45720" numCol="1" anchor="t" anchorCtr="0" compatLnSpc="1">
                <a:prstTxWarp prst="textNoShape">
                  <a:avLst/>
                </a:prstTxWarp>
              </a:bodyPr>
              <a:lstStyle/>
              <a:p>
                <a:endParaRPr lang="en-US" dirty="0"/>
              </a:p>
            </p:txBody>
          </p:sp>
          <p:sp>
            <p:nvSpPr>
              <p:cNvPr id="63" name="Rectangle 255">
                <a:extLst>
                  <a:ext uri="{FF2B5EF4-FFF2-40B4-BE49-F238E27FC236}">
                    <a16:creationId xmlns:a16="http://schemas.microsoft.com/office/drawing/2014/main" id="{01304CB7-98B4-F15C-850E-F55D5E95F92F}"/>
                  </a:ext>
                </a:extLst>
              </p:cNvPr>
              <p:cNvSpPr>
                <a:spLocks noChangeArrowheads="1"/>
              </p:cNvSpPr>
              <p:nvPr/>
            </p:nvSpPr>
            <p:spPr bwMode="auto">
              <a:xfrm>
                <a:off x="6564621" y="2445555"/>
                <a:ext cx="1588" cy="1588"/>
              </a:xfrm>
              <a:prstGeom prst="rect">
                <a:avLst/>
              </a:prstGeom>
              <a:grpFill/>
              <a:ln w="12700">
                <a:solidFill>
                  <a:schemeClr val="bg1"/>
                </a:solidFill>
              </a:ln>
            </p:spPr>
            <p:txBody>
              <a:bodyPr vert="horz" wrap="square" lIns="91440" tIns="45720" rIns="91440" bIns="45720" numCol="1" anchor="t" anchorCtr="0" compatLnSpc="1">
                <a:prstTxWarp prst="textNoShape">
                  <a:avLst/>
                </a:prstTxWarp>
              </a:bodyPr>
              <a:lstStyle/>
              <a:p>
                <a:endParaRPr lang="en-US" dirty="0"/>
              </a:p>
            </p:txBody>
          </p:sp>
          <p:sp>
            <p:nvSpPr>
              <p:cNvPr id="64" name="Rectangle 256">
                <a:extLst>
                  <a:ext uri="{FF2B5EF4-FFF2-40B4-BE49-F238E27FC236}">
                    <a16:creationId xmlns:a16="http://schemas.microsoft.com/office/drawing/2014/main" id="{E93133A9-8636-73D4-A32D-59F7007748AD}"/>
                  </a:ext>
                </a:extLst>
              </p:cNvPr>
              <p:cNvSpPr>
                <a:spLocks noChangeArrowheads="1"/>
              </p:cNvSpPr>
              <p:nvPr/>
            </p:nvSpPr>
            <p:spPr bwMode="auto">
              <a:xfrm>
                <a:off x="6564621" y="2445555"/>
                <a:ext cx="1588" cy="1588"/>
              </a:xfrm>
              <a:prstGeom prst="rect">
                <a:avLst/>
              </a:prstGeom>
              <a:grpFill/>
              <a:ln w="12700">
                <a:solidFill>
                  <a:schemeClr val="bg1"/>
                </a:solidFill>
              </a:ln>
            </p:spPr>
            <p:txBody>
              <a:bodyPr vert="horz" wrap="square" lIns="91440" tIns="45720" rIns="91440" bIns="45720" numCol="1" anchor="t" anchorCtr="0" compatLnSpc="1">
                <a:prstTxWarp prst="textNoShape">
                  <a:avLst/>
                </a:prstTxWarp>
              </a:bodyPr>
              <a:lstStyle/>
              <a:p>
                <a:endParaRPr lang="en-US" dirty="0"/>
              </a:p>
            </p:txBody>
          </p:sp>
          <p:sp>
            <p:nvSpPr>
              <p:cNvPr id="65" name="Rectangle 257">
                <a:extLst>
                  <a:ext uri="{FF2B5EF4-FFF2-40B4-BE49-F238E27FC236}">
                    <a16:creationId xmlns:a16="http://schemas.microsoft.com/office/drawing/2014/main" id="{C1CE60F3-A46C-5AB1-60E4-235D7448FCCA}"/>
                  </a:ext>
                </a:extLst>
              </p:cNvPr>
              <p:cNvSpPr>
                <a:spLocks noChangeArrowheads="1"/>
              </p:cNvSpPr>
              <p:nvPr/>
            </p:nvSpPr>
            <p:spPr bwMode="auto">
              <a:xfrm>
                <a:off x="6564621" y="2445555"/>
                <a:ext cx="1588" cy="1588"/>
              </a:xfrm>
              <a:prstGeom prst="rect">
                <a:avLst/>
              </a:prstGeom>
              <a:grpFill/>
              <a:ln w="12700">
                <a:solidFill>
                  <a:schemeClr val="bg1"/>
                </a:solidFill>
              </a:ln>
            </p:spPr>
            <p:txBody>
              <a:bodyPr vert="horz" wrap="square" lIns="91440" tIns="45720" rIns="91440" bIns="45720" numCol="1" anchor="t" anchorCtr="0" compatLnSpc="1">
                <a:prstTxWarp prst="textNoShape">
                  <a:avLst/>
                </a:prstTxWarp>
              </a:bodyPr>
              <a:lstStyle/>
              <a:p>
                <a:endParaRPr lang="en-US" dirty="0"/>
              </a:p>
            </p:txBody>
          </p:sp>
          <p:sp>
            <p:nvSpPr>
              <p:cNvPr id="66" name="Rectangle 258">
                <a:extLst>
                  <a:ext uri="{FF2B5EF4-FFF2-40B4-BE49-F238E27FC236}">
                    <a16:creationId xmlns:a16="http://schemas.microsoft.com/office/drawing/2014/main" id="{538ED059-EFDA-6869-5BAE-B85E9C7032D4}"/>
                  </a:ext>
                </a:extLst>
              </p:cNvPr>
              <p:cNvSpPr>
                <a:spLocks noChangeArrowheads="1"/>
              </p:cNvSpPr>
              <p:nvPr/>
            </p:nvSpPr>
            <p:spPr bwMode="auto">
              <a:xfrm>
                <a:off x="6564621" y="2445555"/>
                <a:ext cx="1588" cy="1588"/>
              </a:xfrm>
              <a:prstGeom prst="rect">
                <a:avLst/>
              </a:prstGeom>
              <a:grpFill/>
              <a:ln w="12700">
                <a:solidFill>
                  <a:schemeClr val="bg1"/>
                </a:solidFill>
              </a:ln>
            </p:spPr>
            <p:txBody>
              <a:bodyPr vert="horz" wrap="square" lIns="91440" tIns="45720" rIns="91440" bIns="45720" numCol="1" anchor="t" anchorCtr="0" compatLnSpc="1">
                <a:prstTxWarp prst="textNoShape">
                  <a:avLst/>
                </a:prstTxWarp>
              </a:bodyPr>
              <a:lstStyle/>
              <a:p>
                <a:endParaRPr lang="en-US" dirty="0"/>
              </a:p>
            </p:txBody>
          </p:sp>
          <p:sp>
            <p:nvSpPr>
              <p:cNvPr id="67" name="Rectangle 259">
                <a:extLst>
                  <a:ext uri="{FF2B5EF4-FFF2-40B4-BE49-F238E27FC236}">
                    <a16:creationId xmlns:a16="http://schemas.microsoft.com/office/drawing/2014/main" id="{9A3249D5-0827-56CA-83C7-E424D163DD30}"/>
                  </a:ext>
                </a:extLst>
              </p:cNvPr>
              <p:cNvSpPr>
                <a:spLocks noChangeArrowheads="1"/>
              </p:cNvSpPr>
              <p:nvPr/>
            </p:nvSpPr>
            <p:spPr bwMode="auto">
              <a:xfrm>
                <a:off x="6564621" y="2445555"/>
                <a:ext cx="1588" cy="1588"/>
              </a:xfrm>
              <a:prstGeom prst="rect">
                <a:avLst/>
              </a:prstGeom>
              <a:grpFill/>
              <a:ln w="12700">
                <a:solidFill>
                  <a:schemeClr val="bg1"/>
                </a:solidFill>
              </a:ln>
            </p:spPr>
            <p:txBody>
              <a:bodyPr vert="horz" wrap="square" lIns="91440" tIns="45720" rIns="91440" bIns="45720" numCol="1" anchor="t" anchorCtr="0" compatLnSpc="1">
                <a:prstTxWarp prst="textNoShape">
                  <a:avLst/>
                </a:prstTxWarp>
              </a:bodyPr>
              <a:lstStyle/>
              <a:p>
                <a:endParaRPr lang="en-US" dirty="0"/>
              </a:p>
            </p:txBody>
          </p:sp>
          <p:sp>
            <p:nvSpPr>
              <p:cNvPr id="68" name="Rectangle 260">
                <a:extLst>
                  <a:ext uri="{FF2B5EF4-FFF2-40B4-BE49-F238E27FC236}">
                    <a16:creationId xmlns:a16="http://schemas.microsoft.com/office/drawing/2014/main" id="{24A47D28-B73C-4FDE-3E8E-55CF0DED2AAE}"/>
                  </a:ext>
                </a:extLst>
              </p:cNvPr>
              <p:cNvSpPr>
                <a:spLocks noChangeArrowheads="1"/>
              </p:cNvSpPr>
              <p:nvPr/>
            </p:nvSpPr>
            <p:spPr bwMode="auto">
              <a:xfrm>
                <a:off x="6564621" y="2445555"/>
                <a:ext cx="1588" cy="1588"/>
              </a:xfrm>
              <a:prstGeom prst="rect">
                <a:avLst/>
              </a:prstGeom>
              <a:grpFill/>
              <a:ln w="12700">
                <a:solidFill>
                  <a:schemeClr val="bg1"/>
                </a:solidFill>
              </a:ln>
            </p:spPr>
            <p:txBody>
              <a:bodyPr vert="horz" wrap="square" lIns="91440" tIns="45720" rIns="91440" bIns="45720" numCol="1" anchor="t" anchorCtr="0" compatLnSpc="1">
                <a:prstTxWarp prst="textNoShape">
                  <a:avLst/>
                </a:prstTxWarp>
              </a:bodyPr>
              <a:lstStyle/>
              <a:p>
                <a:endParaRPr lang="en-US" dirty="0"/>
              </a:p>
            </p:txBody>
          </p:sp>
          <p:sp>
            <p:nvSpPr>
              <p:cNvPr id="69" name="Rectangle 261">
                <a:extLst>
                  <a:ext uri="{FF2B5EF4-FFF2-40B4-BE49-F238E27FC236}">
                    <a16:creationId xmlns:a16="http://schemas.microsoft.com/office/drawing/2014/main" id="{48FBD43C-7305-1B52-FCA0-B4D9A6DE4D40}"/>
                  </a:ext>
                </a:extLst>
              </p:cNvPr>
              <p:cNvSpPr>
                <a:spLocks noChangeArrowheads="1"/>
              </p:cNvSpPr>
              <p:nvPr/>
            </p:nvSpPr>
            <p:spPr bwMode="auto">
              <a:xfrm>
                <a:off x="6564621" y="2445555"/>
                <a:ext cx="1588" cy="1588"/>
              </a:xfrm>
              <a:prstGeom prst="rect">
                <a:avLst/>
              </a:prstGeom>
              <a:grpFill/>
              <a:ln w="12700">
                <a:solidFill>
                  <a:schemeClr val="bg1"/>
                </a:solidFill>
              </a:ln>
            </p:spPr>
            <p:txBody>
              <a:bodyPr vert="horz" wrap="square" lIns="91440" tIns="45720" rIns="91440" bIns="45720" numCol="1" anchor="t" anchorCtr="0" compatLnSpc="1">
                <a:prstTxWarp prst="textNoShape">
                  <a:avLst/>
                </a:prstTxWarp>
              </a:bodyPr>
              <a:lstStyle/>
              <a:p>
                <a:endParaRPr lang="en-US" dirty="0"/>
              </a:p>
            </p:txBody>
          </p:sp>
          <p:sp>
            <p:nvSpPr>
              <p:cNvPr id="70" name="Rectangle 262">
                <a:extLst>
                  <a:ext uri="{FF2B5EF4-FFF2-40B4-BE49-F238E27FC236}">
                    <a16:creationId xmlns:a16="http://schemas.microsoft.com/office/drawing/2014/main" id="{6A220BA0-78EE-8B33-8450-FE86081F8050}"/>
                  </a:ext>
                </a:extLst>
              </p:cNvPr>
              <p:cNvSpPr>
                <a:spLocks noChangeArrowheads="1"/>
              </p:cNvSpPr>
              <p:nvPr/>
            </p:nvSpPr>
            <p:spPr bwMode="auto">
              <a:xfrm>
                <a:off x="6564621" y="2445555"/>
                <a:ext cx="1588" cy="1588"/>
              </a:xfrm>
              <a:prstGeom prst="rect">
                <a:avLst/>
              </a:prstGeom>
              <a:grpFill/>
              <a:ln w="12700">
                <a:solidFill>
                  <a:schemeClr val="bg1"/>
                </a:solidFill>
              </a:ln>
            </p:spPr>
            <p:txBody>
              <a:bodyPr vert="horz" wrap="square" lIns="91440" tIns="45720" rIns="91440" bIns="45720" numCol="1" anchor="t" anchorCtr="0" compatLnSpc="1">
                <a:prstTxWarp prst="textNoShape">
                  <a:avLst/>
                </a:prstTxWarp>
              </a:bodyPr>
              <a:lstStyle/>
              <a:p>
                <a:endParaRPr lang="en-US" dirty="0"/>
              </a:p>
            </p:txBody>
          </p:sp>
          <p:sp>
            <p:nvSpPr>
              <p:cNvPr id="71" name="Rectangle 263">
                <a:extLst>
                  <a:ext uri="{FF2B5EF4-FFF2-40B4-BE49-F238E27FC236}">
                    <a16:creationId xmlns:a16="http://schemas.microsoft.com/office/drawing/2014/main" id="{273FC119-1BC7-F849-9E60-80A6FD551C83}"/>
                  </a:ext>
                </a:extLst>
              </p:cNvPr>
              <p:cNvSpPr>
                <a:spLocks noChangeArrowheads="1"/>
              </p:cNvSpPr>
              <p:nvPr/>
            </p:nvSpPr>
            <p:spPr bwMode="auto">
              <a:xfrm>
                <a:off x="6564621" y="2445555"/>
                <a:ext cx="1588" cy="1588"/>
              </a:xfrm>
              <a:prstGeom prst="rect">
                <a:avLst/>
              </a:prstGeom>
              <a:grpFill/>
              <a:ln w="12700">
                <a:solidFill>
                  <a:schemeClr val="bg1"/>
                </a:solidFill>
              </a:ln>
            </p:spPr>
            <p:txBody>
              <a:bodyPr vert="horz" wrap="square" lIns="91440" tIns="45720" rIns="91440" bIns="45720" numCol="1" anchor="t" anchorCtr="0" compatLnSpc="1">
                <a:prstTxWarp prst="textNoShape">
                  <a:avLst/>
                </a:prstTxWarp>
              </a:bodyPr>
              <a:lstStyle/>
              <a:p>
                <a:endParaRPr lang="en-US" dirty="0"/>
              </a:p>
            </p:txBody>
          </p:sp>
          <p:sp>
            <p:nvSpPr>
              <p:cNvPr id="72" name="Rectangle 264">
                <a:extLst>
                  <a:ext uri="{FF2B5EF4-FFF2-40B4-BE49-F238E27FC236}">
                    <a16:creationId xmlns:a16="http://schemas.microsoft.com/office/drawing/2014/main" id="{6EC39FD9-52D6-0832-1FBF-FDB98D8E9ABA}"/>
                  </a:ext>
                </a:extLst>
              </p:cNvPr>
              <p:cNvSpPr>
                <a:spLocks noChangeArrowheads="1"/>
              </p:cNvSpPr>
              <p:nvPr/>
            </p:nvSpPr>
            <p:spPr bwMode="auto">
              <a:xfrm>
                <a:off x="6564621" y="2445555"/>
                <a:ext cx="1588" cy="1588"/>
              </a:xfrm>
              <a:prstGeom prst="rect">
                <a:avLst/>
              </a:prstGeom>
              <a:grpFill/>
              <a:ln w="12700">
                <a:solidFill>
                  <a:schemeClr val="bg1"/>
                </a:solidFill>
              </a:ln>
            </p:spPr>
            <p:txBody>
              <a:bodyPr vert="horz" wrap="square" lIns="91440" tIns="45720" rIns="91440" bIns="45720" numCol="1" anchor="t" anchorCtr="0" compatLnSpc="1">
                <a:prstTxWarp prst="textNoShape">
                  <a:avLst/>
                </a:prstTxWarp>
              </a:bodyPr>
              <a:lstStyle/>
              <a:p>
                <a:endParaRPr lang="en-US" dirty="0"/>
              </a:p>
            </p:txBody>
          </p:sp>
          <p:sp>
            <p:nvSpPr>
              <p:cNvPr id="73" name="Rectangle 265">
                <a:extLst>
                  <a:ext uri="{FF2B5EF4-FFF2-40B4-BE49-F238E27FC236}">
                    <a16:creationId xmlns:a16="http://schemas.microsoft.com/office/drawing/2014/main" id="{37307DC7-CB39-AC85-4582-DBA0084BA892}"/>
                  </a:ext>
                </a:extLst>
              </p:cNvPr>
              <p:cNvSpPr>
                <a:spLocks noChangeArrowheads="1"/>
              </p:cNvSpPr>
              <p:nvPr/>
            </p:nvSpPr>
            <p:spPr bwMode="auto">
              <a:xfrm>
                <a:off x="6564621" y="2445555"/>
                <a:ext cx="1588" cy="1588"/>
              </a:xfrm>
              <a:prstGeom prst="rect">
                <a:avLst/>
              </a:prstGeom>
              <a:grpFill/>
              <a:ln w="12700">
                <a:solidFill>
                  <a:schemeClr val="bg1"/>
                </a:solidFill>
              </a:ln>
            </p:spPr>
            <p:txBody>
              <a:bodyPr vert="horz" wrap="square" lIns="91440" tIns="45720" rIns="91440" bIns="45720" numCol="1" anchor="t" anchorCtr="0" compatLnSpc="1">
                <a:prstTxWarp prst="textNoShape">
                  <a:avLst/>
                </a:prstTxWarp>
              </a:bodyPr>
              <a:lstStyle/>
              <a:p>
                <a:endParaRPr lang="en-US" dirty="0"/>
              </a:p>
            </p:txBody>
          </p:sp>
          <p:sp>
            <p:nvSpPr>
              <p:cNvPr id="74" name="Rectangle 266">
                <a:extLst>
                  <a:ext uri="{FF2B5EF4-FFF2-40B4-BE49-F238E27FC236}">
                    <a16:creationId xmlns:a16="http://schemas.microsoft.com/office/drawing/2014/main" id="{B7C98857-1CC2-9197-5E9A-237AE7A011B3}"/>
                  </a:ext>
                </a:extLst>
              </p:cNvPr>
              <p:cNvSpPr>
                <a:spLocks noChangeArrowheads="1"/>
              </p:cNvSpPr>
              <p:nvPr/>
            </p:nvSpPr>
            <p:spPr bwMode="auto">
              <a:xfrm>
                <a:off x="6564621" y="2445555"/>
                <a:ext cx="1588" cy="1588"/>
              </a:xfrm>
              <a:prstGeom prst="rect">
                <a:avLst/>
              </a:prstGeom>
              <a:grpFill/>
              <a:ln w="12700">
                <a:solidFill>
                  <a:schemeClr val="bg1"/>
                </a:solidFill>
              </a:ln>
            </p:spPr>
            <p:txBody>
              <a:bodyPr vert="horz" wrap="square" lIns="91440" tIns="45720" rIns="91440" bIns="45720" numCol="1" anchor="t" anchorCtr="0" compatLnSpc="1">
                <a:prstTxWarp prst="textNoShape">
                  <a:avLst/>
                </a:prstTxWarp>
              </a:bodyPr>
              <a:lstStyle/>
              <a:p>
                <a:endParaRPr lang="en-US" dirty="0"/>
              </a:p>
            </p:txBody>
          </p:sp>
          <p:sp>
            <p:nvSpPr>
              <p:cNvPr id="75" name="Rectangle 267">
                <a:extLst>
                  <a:ext uri="{FF2B5EF4-FFF2-40B4-BE49-F238E27FC236}">
                    <a16:creationId xmlns:a16="http://schemas.microsoft.com/office/drawing/2014/main" id="{C87032EF-E5F7-08D8-02C2-466D1A8B312F}"/>
                  </a:ext>
                </a:extLst>
              </p:cNvPr>
              <p:cNvSpPr>
                <a:spLocks noChangeArrowheads="1"/>
              </p:cNvSpPr>
              <p:nvPr/>
            </p:nvSpPr>
            <p:spPr bwMode="auto">
              <a:xfrm>
                <a:off x="6564621" y="2445555"/>
                <a:ext cx="1588" cy="1588"/>
              </a:xfrm>
              <a:prstGeom prst="rect">
                <a:avLst/>
              </a:prstGeom>
              <a:grpFill/>
              <a:ln w="12700">
                <a:solidFill>
                  <a:schemeClr val="bg1"/>
                </a:solidFill>
              </a:ln>
            </p:spPr>
            <p:txBody>
              <a:bodyPr vert="horz" wrap="square" lIns="91440" tIns="45720" rIns="91440" bIns="45720" numCol="1" anchor="t" anchorCtr="0" compatLnSpc="1">
                <a:prstTxWarp prst="textNoShape">
                  <a:avLst/>
                </a:prstTxWarp>
              </a:bodyPr>
              <a:lstStyle/>
              <a:p>
                <a:endParaRPr lang="en-US" dirty="0"/>
              </a:p>
            </p:txBody>
          </p:sp>
          <p:sp>
            <p:nvSpPr>
              <p:cNvPr id="76" name="Rectangle 268">
                <a:extLst>
                  <a:ext uri="{FF2B5EF4-FFF2-40B4-BE49-F238E27FC236}">
                    <a16:creationId xmlns:a16="http://schemas.microsoft.com/office/drawing/2014/main" id="{E93B69A5-5641-D476-7B08-4A130C82C440}"/>
                  </a:ext>
                </a:extLst>
              </p:cNvPr>
              <p:cNvSpPr>
                <a:spLocks noChangeArrowheads="1"/>
              </p:cNvSpPr>
              <p:nvPr/>
            </p:nvSpPr>
            <p:spPr bwMode="auto">
              <a:xfrm>
                <a:off x="6564621" y="2445555"/>
                <a:ext cx="1588" cy="1588"/>
              </a:xfrm>
              <a:prstGeom prst="rect">
                <a:avLst/>
              </a:prstGeom>
              <a:grpFill/>
              <a:ln w="12700">
                <a:solidFill>
                  <a:schemeClr val="bg1"/>
                </a:solidFill>
              </a:ln>
            </p:spPr>
            <p:txBody>
              <a:bodyPr vert="horz" wrap="square" lIns="91440" tIns="45720" rIns="91440" bIns="45720" numCol="1" anchor="t" anchorCtr="0" compatLnSpc="1">
                <a:prstTxWarp prst="textNoShape">
                  <a:avLst/>
                </a:prstTxWarp>
              </a:bodyPr>
              <a:lstStyle/>
              <a:p>
                <a:endParaRPr lang="en-US" dirty="0"/>
              </a:p>
            </p:txBody>
          </p:sp>
          <p:sp>
            <p:nvSpPr>
              <p:cNvPr id="77" name="Rectangle 269">
                <a:extLst>
                  <a:ext uri="{FF2B5EF4-FFF2-40B4-BE49-F238E27FC236}">
                    <a16:creationId xmlns:a16="http://schemas.microsoft.com/office/drawing/2014/main" id="{B4216B21-431C-8869-A881-A92AD67FF2D5}"/>
                  </a:ext>
                </a:extLst>
              </p:cNvPr>
              <p:cNvSpPr>
                <a:spLocks noChangeArrowheads="1"/>
              </p:cNvSpPr>
              <p:nvPr/>
            </p:nvSpPr>
            <p:spPr bwMode="auto">
              <a:xfrm>
                <a:off x="6564621" y="2445555"/>
                <a:ext cx="1588" cy="1588"/>
              </a:xfrm>
              <a:prstGeom prst="rect">
                <a:avLst/>
              </a:prstGeom>
              <a:grpFill/>
              <a:ln w="12700">
                <a:solidFill>
                  <a:schemeClr val="bg1"/>
                </a:solidFill>
              </a:ln>
            </p:spPr>
            <p:txBody>
              <a:bodyPr vert="horz" wrap="square" lIns="91440" tIns="45720" rIns="91440" bIns="45720" numCol="1" anchor="t" anchorCtr="0" compatLnSpc="1">
                <a:prstTxWarp prst="textNoShape">
                  <a:avLst/>
                </a:prstTxWarp>
              </a:bodyPr>
              <a:lstStyle/>
              <a:p>
                <a:endParaRPr lang="en-US" dirty="0"/>
              </a:p>
            </p:txBody>
          </p:sp>
          <p:sp>
            <p:nvSpPr>
              <p:cNvPr id="78" name="Rectangle 270">
                <a:extLst>
                  <a:ext uri="{FF2B5EF4-FFF2-40B4-BE49-F238E27FC236}">
                    <a16:creationId xmlns:a16="http://schemas.microsoft.com/office/drawing/2014/main" id="{EEB52950-0BA4-B30D-BC6B-A49AEED8046C}"/>
                  </a:ext>
                </a:extLst>
              </p:cNvPr>
              <p:cNvSpPr>
                <a:spLocks noChangeArrowheads="1"/>
              </p:cNvSpPr>
              <p:nvPr/>
            </p:nvSpPr>
            <p:spPr bwMode="auto">
              <a:xfrm>
                <a:off x="6564621" y="2445555"/>
                <a:ext cx="1588" cy="1588"/>
              </a:xfrm>
              <a:prstGeom prst="rect">
                <a:avLst/>
              </a:prstGeom>
              <a:grpFill/>
              <a:ln w="12700">
                <a:solidFill>
                  <a:schemeClr val="bg1"/>
                </a:solidFill>
              </a:ln>
            </p:spPr>
            <p:txBody>
              <a:bodyPr vert="horz" wrap="square" lIns="91440" tIns="45720" rIns="91440" bIns="45720" numCol="1" anchor="t" anchorCtr="0" compatLnSpc="1">
                <a:prstTxWarp prst="textNoShape">
                  <a:avLst/>
                </a:prstTxWarp>
              </a:bodyPr>
              <a:lstStyle/>
              <a:p>
                <a:endParaRPr lang="en-US" dirty="0"/>
              </a:p>
            </p:txBody>
          </p:sp>
          <p:sp>
            <p:nvSpPr>
              <p:cNvPr id="79" name="Rectangle 271">
                <a:extLst>
                  <a:ext uri="{FF2B5EF4-FFF2-40B4-BE49-F238E27FC236}">
                    <a16:creationId xmlns:a16="http://schemas.microsoft.com/office/drawing/2014/main" id="{D65F98C4-C43E-7BD4-3046-50C2B92DB803}"/>
                  </a:ext>
                </a:extLst>
              </p:cNvPr>
              <p:cNvSpPr>
                <a:spLocks noChangeArrowheads="1"/>
              </p:cNvSpPr>
              <p:nvPr/>
            </p:nvSpPr>
            <p:spPr bwMode="auto">
              <a:xfrm>
                <a:off x="6564621" y="2445555"/>
                <a:ext cx="1588" cy="1588"/>
              </a:xfrm>
              <a:prstGeom prst="rect">
                <a:avLst/>
              </a:prstGeom>
              <a:grpFill/>
              <a:ln w="12700">
                <a:solidFill>
                  <a:schemeClr val="bg1"/>
                </a:solidFill>
              </a:ln>
            </p:spPr>
            <p:txBody>
              <a:bodyPr vert="horz" wrap="square" lIns="91440" tIns="45720" rIns="91440" bIns="45720" numCol="1" anchor="t" anchorCtr="0" compatLnSpc="1">
                <a:prstTxWarp prst="textNoShape">
                  <a:avLst/>
                </a:prstTxWarp>
              </a:bodyPr>
              <a:lstStyle/>
              <a:p>
                <a:endParaRPr lang="en-US" dirty="0"/>
              </a:p>
            </p:txBody>
          </p:sp>
        </p:grpSp>
        <p:grpSp>
          <p:nvGrpSpPr>
            <p:cNvPr id="280" name="Group 279">
              <a:extLst>
                <a:ext uri="{FF2B5EF4-FFF2-40B4-BE49-F238E27FC236}">
                  <a16:creationId xmlns:a16="http://schemas.microsoft.com/office/drawing/2014/main" id="{1AE05EC4-454E-49B6-24E6-CCB6E8569B1F}"/>
                </a:ext>
              </a:extLst>
            </p:cNvPr>
            <p:cNvGrpSpPr/>
            <p:nvPr/>
          </p:nvGrpSpPr>
          <p:grpSpPr>
            <a:xfrm>
              <a:off x="4961560" y="3233891"/>
              <a:ext cx="361066" cy="361065"/>
              <a:chOff x="1658978" y="2439112"/>
              <a:chExt cx="630834" cy="630832"/>
            </a:xfrm>
          </p:grpSpPr>
          <p:sp>
            <p:nvSpPr>
              <p:cNvPr id="281" name="Oval 280">
                <a:extLst>
                  <a:ext uri="{FF2B5EF4-FFF2-40B4-BE49-F238E27FC236}">
                    <a16:creationId xmlns:a16="http://schemas.microsoft.com/office/drawing/2014/main" id="{3CCD733B-7E42-F887-6DCB-9B6CF65E75A8}"/>
                  </a:ext>
                </a:extLst>
              </p:cNvPr>
              <p:cNvSpPr/>
              <p:nvPr/>
            </p:nvSpPr>
            <p:spPr>
              <a:xfrm>
                <a:off x="1658978" y="2439112"/>
                <a:ext cx="630834" cy="630832"/>
              </a:xfrm>
              <a:prstGeom prst="ellipse">
                <a:avLst/>
              </a:prstGeom>
              <a:solidFill>
                <a:srgbClr val="326295">
                  <a:alpha val="3529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2" name="Oval 281">
                <a:extLst>
                  <a:ext uri="{FF2B5EF4-FFF2-40B4-BE49-F238E27FC236}">
                    <a16:creationId xmlns:a16="http://schemas.microsoft.com/office/drawing/2014/main" id="{89D9A4C8-30D3-2F35-3536-FB2F2251F063}"/>
                  </a:ext>
                </a:extLst>
              </p:cNvPr>
              <p:cNvSpPr/>
              <p:nvPr/>
            </p:nvSpPr>
            <p:spPr>
              <a:xfrm flipV="1">
                <a:off x="1840722" y="2620855"/>
                <a:ext cx="267344" cy="267344"/>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98" name="Group 297">
              <a:extLst>
                <a:ext uri="{FF2B5EF4-FFF2-40B4-BE49-F238E27FC236}">
                  <a16:creationId xmlns:a16="http://schemas.microsoft.com/office/drawing/2014/main" id="{78E6B2AC-3CBF-6DA8-F0B0-3C0624A06A21}"/>
                </a:ext>
              </a:extLst>
            </p:cNvPr>
            <p:cNvGrpSpPr/>
            <p:nvPr/>
          </p:nvGrpSpPr>
          <p:grpSpPr>
            <a:xfrm>
              <a:off x="7932898" y="2649533"/>
              <a:ext cx="361066" cy="361065"/>
              <a:chOff x="1658978" y="2439112"/>
              <a:chExt cx="630834" cy="630832"/>
            </a:xfrm>
          </p:grpSpPr>
          <p:sp>
            <p:nvSpPr>
              <p:cNvPr id="299" name="Oval 298">
                <a:extLst>
                  <a:ext uri="{FF2B5EF4-FFF2-40B4-BE49-F238E27FC236}">
                    <a16:creationId xmlns:a16="http://schemas.microsoft.com/office/drawing/2014/main" id="{BE6A1E6E-C84C-19FE-379F-FBF041F5131F}"/>
                  </a:ext>
                </a:extLst>
              </p:cNvPr>
              <p:cNvSpPr/>
              <p:nvPr/>
            </p:nvSpPr>
            <p:spPr>
              <a:xfrm>
                <a:off x="1658978" y="2439112"/>
                <a:ext cx="630834" cy="630832"/>
              </a:xfrm>
              <a:prstGeom prst="ellipse">
                <a:avLst/>
              </a:prstGeom>
              <a:solidFill>
                <a:schemeClr val="accent6">
                  <a:alpha val="3529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0" name="Oval 299">
                <a:extLst>
                  <a:ext uri="{FF2B5EF4-FFF2-40B4-BE49-F238E27FC236}">
                    <a16:creationId xmlns:a16="http://schemas.microsoft.com/office/drawing/2014/main" id="{9B6F5BD5-D6C3-5FB4-73E3-F7190BDC78F1}"/>
                  </a:ext>
                </a:extLst>
              </p:cNvPr>
              <p:cNvSpPr/>
              <p:nvPr/>
            </p:nvSpPr>
            <p:spPr>
              <a:xfrm flipV="1">
                <a:off x="1840722" y="2620855"/>
                <a:ext cx="267344" cy="267344"/>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301" name="object 36">
              <a:extLst>
                <a:ext uri="{FF2B5EF4-FFF2-40B4-BE49-F238E27FC236}">
                  <a16:creationId xmlns:a16="http://schemas.microsoft.com/office/drawing/2014/main" id="{2000F5B2-856E-20DB-B5E9-1ED176ECC5F0}"/>
                </a:ext>
              </a:extLst>
            </p:cNvPr>
            <p:cNvSpPr txBox="1"/>
            <p:nvPr/>
          </p:nvSpPr>
          <p:spPr>
            <a:xfrm>
              <a:off x="7959340" y="2220677"/>
              <a:ext cx="1520368" cy="357647"/>
            </a:xfrm>
            <a:prstGeom prst="rect">
              <a:avLst/>
            </a:prstGeom>
          </p:spPr>
          <p:txBody>
            <a:bodyPr vert="horz" wrap="square" lIns="0" tIns="23489" rIns="0" bIns="0" rtlCol="0">
              <a:spAutoFit/>
            </a:bodyPr>
            <a:lstStyle/>
            <a:p>
              <a:pPr marL="7701" marR="3081" defTabSz="554492">
                <a:spcBef>
                  <a:spcPts val="200"/>
                </a:spcBef>
                <a:defRPr/>
              </a:pPr>
              <a:r>
                <a:rPr lang="en-US" sz="1050" kern="0" dirty="0">
                  <a:solidFill>
                    <a:srgbClr val="14396C"/>
                  </a:solidFill>
                  <a:latin typeface="Aptos" panose="020B0004020202020204" pitchFamily="34" charset="0"/>
                  <a:cs typeface="Arial"/>
                </a:rPr>
                <a:t>Sofia, Bulgaria</a:t>
              </a:r>
            </a:p>
            <a:p>
              <a:pPr marL="7701" marR="3081" defTabSz="554492">
                <a:spcBef>
                  <a:spcPts val="200"/>
                </a:spcBef>
                <a:defRPr/>
              </a:pPr>
              <a:r>
                <a:rPr lang="en-US" sz="849" b="1" i="1" kern="0" dirty="0">
                  <a:solidFill>
                    <a:srgbClr val="14396C"/>
                  </a:solidFill>
                  <a:latin typeface="Aptos" panose="020B0004020202020204" pitchFamily="34" charset="0"/>
                  <a:cs typeface="Arial"/>
                </a:rPr>
                <a:t>Manufacturing facility </a:t>
              </a:r>
            </a:p>
          </p:txBody>
        </p:sp>
        <p:grpSp>
          <p:nvGrpSpPr>
            <p:cNvPr id="302" name="Group 301">
              <a:extLst>
                <a:ext uri="{FF2B5EF4-FFF2-40B4-BE49-F238E27FC236}">
                  <a16:creationId xmlns:a16="http://schemas.microsoft.com/office/drawing/2014/main" id="{A6A19AA1-53E2-AB1A-88A9-A0022FDE0119}"/>
                </a:ext>
              </a:extLst>
            </p:cNvPr>
            <p:cNvGrpSpPr/>
            <p:nvPr/>
          </p:nvGrpSpPr>
          <p:grpSpPr>
            <a:xfrm>
              <a:off x="10452587" y="2901845"/>
              <a:ext cx="361066" cy="361065"/>
              <a:chOff x="1658978" y="2439112"/>
              <a:chExt cx="630834" cy="630832"/>
            </a:xfrm>
          </p:grpSpPr>
          <p:sp>
            <p:nvSpPr>
              <p:cNvPr id="303" name="Oval 302">
                <a:extLst>
                  <a:ext uri="{FF2B5EF4-FFF2-40B4-BE49-F238E27FC236}">
                    <a16:creationId xmlns:a16="http://schemas.microsoft.com/office/drawing/2014/main" id="{BD93B839-82DC-B345-7F5B-FBD7F909B19B}"/>
                  </a:ext>
                </a:extLst>
              </p:cNvPr>
              <p:cNvSpPr/>
              <p:nvPr/>
            </p:nvSpPr>
            <p:spPr>
              <a:xfrm>
                <a:off x="1658978" y="2439112"/>
                <a:ext cx="630834" cy="630832"/>
              </a:xfrm>
              <a:prstGeom prst="ellipse">
                <a:avLst/>
              </a:prstGeom>
              <a:solidFill>
                <a:schemeClr val="accent1">
                  <a:alpha val="3529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4" name="Oval 303">
                <a:extLst>
                  <a:ext uri="{FF2B5EF4-FFF2-40B4-BE49-F238E27FC236}">
                    <a16:creationId xmlns:a16="http://schemas.microsoft.com/office/drawing/2014/main" id="{D1327A92-66DE-CE55-1D71-16CF48C462BA}"/>
                  </a:ext>
                </a:extLst>
              </p:cNvPr>
              <p:cNvSpPr/>
              <p:nvPr/>
            </p:nvSpPr>
            <p:spPr>
              <a:xfrm flipV="1">
                <a:off x="1840722" y="2620855"/>
                <a:ext cx="267344" cy="26734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305" name="object 36">
              <a:extLst>
                <a:ext uri="{FF2B5EF4-FFF2-40B4-BE49-F238E27FC236}">
                  <a16:creationId xmlns:a16="http://schemas.microsoft.com/office/drawing/2014/main" id="{6F653171-4845-3E70-56C8-835385732881}"/>
                </a:ext>
              </a:extLst>
            </p:cNvPr>
            <p:cNvSpPr txBox="1"/>
            <p:nvPr/>
          </p:nvSpPr>
          <p:spPr>
            <a:xfrm>
              <a:off x="10582455" y="3326368"/>
              <a:ext cx="1357927" cy="494452"/>
            </a:xfrm>
            <a:prstGeom prst="rect">
              <a:avLst/>
            </a:prstGeom>
          </p:spPr>
          <p:txBody>
            <a:bodyPr vert="horz" wrap="square" lIns="0" tIns="23489" rIns="0" bIns="0" rtlCol="0">
              <a:spAutoFit/>
            </a:bodyPr>
            <a:lstStyle/>
            <a:p>
              <a:pPr marL="7701" marR="3081" defTabSz="554492">
                <a:spcBef>
                  <a:spcPts val="200"/>
                </a:spcBef>
                <a:defRPr/>
              </a:pPr>
              <a:r>
                <a:rPr lang="en-US" sz="1050" kern="0" dirty="0">
                  <a:solidFill>
                    <a:srgbClr val="14396C"/>
                  </a:solidFill>
                  <a:latin typeface="Aptos" panose="020B0004020202020204" pitchFamily="34" charset="0"/>
                  <a:cs typeface="Arial"/>
                </a:rPr>
                <a:t>Ningbo, China</a:t>
              </a:r>
            </a:p>
            <a:p>
              <a:pPr marL="7701" marR="3081" defTabSz="554492">
                <a:spcBef>
                  <a:spcPts val="200"/>
                </a:spcBef>
                <a:defRPr/>
              </a:pPr>
              <a:r>
                <a:rPr lang="en-US" sz="849" b="1" i="1" kern="0" dirty="0">
                  <a:solidFill>
                    <a:srgbClr val="14396C"/>
                  </a:solidFill>
                  <a:latin typeface="Aptos" panose="020B0004020202020204" pitchFamily="34" charset="0"/>
                  <a:cs typeface="Arial"/>
                </a:rPr>
                <a:t>Contract Manufacturing facility </a:t>
              </a:r>
            </a:p>
          </p:txBody>
        </p:sp>
      </p:grpSp>
      <p:sp>
        <p:nvSpPr>
          <p:cNvPr id="306" name="object 4">
            <a:extLst>
              <a:ext uri="{FF2B5EF4-FFF2-40B4-BE49-F238E27FC236}">
                <a16:creationId xmlns:a16="http://schemas.microsoft.com/office/drawing/2014/main" id="{06B7822C-EF8D-9582-04A4-5B73DB3E0DF4}"/>
              </a:ext>
            </a:extLst>
          </p:cNvPr>
          <p:cNvSpPr txBox="1"/>
          <p:nvPr/>
        </p:nvSpPr>
        <p:spPr>
          <a:xfrm>
            <a:off x="381792" y="1751896"/>
            <a:ext cx="3388456" cy="3276344"/>
          </a:xfrm>
          <a:prstGeom prst="rect">
            <a:avLst/>
          </a:prstGeom>
        </p:spPr>
        <p:txBody>
          <a:bodyPr vert="horz" wrap="square" lIns="0" tIns="41972" rIns="0" bIns="0" rtlCol="0">
            <a:spAutoFit/>
          </a:bodyPr>
          <a:lstStyle/>
          <a:p>
            <a:pPr marL="7701" marR="179055" defTabSz="554492">
              <a:lnSpc>
                <a:spcPct val="110000"/>
              </a:lnSpc>
              <a:spcAft>
                <a:spcPts val="1200"/>
              </a:spcAft>
            </a:pPr>
            <a:r>
              <a:rPr lang="en-US" sz="1577" kern="0" dirty="0">
                <a:latin typeface="Aptos" panose="020B0004020202020204" pitchFamily="34" charset="0"/>
                <a:cs typeface="Lucida Sans Unicode"/>
              </a:rPr>
              <a:t>Driving growth by expanding customer base and increasing utilization from existing accounts</a:t>
            </a:r>
          </a:p>
          <a:p>
            <a:pPr marL="7701" marR="179055" defTabSz="554492">
              <a:lnSpc>
                <a:spcPct val="110000"/>
              </a:lnSpc>
              <a:spcAft>
                <a:spcPts val="1200"/>
              </a:spcAft>
            </a:pPr>
            <a:r>
              <a:rPr lang="en-US" sz="1577" kern="0" dirty="0">
                <a:latin typeface="Aptos" panose="020B0004020202020204" pitchFamily="34" charset="0"/>
                <a:cs typeface="Lucida Sans Unicode"/>
              </a:rPr>
              <a:t>We are also registered to sell our products through distributors in </a:t>
            </a:r>
            <a:r>
              <a:rPr lang="en-US" sz="1577" b="1" i="1" kern="0" dirty="0">
                <a:latin typeface="Aptos" panose="020B0004020202020204" pitchFamily="34" charset="0"/>
                <a:cs typeface="Lucida Sans Unicode"/>
              </a:rPr>
              <a:t>over 60 countries.</a:t>
            </a:r>
          </a:p>
          <a:p>
            <a:pPr marL="7701" marR="179055" defTabSz="554492">
              <a:lnSpc>
                <a:spcPct val="110000"/>
              </a:lnSpc>
              <a:spcAft>
                <a:spcPts val="1200"/>
              </a:spcAft>
            </a:pPr>
            <a:r>
              <a:rPr lang="en-US" sz="1577" kern="0" dirty="0">
                <a:latin typeface="Aptos" panose="020B0004020202020204" pitchFamily="34" charset="0"/>
                <a:cs typeface="Lucida Sans Unicode"/>
              </a:rPr>
              <a:t>Our manufacturing operations are supported by facilities located in Clearwater, FL, Sofia, Bulgaria and through our contract manufacturing partner in Ningbo, China.</a:t>
            </a:r>
          </a:p>
        </p:txBody>
      </p:sp>
      <p:sp>
        <p:nvSpPr>
          <p:cNvPr id="307" name="Slide Number Placeholder 306">
            <a:extLst>
              <a:ext uri="{FF2B5EF4-FFF2-40B4-BE49-F238E27FC236}">
                <a16:creationId xmlns:a16="http://schemas.microsoft.com/office/drawing/2014/main" id="{8569C2B0-026D-11D9-AD4B-6CFC2A6F30AF}"/>
              </a:ext>
            </a:extLst>
          </p:cNvPr>
          <p:cNvSpPr>
            <a:spLocks noGrp="1"/>
          </p:cNvSpPr>
          <p:nvPr>
            <p:ph type="sldNum" sz="quarter" idx="12"/>
          </p:nvPr>
        </p:nvSpPr>
        <p:spPr/>
        <p:txBody>
          <a:bodyPr/>
          <a:lstStyle/>
          <a:p>
            <a:fld id="{A300D7A8-33C5-4C89-B444-136428D180BE}" type="slidenum">
              <a:rPr lang="en-US" smtClean="0"/>
              <a:pPr/>
              <a:t>12</a:t>
            </a:fld>
            <a:endParaRPr lang="en-US" dirty="0"/>
          </a:p>
        </p:txBody>
      </p:sp>
      <p:cxnSp>
        <p:nvCxnSpPr>
          <p:cNvPr id="309" name="Straight Connector 308">
            <a:extLst>
              <a:ext uri="{FF2B5EF4-FFF2-40B4-BE49-F238E27FC236}">
                <a16:creationId xmlns:a16="http://schemas.microsoft.com/office/drawing/2014/main" id="{38D39C19-C789-4BA0-D310-9A808A4C72DA}"/>
              </a:ext>
            </a:extLst>
          </p:cNvPr>
          <p:cNvCxnSpPr>
            <a:cxnSpLocks/>
          </p:cNvCxnSpPr>
          <p:nvPr/>
        </p:nvCxnSpPr>
        <p:spPr>
          <a:xfrm>
            <a:off x="3820306" y="1398893"/>
            <a:ext cx="0" cy="4298270"/>
          </a:xfrm>
          <a:prstGeom prst="line">
            <a:avLst/>
          </a:prstGeom>
          <a:ln w="12700">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312" name="TextBox 311">
            <a:extLst>
              <a:ext uri="{FF2B5EF4-FFF2-40B4-BE49-F238E27FC236}">
                <a16:creationId xmlns:a16="http://schemas.microsoft.com/office/drawing/2014/main" id="{CFE4C2E3-6649-0F56-B217-27BA18B695A5}"/>
              </a:ext>
            </a:extLst>
          </p:cNvPr>
          <p:cNvSpPr txBox="1"/>
          <p:nvPr/>
        </p:nvSpPr>
        <p:spPr>
          <a:xfrm>
            <a:off x="1130251" y="6400783"/>
            <a:ext cx="6096000" cy="271036"/>
          </a:xfrm>
          <a:prstGeom prst="rect">
            <a:avLst/>
          </a:prstGeom>
          <a:noFill/>
        </p:spPr>
        <p:txBody>
          <a:bodyPr wrap="square">
            <a:spAutoFit/>
          </a:bodyPr>
          <a:lstStyle/>
          <a:p>
            <a:pPr marL="7701" marR="179055" defTabSz="554492">
              <a:lnSpc>
                <a:spcPct val="110000"/>
              </a:lnSpc>
              <a:spcAft>
                <a:spcPts val="1200"/>
              </a:spcAft>
            </a:pPr>
            <a:r>
              <a:rPr lang="en-US" sz="1050" kern="0" baseline="30000" dirty="0">
                <a:latin typeface="Aptos" panose="020B0004020202020204" pitchFamily="34" charset="0"/>
                <a:cs typeface="Lucida Sans Unicode"/>
              </a:rPr>
              <a:t>1</a:t>
            </a:r>
            <a:r>
              <a:rPr lang="en-US" sz="1050" kern="0" dirty="0">
                <a:latin typeface="Aptos" panose="020B0004020202020204" pitchFamily="34" charset="0"/>
                <a:cs typeface="Lucida Sans Unicode"/>
              </a:rPr>
              <a:t> as of December 31, 2023</a:t>
            </a:r>
          </a:p>
        </p:txBody>
      </p:sp>
    </p:spTree>
    <p:extLst>
      <p:ext uri="{BB962C8B-B14F-4D97-AF65-F5344CB8AC3E}">
        <p14:creationId xmlns:p14="http://schemas.microsoft.com/office/powerpoint/2010/main" val="2324729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8A2C54-23AD-B1B5-A167-3767192B998F}"/>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D2A84B7-47EF-F5B1-BD03-39344CCE3DAC}"/>
              </a:ext>
            </a:extLst>
          </p:cNvPr>
          <p:cNvSpPr>
            <a:spLocks noGrp="1"/>
          </p:cNvSpPr>
          <p:nvPr>
            <p:ph idx="1"/>
          </p:nvPr>
        </p:nvSpPr>
        <p:spPr>
          <a:xfrm>
            <a:off x="266331" y="1447684"/>
            <a:ext cx="11683013" cy="4518443"/>
          </a:xfrm>
        </p:spPr>
        <p:txBody>
          <a:bodyPr>
            <a:noAutofit/>
          </a:bodyPr>
          <a:lstStyle/>
          <a:p>
            <a:pPr>
              <a:lnSpc>
                <a:spcPct val="130000"/>
              </a:lnSpc>
              <a:spcBef>
                <a:spcPts val="600"/>
              </a:spcBef>
            </a:pPr>
            <a:r>
              <a:rPr lang="en-US" sz="1800" dirty="0">
                <a:latin typeface="Aptos" panose="020B0004020202020204" pitchFamily="34" charset="0"/>
              </a:rPr>
              <a:t>Completed a registered direct offering with net proceeds of $7.0 million with a healthcare-focused fund</a:t>
            </a:r>
          </a:p>
          <a:p>
            <a:pPr>
              <a:lnSpc>
                <a:spcPct val="130000"/>
              </a:lnSpc>
              <a:spcBef>
                <a:spcPts val="600"/>
              </a:spcBef>
            </a:pPr>
            <a:r>
              <a:rPr lang="en-US" sz="1800" dirty="0">
                <a:latin typeface="Aptos" panose="020B0004020202020204" pitchFamily="34" charset="0"/>
              </a:rPr>
              <a:t>Amended credit agreement with Perceptive Credit Holdings IV, LP</a:t>
            </a:r>
          </a:p>
          <a:p>
            <a:pPr>
              <a:lnSpc>
                <a:spcPct val="130000"/>
              </a:lnSpc>
              <a:spcBef>
                <a:spcPts val="600"/>
              </a:spcBef>
            </a:pPr>
            <a:r>
              <a:rPr lang="en-US" sz="1800" dirty="0">
                <a:latin typeface="Aptos" panose="020B0004020202020204" pitchFamily="34" charset="0"/>
              </a:rPr>
              <a:t>Significantly reduce the trailing twelve-month Surgical Aesthetics revenue covenants</a:t>
            </a:r>
          </a:p>
          <a:p>
            <a:pPr>
              <a:lnSpc>
                <a:spcPct val="130000"/>
              </a:lnSpc>
              <a:spcBef>
                <a:spcPts val="600"/>
              </a:spcBef>
            </a:pPr>
            <a:r>
              <a:rPr lang="en-US" sz="1800" dirty="0">
                <a:latin typeface="Aptos" panose="020B0004020202020204" pitchFamily="34" charset="0"/>
              </a:rPr>
              <a:t>Added a maximum operating expense covenant of $40M and $45M for 2025 and 2026, respectively</a:t>
            </a:r>
          </a:p>
          <a:p>
            <a:pPr>
              <a:lnSpc>
                <a:spcPct val="130000"/>
              </a:lnSpc>
              <a:spcBef>
                <a:spcPts val="600"/>
              </a:spcBef>
            </a:pPr>
            <a:r>
              <a:rPr lang="en-US" sz="1800" dirty="0">
                <a:latin typeface="Aptos" panose="020B0004020202020204" pitchFamily="34" charset="0"/>
              </a:rPr>
              <a:t>Implemented a cost saving restructuring program that included an organizational reduction in force to better focus, optimize and streamline operations:</a:t>
            </a:r>
          </a:p>
          <a:p>
            <a:pPr>
              <a:lnSpc>
                <a:spcPct val="130000"/>
              </a:lnSpc>
              <a:spcBef>
                <a:spcPts val="600"/>
              </a:spcBef>
            </a:pPr>
            <a:r>
              <a:rPr lang="en-US" sz="1800" dirty="0">
                <a:latin typeface="Aptos" panose="020B0004020202020204" pitchFamily="34" charset="0"/>
              </a:rPr>
              <a:t>Reduced U.S. workforce by nearly 25%, with estimated annualized future cost savings of ~$4.3M</a:t>
            </a:r>
          </a:p>
          <a:p>
            <a:pPr>
              <a:lnSpc>
                <a:spcPct val="130000"/>
              </a:lnSpc>
              <a:spcBef>
                <a:spcPts val="600"/>
              </a:spcBef>
            </a:pPr>
            <a:r>
              <a:rPr lang="en-US" sz="1800" dirty="0">
                <a:latin typeface="Aptos" panose="020B0004020202020204" pitchFamily="34" charset="0"/>
              </a:rPr>
              <a:t>Identified over $4M in additional cost savings </a:t>
            </a:r>
          </a:p>
          <a:p>
            <a:pPr>
              <a:lnSpc>
                <a:spcPct val="130000"/>
              </a:lnSpc>
              <a:spcBef>
                <a:spcPts val="600"/>
              </a:spcBef>
            </a:pPr>
            <a:r>
              <a:rPr lang="en-US" sz="1800" dirty="0">
                <a:latin typeface="Aptos" panose="020B0004020202020204" pitchFamily="34" charset="0"/>
              </a:rPr>
              <a:t>Anticipate operating expenses to be below $40 million in 2025</a:t>
            </a:r>
          </a:p>
          <a:p>
            <a:pPr>
              <a:lnSpc>
                <a:spcPct val="130000"/>
              </a:lnSpc>
              <a:spcBef>
                <a:spcPts val="600"/>
              </a:spcBef>
            </a:pPr>
            <a:r>
              <a:rPr lang="en-US" sz="1800" dirty="0">
                <a:latin typeface="Aptos" panose="020B0004020202020204" pitchFamily="34" charset="0"/>
              </a:rPr>
              <a:t>Right sized the Company’s board of directors to five members down from eight, and reduced cash compensation for remaining directors</a:t>
            </a:r>
          </a:p>
          <a:p>
            <a:pPr>
              <a:lnSpc>
                <a:spcPct val="130000"/>
              </a:lnSpc>
              <a:spcBef>
                <a:spcPts val="600"/>
              </a:spcBef>
            </a:pPr>
            <a:endParaRPr lang="en-US" sz="1800" dirty="0">
              <a:latin typeface="Aptos" panose="020B0004020202020204" pitchFamily="34" charset="0"/>
            </a:endParaRPr>
          </a:p>
        </p:txBody>
      </p:sp>
      <p:sp>
        <p:nvSpPr>
          <p:cNvPr id="10" name="Slide Number Placeholder 9">
            <a:extLst>
              <a:ext uri="{FF2B5EF4-FFF2-40B4-BE49-F238E27FC236}">
                <a16:creationId xmlns:a16="http://schemas.microsoft.com/office/drawing/2014/main" id="{A66BCE57-C1F0-8992-577F-17752B37B1B1}"/>
              </a:ext>
            </a:extLst>
          </p:cNvPr>
          <p:cNvSpPr>
            <a:spLocks noGrp="1"/>
          </p:cNvSpPr>
          <p:nvPr>
            <p:ph type="sldNum" sz="quarter" idx="12"/>
          </p:nvPr>
        </p:nvSpPr>
        <p:spPr/>
        <p:txBody>
          <a:bodyPr/>
          <a:lstStyle/>
          <a:p>
            <a:fld id="{A300D7A8-33C5-4C89-B444-136428D180BE}" type="slidenum">
              <a:rPr lang="en-US" smtClean="0"/>
              <a:pPr/>
              <a:t>13</a:t>
            </a:fld>
            <a:endParaRPr lang="en-US" dirty="0"/>
          </a:p>
        </p:txBody>
      </p:sp>
      <p:sp>
        <p:nvSpPr>
          <p:cNvPr id="6" name="Title 5">
            <a:extLst>
              <a:ext uri="{FF2B5EF4-FFF2-40B4-BE49-F238E27FC236}">
                <a16:creationId xmlns:a16="http://schemas.microsoft.com/office/drawing/2014/main" id="{2216C020-804F-2CF8-4C09-88A56D68A18E}"/>
              </a:ext>
            </a:extLst>
          </p:cNvPr>
          <p:cNvSpPr>
            <a:spLocks noGrp="1"/>
          </p:cNvSpPr>
          <p:nvPr>
            <p:ph type="title"/>
          </p:nvPr>
        </p:nvSpPr>
        <p:spPr/>
        <p:txBody>
          <a:bodyPr/>
          <a:lstStyle/>
          <a:p>
            <a:pPr algn="ctr"/>
            <a:r>
              <a:rPr lang="en-US" sz="2800" dirty="0"/>
              <a:t>Strategic Initiatives Announced in Q4 2024 – Value Creation in 2025</a:t>
            </a:r>
          </a:p>
        </p:txBody>
      </p:sp>
    </p:spTree>
    <p:extLst>
      <p:ext uri="{BB962C8B-B14F-4D97-AF65-F5344CB8AC3E}">
        <p14:creationId xmlns:p14="http://schemas.microsoft.com/office/powerpoint/2010/main" val="37328671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D664B0-992B-EDD2-225E-D08A0D74D57A}"/>
            </a:ext>
          </a:extLst>
        </p:cNvPr>
        <p:cNvGrpSpPr/>
        <p:nvPr/>
      </p:nvGrpSpPr>
      <p:grpSpPr>
        <a:xfrm>
          <a:off x="0" y="0"/>
          <a:ext cx="0" cy="0"/>
          <a:chOff x="0" y="0"/>
          <a:chExt cx="0" cy="0"/>
        </a:xfrm>
      </p:grpSpPr>
      <p:sp>
        <p:nvSpPr>
          <p:cNvPr id="5" name="Oval 4">
            <a:extLst>
              <a:ext uri="{FF2B5EF4-FFF2-40B4-BE49-F238E27FC236}">
                <a16:creationId xmlns:a16="http://schemas.microsoft.com/office/drawing/2014/main" id="{937B3811-BC03-F5B5-3109-2F17AB00C58C}"/>
              </a:ext>
            </a:extLst>
          </p:cNvPr>
          <p:cNvSpPr/>
          <p:nvPr/>
        </p:nvSpPr>
        <p:spPr>
          <a:xfrm>
            <a:off x="7782466" y="1505280"/>
            <a:ext cx="4141521" cy="4141521"/>
          </a:xfrm>
          <a:prstGeom prst="ellipse">
            <a:avLst/>
          </a:prstGeom>
          <a:solidFill>
            <a:schemeClr val="accent6"/>
          </a:solidFill>
          <a:ln>
            <a:noFill/>
          </a:ln>
        </p:spPr>
        <p:style>
          <a:lnRef idx="2">
            <a:schemeClr val="dk1"/>
          </a:lnRef>
          <a:fillRef idx="1">
            <a:schemeClr val="lt1"/>
          </a:fillRef>
          <a:effectRef idx="0">
            <a:schemeClr val="dk1"/>
          </a:effectRef>
          <a:fontRef idx="minor">
            <a:schemeClr val="dk1"/>
          </a:fontRef>
        </p:style>
        <p:txBody>
          <a:bodyPr wrap="square" rtlCol="0" anchor="ctr">
            <a:noAutofit/>
          </a:bodyPr>
          <a:lstStyle/>
          <a:p>
            <a:pPr algn="ctr"/>
            <a:endParaRPr lang="en-US" dirty="0"/>
          </a:p>
        </p:txBody>
      </p:sp>
      <p:sp>
        <p:nvSpPr>
          <p:cNvPr id="8" name="Title 11">
            <a:extLst>
              <a:ext uri="{FF2B5EF4-FFF2-40B4-BE49-F238E27FC236}">
                <a16:creationId xmlns:a16="http://schemas.microsoft.com/office/drawing/2014/main" id="{9AC105BA-4A51-C83A-A41E-82209182319E}"/>
              </a:ext>
            </a:extLst>
          </p:cNvPr>
          <p:cNvSpPr txBox="1">
            <a:spLocks/>
          </p:cNvSpPr>
          <p:nvPr/>
        </p:nvSpPr>
        <p:spPr>
          <a:xfrm>
            <a:off x="412497" y="333108"/>
            <a:ext cx="10984632" cy="886397"/>
          </a:xfrm>
          <a:prstGeom prst="rect">
            <a:avLst/>
          </a:prstGeom>
        </p:spPr>
        <p:txBody>
          <a:bodyPr vert="horz" lIns="91440" tIns="45720" rIns="91440" bIns="45720" rtlCol="0" anchor="ctr">
            <a:noAutofit/>
          </a:bodyPr>
          <a:lstStyle>
            <a:lvl1pPr>
              <a:lnSpc>
                <a:spcPct val="90000"/>
              </a:lnSpc>
              <a:spcBef>
                <a:spcPct val="0"/>
              </a:spcBef>
              <a:buNone/>
              <a:defRPr sz="3200" b="1" cap="all" baseline="0">
                <a:solidFill>
                  <a:schemeClr val="tx2"/>
                </a:solidFill>
                <a:latin typeface="+mj-lt"/>
                <a:ea typeface="+mj-ea"/>
                <a:cs typeface="+mj-cs"/>
              </a:defRPr>
            </a:lvl1pPr>
          </a:lstStyle>
          <a:p>
            <a:endParaRPr lang="en-US" dirty="0"/>
          </a:p>
        </p:txBody>
      </p:sp>
      <p:sp>
        <p:nvSpPr>
          <p:cNvPr id="10" name="Slide Number Placeholder 9">
            <a:extLst>
              <a:ext uri="{FF2B5EF4-FFF2-40B4-BE49-F238E27FC236}">
                <a16:creationId xmlns:a16="http://schemas.microsoft.com/office/drawing/2014/main" id="{6645C455-B815-E3F6-D951-D702100FB103}"/>
              </a:ext>
            </a:extLst>
          </p:cNvPr>
          <p:cNvSpPr>
            <a:spLocks noGrp="1"/>
          </p:cNvSpPr>
          <p:nvPr>
            <p:ph type="sldNum" sz="quarter" idx="12"/>
          </p:nvPr>
        </p:nvSpPr>
        <p:spPr/>
        <p:txBody>
          <a:bodyPr/>
          <a:lstStyle/>
          <a:p>
            <a:fld id="{A300D7A8-33C5-4C89-B444-136428D180BE}" type="slidenum">
              <a:rPr lang="en-US" smtClean="0"/>
              <a:pPr/>
              <a:t>14</a:t>
            </a:fld>
            <a:endParaRPr lang="en-US" dirty="0"/>
          </a:p>
        </p:txBody>
      </p:sp>
      <p:sp>
        <p:nvSpPr>
          <p:cNvPr id="6" name="Title 5">
            <a:extLst>
              <a:ext uri="{FF2B5EF4-FFF2-40B4-BE49-F238E27FC236}">
                <a16:creationId xmlns:a16="http://schemas.microsoft.com/office/drawing/2014/main" id="{0F82FED4-D0E8-1937-C4A7-B2577160DBE9}"/>
              </a:ext>
            </a:extLst>
          </p:cNvPr>
          <p:cNvSpPr>
            <a:spLocks noGrp="1"/>
          </p:cNvSpPr>
          <p:nvPr>
            <p:ph type="title"/>
          </p:nvPr>
        </p:nvSpPr>
        <p:spPr/>
        <p:txBody>
          <a:bodyPr/>
          <a:lstStyle/>
          <a:p>
            <a:r>
              <a:rPr lang="en-US" sz="2800" dirty="0"/>
              <a:t>2025 Financial Preliminary revenue – revised upwards</a:t>
            </a:r>
            <a:endParaRPr lang="en-US" sz="2800" dirty="0">
              <a:highlight>
                <a:srgbClr val="FFFF00"/>
              </a:highlight>
            </a:endParaRPr>
          </a:p>
        </p:txBody>
      </p:sp>
      <p:sp>
        <p:nvSpPr>
          <p:cNvPr id="4" name="Content Placeholder 1">
            <a:extLst>
              <a:ext uri="{FF2B5EF4-FFF2-40B4-BE49-F238E27FC236}">
                <a16:creationId xmlns:a16="http://schemas.microsoft.com/office/drawing/2014/main" id="{3B3F68A0-86E9-B9F1-4ECC-C0DBB70B69C3}"/>
              </a:ext>
            </a:extLst>
          </p:cNvPr>
          <p:cNvSpPr txBox="1">
            <a:spLocks/>
          </p:cNvSpPr>
          <p:nvPr/>
        </p:nvSpPr>
        <p:spPr>
          <a:xfrm>
            <a:off x="266328" y="1372311"/>
            <a:ext cx="7516138" cy="4543653"/>
          </a:xfrm>
          <a:prstGeom prst="rect">
            <a:avLst/>
          </a:prstGeom>
        </p:spPr>
        <p:txBody>
          <a:bodyPr vert="horz" lIns="91440" tIns="45720" rIns="91440" bIns="45720" rtlCol="0" anchor="ctr">
            <a:noAutofit/>
          </a:bodyPr>
          <a:lstStyle>
            <a:lvl1pPr marL="342900" indent="-342900" algn="l" defTabSz="914400" rtl="0" eaLnBrk="1" latinLnBrk="0" hangingPunct="1">
              <a:lnSpc>
                <a:spcPct val="90000"/>
              </a:lnSpc>
              <a:spcBef>
                <a:spcPts val="1800"/>
              </a:spcBef>
              <a:buClr>
                <a:schemeClr val="accent1"/>
              </a:buClr>
              <a:buFont typeface="Arial" panose="020B0604020202020204" pitchFamily="34" charset="0"/>
              <a:buChar char="▲"/>
              <a:defRPr sz="2200" kern="1200">
                <a:solidFill>
                  <a:schemeClr val="tx1"/>
                </a:solidFill>
                <a:latin typeface="+mn-lt"/>
                <a:ea typeface="+mn-ea"/>
                <a:cs typeface="+mn-cs"/>
              </a:defRPr>
            </a:lvl1pPr>
            <a:lvl2pPr marL="592138" indent="-209550" algn="l" defTabSz="914400" rtl="0" eaLnBrk="1" latinLnBrk="0" hangingPunct="1">
              <a:lnSpc>
                <a:spcPct val="90000"/>
              </a:lnSpc>
              <a:spcBef>
                <a:spcPts val="600"/>
              </a:spcBef>
              <a:buClr>
                <a:schemeClr val="accent1"/>
              </a:buClr>
              <a:buFont typeface="Arial" panose="020B0604020202020204" pitchFamily="34" charset="0"/>
              <a:buChar char="•"/>
              <a:defRPr sz="2000" kern="1200">
                <a:solidFill>
                  <a:schemeClr val="tx1"/>
                </a:solidFill>
                <a:latin typeface="+mn-lt"/>
                <a:ea typeface="+mn-ea"/>
                <a:cs typeface="+mn-cs"/>
              </a:defRPr>
            </a:lvl2pPr>
            <a:lvl3pPr marL="833438" indent="-209550" algn="l" defTabSz="914400" rtl="0" eaLnBrk="1" latinLnBrk="0" hangingPunct="1">
              <a:lnSpc>
                <a:spcPct val="90000"/>
              </a:lnSpc>
              <a:spcBef>
                <a:spcPts val="600"/>
              </a:spcBef>
              <a:buClr>
                <a:schemeClr val="accent1"/>
              </a:buClr>
              <a:buFont typeface="Trebuchet MS" panose="020B0603020202020204" pitchFamily="34" charset="0"/>
              <a:buChar char="−"/>
              <a:defRPr sz="1800" kern="1200">
                <a:solidFill>
                  <a:schemeClr val="tx1"/>
                </a:solidFill>
                <a:latin typeface="+mn-lt"/>
                <a:ea typeface="+mn-ea"/>
                <a:cs typeface="+mn-cs"/>
              </a:defRPr>
            </a:lvl3pPr>
            <a:lvl4pPr marL="1031875" indent="-180975" algn="l" defTabSz="914400" rtl="0" eaLnBrk="1" latinLnBrk="0" hangingPunct="1">
              <a:lnSpc>
                <a:spcPct val="90000"/>
              </a:lnSpc>
              <a:spcBef>
                <a:spcPts val="600"/>
              </a:spcBef>
              <a:buClr>
                <a:schemeClr val="accent1"/>
              </a:buClr>
              <a:buFont typeface="Wingdings" panose="05000000000000000000" pitchFamily="2" charset="2"/>
              <a:buChar char="§"/>
              <a:defRPr sz="1600" kern="1200">
                <a:solidFill>
                  <a:schemeClr val="tx1"/>
                </a:solidFill>
                <a:latin typeface="+mn-lt"/>
                <a:ea typeface="+mn-ea"/>
                <a:cs typeface="+mn-cs"/>
              </a:defRPr>
            </a:lvl4pPr>
            <a:lvl5pPr marL="1231900" indent="-200025" algn="l" defTabSz="914400" rtl="0" eaLnBrk="1" latinLnBrk="0" hangingPunct="1">
              <a:lnSpc>
                <a:spcPct val="90000"/>
              </a:lnSpc>
              <a:spcBef>
                <a:spcPts val="600"/>
              </a:spcBef>
              <a:buClr>
                <a:schemeClr val="accent1"/>
              </a:buClr>
              <a:buFont typeface="Courier New" panose="02070309020205020404" pitchFamily="49" charset="0"/>
              <a:buChar char="o"/>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b="1" u="sng" dirty="0"/>
              <a:t>Preliminary Fourth Quarter 2025 Revenue Summary:</a:t>
            </a:r>
            <a:endParaRPr lang="en-US" sz="1600" dirty="0"/>
          </a:p>
          <a:p>
            <a:pPr lvl="0"/>
            <a:r>
              <a:rPr lang="en-US" sz="1600" dirty="0"/>
              <a:t>Total revenue is expected to be in the range of approximately $19.0 to $19.2 million, representing an increase of approximately 34% year-over-year.</a:t>
            </a:r>
          </a:p>
          <a:p>
            <a:pPr lvl="1"/>
            <a:r>
              <a:rPr lang="en-US" sz="1400" dirty="0"/>
              <a:t>Surgical Aesthetics revenue is expected to be in the range of approximately $16.6 to $16.8 million, representing an increase of approximately 38% year-over-year.</a:t>
            </a:r>
          </a:p>
          <a:p>
            <a:pPr lvl="1"/>
            <a:r>
              <a:rPr lang="en-US" sz="1400" dirty="0"/>
              <a:t>OEM revenue is expected to be approximately $2.4 million, representing an increase of approximately 13% year-over-year.</a:t>
            </a:r>
          </a:p>
          <a:p>
            <a:r>
              <a:rPr lang="en-US" sz="1600" b="1" u="sng" dirty="0"/>
              <a:t>Preliminary Full Year 2025 Revenue Summary:</a:t>
            </a:r>
            <a:endParaRPr lang="en-US" sz="1600" dirty="0"/>
          </a:p>
          <a:p>
            <a:pPr lvl="0"/>
            <a:r>
              <a:rPr lang="en-US" sz="1600" dirty="0"/>
              <a:t>Total revenue is expected to be in the range of approximately $52.7 to $52.9 million, representing an increase of approximately 10% year-over-year.</a:t>
            </a:r>
          </a:p>
          <a:p>
            <a:pPr lvl="1"/>
            <a:r>
              <a:rPr lang="en-US" sz="1400" dirty="0"/>
              <a:t>Surgical Aesthetics revenue is expected to be in the range of approximately $45.2 to $45.4 million, representing an increase of approximately 17% year-over-year.</a:t>
            </a:r>
          </a:p>
          <a:p>
            <a:pPr lvl="1"/>
            <a:r>
              <a:rPr lang="en-US" sz="1400" dirty="0"/>
              <a:t>OEM revenue is expected to be approximately $7.5 million, representing a decrease of 21% year-over-year.</a:t>
            </a:r>
          </a:p>
        </p:txBody>
      </p:sp>
      <p:sp>
        <p:nvSpPr>
          <p:cNvPr id="3" name="TextBox 2">
            <a:extLst>
              <a:ext uri="{FF2B5EF4-FFF2-40B4-BE49-F238E27FC236}">
                <a16:creationId xmlns:a16="http://schemas.microsoft.com/office/drawing/2014/main" id="{A6900A2F-9834-AD71-73D2-52E9D8270B7D}"/>
              </a:ext>
            </a:extLst>
          </p:cNvPr>
          <p:cNvSpPr txBox="1"/>
          <p:nvPr/>
        </p:nvSpPr>
        <p:spPr>
          <a:xfrm>
            <a:off x="8184868" y="2206788"/>
            <a:ext cx="3336716" cy="2187009"/>
          </a:xfrm>
          <a:prstGeom prst="rect">
            <a:avLst/>
          </a:prstGeom>
          <a:noFill/>
        </p:spPr>
        <p:txBody>
          <a:bodyPr wrap="square">
            <a:spAutoFit/>
          </a:bodyPr>
          <a:lstStyle/>
          <a:p>
            <a:pPr algn="ctr">
              <a:lnSpc>
                <a:spcPct val="110000"/>
              </a:lnSpc>
              <a:spcBef>
                <a:spcPts val="600"/>
              </a:spcBef>
            </a:pPr>
            <a:r>
              <a:rPr lang="en-US" sz="2000" b="1" dirty="0">
                <a:solidFill>
                  <a:schemeClr val="bg1"/>
                </a:solidFill>
                <a:latin typeface="Aptos" panose="020B0004020202020204" pitchFamily="34" charset="0"/>
              </a:rPr>
              <a:t>Operating expenses expected to be less than $40 million for the year ended December 31, 2025</a:t>
            </a:r>
          </a:p>
          <a:p>
            <a:pPr algn="ctr">
              <a:lnSpc>
                <a:spcPct val="110000"/>
              </a:lnSpc>
              <a:spcBef>
                <a:spcPts val="600"/>
              </a:spcBef>
            </a:pPr>
            <a:r>
              <a:rPr lang="en-US" sz="2000" b="1" dirty="0">
                <a:solidFill>
                  <a:schemeClr val="bg1"/>
                </a:solidFill>
                <a:latin typeface="Aptos" panose="020B0004020202020204" pitchFamily="34" charset="0"/>
              </a:rPr>
              <a:t>Down from $48 million in 2024</a:t>
            </a:r>
          </a:p>
        </p:txBody>
      </p:sp>
      <p:sp>
        <p:nvSpPr>
          <p:cNvPr id="7" name="Oval 6">
            <a:extLst>
              <a:ext uri="{FF2B5EF4-FFF2-40B4-BE49-F238E27FC236}">
                <a16:creationId xmlns:a16="http://schemas.microsoft.com/office/drawing/2014/main" id="{F4B462D4-1EE5-59B1-0714-6C322AF92802}"/>
              </a:ext>
            </a:extLst>
          </p:cNvPr>
          <p:cNvSpPr/>
          <p:nvPr/>
        </p:nvSpPr>
        <p:spPr>
          <a:xfrm>
            <a:off x="11000307" y="3894756"/>
            <a:ext cx="949037" cy="913905"/>
          </a:xfrm>
          <a:prstGeom prst="ellipse">
            <a:avLst/>
          </a:prstGeom>
          <a:solidFill>
            <a:schemeClr val="tx2"/>
          </a:solidFill>
          <a:ln>
            <a:noFill/>
          </a:ln>
        </p:spPr>
        <p:style>
          <a:lnRef idx="2">
            <a:schemeClr val="dk1"/>
          </a:lnRef>
          <a:fillRef idx="1">
            <a:schemeClr val="lt1"/>
          </a:fillRef>
          <a:effectRef idx="0">
            <a:schemeClr val="dk1"/>
          </a:effectRef>
          <a:fontRef idx="minor">
            <a:schemeClr val="dk1"/>
          </a:fontRef>
        </p:style>
        <p:txBody>
          <a:bodyPr wrap="square" rtlCol="0" anchor="ctr">
            <a:noAutofit/>
          </a:bodyPr>
          <a:lstStyle/>
          <a:p>
            <a:pPr algn="ctr"/>
            <a:endParaRPr lang="en-US" dirty="0"/>
          </a:p>
        </p:txBody>
      </p:sp>
      <p:sp>
        <p:nvSpPr>
          <p:cNvPr id="9" name="Oval 8">
            <a:extLst>
              <a:ext uri="{FF2B5EF4-FFF2-40B4-BE49-F238E27FC236}">
                <a16:creationId xmlns:a16="http://schemas.microsoft.com/office/drawing/2014/main" id="{7D8C27B9-A9F3-BBE3-F64E-A0FAB7C1EEDA}"/>
              </a:ext>
            </a:extLst>
          </p:cNvPr>
          <p:cNvSpPr/>
          <p:nvPr/>
        </p:nvSpPr>
        <p:spPr>
          <a:xfrm>
            <a:off x="11248576" y="1690457"/>
            <a:ext cx="675411" cy="650408"/>
          </a:xfrm>
          <a:prstGeom prst="ellipse">
            <a:avLst/>
          </a:prstGeom>
          <a:solidFill>
            <a:schemeClr val="accent4">
              <a:lumMod val="20000"/>
              <a:lumOff val="80000"/>
            </a:schemeClr>
          </a:solidFill>
          <a:ln>
            <a:noFill/>
          </a:ln>
        </p:spPr>
        <p:style>
          <a:lnRef idx="2">
            <a:schemeClr val="dk1"/>
          </a:lnRef>
          <a:fillRef idx="1">
            <a:schemeClr val="lt1"/>
          </a:fillRef>
          <a:effectRef idx="0">
            <a:schemeClr val="dk1"/>
          </a:effectRef>
          <a:fontRef idx="minor">
            <a:schemeClr val="dk1"/>
          </a:fontRef>
        </p:style>
        <p:txBody>
          <a:bodyPr wrap="square" rtlCol="0" anchor="ctr">
            <a:noAutofit/>
          </a:bodyPr>
          <a:lstStyle/>
          <a:p>
            <a:pPr algn="ctr"/>
            <a:endParaRPr lang="en-US" dirty="0"/>
          </a:p>
        </p:txBody>
      </p:sp>
      <p:sp>
        <p:nvSpPr>
          <p:cNvPr id="11" name="Oval 10">
            <a:extLst>
              <a:ext uri="{FF2B5EF4-FFF2-40B4-BE49-F238E27FC236}">
                <a16:creationId xmlns:a16="http://schemas.microsoft.com/office/drawing/2014/main" id="{E7D8EE8E-A471-5BAE-31C4-F3D148F833C5}"/>
              </a:ext>
            </a:extLst>
          </p:cNvPr>
          <p:cNvSpPr/>
          <p:nvPr/>
        </p:nvSpPr>
        <p:spPr>
          <a:xfrm>
            <a:off x="10965297" y="5010361"/>
            <a:ext cx="355520" cy="342359"/>
          </a:xfrm>
          <a:prstGeom prst="ellipse">
            <a:avLst/>
          </a:prstGeom>
          <a:solidFill>
            <a:schemeClr val="accent4">
              <a:lumMod val="20000"/>
              <a:lumOff val="80000"/>
            </a:schemeClr>
          </a:solidFill>
          <a:ln>
            <a:noFill/>
          </a:ln>
        </p:spPr>
        <p:style>
          <a:lnRef idx="2">
            <a:schemeClr val="dk1"/>
          </a:lnRef>
          <a:fillRef idx="1">
            <a:schemeClr val="lt1"/>
          </a:fillRef>
          <a:effectRef idx="0">
            <a:schemeClr val="dk1"/>
          </a:effectRef>
          <a:fontRef idx="minor">
            <a:schemeClr val="dk1"/>
          </a:fontRef>
        </p:style>
        <p:txBody>
          <a:bodyPr wrap="square" rtlCol="0" anchor="ctr">
            <a:noAutofit/>
          </a:bodyPr>
          <a:lstStyle/>
          <a:p>
            <a:pPr algn="ctr"/>
            <a:endParaRPr lang="en-US" dirty="0"/>
          </a:p>
        </p:txBody>
      </p:sp>
      <p:sp>
        <p:nvSpPr>
          <p:cNvPr id="14" name="Down Arrow 13">
            <a:extLst>
              <a:ext uri="{FF2B5EF4-FFF2-40B4-BE49-F238E27FC236}">
                <a16:creationId xmlns:a16="http://schemas.microsoft.com/office/drawing/2014/main" id="{04F0E02F-67D7-06B2-6336-5374685C32F7}"/>
              </a:ext>
            </a:extLst>
          </p:cNvPr>
          <p:cNvSpPr/>
          <p:nvPr/>
        </p:nvSpPr>
        <p:spPr>
          <a:xfrm>
            <a:off x="11271894" y="4171694"/>
            <a:ext cx="427511" cy="463853"/>
          </a:xfrm>
          <a:prstGeom prst="downArrow">
            <a:avLst/>
          </a:prstGeom>
          <a:ln>
            <a:noFill/>
          </a:ln>
        </p:spPr>
        <p:style>
          <a:lnRef idx="2">
            <a:schemeClr val="dk1"/>
          </a:lnRef>
          <a:fillRef idx="1">
            <a:schemeClr val="lt1"/>
          </a:fillRef>
          <a:effectRef idx="0">
            <a:schemeClr val="dk1"/>
          </a:effectRef>
          <a:fontRef idx="minor">
            <a:schemeClr val="dk1"/>
          </a:fontRef>
        </p:style>
        <p:txBody>
          <a:bodyPr wrap="square" rtlCol="0" anchor="ctr">
            <a:noAutofit/>
          </a:bodyPr>
          <a:lstStyle/>
          <a:p>
            <a:pPr algn="ctr"/>
            <a:endParaRPr lang="en-US" dirty="0"/>
          </a:p>
        </p:txBody>
      </p:sp>
    </p:spTree>
    <p:extLst>
      <p:ext uri="{BB962C8B-B14F-4D97-AF65-F5344CB8AC3E}">
        <p14:creationId xmlns:p14="http://schemas.microsoft.com/office/powerpoint/2010/main" val="2493828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BE3279-BC8E-94D8-9461-1191C5D9B32A}"/>
            </a:ext>
          </a:extLst>
        </p:cNvPr>
        <p:cNvGrpSpPr/>
        <p:nvPr/>
      </p:nvGrpSpPr>
      <p:grpSpPr>
        <a:xfrm>
          <a:off x="0" y="0"/>
          <a:ext cx="0" cy="0"/>
          <a:chOff x="0" y="0"/>
          <a:chExt cx="0" cy="0"/>
        </a:xfrm>
      </p:grpSpPr>
      <p:sp>
        <p:nvSpPr>
          <p:cNvPr id="8" name="Title 11">
            <a:extLst>
              <a:ext uri="{FF2B5EF4-FFF2-40B4-BE49-F238E27FC236}">
                <a16:creationId xmlns:a16="http://schemas.microsoft.com/office/drawing/2014/main" id="{D7B8324D-59BA-E8CA-9A2D-824EEAEE6218}"/>
              </a:ext>
            </a:extLst>
          </p:cNvPr>
          <p:cNvSpPr txBox="1">
            <a:spLocks/>
          </p:cNvSpPr>
          <p:nvPr/>
        </p:nvSpPr>
        <p:spPr>
          <a:xfrm>
            <a:off x="412497" y="333108"/>
            <a:ext cx="8340891" cy="492443"/>
          </a:xfrm>
          <a:prstGeom prst="rect">
            <a:avLst/>
          </a:prstGeom>
        </p:spPr>
        <p:txBody>
          <a:bodyPr vert="horz" lIns="91440" tIns="45720" rIns="91440" bIns="45720" rtlCol="0" anchor="ctr">
            <a:noAutofit/>
          </a:bodyPr>
          <a:lstStyle>
            <a:lvl1pPr>
              <a:lnSpc>
                <a:spcPct val="90000"/>
              </a:lnSpc>
              <a:spcBef>
                <a:spcPct val="0"/>
              </a:spcBef>
              <a:buNone/>
              <a:defRPr sz="3200" b="1" cap="all" baseline="0">
                <a:solidFill>
                  <a:schemeClr val="tx2"/>
                </a:solidFill>
                <a:latin typeface="+mj-lt"/>
                <a:ea typeface="+mj-ea"/>
                <a:cs typeface="+mj-cs"/>
              </a:defRPr>
            </a:lvl1pPr>
          </a:lstStyle>
          <a:p>
            <a:endParaRPr lang="en-US" dirty="0"/>
          </a:p>
        </p:txBody>
      </p:sp>
      <p:sp>
        <p:nvSpPr>
          <p:cNvPr id="10" name="Slide Number Placeholder 9">
            <a:extLst>
              <a:ext uri="{FF2B5EF4-FFF2-40B4-BE49-F238E27FC236}">
                <a16:creationId xmlns:a16="http://schemas.microsoft.com/office/drawing/2014/main" id="{21B7B31B-C760-09E9-ED92-16424419738B}"/>
              </a:ext>
            </a:extLst>
          </p:cNvPr>
          <p:cNvSpPr>
            <a:spLocks noGrp="1"/>
          </p:cNvSpPr>
          <p:nvPr>
            <p:ph type="sldNum" sz="quarter" idx="12"/>
          </p:nvPr>
        </p:nvSpPr>
        <p:spPr/>
        <p:txBody>
          <a:bodyPr/>
          <a:lstStyle/>
          <a:p>
            <a:fld id="{A300D7A8-33C5-4C89-B444-136428D180BE}" type="slidenum">
              <a:rPr lang="en-US" smtClean="0"/>
              <a:pPr/>
              <a:t>15</a:t>
            </a:fld>
            <a:endParaRPr lang="en-US" dirty="0"/>
          </a:p>
        </p:txBody>
      </p:sp>
      <p:sp>
        <p:nvSpPr>
          <p:cNvPr id="6" name="Title 5">
            <a:extLst>
              <a:ext uri="{FF2B5EF4-FFF2-40B4-BE49-F238E27FC236}">
                <a16:creationId xmlns:a16="http://schemas.microsoft.com/office/drawing/2014/main" id="{CEF69F26-4D89-4148-D4B3-2E6965F492E6}"/>
              </a:ext>
            </a:extLst>
          </p:cNvPr>
          <p:cNvSpPr>
            <a:spLocks noGrp="1"/>
          </p:cNvSpPr>
          <p:nvPr>
            <p:ph type="title"/>
          </p:nvPr>
        </p:nvSpPr>
        <p:spPr/>
        <p:txBody>
          <a:bodyPr/>
          <a:lstStyle/>
          <a:p>
            <a:r>
              <a:rPr lang="en-US" dirty="0"/>
              <a:t>2025 COMPANY OBJECTIVES</a:t>
            </a:r>
          </a:p>
        </p:txBody>
      </p:sp>
      <p:sp>
        <p:nvSpPr>
          <p:cNvPr id="11" name="Rounded Rectangle 10">
            <a:extLst>
              <a:ext uri="{FF2B5EF4-FFF2-40B4-BE49-F238E27FC236}">
                <a16:creationId xmlns:a16="http://schemas.microsoft.com/office/drawing/2014/main" id="{E98F2F47-98FD-38F5-5F22-21B5D9A485F1}"/>
              </a:ext>
            </a:extLst>
          </p:cNvPr>
          <p:cNvSpPr/>
          <p:nvPr/>
        </p:nvSpPr>
        <p:spPr>
          <a:xfrm>
            <a:off x="323983" y="1221594"/>
            <a:ext cx="5656450" cy="1343266"/>
          </a:xfrm>
          <a:prstGeom prst="roundRect">
            <a:avLst>
              <a:gd name="adj" fmla="val 0"/>
            </a:avLst>
          </a:prstGeom>
          <a:solidFill>
            <a:schemeClr val="bg1">
              <a:lumMod val="95000"/>
            </a:schemeClr>
          </a:solidFill>
          <a:ln>
            <a:noFill/>
          </a:ln>
        </p:spPr>
        <p:style>
          <a:lnRef idx="2">
            <a:schemeClr val="dk1"/>
          </a:lnRef>
          <a:fillRef idx="1">
            <a:schemeClr val="lt1"/>
          </a:fillRef>
          <a:effectRef idx="0">
            <a:schemeClr val="dk1"/>
          </a:effectRef>
          <a:fontRef idx="minor">
            <a:schemeClr val="dk1"/>
          </a:fontRef>
        </p:style>
        <p:txBody>
          <a:bodyPr wrap="square" rtlCol="0" anchor="ctr">
            <a:noAutofit/>
          </a:bodyPr>
          <a:lstStyle/>
          <a:p>
            <a:pPr algn="ctr"/>
            <a:endParaRPr lang="en-US" dirty="0">
              <a:latin typeface="Aptos" panose="020B0004020202020204" pitchFamily="34" charset="0"/>
            </a:endParaRPr>
          </a:p>
        </p:txBody>
      </p:sp>
      <p:sp>
        <p:nvSpPr>
          <p:cNvPr id="12" name="Rounded Rectangle 11">
            <a:extLst>
              <a:ext uri="{FF2B5EF4-FFF2-40B4-BE49-F238E27FC236}">
                <a16:creationId xmlns:a16="http://schemas.microsoft.com/office/drawing/2014/main" id="{2A5CBB20-A3EC-1D73-4714-9B6B8F513360}"/>
              </a:ext>
            </a:extLst>
          </p:cNvPr>
          <p:cNvSpPr/>
          <p:nvPr/>
        </p:nvSpPr>
        <p:spPr>
          <a:xfrm>
            <a:off x="323983" y="2808336"/>
            <a:ext cx="5656450" cy="1343266"/>
          </a:xfrm>
          <a:prstGeom prst="roundRect">
            <a:avLst>
              <a:gd name="adj" fmla="val 0"/>
            </a:avLst>
          </a:prstGeom>
          <a:solidFill>
            <a:schemeClr val="bg1">
              <a:lumMod val="95000"/>
            </a:schemeClr>
          </a:solidFill>
          <a:ln>
            <a:noFill/>
          </a:ln>
        </p:spPr>
        <p:style>
          <a:lnRef idx="2">
            <a:schemeClr val="dk1"/>
          </a:lnRef>
          <a:fillRef idx="1">
            <a:schemeClr val="lt1"/>
          </a:fillRef>
          <a:effectRef idx="0">
            <a:schemeClr val="dk1"/>
          </a:effectRef>
          <a:fontRef idx="minor">
            <a:schemeClr val="dk1"/>
          </a:fontRef>
        </p:style>
        <p:txBody>
          <a:bodyPr wrap="square" rtlCol="0" anchor="ctr">
            <a:noAutofit/>
          </a:bodyPr>
          <a:lstStyle/>
          <a:p>
            <a:pPr algn="ctr"/>
            <a:endParaRPr lang="en-US" dirty="0">
              <a:latin typeface="Aptos" panose="020B0004020202020204" pitchFamily="34" charset="0"/>
            </a:endParaRPr>
          </a:p>
        </p:txBody>
      </p:sp>
      <p:sp>
        <p:nvSpPr>
          <p:cNvPr id="13" name="Rounded Rectangle 12">
            <a:extLst>
              <a:ext uri="{FF2B5EF4-FFF2-40B4-BE49-F238E27FC236}">
                <a16:creationId xmlns:a16="http://schemas.microsoft.com/office/drawing/2014/main" id="{40CDB4FD-CFBF-35F8-F4EC-CC6E6978FC04}"/>
              </a:ext>
            </a:extLst>
          </p:cNvPr>
          <p:cNvSpPr/>
          <p:nvPr/>
        </p:nvSpPr>
        <p:spPr>
          <a:xfrm>
            <a:off x="323983" y="4423390"/>
            <a:ext cx="5656450" cy="1343266"/>
          </a:xfrm>
          <a:prstGeom prst="roundRect">
            <a:avLst>
              <a:gd name="adj" fmla="val 0"/>
            </a:avLst>
          </a:prstGeom>
          <a:solidFill>
            <a:schemeClr val="bg1">
              <a:lumMod val="95000"/>
            </a:schemeClr>
          </a:solidFill>
          <a:ln>
            <a:noFill/>
          </a:ln>
        </p:spPr>
        <p:style>
          <a:lnRef idx="2">
            <a:schemeClr val="dk1"/>
          </a:lnRef>
          <a:fillRef idx="1">
            <a:schemeClr val="lt1"/>
          </a:fillRef>
          <a:effectRef idx="0">
            <a:schemeClr val="dk1"/>
          </a:effectRef>
          <a:fontRef idx="minor">
            <a:schemeClr val="dk1"/>
          </a:fontRef>
        </p:style>
        <p:txBody>
          <a:bodyPr wrap="square" rtlCol="0" anchor="ctr">
            <a:noAutofit/>
          </a:bodyPr>
          <a:lstStyle/>
          <a:p>
            <a:pPr algn="ctr"/>
            <a:endParaRPr lang="en-US" dirty="0">
              <a:latin typeface="Aptos" panose="020B0004020202020204" pitchFamily="34" charset="0"/>
            </a:endParaRPr>
          </a:p>
        </p:txBody>
      </p:sp>
      <p:sp>
        <p:nvSpPr>
          <p:cNvPr id="14" name="Rounded Rectangle 13">
            <a:extLst>
              <a:ext uri="{FF2B5EF4-FFF2-40B4-BE49-F238E27FC236}">
                <a16:creationId xmlns:a16="http://schemas.microsoft.com/office/drawing/2014/main" id="{DB768C0D-E896-D03C-481F-648B07D24DD6}"/>
              </a:ext>
            </a:extLst>
          </p:cNvPr>
          <p:cNvSpPr/>
          <p:nvPr/>
        </p:nvSpPr>
        <p:spPr>
          <a:xfrm>
            <a:off x="6230584" y="1221594"/>
            <a:ext cx="5656450" cy="1343266"/>
          </a:xfrm>
          <a:prstGeom prst="roundRect">
            <a:avLst>
              <a:gd name="adj" fmla="val 0"/>
            </a:avLst>
          </a:prstGeom>
          <a:solidFill>
            <a:schemeClr val="bg1">
              <a:lumMod val="95000"/>
            </a:schemeClr>
          </a:solidFill>
          <a:ln>
            <a:noFill/>
          </a:ln>
        </p:spPr>
        <p:style>
          <a:lnRef idx="2">
            <a:schemeClr val="dk1"/>
          </a:lnRef>
          <a:fillRef idx="1">
            <a:schemeClr val="lt1"/>
          </a:fillRef>
          <a:effectRef idx="0">
            <a:schemeClr val="dk1"/>
          </a:effectRef>
          <a:fontRef idx="minor">
            <a:schemeClr val="dk1"/>
          </a:fontRef>
        </p:style>
        <p:txBody>
          <a:bodyPr wrap="square" rtlCol="0" anchor="ctr">
            <a:noAutofit/>
          </a:bodyPr>
          <a:lstStyle/>
          <a:p>
            <a:pPr algn="ctr"/>
            <a:endParaRPr lang="en-US" dirty="0">
              <a:latin typeface="Aptos" panose="020B0004020202020204" pitchFamily="34" charset="0"/>
            </a:endParaRPr>
          </a:p>
        </p:txBody>
      </p:sp>
      <p:sp>
        <p:nvSpPr>
          <p:cNvPr id="15" name="Rounded Rectangle 14">
            <a:extLst>
              <a:ext uri="{FF2B5EF4-FFF2-40B4-BE49-F238E27FC236}">
                <a16:creationId xmlns:a16="http://schemas.microsoft.com/office/drawing/2014/main" id="{B296B93B-1916-61EF-1320-36F658976227}"/>
              </a:ext>
            </a:extLst>
          </p:cNvPr>
          <p:cNvSpPr/>
          <p:nvPr/>
        </p:nvSpPr>
        <p:spPr>
          <a:xfrm>
            <a:off x="6209650" y="2818018"/>
            <a:ext cx="5656450" cy="1343266"/>
          </a:xfrm>
          <a:prstGeom prst="roundRect">
            <a:avLst>
              <a:gd name="adj" fmla="val 0"/>
            </a:avLst>
          </a:prstGeom>
          <a:solidFill>
            <a:schemeClr val="bg1">
              <a:lumMod val="95000"/>
            </a:schemeClr>
          </a:solidFill>
          <a:ln>
            <a:noFill/>
          </a:ln>
        </p:spPr>
        <p:style>
          <a:lnRef idx="2">
            <a:schemeClr val="dk1"/>
          </a:lnRef>
          <a:fillRef idx="1">
            <a:schemeClr val="lt1"/>
          </a:fillRef>
          <a:effectRef idx="0">
            <a:schemeClr val="dk1"/>
          </a:effectRef>
          <a:fontRef idx="minor">
            <a:schemeClr val="dk1"/>
          </a:fontRef>
        </p:style>
        <p:txBody>
          <a:bodyPr wrap="square" rtlCol="0" anchor="ctr">
            <a:noAutofit/>
          </a:bodyPr>
          <a:lstStyle/>
          <a:p>
            <a:pPr algn="ctr"/>
            <a:endParaRPr lang="en-US" dirty="0">
              <a:latin typeface="Aptos" panose="020B0004020202020204" pitchFamily="34" charset="0"/>
            </a:endParaRPr>
          </a:p>
        </p:txBody>
      </p:sp>
      <p:sp>
        <p:nvSpPr>
          <p:cNvPr id="16" name="Rounded Rectangle 15">
            <a:extLst>
              <a:ext uri="{FF2B5EF4-FFF2-40B4-BE49-F238E27FC236}">
                <a16:creationId xmlns:a16="http://schemas.microsoft.com/office/drawing/2014/main" id="{30BA9A21-D84E-DA9A-4282-C9E90C3E5CD5}"/>
              </a:ext>
            </a:extLst>
          </p:cNvPr>
          <p:cNvSpPr/>
          <p:nvPr/>
        </p:nvSpPr>
        <p:spPr>
          <a:xfrm>
            <a:off x="6209650" y="4423390"/>
            <a:ext cx="5656450" cy="1343266"/>
          </a:xfrm>
          <a:prstGeom prst="roundRect">
            <a:avLst>
              <a:gd name="adj" fmla="val 0"/>
            </a:avLst>
          </a:prstGeom>
          <a:solidFill>
            <a:schemeClr val="bg1">
              <a:lumMod val="95000"/>
            </a:schemeClr>
          </a:solidFill>
          <a:ln>
            <a:noFill/>
          </a:ln>
        </p:spPr>
        <p:style>
          <a:lnRef idx="2">
            <a:schemeClr val="dk1"/>
          </a:lnRef>
          <a:fillRef idx="1">
            <a:schemeClr val="lt1"/>
          </a:fillRef>
          <a:effectRef idx="0">
            <a:schemeClr val="dk1"/>
          </a:effectRef>
          <a:fontRef idx="minor">
            <a:schemeClr val="dk1"/>
          </a:fontRef>
        </p:style>
        <p:txBody>
          <a:bodyPr wrap="square" rtlCol="0" anchor="ctr">
            <a:noAutofit/>
          </a:bodyPr>
          <a:lstStyle/>
          <a:p>
            <a:pPr algn="ctr"/>
            <a:endParaRPr lang="en-US" dirty="0">
              <a:latin typeface="Aptos" panose="020B0004020202020204" pitchFamily="34" charset="0"/>
            </a:endParaRPr>
          </a:p>
        </p:txBody>
      </p:sp>
      <p:sp>
        <p:nvSpPr>
          <p:cNvPr id="17" name="TextBox 16">
            <a:extLst>
              <a:ext uri="{FF2B5EF4-FFF2-40B4-BE49-F238E27FC236}">
                <a16:creationId xmlns:a16="http://schemas.microsoft.com/office/drawing/2014/main" id="{FDD35ECB-0F23-5B9A-D80F-A3432C677675}"/>
              </a:ext>
            </a:extLst>
          </p:cNvPr>
          <p:cNvSpPr txBox="1"/>
          <p:nvPr/>
        </p:nvSpPr>
        <p:spPr>
          <a:xfrm>
            <a:off x="507456" y="3178091"/>
            <a:ext cx="4694904" cy="623119"/>
          </a:xfrm>
          <a:prstGeom prst="rect">
            <a:avLst/>
          </a:prstGeom>
          <a:noFill/>
        </p:spPr>
        <p:txBody>
          <a:bodyPr wrap="square" anchor="ctr">
            <a:spAutoFit/>
          </a:bodyPr>
          <a:lstStyle/>
          <a:p>
            <a:pPr>
              <a:lnSpc>
                <a:spcPct val="110000"/>
              </a:lnSpc>
            </a:pPr>
            <a:r>
              <a:rPr lang="en-US" sz="1600" dirty="0">
                <a:latin typeface="Aptos" panose="020B0004020202020204" pitchFamily="34" charset="0"/>
              </a:rPr>
              <a:t>Continue to expand adoption of Renuvion® as the revolutionary treatment of loose and lax skin </a:t>
            </a:r>
          </a:p>
        </p:txBody>
      </p:sp>
      <p:sp>
        <p:nvSpPr>
          <p:cNvPr id="18" name="TextBox 17">
            <a:extLst>
              <a:ext uri="{FF2B5EF4-FFF2-40B4-BE49-F238E27FC236}">
                <a16:creationId xmlns:a16="http://schemas.microsoft.com/office/drawing/2014/main" id="{19F3D409-A84C-D7D1-C1A9-0E0345CDC813}"/>
              </a:ext>
            </a:extLst>
          </p:cNvPr>
          <p:cNvSpPr txBox="1"/>
          <p:nvPr/>
        </p:nvSpPr>
        <p:spPr>
          <a:xfrm>
            <a:off x="507456" y="1297547"/>
            <a:ext cx="4633955" cy="1164871"/>
          </a:xfrm>
          <a:prstGeom prst="rect">
            <a:avLst/>
          </a:prstGeom>
          <a:noFill/>
        </p:spPr>
        <p:txBody>
          <a:bodyPr wrap="square" anchor="ctr">
            <a:spAutoFit/>
          </a:bodyPr>
          <a:lstStyle/>
          <a:p>
            <a:pPr>
              <a:lnSpc>
                <a:spcPct val="110000"/>
              </a:lnSpc>
            </a:pPr>
            <a:r>
              <a:rPr lang="en-US" sz="1600" dirty="0">
                <a:latin typeface="Aptos" panose="020B0004020202020204" pitchFamily="34" charset="0"/>
              </a:rPr>
              <a:t>Continue to execute commercial launch of AYON in September 2025 and capitalize on increased demand for market tailwinds related to GLP-1 drugs</a:t>
            </a:r>
          </a:p>
        </p:txBody>
      </p:sp>
      <p:sp>
        <p:nvSpPr>
          <p:cNvPr id="19" name="TextBox 18">
            <a:extLst>
              <a:ext uri="{FF2B5EF4-FFF2-40B4-BE49-F238E27FC236}">
                <a16:creationId xmlns:a16="http://schemas.microsoft.com/office/drawing/2014/main" id="{95AFB531-7384-F397-DBC0-169231C87A27}"/>
              </a:ext>
            </a:extLst>
          </p:cNvPr>
          <p:cNvSpPr txBox="1"/>
          <p:nvPr/>
        </p:nvSpPr>
        <p:spPr>
          <a:xfrm>
            <a:off x="576014" y="4751253"/>
            <a:ext cx="4621598" cy="623119"/>
          </a:xfrm>
          <a:prstGeom prst="rect">
            <a:avLst/>
          </a:prstGeom>
          <a:noFill/>
        </p:spPr>
        <p:txBody>
          <a:bodyPr wrap="square" anchor="ctr">
            <a:spAutoFit/>
          </a:bodyPr>
          <a:lstStyle/>
          <a:p>
            <a:pPr>
              <a:lnSpc>
                <a:spcPct val="110000"/>
              </a:lnSpc>
            </a:pPr>
            <a:r>
              <a:rPr lang="en-US" sz="1600" dirty="0">
                <a:latin typeface="Aptos" panose="020B0004020202020204" pitchFamily="34" charset="0"/>
              </a:rPr>
              <a:t>Active DTC program to facilitate new customer adoption </a:t>
            </a:r>
          </a:p>
        </p:txBody>
      </p:sp>
      <p:sp>
        <p:nvSpPr>
          <p:cNvPr id="20" name="TextBox 19">
            <a:extLst>
              <a:ext uri="{FF2B5EF4-FFF2-40B4-BE49-F238E27FC236}">
                <a16:creationId xmlns:a16="http://schemas.microsoft.com/office/drawing/2014/main" id="{0AD2CDF6-0790-F567-FE7F-4350C6A77BBD}"/>
              </a:ext>
            </a:extLst>
          </p:cNvPr>
          <p:cNvSpPr txBox="1"/>
          <p:nvPr/>
        </p:nvSpPr>
        <p:spPr>
          <a:xfrm>
            <a:off x="6420197" y="1717089"/>
            <a:ext cx="4765018" cy="352276"/>
          </a:xfrm>
          <a:prstGeom prst="rect">
            <a:avLst/>
          </a:prstGeom>
          <a:noFill/>
        </p:spPr>
        <p:txBody>
          <a:bodyPr wrap="square" anchor="ctr">
            <a:spAutoFit/>
          </a:bodyPr>
          <a:lstStyle/>
          <a:p>
            <a:pPr>
              <a:lnSpc>
                <a:spcPct val="110000"/>
              </a:lnSpc>
            </a:pPr>
            <a:r>
              <a:rPr lang="en-US" sz="1600" dirty="0">
                <a:latin typeface="Aptos" panose="020B0004020202020204" pitchFamily="34" charset="0"/>
              </a:rPr>
              <a:t>Continue to develop network outside of U.S.</a:t>
            </a:r>
          </a:p>
        </p:txBody>
      </p:sp>
      <p:sp>
        <p:nvSpPr>
          <p:cNvPr id="21" name="TextBox 20">
            <a:extLst>
              <a:ext uri="{FF2B5EF4-FFF2-40B4-BE49-F238E27FC236}">
                <a16:creationId xmlns:a16="http://schemas.microsoft.com/office/drawing/2014/main" id="{11E68FDA-BCFA-9D75-9EEA-BF13AE1B7143}"/>
              </a:ext>
            </a:extLst>
          </p:cNvPr>
          <p:cNvSpPr txBox="1"/>
          <p:nvPr/>
        </p:nvSpPr>
        <p:spPr>
          <a:xfrm>
            <a:off x="6420197" y="3047111"/>
            <a:ext cx="4564183" cy="894027"/>
          </a:xfrm>
          <a:prstGeom prst="rect">
            <a:avLst/>
          </a:prstGeom>
          <a:noFill/>
        </p:spPr>
        <p:txBody>
          <a:bodyPr wrap="square" anchor="ctr">
            <a:spAutoFit/>
          </a:bodyPr>
          <a:lstStyle/>
          <a:p>
            <a:pPr>
              <a:lnSpc>
                <a:spcPct val="110000"/>
              </a:lnSpc>
            </a:pPr>
            <a:r>
              <a:rPr lang="en-US" sz="1600" dirty="0">
                <a:latin typeface="Aptos" panose="020B0004020202020204" pitchFamily="34" charset="0"/>
              </a:rPr>
              <a:t>Continue to expand library of clinical evidence supporting the use of our Surgical Aesthetic products</a:t>
            </a:r>
          </a:p>
        </p:txBody>
      </p:sp>
      <p:sp>
        <p:nvSpPr>
          <p:cNvPr id="22" name="TextBox 21">
            <a:extLst>
              <a:ext uri="{FF2B5EF4-FFF2-40B4-BE49-F238E27FC236}">
                <a16:creationId xmlns:a16="http://schemas.microsoft.com/office/drawing/2014/main" id="{E868A23A-11A9-DF93-EA89-D399AF758449}"/>
              </a:ext>
            </a:extLst>
          </p:cNvPr>
          <p:cNvSpPr txBox="1"/>
          <p:nvPr/>
        </p:nvSpPr>
        <p:spPr>
          <a:xfrm>
            <a:off x="6420197" y="4783463"/>
            <a:ext cx="4070247" cy="623119"/>
          </a:xfrm>
          <a:prstGeom prst="rect">
            <a:avLst/>
          </a:prstGeom>
          <a:noFill/>
        </p:spPr>
        <p:txBody>
          <a:bodyPr wrap="square" anchor="ctr">
            <a:spAutoFit/>
          </a:bodyPr>
          <a:lstStyle/>
          <a:p>
            <a:pPr>
              <a:lnSpc>
                <a:spcPct val="110000"/>
              </a:lnSpc>
            </a:pPr>
            <a:r>
              <a:rPr lang="en-US" sz="1600" dirty="0">
                <a:latin typeface="Aptos" panose="020B0004020202020204" pitchFamily="34" charset="0"/>
              </a:rPr>
              <a:t>Manage expenses while driving progress towards profitability</a:t>
            </a:r>
          </a:p>
        </p:txBody>
      </p:sp>
      <p:sp>
        <p:nvSpPr>
          <p:cNvPr id="23" name="Round Same Side Corner Rectangle 22">
            <a:extLst>
              <a:ext uri="{FF2B5EF4-FFF2-40B4-BE49-F238E27FC236}">
                <a16:creationId xmlns:a16="http://schemas.microsoft.com/office/drawing/2014/main" id="{11076AC9-D33F-5C1B-E26F-94B6473B26FD}"/>
              </a:ext>
            </a:extLst>
          </p:cNvPr>
          <p:cNvSpPr/>
          <p:nvPr/>
        </p:nvSpPr>
        <p:spPr>
          <a:xfrm rot="10800000">
            <a:off x="5355330" y="1221594"/>
            <a:ext cx="455696" cy="502122"/>
          </a:xfrm>
          <a:prstGeom prst="round2SameRect">
            <a:avLst>
              <a:gd name="adj1" fmla="val 0"/>
              <a:gd name="adj2" fmla="val 0"/>
            </a:avLst>
          </a:prstGeom>
          <a:solidFill>
            <a:schemeClr val="tx2"/>
          </a:solidFill>
          <a:ln>
            <a:noFill/>
          </a:ln>
        </p:spPr>
        <p:style>
          <a:lnRef idx="3">
            <a:schemeClr val="lt1"/>
          </a:lnRef>
          <a:fillRef idx="1">
            <a:schemeClr val="dk1"/>
          </a:fillRef>
          <a:effectRef idx="1">
            <a:schemeClr val="dk1"/>
          </a:effectRef>
          <a:fontRef idx="minor">
            <a:schemeClr val="lt1"/>
          </a:fontRef>
        </p:style>
        <p:txBody>
          <a:bodyPr wrap="square" rtlCol="0" anchor="ctr">
            <a:noAutofit/>
          </a:bodyPr>
          <a:lstStyle/>
          <a:p>
            <a:pPr algn="ctr"/>
            <a:endParaRPr lang="en-US" sz="1400" dirty="0">
              <a:latin typeface="Aptos" panose="020B0004020202020204" pitchFamily="34" charset="0"/>
            </a:endParaRPr>
          </a:p>
        </p:txBody>
      </p:sp>
      <p:sp>
        <p:nvSpPr>
          <p:cNvPr id="24" name="TextBox 23">
            <a:extLst>
              <a:ext uri="{FF2B5EF4-FFF2-40B4-BE49-F238E27FC236}">
                <a16:creationId xmlns:a16="http://schemas.microsoft.com/office/drawing/2014/main" id="{28BB2B7B-C564-9109-9B5D-C64E6F148500}"/>
              </a:ext>
            </a:extLst>
          </p:cNvPr>
          <p:cNvSpPr txBox="1"/>
          <p:nvPr/>
        </p:nvSpPr>
        <p:spPr>
          <a:xfrm>
            <a:off x="5342857" y="1318765"/>
            <a:ext cx="459074" cy="307777"/>
          </a:xfrm>
          <a:prstGeom prst="rect">
            <a:avLst/>
          </a:prstGeom>
          <a:noFill/>
        </p:spPr>
        <p:txBody>
          <a:bodyPr wrap="square">
            <a:spAutoFit/>
          </a:bodyPr>
          <a:lstStyle/>
          <a:p>
            <a:pPr algn="ctr"/>
            <a:r>
              <a:rPr lang="en-US" sz="1400" dirty="0">
                <a:solidFill>
                  <a:schemeClr val="bg1"/>
                </a:solidFill>
                <a:latin typeface="Aptos" panose="020B0004020202020204" pitchFamily="34" charset="0"/>
              </a:rPr>
              <a:t>01</a:t>
            </a:r>
          </a:p>
        </p:txBody>
      </p:sp>
      <p:sp>
        <p:nvSpPr>
          <p:cNvPr id="25" name="Round Same Side Corner Rectangle 24">
            <a:extLst>
              <a:ext uri="{FF2B5EF4-FFF2-40B4-BE49-F238E27FC236}">
                <a16:creationId xmlns:a16="http://schemas.microsoft.com/office/drawing/2014/main" id="{44630F81-7428-0CBF-32E6-79F678F00E48}"/>
              </a:ext>
            </a:extLst>
          </p:cNvPr>
          <p:cNvSpPr/>
          <p:nvPr/>
        </p:nvSpPr>
        <p:spPr>
          <a:xfrm rot="10800000">
            <a:off x="5351509" y="2806950"/>
            <a:ext cx="455696" cy="502122"/>
          </a:xfrm>
          <a:prstGeom prst="round2SameRect">
            <a:avLst>
              <a:gd name="adj1" fmla="val 0"/>
              <a:gd name="adj2" fmla="val 0"/>
            </a:avLst>
          </a:prstGeom>
          <a:solidFill>
            <a:schemeClr val="tx2"/>
          </a:solidFill>
          <a:ln>
            <a:noFill/>
          </a:ln>
        </p:spPr>
        <p:style>
          <a:lnRef idx="3">
            <a:schemeClr val="lt1"/>
          </a:lnRef>
          <a:fillRef idx="1">
            <a:schemeClr val="dk1"/>
          </a:fillRef>
          <a:effectRef idx="1">
            <a:schemeClr val="dk1"/>
          </a:effectRef>
          <a:fontRef idx="minor">
            <a:schemeClr val="lt1"/>
          </a:fontRef>
        </p:style>
        <p:txBody>
          <a:bodyPr wrap="square" rtlCol="0" anchor="ctr">
            <a:noAutofit/>
          </a:bodyPr>
          <a:lstStyle/>
          <a:p>
            <a:pPr algn="ctr"/>
            <a:endParaRPr lang="en-US" sz="1400" dirty="0">
              <a:latin typeface="Aptos" panose="020B0004020202020204" pitchFamily="34" charset="0"/>
            </a:endParaRPr>
          </a:p>
        </p:txBody>
      </p:sp>
      <p:sp>
        <p:nvSpPr>
          <p:cNvPr id="26" name="TextBox 25">
            <a:extLst>
              <a:ext uri="{FF2B5EF4-FFF2-40B4-BE49-F238E27FC236}">
                <a16:creationId xmlns:a16="http://schemas.microsoft.com/office/drawing/2014/main" id="{3EB837FE-8FB8-6661-C39F-D5B4147BCC3E}"/>
              </a:ext>
            </a:extLst>
          </p:cNvPr>
          <p:cNvSpPr txBox="1"/>
          <p:nvPr/>
        </p:nvSpPr>
        <p:spPr>
          <a:xfrm>
            <a:off x="5347609" y="2915730"/>
            <a:ext cx="459074" cy="307777"/>
          </a:xfrm>
          <a:prstGeom prst="rect">
            <a:avLst/>
          </a:prstGeom>
          <a:noFill/>
        </p:spPr>
        <p:txBody>
          <a:bodyPr wrap="square">
            <a:spAutoFit/>
          </a:bodyPr>
          <a:lstStyle/>
          <a:p>
            <a:pPr algn="ctr"/>
            <a:r>
              <a:rPr lang="en-US" sz="1400" dirty="0">
                <a:solidFill>
                  <a:schemeClr val="bg1"/>
                </a:solidFill>
                <a:latin typeface="Aptos" panose="020B0004020202020204" pitchFamily="34" charset="0"/>
              </a:rPr>
              <a:t>02</a:t>
            </a:r>
          </a:p>
        </p:txBody>
      </p:sp>
      <p:sp>
        <p:nvSpPr>
          <p:cNvPr id="27" name="Round Same Side Corner Rectangle 26">
            <a:extLst>
              <a:ext uri="{FF2B5EF4-FFF2-40B4-BE49-F238E27FC236}">
                <a16:creationId xmlns:a16="http://schemas.microsoft.com/office/drawing/2014/main" id="{3661715B-ED87-EDDB-9F6F-DD21CF24729B}"/>
              </a:ext>
            </a:extLst>
          </p:cNvPr>
          <p:cNvSpPr/>
          <p:nvPr/>
        </p:nvSpPr>
        <p:spPr>
          <a:xfrm rot="10800000">
            <a:off x="5351509" y="4428936"/>
            <a:ext cx="455696" cy="502122"/>
          </a:xfrm>
          <a:prstGeom prst="round2SameRect">
            <a:avLst>
              <a:gd name="adj1" fmla="val 0"/>
              <a:gd name="adj2" fmla="val 0"/>
            </a:avLst>
          </a:prstGeom>
          <a:solidFill>
            <a:schemeClr val="tx2"/>
          </a:solidFill>
          <a:ln>
            <a:noFill/>
          </a:ln>
        </p:spPr>
        <p:style>
          <a:lnRef idx="3">
            <a:schemeClr val="lt1"/>
          </a:lnRef>
          <a:fillRef idx="1">
            <a:schemeClr val="dk1"/>
          </a:fillRef>
          <a:effectRef idx="1">
            <a:schemeClr val="dk1"/>
          </a:effectRef>
          <a:fontRef idx="minor">
            <a:schemeClr val="lt1"/>
          </a:fontRef>
        </p:style>
        <p:txBody>
          <a:bodyPr wrap="square" rtlCol="0" anchor="ctr">
            <a:noAutofit/>
          </a:bodyPr>
          <a:lstStyle/>
          <a:p>
            <a:pPr algn="ctr"/>
            <a:endParaRPr lang="en-US" sz="1400" dirty="0">
              <a:latin typeface="Aptos" panose="020B0004020202020204" pitchFamily="34" charset="0"/>
            </a:endParaRPr>
          </a:p>
        </p:txBody>
      </p:sp>
      <p:sp>
        <p:nvSpPr>
          <p:cNvPr id="28" name="TextBox 27">
            <a:extLst>
              <a:ext uri="{FF2B5EF4-FFF2-40B4-BE49-F238E27FC236}">
                <a16:creationId xmlns:a16="http://schemas.microsoft.com/office/drawing/2014/main" id="{2D36F3DD-AE64-B9A2-7463-AB78EE94C7C5}"/>
              </a:ext>
            </a:extLst>
          </p:cNvPr>
          <p:cNvSpPr txBox="1"/>
          <p:nvPr/>
        </p:nvSpPr>
        <p:spPr>
          <a:xfrm>
            <a:off x="5340897" y="4516962"/>
            <a:ext cx="459074" cy="307777"/>
          </a:xfrm>
          <a:prstGeom prst="rect">
            <a:avLst/>
          </a:prstGeom>
          <a:noFill/>
        </p:spPr>
        <p:txBody>
          <a:bodyPr wrap="square">
            <a:spAutoFit/>
          </a:bodyPr>
          <a:lstStyle/>
          <a:p>
            <a:pPr algn="ctr"/>
            <a:r>
              <a:rPr lang="en-US" sz="1400" dirty="0">
                <a:solidFill>
                  <a:schemeClr val="bg1"/>
                </a:solidFill>
                <a:latin typeface="Aptos" panose="020B0004020202020204" pitchFamily="34" charset="0"/>
              </a:rPr>
              <a:t>03</a:t>
            </a:r>
          </a:p>
        </p:txBody>
      </p:sp>
      <p:sp>
        <p:nvSpPr>
          <p:cNvPr id="29" name="Round Same Side Corner Rectangle 28">
            <a:extLst>
              <a:ext uri="{FF2B5EF4-FFF2-40B4-BE49-F238E27FC236}">
                <a16:creationId xmlns:a16="http://schemas.microsoft.com/office/drawing/2014/main" id="{0F63CCDD-4C23-5998-10E7-8752D240692C}"/>
              </a:ext>
            </a:extLst>
          </p:cNvPr>
          <p:cNvSpPr/>
          <p:nvPr/>
        </p:nvSpPr>
        <p:spPr>
          <a:xfrm rot="10800000">
            <a:off x="11217419" y="1221593"/>
            <a:ext cx="455696" cy="502122"/>
          </a:xfrm>
          <a:prstGeom prst="round2SameRect">
            <a:avLst>
              <a:gd name="adj1" fmla="val 0"/>
              <a:gd name="adj2" fmla="val 0"/>
            </a:avLst>
          </a:prstGeom>
          <a:solidFill>
            <a:schemeClr val="tx2"/>
          </a:solidFill>
          <a:ln>
            <a:noFill/>
          </a:ln>
        </p:spPr>
        <p:style>
          <a:lnRef idx="3">
            <a:schemeClr val="lt1"/>
          </a:lnRef>
          <a:fillRef idx="1">
            <a:schemeClr val="dk1"/>
          </a:fillRef>
          <a:effectRef idx="1">
            <a:schemeClr val="dk1"/>
          </a:effectRef>
          <a:fontRef idx="minor">
            <a:schemeClr val="lt1"/>
          </a:fontRef>
        </p:style>
        <p:txBody>
          <a:bodyPr wrap="square" rtlCol="0" anchor="ctr">
            <a:noAutofit/>
          </a:bodyPr>
          <a:lstStyle/>
          <a:p>
            <a:pPr algn="ctr"/>
            <a:endParaRPr lang="en-US" sz="1400" dirty="0">
              <a:latin typeface="Aptos" panose="020B0004020202020204" pitchFamily="34" charset="0"/>
            </a:endParaRPr>
          </a:p>
        </p:txBody>
      </p:sp>
      <p:sp>
        <p:nvSpPr>
          <p:cNvPr id="30" name="TextBox 29">
            <a:extLst>
              <a:ext uri="{FF2B5EF4-FFF2-40B4-BE49-F238E27FC236}">
                <a16:creationId xmlns:a16="http://schemas.microsoft.com/office/drawing/2014/main" id="{D3CC0D9C-CDCC-B8AF-5863-59F06B8E6A9E}"/>
              </a:ext>
            </a:extLst>
          </p:cNvPr>
          <p:cNvSpPr txBox="1"/>
          <p:nvPr/>
        </p:nvSpPr>
        <p:spPr>
          <a:xfrm>
            <a:off x="11210220" y="1333783"/>
            <a:ext cx="459074" cy="307777"/>
          </a:xfrm>
          <a:prstGeom prst="rect">
            <a:avLst/>
          </a:prstGeom>
          <a:noFill/>
        </p:spPr>
        <p:txBody>
          <a:bodyPr wrap="square">
            <a:spAutoFit/>
          </a:bodyPr>
          <a:lstStyle/>
          <a:p>
            <a:pPr algn="ctr"/>
            <a:r>
              <a:rPr lang="en-US" sz="1400" dirty="0">
                <a:solidFill>
                  <a:schemeClr val="bg1"/>
                </a:solidFill>
                <a:latin typeface="Aptos" panose="020B0004020202020204" pitchFamily="34" charset="0"/>
              </a:rPr>
              <a:t>04</a:t>
            </a:r>
          </a:p>
        </p:txBody>
      </p:sp>
      <p:sp>
        <p:nvSpPr>
          <p:cNvPr id="31" name="Round Same Side Corner Rectangle 30">
            <a:extLst>
              <a:ext uri="{FF2B5EF4-FFF2-40B4-BE49-F238E27FC236}">
                <a16:creationId xmlns:a16="http://schemas.microsoft.com/office/drawing/2014/main" id="{3DCF3215-0F44-1D68-5B0B-064C798E4E8F}"/>
              </a:ext>
            </a:extLst>
          </p:cNvPr>
          <p:cNvSpPr/>
          <p:nvPr/>
        </p:nvSpPr>
        <p:spPr>
          <a:xfrm rot="10800000">
            <a:off x="11213598" y="2819737"/>
            <a:ext cx="455696" cy="502122"/>
          </a:xfrm>
          <a:prstGeom prst="round2SameRect">
            <a:avLst>
              <a:gd name="adj1" fmla="val 0"/>
              <a:gd name="adj2" fmla="val 0"/>
            </a:avLst>
          </a:prstGeom>
          <a:solidFill>
            <a:schemeClr val="tx2"/>
          </a:solidFill>
          <a:ln>
            <a:noFill/>
          </a:ln>
        </p:spPr>
        <p:style>
          <a:lnRef idx="3">
            <a:schemeClr val="lt1"/>
          </a:lnRef>
          <a:fillRef idx="1">
            <a:schemeClr val="dk1"/>
          </a:fillRef>
          <a:effectRef idx="1">
            <a:schemeClr val="dk1"/>
          </a:effectRef>
          <a:fontRef idx="minor">
            <a:schemeClr val="lt1"/>
          </a:fontRef>
        </p:style>
        <p:txBody>
          <a:bodyPr wrap="square" rtlCol="0" anchor="ctr">
            <a:noAutofit/>
          </a:bodyPr>
          <a:lstStyle/>
          <a:p>
            <a:pPr algn="ctr"/>
            <a:endParaRPr lang="en-US" sz="1400" dirty="0">
              <a:latin typeface="Aptos" panose="020B0004020202020204" pitchFamily="34" charset="0"/>
            </a:endParaRPr>
          </a:p>
        </p:txBody>
      </p:sp>
      <p:sp>
        <p:nvSpPr>
          <p:cNvPr id="32" name="TextBox 31">
            <a:extLst>
              <a:ext uri="{FF2B5EF4-FFF2-40B4-BE49-F238E27FC236}">
                <a16:creationId xmlns:a16="http://schemas.microsoft.com/office/drawing/2014/main" id="{E83A3266-0342-EE74-BFE7-D69602A39585}"/>
              </a:ext>
            </a:extLst>
          </p:cNvPr>
          <p:cNvSpPr txBox="1"/>
          <p:nvPr/>
        </p:nvSpPr>
        <p:spPr>
          <a:xfrm>
            <a:off x="11217419" y="2928239"/>
            <a:ext cx="459074" cy="307777"/>
          </a:xfrm>
          <a:prstGeom prst="rect">
            <a:avLst/>
          </a:prstGeom>
          <a:noFill/>
        </p:spPr>
        <p:txBody>
          <a:bodyPr wrap="square">
            <a:spAutoFit/>
          </a:bodyPr>
          <a:lstStyle/>
          <a:p>
            <a:pPr algn="ctr"/>
            <a:r>
              <a:rPr lang="en-US" sz="1400" dirty="0">
                <a:solidFill>
                  <a:schemeClr val="bg1"/>
                </a:solidFill>
                <a:latin typeface="Aptos" panose="020B0004020202020204" pitchFamily="34" charset="0"/>
              </a:rPr>
              <a:t>05</a:t>
            </a:r>
          </a:p>
        </p:txBody>
      </p:sp>
      <p:sp>
        <p:nvSpPr>
          <p:cNvPr id="33" name="Round Same Side Corner Rectangle 32">
            <a:extLst>
              <a:ext uri="{FF2B5EF4-FFF2-40B4-BE49-F238E27FC236}">
                <a16:creationId xmlns:a16="http://schemas.microsoft.com/office/drawing/2014/main" id="{6CC5C12E-8FD6-0742-A3B4-485F1ED13991}"/>
              </a:ext>
            </a:extLst>
          </p:cNvPr>
          <p:cNvSpPr/>
          <p:nvPr/>
        </p:nvSpPr>
        <p:spPr>
          <a:xfrm rot="10800000">
            <a:off x="11213598" y="4419791"/>
            <a:ext cx="455696" cy="502122"/>
          </a:xfrm>
          <a:prstGeom prst="round2SameRect">
            <a:avLst>
              <a:gd name="adj1" fmla="val 0"/>
              <a:gd name="adj2" fmla="val 0"/>
            </a:avLst>
          </a:prstGeom>
          <a:solidFill>
            <a:schemeClr val="tx2"/>
          </a:solidFill>
          <a:ln>
            <a:noFill/>
          </a:ln>
        </p:spPr>
        <p:style>
          <a:lnRef idx="3">
            <a:schemeClr val="lt1"/>
          </a:lnRef>
          <a:fillRef idx="1">
            <a:schemeClr val="dk1"/>
          </a:fillRef>
          <a:effectRef idx="1">
            <a:schemeClr val="dk1"/>
          </a:effectRef>
          <a:fontRef idx="minor">
            <a:schemeClr val="lt1"/>
          </a:fontRef>
        </p:style>
        <p:txBody>
          <a:bodyPr wrap="square" rtlCol="0" anchor="ctr">
            <a:noAutofit/>
          </a:bodyPr>
          <a:lstStyle/>
          <a:p>
            <a:pPr algn="ctr"/>
            <a:endParaRPr lang="en-US" sz="1400" dirty="0">
              <a:latin typeface="Aptos" panose="020B0004020202020204" pitchFamily="34" charset="0"/>
            </a:endParaRPr>
          </a:p>
        </p:txBody>
      </p:sp>
      <p:sp>
        <p:nvSpPr>
          <p:cNvPr id="34" name="TextBox 33">
            <a:extLst>
              <a:ext uri="{FF2B5EF4-FFF2-40B4-BE49-F238E27FC236}">
                <a16:creationId xmlns:a16="http://schemas.microsoft.com/office/drawing/2014/main" id="{68AC645D-DFE4-B501-63AD-C098A554DBAF}"/>
              </a:ext>
            </a:extLst>
          </p:cNvPr>
          <p:cNvSpPr txBox="1"/>
          <p:nvPr/>
        </p:nvSpPr>
        <p:spPr>
          <a:xfrm>
            <a:off x="11217419" y="4519002"/>
            <a:ext cx="459074" cy="307777"/>
          </a:xfrm>
          <a:prstGeom prst="rect">
            <a:avLst/>
          </a:prstGeom>
          <a:noFill/>
        </p:spPr>
        <p:txBody>
          <a:bodyPr wrap="square">
            <a:spAutoFit/>
          </a:bodyPr>
          <a:lstStyle/>
          <a:p>
            <a:pPr algn="ctr"/>
            <a:r>
              <a:rPr lang="en-US" sz="1400" dirty="0">
                <a:solidFill>
                  <a:schemeClr val="bg1"/>
                </a:solidFill>
                <a:latin typeface="Aptos" panose="020B0004020202020204" pitchFamily="34" charset="0"/>
              </a:rPr>
              <a:t>06</a:t>
            </a:r>
          </a:p>
        </p:txBody>
      </p:sp>
    </p:spTree>
    <p:extLst>
      <p:ext uri="{BB962C8B-B14F-4D97-AF65-F5344CB8AC3E}">
        <p14:creationId xmlns:p14="http://schemas.microsoft.com/office/powerpoint/2010/main" val="29615435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948DF665-8BB7-452A-E38C-E5FA51EF7BA8}"/>
              </a:ext>
            </a:extLst>
          </p:cNvPr>
          <p:cNvSpPr txBox="1"/>
          <p:nvPr/>
        </p:nvSpPr>
        <p:spPr>
          <a:xfrm>
            <a:off x="2616633" y="2757493"/>
            <a:ext cx="7234518" cy="1877437"/>
          </a:xfrm>
          <a:prstGeom prst="rect">
            <a:avLst/>
          </a:prstGeom>
          <a:noFill/>
        </p:spPr>
        <p:txBody>
          <a:bodyPr wrap="square">
            <a:spAutoFit/>
          </a:bodyPr>
          <a:lstStyle/>
          <a:p>
            <a:pPr algn="ctr"/>
            <a:r>
              <a:rPr lang="en-US" sz="2400" b="1" dirty="0">
                <a:solidFill>
                  <a:schemeClr val="accent6"/>
                </a:solidFill>
                <a:latin typeface="Aptos" panose="020B0004020202020204" pitchFamily="34" charset="0"/>
              </a:rPr>
              <a:t>Office Locations</a:t>
            </a:r>
          </a:p>
          <a:p>
            <a:pPr algn="ctr"/>
            <a:endParaRPr lang="en-US" sz="200" b="1" dirty="0">
              <a:solidFill>
                <a:schemeClr val="bg1"/>
              </a:solidFill>
              <a:latin typeface="Aptos" panose="020B0004020202020204" pitchFamily="34" charset="0"/>
            </a:endParaRPr>
          </a:p>
          <a:p>
            <a:pPr algn="ctr"/>
            <a:r>
              <a:rPr lang="en-US" dirty="0">
                <a:solidFill>
                  <a:schemeClr val="bg1"/>
                </a:solidFill>
                <a:latin typeface="Aptos" panose="020B0004020202020204" pitchFamily="34" charset="0"/>
              </a:rPr>
              <a:t>APYX™ MEDICAL CORPORATION</a:t>
            </a:r>
          </a:p>
          <a:p>
            <a:pPr algn="ctr"/>
            <a:r>
              <a:rPr lang="en-US" dirty="0">
                <a:solidFill>
                  <a:schemeClr val="bg1"/>
                </a:solidFill>
                <a:latin typeface="Aptos" panose="020B0004020202020204" pitchFamily="34" charset="0"/>
              </a:rPr>
              <a:t>5115 Ulmerton Road • Clearwater, FL 33760-4004 • USA</a:t>
            </a:r>
          </a:p>
          <a:p>
            <a:pPr algn="ctr"/>
            <a:endParaRPr lang="en-US" dirty="0">
              <a:solidFill>
                <a:schemeClr val="bg1"/>
              </a:solidFill>
              <a:latin typeface="Aptos" panose="020B0004020202020204" pitchFamily="34" charset="0"/>
            </a:endParaRPr>
          </a:p>
          <a:p>
            <a:pPr algn="ctr"/>
            <a:r>
              <a:rPr lang="en-US" dirty="0">
                <a:solidFill>
                  <a:schemeClr val="bg1"/>
                </a:solidFill>
                <a:latin typeface="Aptos" panose="020B0004020202020204" pitchFamily="34" charset="0"/>
              </a:rPr>
              <a:t>APYX BULGARIA</a:t>
            </a:r>
          </a:p>
          <a:p>
            <a:pPr algn="ctr"/>
            <a:r>
              <a:rPr lang="en-US" dirty="0">
                <a:solidFill>
                  <a:schemeClr val="bg1"/>
                </a:solidFill>
                <a:latin typeface="Aptos" panose="020B0004020202020204" pitchFamily="34" charset="0"/>
              </a:rPr>
              <a:t>Manufacturing Facility and European Authorized Service Center</a:t>
            </a:r>
          </a:p>
        </p:txBody>
      </p:sp>
      <p:sp>
        <p:nvSpPr>
          <p:cNvPr id="2" name="Title 1">
            <a:extLst>
              <a:ext uri="{FF2B5EF4-FFF2-40B4-BE49-F238E27FC236}">
                <a16:creationId xmlns:a16="http://schemas.microsoft.com/office/drawing/2014/main" id="{41B3BF90-0773-4439-6588-B3E61E69AAEF}"/>
              </a:ext>
            </a:extLst>
          </p:cNvPr>
          <p:cNvSpPr>
            <a:spLocks noGrp="1"/>
          </p:cNvSpPr>
          <p:nvPr>
            <p:ph type="ctrTitle"/>
          </p:nvPr>
        </p:nvSpPr>
        <p:spPr>
          <a:xfrm>
            <a:off x="1546746" y="1140431"/>
            <a:ext cx="9098508" cy="1082640"/>
          </a:xfrm>
        </p:spPr>
        <p:txBody>
          <a:bodyPr/>
          <a:lstStyle/>
          <a:p>
            <a:r>
              <a:rPr lang="en-US" dirty="0"/>
              <a:t>Q&amp;A</a:t>
            </a:r>
          </a:p>
        </p:txBody>
      </p:sp>
      <p:sp>
        <p:nvSpPr>
          <p:cNvPr id="8" name="Slide Number Placeholder 2">
            <a:extLst>
              <a:ext uri="{FF2B5EF4-FFF2-40B4-BE49-F238E27FC236}">
                <a16:creationId xmlns:a16="http://schemas.microsoft.com/office/drawing/2014/main" id="{DA1F161D-D0DB-F3E2-FAAF-258020D0B225}"/>
              </a:ext>
            </a:extLst>
          </p:cNvPr>
          <p:cNvSpPr>
            <a:spLocks noGrp="1"/>
          </p:cNvSpPr>
          <p:nvPr>
            <p:ph type="sldNum" sz="quarter" idx="4294967295"/>
          </p:nvPr>
        </p:nvSpPr>
        <p:spPr>
          <a:xfrm>
            <a:off x="0" y="6326188"/>
            <a:ext cx="469900" cy="476250"/>
          </a:xfrm>
        </p:spPr>
        <p:txBody>
          <a:bodyPr/>
          <a:lstStyle/>
          <a:p>
            <a:fld id="{2255CA7B-1B59-4C07-BE3D-E8AE49649A7D}" type="slidenum">
              <a:rPr lang="en-US" smtClean="0"/>
              <a:pPr/>
              <a:t>16</a:t>
            </a:fld>
            <a:endParaRPr lang="en-US" dirty="0"/>
          </a:p>
        </p:txBody>
      </p:sp>
    </p:spTree>
    <p:extLst>
      <p:ext uri="{BB962C8B-B14F-4D97-AF65-F5344CB8AC3E}">
        <p14:creationId xmlns:p14="http://schemas.microsoft.com/office/powerpoint/2010/main" val="914255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A424D37-80AC-E9D3-E5B2-2B990849338E}"/>
              </a:ext>
            </a:extLst>
          </p:cNvPr>
          <p:cNvSpPr/>
          <p:nvPr/>
        </p:nvSpPr>
        <p:spPr>
          <a:xfrm>
            <a:off x="0" y="1687574"/>
            <a:ext cx="12192000" cy="3621026"/>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TextBox 5">
            <a:extLst>
              <a:ext uri="{FF2B5EF4-FFF2-40B4-BE49-F238E27FC236}">
                <a16:creationId xmlns:a16="http://schemas.microsoft.com/office/drawing/2014/main" id="{3451C355-09EA-9749-3391-7383B5FB26D6}"/>
              </a:ext>
            </a:extLst>
          </p:cNvPr>
          <p:cNvSpPr txBox="1"/>
          <p:nvPr/>
        </p:nvSpPr>
        <p:spPr>
          <a:xfrm>
            <a:off x="398349" y="2176251"/>
            <a:ext cx="3431711" cy="2643672"/>
          </a:xfrm>
          <a:prstGeom prst="rect">
            <a:avLst/>
          </a:prstGeom>
          <a:noFill/>
        </p:spPr>
        <p:txBody>
          <a:bodyPr wrap="square" rtlCol="0">
            <a:spAutoFit/>
          </a:bodyPr>
          <a:lstStyle/>
          <a:p>
            <a:pPr algn="l">
              <a:lnSpc>
                <a:spcPct val="120000"/>
              </a:lnSpc>
            </a:pPr>
            <a:r>
              <a:rPr lang="en-US" sz="2000" dirty="0">
                <a:solidFill>
                  <a:schemeClr val="bg1"/>
                </a:solidFill>
                <a:latin typeface="Aptos" panose="020B0004020202020204" pitchFamily="34" charset="0"/>
                <a:ea typeface="+mj-ea"/>
                <a:cs typeface="Lucida Sans Unicode"/>
              </a:rPr>
              <a:t>The safety and efficacy of Renuvion is supported by more than 100 published clinical papers, abstracts </a:t>
            </a:r>
            <a:br>
              <a:rPr lang="en-US" sz="2000" dirty="0">
                <a:solidFill>
                  <a:schemeClr val="bg1"/>
                </a:solidFill>
                <a:latin typeface="Aptos" panose="020B0004020202020204" pitchFamily="34" charset="0"/>
                <a:ea typeface="+mj-ea"/>
                <a:cs typeface="Lucida Sans Unicode"/>
              </a:rPr>
            </a:br>
            <a:r>
              <a:rPr lang="en-US" sz="2000" dirty="0">
                <a:solidFill>
                  <a:schemeClr val="bg1"/>
                </a:solidFill>
                <a:latin typeface="Aptos" panose="020B0004020202020204" pitchFamily="34" charset="0"/>
                <a:ea typeface="+mj-ea"/>
                <a:cs typeface="Lucida Sans Unicode"/>
              </a:rPr>
              <a:t>and posters, as well as 2 multi-site IDE clinical studies.</a:t>
            </a:r>
          </a:p>
        </p:txBody>
      </p:sp>
      <p:sp>
        <p:nvSpPr>
          <p:cNvPr id="10" name="TextBox 9">
            <a:extLst>
              <a:ext uri="{FF2B5EF4-FFF2-40B4-BE49-F238E27FC236}">
                <a16:creationId xmlns:a16="http://schemas.microsoft.com/office/drawing/2014/main" id="{3DB4FE74-BC95-2580-D8A0-D8784B90779C}"/>
              </a:ext>
            </a:extLst>
          </p:cNvPr>
          <p:cNvSpPr txBox="1"/>
          <p:nvPr/>
        </p:nvSpPr>
        <p:spPr>
          <a:xfrm>
            <a:off x="1060954" y="6487956"/>
            <a:ext cx="6876546" cy="260392"/>
          </a:xfrm>
          <a:prstGeom prst="rect">
            <a:avLst/>
          </a:prstGeom>
          <a:noFill/>
        </p:spPr>
        <p:txBody>
          <a:bodyPr wrap="square" rtlCol="0">
            <a:spAutoFit/>
          </a:bodyPr>
          <a:lstStyle/>
          <a:p>
            <a:r>
              <a:rPr lang="en-US" sz="1092" u="sng" dirty="0">
                <a:solidFill>
                  <a:srgbClr val="14396C"/>
                </a:solidFill>
                <a:cs typeface="Lucida Sans Unicode" panose="020B0602030504020204" pitchFamily="34" charset="0"/>
                <a:hlinkClick r:id="rId3">
                  <a:extLst>
                    <a:ext uri="{A12FA001-AC4F-418D-AE19-62706E023703}">
                      <ahyp:hlinkClr xmlns:ahyp="http://schemas.microsoft.com/office/drawing/2018/hyperlinkcolor" val="tx"/>
                    </a:ext>
                  </a:extLst>
                </a:hlinkClick>
              </a:rPr>
              <a:t>Clinical Publications at: </a:t>
            </a:r>
            <a:r>
              <a:rPr lang="en-US" sz="1092" dirty="0">
                <a:solidFill>
                  <a:srgbClr val="14396C"/>
                </a:solidFill>
                <a:cs typeface="Lucida Sans Unicode" panose="020B0602030504020204" pitchFamily="34" charset="0"/>
                <a:hlinkClick r:id="rId3">
                  <a:extLst>
                    <a:ext uri="{A12FA001-AC4F-418D-AE19-62706E023703}">
                      <ahyp:hlinkClr xmlns:ahyp="http://schemas.microsoft.com/office/drawing/2018/hyperlinkcolor" val="tx"/>
                    </a:ext>
                  </a:extLst>
                </a:hlinkClick>
              </a:rPr>
              <a:t>https://physicians.renuvion.com/library/</a:t>
            </a:r>
            <a:endParaRPr lang="en-US" sz="1092" dirty="0">
              <a:solidFill>
                <a:srgbClr val="14396C"/>
              </a:solidFill>
              <a:cs typeface="Lucida Sans Unicode" panose="020B0602030504020204" pitchFamily="34" charset="0"/>
            </a:endParaRPr>
          </a:p>
        </p:txBody>
      </p:sp>
      <p:grpSp>
        <p:nvGrpSpPr>
          <p:cNvPr id="24" name="Group 23">
            <a:extLst>
              <a:ext uri="{FF2B5EF4-FFF2-40B4-BE49-F238E27FC236}">
                <a16:creationId xmlns:a16="http://schemas.microsoft.com/office/drawing/2014/main" id="{7362EB82-2B1B-2514-381D-1B8108B029B6}"/>
              </a:ext>
            </a:extLst>
          </p:cNvPr>
          <p:cNvGrpSpPr/>
          <p:nvPr/>
        </p:nvGrpSpPr>
        <p:grpSpPr>
          <a:xfrm>
            <a:off x="3996238" y="1482283"/>
            <a:ext cx="7797413" cy="4148723"/>
            <a:chOff x="699604" y="3140075"/>
            <a:chExt cx="10234971" cy="5445660"/>
          </a:xfrm>
        </p:grpSpPr>
        <p:pic>
          <p:nvPicPr>
            <p:cNvPr id="23" name="Picture 22">
              <a:extLst>
                <a:ext uri="{FF2B5EF4-FFF2-40B4-BE49-F238E27FC236}">
                  <a16:creationId xmlns:a16="http://schemas.microsoft.com/office/drawing/2014/main" id="{6F9CC259-584D-7BF2-58A1-019DEBB1E4DB}"/>
                </a:ext>
              </a:extLst>
            </p:cNvPr>
            <p:cNvPicPr>
              <a:picLocks noChangeAspect="1"/>
            </p:cNvPicPr>
            <p:nvPr/>
          </p:nvPicPr>
          <p:blipFill rotWithShape="1">
            <a:blip r:embed="rId4"/>
            <a:srcRect l="39032" t="15054" r="24677" b="4516"/>
            <a:stretch/>
          </p:blipFill>
          <p:spPr>
            <a:xfrm>
              <a:off x="5316242" y="3143147"/>
              <a:ext cx="3613355" cy="4192236"/>
            </a:xfrm>
            <a:prstGeom prst="rect">
              <a:avLst/>
            </a:prstGeom>
            <a:ln w="6350">
              <a:solidFill>
                <a:schemeClr val="bg1">
                  <a:lumMod val="50000"/>
                </a:schemeClr>
              </a:solidFill>
            </a:ln>
            <a:effectLst>
              <a:outerShdw blurRad="50800" dist="38100" dir="2700000" algn="tl" rotWithShape="0">
                <a:prstClr val="black">
                  <a:alpha val="40000"/>
                </a:prstClr>
              </a:outerShdw>
            </a:effectLst>
          </p:spPr>
        </p:pic>
        <p:pic>
          <p:nvPicPr>
            <p:cNvPr id="20" name="Picture 19">
              <a:extLst>
                <a:ext uri="{FF2B5EF4-FFF2-40B4-BE49-F238E27FC236}">
                  <a16:creationId xmlns:a16="http://schemas.microsoft.com/office/drawing/2014/main" id="{E51BB5D3-22C7-D029-D243-3B4F9159BE6F}"/>
                </a:ext>
              </a:extLst>
            </p:cNvPr>
            <p:cNvPicPr>
              <a:picLocks noChangeAspect="1"/>
            </p:cNvPicPr>
            <p:nvPr/>
          </p:nvPicPr>
          <p:blipFill rotWithShape="1">
            <a:blip r:embed="rId5"/>
            <a:srcRect l="31855" t="21793" r="33549" b="4946"/>
            <a:stretch/>
          </p:blipFill>
          <p:spPr>
            <a:xfrm>
              <a:off x="699604" y="3140075"/>
              <a:ext cx="3605571" cy="4294748"/>
            </a:xfrm>
            <a:prstGeom prst="rect">
              <a:avLst/>
            </a:prstGeom>
            <a:ln w="6350">
              <a:solidFill>
                <a:schemeClr val="bg1">
                  <a:lumMod val="50000"/>
                </a:schemeClr>
              </a:solidFill>
            </a:ln>
            <a:effectLst>
              <a:outerShdw blurRad="50800" dist="38100" dir="2700000" algn="tl" rotWithShape="0">
                <a:prstClr val="black">
                  <a:alpha val="40000"/>
                </a:prstClr>
              </a:outerShdw>
            </a:effectLst>
          </p:spPr>
        </p:pic>
        <p:pic>
          <p:nvPicPr>
            <p:cNvPr id="21" name="Picture 20">
              <a:extLst>
                <a:ext uri="{FF2B5EF4-FFF2-40B4-BE49-F238E27FC236}">
                  <a16:creationId xmlns:a16="http://schemas.microsoft.com/office/drawing/2014/main" id="{63C21A8C-AD14-E531-2551-1022D535FDF6}"/>
                </a:ext>
              </a:extLst>
            </p:cNvPr>
            <p:cNvPicPr>
              <a:picLocks noChangeAspect="1"/>
            </p:cNvPicPr>
            <p:nvPr/>
          </p:nvPicPr>
          <p:blipFill rotWithShape="1">
            <a:blip r:embed="rId6"/>
            <a:srcRect l="30645" t="21649" r="34677" b="4946"/>
            <a:stretch/>
          </p:blipFill>
          <p:spPr>
            <a:xfrm>
              <a:off x="2757397" y="4292589"/>
              <a:ext cx="3605571" cy="4293146"/>
            </a:xfrm>
            <a:prstGeom prst="rect">
              <a:avLst/>
            </a:prstGeom>
            <a:ln w="6350">
              <a:solidFill>
                <a:schemeClr val="bg1">
                  <a:lumMod val="50000"/>
                </a:schemeClr>
              </a:solidFill>
            </a:ln>
            <a:effectLst>
              <a:outerShdw blurRad="50800" dist="38100" dir="2700000" algn="tl" rotWithShape="0">
                <a:prstClr val="black">
                  <a:alpha val="40000"/>
                </a:prstClr>
              </a:outerShdw>
            </a:effectLst>
          </p:spPr>
        </p:pic>
        <p:pic>
          <p:nvPicPr>
            <p:cNvPr id="22" name="Picture 21">
              <a:extLst>
                <a:ext uri="{FF2B5EF4-FFF2-40B4-BE49-F238E27FC236}">
                  <a16:creationId xmlns:a16="http://schemas.microsoft.com/office/drawing/2014/main" id="{10DDCEB2-F156-DDAA-EB43-D2881E84F6AC}"/>
                </a:ext>
              </a:extLst>
            </p:cNvPr>
            <p:cNvPicPr>
              <a:picLocks noChangeAspect="1"/>
            </p:cNvPicPr>
            <p:nvPr/>
          </p:nvPicPr>
          <p:blipFill rotWithShape="1">
            <a:blip r:embed="rId7"/>
            <a:srcRect l="30703" t="14999" r="35000" b="4584"/>
            <a:stretch/>
          </p:blipFill>
          <p:spPr>
            <a:xfrm>
              <a:off x="7329004" y="4259213"/>
              <a:ext cx="3605571" cy="4254507"/>
            </a:xfrm>
            <a:prstGeom prst="rect">
              <a:avLst/>
            </a:prstGeom>
            <a:ln w="6350">
              <a:solidFill>
                <a:schemeClr val="bg1">
                  <a:lumMod val="50000"/>
                </a:schemeClr>
              </a:solidFill>
            </a:ln>
            <a:effectLst>
              <a:outerShdw blurRad="50800" dist="38100" dir="2700000" algn="tl" rotWithShape="0">
                <a:prstClr val="black">
                  <a:alpha val="40000"/>
                </a:prstClr>
              </a:outerShdw>
            </a:effectLst>
          </p:spPr>
        </p:pic>
      </p:grpSp>
      <p:sp>
        <p:nvSpPr>
          <p:cNvPr id="5" name="Slide Number Placeholder 4">
            <a:extLst>
              <a:ext uri="{FF2B5EF4-FFF2-40B4-BE49-F238E27FC236}">
                <a16:creationId xmlns:a16="http://schemas.microsoft.com/office/drawing/2014/main" id="{E06D3702-97D7-B22F-7EC3-84E7532B15EB}"/>
              </a:ext>
            </a:extLst>
          </p:cNvPr>
          <p:cNvSpPr>
            <a:spLocks noGrp="1"/>
          </p:cNvSpPr>
          <p:nvPr>
            <p:ph type="sldNum" sz="quarter" idx="12"/>
          </p:nvPr>
        </p:nvSpPr>
        <p:spPr/>
        <p:txBody>
          <a:bodyPr/>
          <a:lstStyle/>
          <a:p>
            <a:fld id="{2255CA7B-1B59-4C07-BE3D-E8AE49649A7D}" type="slidenum">
              <a:rPr lang="en-US" smtClean="0"/>
              <a:t>17</a:t>
            </a:fld>
            <a:endParaRPr lang="en-US" dirty="0"/>
          </a:p>
        </p:txBody>
      </p:sp>
      <p:sp>
        <p:nvSpPr>
          <p:cNvPr id="2" name="Title 1">
            <a:extLst>
              <a:ext uri="{FF2B5EF4-FFF2-40B4-BE49-F238E27FC236}">
                <a16:creationId xmlns:a16="http://schemas.microsoft.com/office/drawing/2014/main" id="{1CC27952-662F-0835-C9A0-F4DF04F5C0F4}"/>
              </a:ext>
            </a:extLst>
          </p:cNvPr>
          <p:cNvSpPr>
            <a:spLocks noGrp="1"/>
          </p:cNvSpPr>
          <p:nvPr>
            <p:ph type="title"/>
          </p:nvPr>
        </p:nvSpPr>
        <p:spPr/>
        <p:txBody>
          <a:bodyPr/>
          <a:lstStyle/>
          <a:p>
            <a:r>
              <a:rPr lang="en-US" dirty="0"/>
              <a:t>Compelling Clinical and Real-World Evidence</a:t>
            </a:r>
          </a:p>
        </p:txBody>
      </p:sp>
    </p:spTree>
    <p:extLst>
      <p:ext uri="{BB962C8B-B14F-4D97-AF65-F5344CB8AC3E}">
        <p14:creationId xmlns:p14="http://schemas.microsoft.com/office/powerpoint/2010/main" val="2225285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81BA6B-3BCA-7B59-FB52-CE7758F52D84}"/>
              </a:ext>
            </a:extLst>
          </p:cNvPr>
          <p:cNvSpPr>
            <a:spLocks noGrp="1"/>
          </p:cNvSpPr>
          <p:nvPr>
            <p:ph type="title"/>
          </p:nvPr>
        </p:nvSpPr>
        <p:spPr>
          <a:xfrm>
            <a:off x="266330" y="213064"/>
            <a:ext cx="11683014" cy="1020931"/>
          </a:xfrm>
        </p:spPr>
        <p:txBody>
          <a:bodyPr anchor="ctr">
            <a:noAutofit/>
          </a:bodyPr>
          <a:lstStyle/>
          <a:p>
            <a:r>
              <a:rPr lang="en-US" dirty="0"/>
              <a:t>BENEATH THE SURFACE</a:t>
            </a:r>
          </a:p>
        </p:txBody>
      </p:sp>
      <p:sp>
        <p:nvSpPr>
          <p:cNvPr id="11" name="Text Placeholder 10">
            <a:extLst>
              <a:ext uri="{FF2B5EF4-FFF2-40B4-BE49-F238E27FC236}">
                <a16:creationId xmlns:a16="http://schemas.microsoft.com/office/drawing/2014/main" id="{2C6309C2-1AE7-04E6-EA4D-85B50AC43025}"/>
              </a:ext>
            </a:extLst>
          </p:cNvPr>
          <p:cNvSpPr>
            <a:spLocks noGrp="1"/>
          </p:cNvSpPr>
          <p:nvPr>
            <p:ph type="body" sz="quarter" idx="14"/>
          </p:nvPr>
        </p:nvSpPr>
        <p:spPr>
          <a:xfrm>
            <a:off x="266329" y="1110250"/>
            <a:ext cx="11682413" cy="493712"/>
          </a:xfrm>
        </p:spPr>
        <p:txBody>
          <a:bodyPr/>
          <a:lstStyle/>
          <a:p>
            <a:r>
              <a:rPr lang="en-US" sz="2400" dirty="0">
                <a:solidFill>
                  <a:schemeClr val="tx1"/>
                </a:solidFill>
              </a:rPr>
              <a:t>CUTTING-EDGE 3-IN-1 ENERGY SYSTEM: RENUVION</a:t>
            </a:r>
            <a:r>
              <a:rPr lang="en-US" sz="2400" baseline="30000" dirty="0">
                <a:solidFill>
                  <a:schemeClr val="tx1"/>
                </a:solidFill>
              </a:rPr>
              <a:t>®</a:t>
            </a:r>
            <a:r>
              <a:rPr lang="en-US" sz="2400" dirty="0">
                <a:solidFill>
                  <a:schemeClr val="tx1"/>
                </a:solidFill>
              </a:rPr>
              <a:t> </a:t>
            </a:r>
            <a:br>
              <a:rPr lang="en-US" sz="2400" dirty="0">
                <a:solidFill>
                  <a:schemeClr val="tx1"/>
                </a:solidFill>
              </a:rPr>
            </a:br>
            <a:r>
              <a:rPr lang="en-US" sz="2400" dirty="0">
                <a:solidFill>
                  <a:schemeClr val="tx1"/>
                </a:solidFill>
              </a:rPr>
              <a:t>ENERGY AND FULL MONOPOLAR AND BIPOLAR FUNCTIONALITY</a:t>
            </a:r>
          </a:p>
        </p:txBody>
      </p:sp>
      <p:grpSp>
        <p:nvGrpSpPr>
          <p:cNvPr id="58" name="Group 57">
            <a:extLst>
              <a:ext uri="{FF2B5EF4-FFF2-40B4-BE49-F238E27FC236}">
                <a16:creationId xmlns:a16="http://schemas.microsoft.com/office/drawing/2014/main" id="{61656407-069B-A6FF-D2F7-AB7D3D28F31E}"/>
              </a:ext>
            </a:extLst>
          </p:cNvPr>
          <p:cNvGrpSpPr/>
          <p:nvPr/>
        </p:nvGrpSpPr>
        <p:grpSpPr>
          <a:xfrm>
            <a:off x="665908" y="3639257"/>
            <a:ext cx="2571967" cy="1308050"/>
            <a:chOff x="665908" y="3639257"/>
            <a:chExt cx="2571967" cy="1308050"/>
          </a:xfrm>
        </p:grpSpPr>
        <p:sp>
          <p:nvSpPr>
            <p:cNvPr id="14" name="Rectangle 13">
              <a:extLst>
                <a:ext uri="{FF2B5EF4-FFF2-40B4-BE49-F238E27FC236}">
                  <a16:creationId xmlns:a16="http://schemas.microsoft.com/office/drawing/2014/main" id="{A1205A6F-4BBA-BACE-25FB-67A56B251B65}"/>
                </a:ext>
              </a:extLst>
            </p:cNvPr>
            <p:cNvSpPr/>
            <p:nvPr/>
          </p:nvSpPr>
          <p:spPr>
            <a:xfrm>
              <a:off x="665908" y="3639257"/>
              <a:ext cx="2460225" cy="1308050"/>
            </a:xfrm>
            <a:prstGeom prst="rect">
              <a:avLst/>
            </a:prstGeom>
            <a:no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91440" tIns="45720" rIns="91440" bIns="45720" numCol="1" spcCol="1270" anchor="t" anchorCtr="0">
              <a:spAutoFit/>
            </a:bodyPr>
            <a:lstStyle/>
            <a:p>
              <a:pPr marL="509588" marR="0" lvl="0" indent="0" algn="l" defTabSz="755650" rtl="0" eaLnBrk="1" fontAlgn="auto" latinLnBrk="0" hangingPunct="1">
                <a:lnSpc>
                  <a:spcPct val="100000"/>
                </a:lnSpc>
                <a:spcBef>
                  <a:spcPct val="0"/>
                </a:spcBef>
                <a:spcAft>
                  <a:spcPts val="1200"/>
                </a:spcAft>
                <a:buClrTx/>
                <a:buSzTx/>
                <a:buFontTx/>
                <a:buNone/>
                <a:tabLst/>
                <a:defRPr/>
              </a:pPr>
              <a:r>
                <a:rPr kumimoji="0" lang="en-US" sz="1400" b="1" i="0" u="none" strike="noStrike" kern="1200" cap="none" spc="0" normalizeH="0" baseline="0" noProof="0" dirty="0">
                  <a:ln>
                    <a:noFill/>
                  </a:ln>
                  <a:solidFill>
                    <a:schemeClr val="accent1"/>
                  </a:solidFill>
                  <a:effectLst/>
                  <a:uLnTx/>
                  <a:uFillTx/>
                  <a:latin typeface="Aptos" panose="020B0004020202020204" pitchFamily="34" charset="0"/>
                </a:rPr>
                <a:t>INNOVATIVE FEATURES</a:t>
              </a:r>
            </a:p>
            <a:p>
              <a:pPr marL="171450" marR="0" lvl="0" indent="-171450" algn="l" defTabSz="755650" rtl="0" eaLnBrk="1" fontAlgn="auto" latinLnBrk="0" hangingPunct="1">
                <a:lnSpc>
                  <a:spcPct val="100000"/>
                </a:lnSpc>
                <a:spcBef>
                  <a:spcPct val="0"/>
                </a:spcBef>
                <a:spcAft>
                  <a:spcPts val="300"/>
                </a:spcAft>
                <a:buClrTx/>
                <a:buSzTx/>
                <a:buBlip>
                  <a:blip r:embed="rId3"/>
                </a:buBlip>
                <a:tabLst/>
                <a:defRPr/>
              </a:pPr>
              <a:r>
                <a:rPr kumimoji="0" lang="en-US" sz="1200" b="0" i="0" u="none" strike="noStrike" kern="1200" cap="none" spc="0" normalizeH="0" baseline="0" noProof="0" dirty="0">
                  <a:ln>
                    <a:noFill/>
                  </a:ln>
                  <a:solidFill>
                    <a:prstClr val="white"/>
                  </a:solidFill>
                  <a:effectLst/>
                  <a:uLnTx/>
                  <a:uFillTx/>
                  <a:latin typeface="Aptos" panose="020B0004020202020204" pitchFamily="34" charset="0"/>
                </a:rPr>
                <a:t>Adaptive home screen</a:t>
              </a:r>
            </a:p>
            <a:p>
              <a:pPr marL="171450" marR="0" lvl="0" indent="-171450" algn="l" defTabSz="755650" rtl="0" eaLnBrk="1" fontAlgn="auto" latinLnBrk="0" hangingPunct="1">
                <a:lnSpc>
                  <a:spcPct val="100000"/>
                </a:lnSpc>
                <a:spcBef>
                  <a:spcPct val="0"/>
                </a:spcBef>
                <a:spcAft>
                  <a:spcPts val="300"/>
                </a:spcAft>
                <a:buClrTx/>
                <a:buSzTx/>
                <a:buBlip>
                  <a:blip r:embed="rId3"/>
                </a:buBlip>
                <a:tabLst/>
                <a:defRPr/>
              </a:pPr>
              <a:r>
                <a:rPr kumimoji="0" lang="en-US" sz="1200" b="0" i="0" u="none" strike="noStrike" kern="1200" cap="none" spc="0" normalizeH="0" baseline="0" noProof="0" dirty="0">
                  <a:ln>
                    <a:noFill/>
                  </a:ln>
                  <a:solidFill>
                    <a:prstClr val="white"/>
                  </a:solidFill>
                  <a:effectLst/>
                  <a:uLnTx/>
                  <a:uFillTx/>
                  <a:latin typeface="Aptos" panose="020B0004020202020204" pitchFamily="34" charset="0"/>
                </a:rPr>
                <a:t>Intuitive touch screen</a:t>
              </a:r>
            </a:p>
            <a:p>
              <a:pPr marL="171450" marR="0" lvl="0" indent="-171450" algn="l" defTabSz="755650" rtl="0" eaLnBrk="1" fontAlgn="auto" latinLnBrk="0" hangingPunct="1">
                <a:lnSpc>
                  <a:spcPct val="100000"/>
                </a:lnSpc>
                <a:spcBef>
                  <a:spcPct val="0"/>
                </a:spcBef>
                <a:spcAft>
                  <a:spcPts val="300"/>
                </a:spcAft>
                <a:buClrTx/>
                <a:buSzTx/>
                <a:buBlip>
                  <a:blip r:embed="rId3"/>
                </a:buBlip>
                <a:tabLst/>
                <a:defRPr/>
              </a:pPr>
              <a:r>
                <a:rPr kumimoji="0" lang="en-US" sz="1200" b="0" i="0" u="none" strike="noStrike" kern="1200" cap="none" spc="0" normalizeH="0" baseline="0" noProof="0" dirty="0">
                  <a:ln>
                    <a:noFill/>
                  </a:ln>
                  <a:solidFill>
                    <a:prstClr val="white"/>
                  </a:solidFill>
                  <a:effectLst/>
                  <a:uLnTx/>
                  <a:uFillTx/>
                  <a:latin typeface="Aptos" panose="020B0004020202020204" pitchFamily="34" charset="0"/>
                </a:rPr>
                <a:t>Presets by area</a:t>
              </a:r>
            </a:p>
          </p:txBody>
        </p:sp>
        <p:grpSp>
          <p:nvGrpSpPr>
            <p:cNvPr id="25" name="Graphic 17">
              <a:extLst>
                <a:ext uri="{FF2B5EF4-FFF2-40B4-BE49-F238E27FC236}">
                  <a16:creationId xmlns:a16="http://schemas.microsoft.com/office/drawing/2014/main" id="{8E49E3EA-6CD6-1E9A-C834-CA46D83A5BFE}"/>
                </a:ext>
              </a:extLst>
            </p:cNvPr>
            <p:cNvGrpSpPr/>
            <p:nvPr/>
          </p:nvGrpSpPr>
          <p:grpSpPr>
            <a:xfrm>
              <a:off x="801493" y="3668394"/>
              <a:ext cx="364045" cy="421481"/>
              <a:chOff x="5464968" y="4576000"/>
              <a:chExt cx="364045" cy="421481"/>
            </a:xfrm>
            <a:noFill/>
          </p:grpSpPr>
          <p:sp>
            <p:nvSpPr>
              <p:cNvPr id="26" name="Freeform: Shape 25">
                <a:extLst>
                  <a:ext uri="{FF2B5EF4-FFF2-40B4-BE49-F238E27FC236}">
                    <a16:creationId xmlns:a16="http://schemas.microsoft.com/office/drawing/2014/main" id="{EBBA786A-728F-77C6-E0C9-A26BBE90288C}"/>
                  </a:ext>
                </a:extLst>
              </p:cNvPr>
              <p:cNvSpPr/>
              <p:nvPr/>
            </p:nvSpPr>
            <p:spPr>
              <a:xfrm>
                <a:off x="5532032" y="4644358"/>
                <a:ext cx="229924" cy="279208"/>
              </a:xfrm>
              <a:custGeom>
                <a:avLst/>
                <a:gdLst>
                  <a:gd name="connsiteX0" fmla="*/ 229925 w 229924"/>
                  <a:gd name="connsiteY0" fmla="*/ 114998 h 279208"/>
                  <a:gd name="connsiteX1" fmla="*/ 109434 w 229924"/>
                  <a:gd name="connsiteY1" fmla="*/ 126 h 279208"/>
                  <a:gd name="connsiteX2" fmla="*/ 468 w 229924"/>
                  <a:gd name="connsiteY2" fmla="*/ 104425 h 279208"/>
                  <a:gd name="connsiteX3" fmla="*/ 41330 w 229924"/>
                  <a:gd name="connsiteY3" fmla="*/ 203104 h 279208"/>
                  <a:gd name="connsiteX4" fmla="*/ 65714 w 229924"/>
                  <a:gd name="connsiteY4" fmla="*/ 253110 h 279208"/>
                  <a:gd name="connsiteX5" fmla="*/ 65714 w 229924"/>
                  <a:gd name="connsiteY5" fmla="*/ 257301 h 279208"/>
                  <a:gd name="connsiteX6" fmla="*/ 87621 w 229924"/>
                  <a:gd name="connsiteY6" fmla="*/ 279209 h 279208"/>
                  <a:gd name="connsiteX7" fmla="*/ 142295 w 229924"/>
                  <a:gd name="connsiteY7" fmla="*/ 279209 h 279208"/>
                  <a:gd name="connsiteX8" fmla="*/ 164202 w 229924"/>
                  <a:gd name="connsiteY8" fmla="*/ 257301 h 279208"/>
                  <a:gd name="connsiteX9" fmla="*/ 164202 w 229924"/>
                  <a:gd name="connsiteY9" fmla="*/ 252348 h 279208"/>
                  <a:gd name="connsiteX10" fmla="*/ 188110 w 229924"/>
                  <a:gd name="connsiteY10" fmla="*/ 203485 h 279208"/>
                  <a:gd name="connsiteX11" fmla="*/ 229830 w 229924"/>
                  <a:gd name="connsiteY11" fmla="*/ 114998 h 279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9924" h="279208">
                    <a:moveTo>
                      <a:pt x="229925" y="114998"/>
                    </a:moveTo>
                    <a:cubicBezTo>
                      <a:pt x="229925" y="49656"/>
                      <a:pt x="175442" y="-2922"/>
                      <a:pt x="109434" y="126"/>
                    </a:cubicBezTo>
                    <a:cubicBezTo>
                      <a:pt x="52855" y="2793"/>
                      <a:pt x="5516" y="47942"/>
                      <a:pt x="468" y="104425"/>
                    </a:cubicBezTo>
                    <a:cubicBezTo>
                      <a:pt x="-3057" y="144144"/>
                      <a:pt x="13612" y="179958"/>
                      <a:pt x="41330" y="203104"/>
                    </a:cubicBezTo>
                    <a:cubicBezTo>
                      <a:pt x="56284" y="215582"/>
                      <a:pt x="65714" y="233584"/>
                      <a:pt x="65714" y="253110"/>
                    </a:cubicBezTo>
                    <a:lnTo>
                      <a:pt x="65714" y="257301"/>
                    </a:lnTo>
                    <a:cubicBezTo>
                      <a:pt x="65714" y="269398"/>
                      <a:pt x="75620" y="279209"/>
                      <a:pt x="87621" y="279209"/>
                    </a:cubicBezTo>
                    <a:lnTo>
                      <a:pt x="142295" y="279209"/>
                    </a:lnTo>
                    <a:cubicBezTo>
                      <a:pt x="154392" y="279209"/>
                      <a:pt x="164202" y="269303"/>
                      <a:pt x="164202" y="257301"/>
                    </a:cubicBezTo>
                    <a:lnTo>
                      <a:pt x="164202" y="252348"/>
                    </a:lnTo>
                    <a:cubicBezTo>
                      <a:pt x="164202" y="233203"/>
                      <a:pt x="173442" y="215677"/>
                      <a:pt x="188110" y="203485"/>
                    </a:cubicBezTo>
                    <a:cubicBezTo>
                      <a:pt x="213637" y="182435"/>
                      <a:pt x="229830" y="150621"/>
                      <a:pt x="229830" y="114998"/>
                    </a:cubicBezTo>
                    <a:close/>
                  </a:path>
                </a:pathLst>
              </a:custGeom>
              <a:noFill/>
              <a:ln w="19050" cap="rnd">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ptos" panose="020B0004020202020204" pitchFamily="34" charset="0"/>
                </a:endParaRPr>
              </a:p>
            </p:txBody>
          </p:sp>
          <p:sp>
            <p:nvSpPr>
              <p:cNvPr id="27" name="Freeform: Shape 26">
                <a:extLst>
                  <a:ext uri="{FF2B5EF4-FFF2-40B4-BE49-F238E27FC236}">
                    <a16:creationId xmlns:a16="http://schemas.microsoft.com/office/drawing/2014/main" id="{4CD61FC9-949A-AD17-5807-E8881E3CB308}"/>
                  </a:ext>
                </a:extLst>
              </p:cNvPr>
              <p:cNvSpPr/>
              <p:nvPr/>
            </p:nvSpPr>
            <p:spPr>
              <a:xfrm>
                <a:off x="5610033" y="4922996"/>
                <a:ext cx="73914" cy="58102"/>
              </a:xfrm>
              <a:custGeom>
                <a:avLst/>
                <a:gdLst>
                  <a:gd name="connsiteX0" fmla="*/ 0 w 73914"/>
                  <a:gd name="connsiteY0" fmla="*/ 0 h 58102"/>
                  <a:gd name="connsiteX1" fmla="*/ 0 w 73914"/>
                  <a:gd name="connsiteY1" fmla="*/ 42291 h 58102"/>
                  <a:gd name="connsiteX2" fmla="*/ 15811 w 73914"/>
                  <a:gd name="connsiteY2" fmla="*/ 58103 h 58102"/>
                  <a:gd name="connsiteX3" fmla="*/ 58103 w 73914"/>
                  <a:gd name="connsiteY3" fmla="*/ 58103 h 58102"/>
                  <a:gd name="connsiteX4" fmla="*/ 73914 w 73914"/>
                  <a:gd name="connsiteY4" fmla="*/ 42291 h 58102"/>
                  <a:gd name="connsiteX5" fmla="*/ 73914 w 73914"/>
                  <a:gd name="connsiteY5" fmla="*/ 0 h 58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914" h="58102">
                    <a:moveTo>
                      <a:pt x="0" y="0"/>
                    </a:moveTo>
                    <a:lnTo>
                      <a:pt x="0" y="42291"/>
                    </a:lnTo>
                    <a:cubicBezTo>
                      <a:pt x="0" y="50959"/>
                      <a:pt x="7144" y="58103"/>
                      <a:pt x="15811" y="58103"/>
                    </a:cubicBezTo>
                    <a:lnTo>
                      <a:pt x="58103" y="58103"/>
                    </a:lnTo>
                    <a:cubicBezTo>
                      <a:pt x="66770" y="58103"/>
                      <a:pt x="73914" y="50959"/>
                      <a:pt x="73914" y="42291"/>
                    </a:cubicBezTo>
                    <a:lnTo>
                      <a:pt x="73914" y="0"/>
                    </a:lnTo>
                  </a:path>
                </a:pathLst>
              </a:custGeom>
              <a:noFill/>
              <a:ln w="19050" cap="rnd">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ptos" panose="020B0004020202020204" pitchFamily="34" charset="0"/>
                </a:endParaRPr>
              </a:p>
            </p:txBody>
          </p:sp>
          <p:sp>
            <p:nvSpPr>
              <p:cNvPr id="28" name="Freeform: Shape 27">
                <a:extLst>
                  <a:ext uri="{FF2B5EF4-FFF2-40B4-BE49-F238E27FC236}">
                    <a16:creationId xmlns:a16="http://schemas.microsoft.com/office/drawing/2014/main" id="{83D92F42-25B3-188F-C825-980C08D25440}"/>
                  </a:ext>
                </a:extLst>
              </p:cNvPr>
              <p:cNvSpPr/>
              <p:nvPr/>
            </p:nvSpPr>
            <p:spPr>
              <a:xfrm>
                <a:off x="5630703" y="4981098"/>
                <a:ext cx="32766" cy="16383"/>
              </a:xfrm>
              <a:custGeom>
                <a:avLst/>
                <a:gdLst>
                  <a:gd name="connsiteX0" fmla="*/ 32766 w 32766"/>
                  <a:gd name="connsiteY0" fmla="*/ 0 h 16383"/>
                  <a:gd name="connsiteX1" fmla="*/ 16383 w 32766"/>
                  <a:gd name="connsiteY1" fmla="*/ 16383 h 16383"/>
                  <a:gd name="connsiteX2" fmla="*/ 0 w 32766"/>
                  <a:gd name="connsiteY2" fmla="*/ 0 h 16383"/>
                </a:gdLst>
                <a:ahLst/>
                <a:cxnLst>
                  <a:cxn ang="0">
                    <a:pos x="connsiteX0" y="connsiteY0"/>
                  </a:cxn>
                  <a:cxn ang="0">
                    <a:pos x="connsiteX1" y="connsiteY1"/>
                  </a:cxn>
                  <a:cxn ang="0">
                    <a:pos x="connsiteX2" y="connsiteY2"/>
                  </a:cxn>
                </a:cxnLst>
                <a:rect l="l" t="t" r="r" b="b"/>
                <a:pathLst>
                  <a:path w="32766" h="16383">
                    <a:moveTo>
                      <a:pt x="32766" y="0"/>
                    </a:moveTo>
                    <a:cubicBezTo>
                      <a:pt x="32766" y="9049"/>
                      <a:pt x="25432" y="16383"/>
                      <a:pt x="16383" y="16383"/>
                    </a:cubicBezTo>
                    <a:cubicBezTo>
                      <a:pt x="7334" y="16383"/>
                      <a:pt x="0" y="9049"/>
                      <a:pt x="0" y="0"/>
                    </a:cubicBezTo>
                  </a:path>
                </a:pathLst>
              </a:custGeom>
              <a:noFill/>
              <a:ln w="19050" cap="rnd">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ptos" panose="020B0004020202020204" pitchFamily="34" charset="0"/>
                </a:endParaRPr>
              </a:p>
            </p:txBody>
          </p:sp>
          <p:sp>
            <p:nvSpPr>
              <p:cNvPr id="29" name="Freeform: Shape 28">
                <a:extLst>
                  <a:ext uri="{FF2B5EF4-FFF2-40B4-BE49-F238E27FC236}">
                    <a16:creationId xmlns:a16="http://schemas.microsoft.com/office/drawing/2014/main" id="{2904B65B-ED75-ADF0-835E-2B2D6CE2C0A8}"/>
                  </a:ext>
                </a:extLst>
              </p:cNvPr>
              <p:cNvSpPr/>
              <p:nvPr/>
            </p:nvSpPr>
            <p:spPr>
              <a:xfrm>
                <a:off x="5638228" y="4952047"/>
                <a:ext cx="45719" cy="9525"/>
              </a:xfrm>
              <a:custGeom>
                <a:avLst/>
                <a:gdLst>
                  <a:gd name="connsiteX0" fmla="*/ 0 w 45719"/>
                  <a:gd name="connsiteY0" fmla="*/ 0 h 9525"/>
                  <a:gd name="connsiteX1" fmla="*/ 45720 w 45719"/>
                  <a:gd name="connsiteY1" fmla="*/ 0 h 9525"/>
                </a:gdLst>
                <a:ahLst/>
                <a:cxnLst>
                  <a:cxn ang="0">
                    <a:pos x="connsiteX0" y="connsiteY0"/>
                  </a:cxn>
                  <a:cxn ang="0">
                    <a:pos x="connsiteX1" y="connsiteY1"/>
                  </a:cxn>
                </a:cxnLst>
                <a:rect l="l" t="t" r="r" b="b"/>
                <a:pathLst>
                  <a:path w="45719" h="9525">
                    <a:moveTo>
                      <a:pt x="0" y="0"/>
                    </a:moveTo>
                    <a:lnTo>
                      <a:pt x="45720" y="0"/>
                    </a:lnTo>
                  </a:path>
                </a:pathLst>
              </a:custGeom>
              <a:ln w="19050" cap="rnd">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ptos" panose="020B0004020202020204" pitchFamily="34" charset="0"/>
                </a:endParaRPr>
              </a:p>
            </p:txBody>
          </p:sp>
          <p:sp>
            <p:nvSpPr>
              <p:cNvPr id="30" name="Freeform: Shape 29">
                <a:extLst>
                  <a:ext uri="{FF2B5EF4-FFF2-40B4-BE49-F238E27FC236}">
                    <a16:creationId xmlns:a16="http://schemas.microsoft.com/office/drawing/2014/main" id="{69CA100E-06F2-3C81-3C38-681499CBB880}"/>
                  </a:ext>
                </a:extLst>
              </p:cNvPr>
              <p:cNvSpPr/>
              <p:nvPr/>
            </p:nvSpPr>
            <p:spPr>
              <a:xfrm>
                <a:off x="5579934" y="4690967"/>
                <a:ext cx="67056" cy="67056"/>
              </a:xfrm>
              <a:custGeom>
                <a:avLst/>
                <a:gdLst>
                  <a:gd name="connsiteX0" fmla="*/ 0 w 67056"/>
                  <a:gd name="connsiteY0" fmla="*/ 67056 h 67056"/>
                  <a:gd name="connsiteX1" fmla="*/ 67056 w 67056"/>
                  <a:gd name="connsiteY1" fmla="*/ 0 h 67056"/>
                </a:gdLst>
                <a:ahLst/>
                <a:cxnLst>
                  <a:cxn ang="0">
                    <a:pos x="connsiteX0" y="connsiteY0"/>
                  </a:cxn>
                  <a:cxn ang="0">
                    <a:pos x="connsiteX1" y="connsiteY1"/>
                  </a:cxn>
                </a:cxnLst>
                <a:rect l="l" t="t" r="r" b="b"/>
                <a:pathLst>
                  <a:path w="67056" h="67056">
                    <a:moveTo>
                      <a:pt x="0" y="67056"/>
                    </a:moveTo>
                    <a:cubicBezTo>
                      <a:pt x="0" y="30004"/>
                      <a:pt x="30004" y="0"/>
                      <a:pt x="67056" y="0"/>
                    </a:cubicBezTo>
                  </a:path>
                </a:pathLst>
              </a:custGeom>
              <a:noFill/>
              <a:ln w="19050" cap="rnd">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ptos" panose="020B0004020202020204" pitchFamily="34" charset="0"/>
                </a:endParaRPr>
              </a:p>
            </p:txBody>
          </p:sp>
          <p:sp>
            <p:nvSpPr>
              <p:cNvPr id="31" name="Freeform: Shape 30">
                <a:extLst>
                  <a:ext uri="{FF2B5EF4-FFF2-40B4-BE49-F238E27FC236}">
                    <a16:creationId xmlns:a16="http://schemas.microsoft.com/office/drawing/2014/main" id="{D9630F7A-8614-0783-243A-0AC17AC435E8}"/>
                  </a:ext>
                </a:extLst>
              </p:cNvPr>
              <p:cNvSpPr/>
              <p:nvPr/>
            </p:nvSpPr>
            <p:spPr>
              <a:xfrm>
                <a:off x="5800343" y="4758023"/>
                <a:ext cx="28670" cy="9525"/>
              </a:xfrm>
              <a:custGeom>
                <a:avLst/>
                <a:gdLst>
                  <a:gd name="connsiteX0" fmla="*/ 0 w 28670"/>
                  <a:gd name="connsiteY0" fmla="*/ 0 h 9525"/>
                  <a:gd name="connsiteX1" fmla="*/ 28670 w 28670"/>
                  <a:gd name="connsiteY1" fmla="*/ 0 h 9525"/>
                </a:gdLst>
                <a:ahLst/>
                <a:cxnLst>
                  <a:cxn ang="0">
                    <a:pos x="connsiteX0" y="connsiteY0"/>
                  </a:cxn>
                  <a:cxn ang="0">
                    <a:pos x="connsiteX1" y="connsiteY1"/>
                  </a:cxn>
                </a:cxnLst>
                <a:rect l="l" t="t" r="r" b="b"/>
                <a:pathLst>
                  <a:path w="28670" h="9525">
                    <a:moveTo>
                      <a:pt x="0" y="0"/>
                    </a:moveTo>
                    <a:lnTo>
                      <a:pt x="28670" y="0"/>
                    </a:lnTo>
                  </a:path>
                </a:pathLst>
              </a:custGeom>
              <a:ln w="19050" cap="rnd">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ptos" panose="020B0004020202020204" pitchFamily="34" charset="0"/>
                </a:endParaRPr>
              </a:p>
            </p:txBody>
          </p:sp>
          <p:sp>
            <p:nvSpPr>
              <p:cNvPr id="32" name="Freeform: Shape 31">
                <a:extLst>
                  <a:ext uri="{FF2B5EF4-FFF2-40B4-BE49-F238E27FC236}">
                    <a16:creationId xmlns:a16="http://schemas.microsoft.com/office/drawing/2014/main" id="{BC5D0046-E5E8-F573-7235-2D5F1D66B8A1}"/>
                  </a:ext>
                </a:extLst>
              </p:cNvPr>
              <p:cNvSpPr/>
              <p:nvPr/>
            </p:nvSpPr>
            <p:spPr>
              <a:xfrm>
                <a:off x="5721190" y="4598765"/>
                <a:ext cx="14001" cy="25145"/>
              </a:xfrm>
              <a:custGeom>
                <a:avLst/>
                <a:gdLst>
                  <a:gd name="connsiteX0" fmla="*/ 14002 w 14001"/>
                  <a:gd name="connsiteY0" fmla="*/ 0 h 25145"/>
                  <a:gd name="connsiteX1" fmla="*/ 0 w 14001"/>
                  <a:gd name="connsiteY1" fmla="*/ 25146 h 25145"/>
                </a:gdLst>
                <a:ahLst/>
                <a:cxnLst>
                  <a:cxn ang="0">
                    <a:pos x="connsiteX0" y="connsiteY0"/>
                  </a:cxn>
                  <a:cxn ang="0">
                    <a:pos x="connsiteX1" y="connsiteY1"/>
                  </a:cxn>
                </a:cxnLst>
                <a:rect l="l" t="t" r="r" b="b"/>
                <a:pathLst>
                  <a:path w="14001" h="25145">
                    <a:moveTo>
                      <a:pt x="14002" y="0"/>
                    </a:moveTo>
                    <a:lnTo>
                      <a:pt x="0" y="25146"/>
                    </a:lnTo>
                  </a:path>
                </a:pathLst>
              </a:custGeom>
              <a:ln w="19050" cap="rnd">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ptos" panose="020B0004020202020204" pitchFamily="34" charset="0"/>
                </a:endParaRPr>
              </a:p>
            </p:txBody>
          </p:sp>
          <p:sp>
            <p:nvSpPr>
              <p:cNvPr id="33" name="Freeform: Shape 32">
                <a:extLst>
                  <a:ext uri="{FF2B5EF4-FFF2-40B4-BE49-F238E27FC236}">
                    <a16:creationId xmlns:a16="http://schemas.microsoft.com/office/drawing/2014/main" id="{86770F3D-7FAB-33B4-0835-A4E079378BBB}"/>
                  </a:ext>
                </a:extLst>
              </p:cNvPr>
              <p:cNvSpPr/>
              <p:nvPr/>
            </p:nvSpPr>
            <p:spPr>
              <a:xfrm>
                <a:off x="5740240" y="4894040"/>
                <a:ext cx="14001" cy="25145"/>
              </a:xfrm>
              <a:custGeom>
                <a:avLst/>
                <a:gdLst>
                  <a:gd name="connsiteX0" fmla="*/ 0 w 14001"/>
                  <a:gd name="connsiteY0" fmla="*/ 0 h 25145"/>
                  <a:gd name="connsiteX1" fmla="*/ 14002 w 14001"/>
                  <a:gd name="connsiteY1" fmla="*/ 25146 h 25145"/>
                </a:gdLst>
                <a:ahLst/>
                <a:cxnLst>
                  <a:cxn ang="0">
                    <a:pos x="connsiteX0" y="connsiteY0"/>
                  </a:cxn>
                  <a:cxn ang="0">
                    <a:pos x="connsiteX1" y="connsiteY1"/>
                  </a:cxn>
                </a:cxnLst>
                <a:rect l="l" t="t" r="r" b="b"/>
                <a:pathLst>
                  <a:path w="14001" h="25145">
                    <a:moveTo>
                      <a:pt x="0" y="0"/>
                    </a:moveTo>
                    <a:lnTo>
                      <a:pt x="14002" y="25146"/>
                    </a:lnTo>
                  </a:path>
                </a:pathLst>
              </a:custGeom>
              <a:ln w="19050" cap="rnd">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ptos" panose="020B0004020202020204" pitchFamily="34" charset="0"/>
                </a:endParaRPr>
              </a:p>
            </p:txBody>
          </p:sp>
          <p:sp>
            <p:nvSpPr>
              <p:cNvPr id="34" name="Freeform: Shape 33">
                <a:extLst>
                  <a:ext uri="{FF2B5EF4-FFF2-40B4-BE49-F238E27FC236}">
                    <a16:creationId xmlns:a16="http://schemas.microsoft.com/office/drawing/2014/main" id="{29E5AB8C-CA51-1D41-011E-15674FDDDFAB}"/>
                  </a:ext>
                </a:extLst>
              </p:cNvPr>
              <p:cNvSpPr/>
              <p:nvPr/>
            </p:nvSpPr>
            <p:spPr>
              <a:xfrm>
                <a:off x="5540215" y="4894040"/>
                <a:ext cx="14001" cy="25145"/>
              </a:xfrm>
              <a:custGeom>
                <a:avLst/>
                <a:gdLst>
                  <a:gd name="connsiteX0" fmla="*/ 14002 w 14001"/>
                  <a:gd name="connsiteY0" fmla="*/ 0 h 25145"/>
                  <a:gd name="connsiteX1" fmla="*/ 0 w 14001"/>
                  <a:gd name="connsiteY1" fmla="*/ 25146 h 25145"/>
                </a:gdLst>
                <a:ahLst/>
                <a:cxnLst>
                  <a:cxn ang="0">
                    <a:pos x="connsiteX0" y="connsiteY0"/>
                  </a:cxn>
                  <a:cxn ang="0">
                    <a:pos x="connsiteX1" y="connsiteY1"/>
                  </a:cxn>
                </a:cxnLst>
                <a:rect l="l" t="t" r="r" b="b"/>
                <a:pathLst>
                  <a:path w="14001" h="25145">
                    <a:moveTo>
                      <a:pt x="14002" y="0"/>
                    </a:moveTo>
                    <a:lnTo>
                      <a:pt x="0" y="25146"/>
                    </a:lnTo>
                  </a:path>
                </a:pathLst>
              </a:custGeom>
              <a:ln w="19050" cap="rnd">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ptos" panose="020B0004020202020204" pitchFamily="34" charset="0"/>
                </a:endParaRPr>
              </a:p>
            </p:txBody>
          </p:sp>
          <p:sp>
            <p:nvSpPr>
              <p:cNvPr id="35" name="Freeform: Shape 34">
                <a:extLst>
                  <a:ext uri="{FF2B5EF4-FFF2-40B4-BE49-F238E27FC236}">
                    <a16:creationId xmlns:a16="http://schemas.microsoft.com/office/drawing/2014/main" id="{353D66F2-F0E2-C43B-0A16-F6C68EBFE0F2}"/>
                  </a:ext>
                </a:extLst>
              </p:cNvPr>
              <p:cNvSpPr/>
              <p:nvPr/>
            </p:nvSpPr>
            <p:spPr>
              <a:xfrm>
                <a:off x="5646991" y="4576000"/>
                <a:ext cx="9525" cy="28670"/>
              </a:xfrm>
              <a:custGeom>
                <a:avLst/>
                <a:gdLst>
                  <a:gd name="connsiteX0" fmla="*/ 0 w 9525"/>
                  <a:gd name="connsiteY0" fmla="*/ 0 h 28670"/>
                  <a:gd name="connsiteX1" fmla="*/ 0 w 9525"/>
                  <a:gd name="connsiteY1" fmla="*/ 28670 h 28670"/>
                </a:gdLst>
                <a:ahLst/>
                <a:cxnLst>
                  <a:cxn ang="0">
                    <a:pos x="connsiteX0" y="connsiteY0"/>
                  </a:cxn>
                  <a:cxn ang="0">
                    <a:pos x="connsiteX1" y="connsiteY1"/>
                  </a:cxn>
                </a:cxnLst>
                <a:rect l="l" t="t" r="r" b="b"/>
                <a:pathLst>
                  <a:path w="9525" h="28670">
                    <a:moveTo>
                      <a:pt x="0" y="0"/>
                    </a:moveTo>
                    <a:lnTo>
                      <a:pt x="0" y="28670"/>
                    </a:lnTo>
                  </a:path>
                </a:pathLst>
              </a:custGeom>
              <a:ln w="19050" cap="rnd">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ptos" panose="020B0004020202020204" pitchFamily="34" charset="0"/>
                </a:endParaRPr>
              </a:p>
            </p:txBody>
          </p:sp>
          <p:sp>
            <p:nvSpPr>
              <p:cNvPr id="36" name="Freeform: Shape 35">
                <a:extLst>
                  <a:ext uri="{FF2B5EF4-FFF2-40B4-BE49-F238E27FC236}">
                    <a16:creationId xmlns:a16="http://schemas.microsoft.com/office/drawing/2014/main" id="{3051E629-FF6A-933E-EE1E-F3CCC7AD6900}"/>
                  </a:ext>
                </a:extLst>
              </p:cNvPr>
              <p:cNvSpPr/>
              <p:nvPr/>
            </p:nvSpPr>
            <p:spPr>
              <a:xfrm>
                <a:off x="5780245" y="4667916"/>
                <a:ext cx="24955" cy="14192"/>
              </a:xfrm>
              <a:custGeom>
                <a:avLst/>
                <a:gdLst>
                  <a:gd name="connsiteX0" fmla="*/ 24956 w 24955"/>
                  <a:gd name="connsiteY0" fmla="*/ 0 h 14192"/>
                  <a:gd name="connsiteX1" fmla="*/ 0 w 24955"/>
                  <a:gd name="connsiteY1" fmla="*/ 14192 h 14192"/>
                </a:gdLst>
                <a:ahLst/>
                <a:cxnLst>
                  <a:cxn ang="0">
                    <a:pos x="connsiteX0" y="connsiteY0"/>
                  </a:cxn>
                  <a:cxn ang="0">
                    <a:pos x="connsiteX1" y="connsiteY1"/>
                  </a:cxn>
                </a:cxnLst>
                <a:rect l="l" t="t" r="r" b="b"/>
                <a:pathLst>
                  <a:path w="24955" h="14192">
                    <a:moveTo>
                      <a:pt x="24956" y="0"/>
                    </a:moveTo>
                    <a:lnTo>
                      <a:pt x="0" y="14192"/>
                    </a:lnTo>
                  </a:path>
                </a:pathLst>
              </a:custGeom>
              <a:ln w="19050" cap="rnd">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ptos" panose="020B0004020202020204" pitchFamily="34" charset="0"/>
                </a:endParaRPr>
              </a:p>
            </p:txBody>
          </p:sp>
          <p:sp>
            <p:nvSpPr>
              <p:cNvPr id="37" name="Freeform: Shape 36">
                <a:extLst>
                  <a:ext uri="{FF2B5EF4-FFF2-40B4-BE49-F238E27FC236}">
                    <a16:creationId xmlns:a16="http://schemas.microsoft.com/office/drawing/2014/main" id="{48D64C5E-431D-BAD6-1D6B-284D14E614EC}"/>
                  </a:ext>
                </a:extLst>
              </p:cNvPr>
              <p:cNvSpPr/>
              <p:nvPr/>
            </p:nvSpPr>
            <p:spPr>
              <a:xfrm>
                <a:off x="5558884" y="4598765"/>
                <a:ext cx="13906" cy="25145"/>
              </a:xfrm>
              <a:custGeom>
                <a:avLst/>
                <a:gdLst>
                  <a:gd name="connsiteX0" fmla="*/ 0 w 13906"/>
                  <a:gd name="connsiteY0" fmla="*/ 0 h 25145"/>
                  <a:gd name="connsiteX1" fmla="*/ 13906 w 13906"/>
                  <a:gd name="connsiteY1" fmla="*/ 25146 h 25145"/>
                </a:gdLst>
                <a:ahLst/>
                <a:cxnLst>
                  <a:cxn ang="0">
                    <a:pos x="connsiteX0" y="connsiteY0"/>
                  </a:cxn>
                  <a:cxn ang="0">
                    <a:pos x="connsiteX1" y="connsiteY1"/>
                  </a:cxn>
                </a:cxnLst>
                <a:rect l="l" t="t" r="r" b="b"/>
                <a:pathLst>
                  <a:path w="13906" h="25145">
                    <a:moveTo>
                      <a:pt x="0" y="0"/>
                    </a:moveTo>
                    <a:lnTo>
                      <a:pt x="13906" y="25146"/>
                    </a:lnTo>
                  </a:path>
                </a:pathLst>
              </a:custGeom>
              <a:ln w="19050" cap="rnd">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ptos" panose="020B0004020202020204" pitchFamily="34" charset="0"/>
                </a:endParaRPr>
              </a:p>
            </p:txBody>
          </p:sp>
          <p:sp>
            <p:nvSpPr>
              <p:cNvPr id="38" name="Freeform: Shape 37">
                <a:extLst>
                  <a:ext uri="{FF2B5EF4-FFF2-40B4-BE49-F238E27FC236}">
                    <a16:creationId xmlns:a16="http://schemas.microsoft.com/office/drawing/2014/main" id="{6964D2B5-2C4A-9056-CD4C-17E400911896}"/>
                  </a:ext>
                </a:extLst>
              </p:cNvPr>
              <p:cNvSpPr/>
              <p:nvPr/>
            </p:nvSpPr>
            <p:spPr>
              <a:xfrm>
                <a:off x="5646991" y="4576000"/>
                <a:ext cx="9525" cy="28670"/>
              </a:xfrm>
              <a:custGeom>
                <a:avLst/>
                <a:gdLst>
                  <a:gd name="connsiteX0" fmla="*/ 0 w 9525"/>
                  <a:gd name="connsiteY0" fmla="*/ 0 h 28670"/>
                  <a:gd name="connsiteX1" fmla="*/ 0 w 9525"/>
                  <a:gd name="connsiteY1" fmla="*/ 28670 h 28670"/>
                </a:gdLst>
                <a:ahLst/>
                <a:cxnLst>
                  <a:cxn ang="0">
                    <a:pos x="connsiteX0" y="connsiteY0"/>
                  </a:cxn>
                  <a:cxn ang="0">
                    <a:pos x="connsiteX1" y="connsiteY1"/>
                  </a:cxn>
                </a:cxnLst>
                <a:rect l="l" t="t" r="r" b="b"/>
                <a:pathLst>
                  <a:path w="9525" h="28670">
                    <a:moveTo>
                      <a:pt x="0" y="0"/>
                    </a:moveTo>
                    <a:lnTo>
                      <a:pt x="0" y="28670"/>
                    </a:lnTo>
                  </a:path>
                </a:pathLst>
              </a:custGeom>
              <a:ln w="19050" cap="rnd">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ptos" panose="020B0004020202020204" pitchFamily="34" charset="0"/>
                </a:endParaRPr>
              </a:p>
            </p:txBody>
          </p:sp>
          <p:sp>
            <p:nvSpPr>
              <p:cNvPr id="39" name="Freeform: Shape 38">
                <a:extLst>
                  <a:ext uri="{FF2B5EF4-FFF2-40B4-BE49-F238E27FC236}">
                    <a16:creationId xmlns:a16="http://schemas.microsoft.com/office/drawing/2014/main" id="{E1D596F5-AAED-42D1-D853-B311AE7E7043}"/>
                  </a:ext>
                </a:extLst>
              </p:cNvPr>
              <p:cNvSpPr/>
              <p:nvPr/>
            </p:nvSpPr>
            <p:spPr>
              <a:xfrm>
                <a:off x="5464968" y="4758023"/>
                <a:ext cx="28765" cy="9525"/>
              </a:xfrm>
              <a:custGeom>
                <a:avLst/>
                <a:gdLst>
                  <a:gd name="connsiteX0" fmla="*/ 0 w 28765"/>
                  <a:gd name="connsiteY0" fmla="*/ 0 h 9525"/>
                  <a:gd name="connsiteX1" fmla="*/ 28766 w 28765"/>
                  <a:gd name="connsiteY1" fmla="*/ 0 h 9525"/>
                </a:gdLst>
                <a:ahLst/>
                <a:cxnLst>
                  <a:cxn ang="0">
                    <a:pos x="connsiteX0" y="connsiteY0"/>
                  </a:cxn>
                  <a:cxn ang="0">
                    <a:pos x="connsiteX1" y="connsiteY1"/>
                  </a:cxn>
                </a:cxnLst>
                <a:rect l="l" t="t" r="r" b="b"/>
                <a:pathLst>
                  <a:path w="28765" h="9525">
                    <a:moveTo>
                      <a:pt x="0" y="0"/>
                    </a:moveTo>
                    <a:lnTo>
                      <a:pt x="28766" y="0"/>
                    </a:lnTo>
                  </a:path>
                </a:pathLst>
              </a:custGeom>
              <a:ln w="19050" cap="rnd">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ptos" panose="020B0004020202020204" pitchFamily="34" charset="0"/>
                </a:endParaRPr>
              </a:p>
            </p:txBody>
          </p:sp>
          <p:sp>
            <p:nvSpPr>
              <p:cNvPr id="40" name="Freeform: Shape 39">
                <a:extLst>
                  <a:ext uri="{FF2B5EF4-FFF2-40B4-BE49-F238E27FC236}">
                    <a16:creationId xmlns:a16="http://schemas.microsoft.com/office/drawing/2014/main" id="{BACDCC32-6CED-9F05-C2CD-1276FFEA507E}"/>
                  </a:ext>
                </a:extLst>
              </p:cNvPr>
              <p:cNvSpPr/>
              <p:nvPr/>
            </p:nvSpPr>
            <p:spPr>
              <a:xfrm>
                <a:off x="5488780" y="4667916"/>
                <a:ext cx="24955" cy="14192"/>
              </a:xfrm>
              <a:custGeom>
                <a:avLst/>
                <a:gdLst>
                  <a:gd name="connsiteX0" fmla="*/ 0 w 24955"/>
                  <a:gd name="connsiteY0" fmla="*/ 0 h 14192"/>
                  <a:gd name="connsiteX1" fmla="*/ 24955 w 24955"/>
                  <a:gd name="connsiteY1" fmla="*/ 14192 h 14192"/>
                </a:gdLst>
                <a:ahLst/>
                <a:cxnLst>
                  <a:cxn ang="0">
                    <a:pos x="connsiteX0" y="connsiteY0"/>
                  </a:cxn>
                  <a:cxn ang="0">
                    <a:pos x="connsiteX1" y="connsiteY1"/>
                  </a:cxn>
                </a:cxnLst>
                <a:rect l="l" t="t" r="r" b="b"/>
                <a:pathLst>
                  <a:path w="24955" h="14192">
                    <a:moveTo>
                      <a:pt x="0" y="0"/>
                    </a:moveTo>
                    <a:lnTo>
                      <a:pt x="24955" y="14192"/>
                    </a:lnTo>
                  </a:path>
                </a:pathLst>
              </a:custGeom>
              <a:ln w="19050" cap="rnd">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ptos" panose="020B0004020202020204" pitchFamily="34" charset="0"/>
                </a:endParaRPr>
              </a:p>
            </p:txBody>
          </p:sp>
          <p:sp>
            <p:nvSpPr>
              <p:cNvPr id="41" name="Freeform: Shape 40">
                <a:extLst>
                  <a:ext uri="{FF2B5EF4-FFF2-40B4-BE49-F238E27FC236}">
                    <a16:creationId xmlns:a16="http://schemas.microsoft.com/office/drawing/2014/main" id="{016CB455-9552-C8C7-AD08-B66F6D87B28B}"/>
                  </a:ext>
                </a:extLst>
              </p:cNvPr>
              <p:cNvSpPr/>
              <p:nvPr/>
            </p:nvSpPr>
            <p:spPr>
              <a:xfrm>
                <a:off x="5488780" y="4833842"/>
                <a:ext cx="24955" cy="14192"/>
              </a:xfrm>
              <a:custGeom>
                <a:avLst/>
                <a:gdLst>
                  <a:gd name="connsiteX0" fmla="*/ 0 w 24955"/>
                  <a:gd name="connsiteY0" fmla="*/ 14192 h 14192"/>
                  <a:gd name="connsiteX1" fmla="*/ 24955 w 24955"/>
                  <a:gd name="connsiteY1" fmla="*/ 0 h 14192"/>
                </a:gdLst>
                <a:ahLst/>
                <a:cxnLst>
                  <a:cxn ang="0">
                    <a:pos x="connsiteX0" y="connsiteY0"/>
                  </a:cxn>
                  <a:cxn ang="0">
                    <a:pos x="connsiteX1" y="connsiteY1"/>
                  </a:cxn>
                </a:cxnLst>
                <a:rect l="l" t="t" r="r" b="b"/>
                <a:pathLst>
                  <a:path w="24955" h="14192">
                    <a:moveTo>
                      <a:pt x="0" y="14192"/>
                    </a:moveTo>
                    <a:lnTo>
                      <a:pt x="24955" y="0"/>
                    </a:lnTo>
                  </a:path>
                </a:pathLst>
              </a:custGeom>
              <a:ln w="19050" cap="rnd">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ptos" panose="020B0004020202020204" pitchFamily="34" charset="0"/>
                </a:endParaRPr>
              </a:p>
            </p:txBody>
          </p:sp>
          <p:sp>
            <p:nvSpPr>
              <p:cNvPr id="42" name="Freeform: Shape 41">
                <a:extLst>
                  <a:ext uri="{FF2B5EF4-FFF2-40B4-BE49-F238E27FC236}">
                    <a16:creationId xmlns:a16="http://schemas.microsoft.com/office/drawing/2014/main" id="{F2F5103B-5187-AAC0-2EDD-05254A3F92B5}"/>
                  </a:ext>
                </a:extLst>
              </p:cNvPr>
              <p:cNvSpPr/>
              <p:nvPr/>
            </p:nvSpPr>
            <p:spPr>
              <a:xfrm>
                <a:off x="5784055" y="4833842"/>
                <a:ext cx="24955" cy="14192"/>
              </a:xfrm>
              <a:custGeom>
                <a:avLst/>
                <a:gdLst>
                  <a:gd name="connsiteX0" fmla="*/ 24955 w 24955"/>
                  <a:gd name="connsiteY0" fmla="*/ 14192 h 14192"/>
                  <a:gd name="connsiteX1" fmla="*/ 0 w 24955"/>
                  <a:gd name="connsiteY1" fmla="*/ 0 h 14192"/>
                </a:gdLst>
                <a:ahLst/>
                <a:cxnLst>
                  <a:cxn ang="0">
                    <a:pos x="connsiteX0" y="connsiteY0"/>
                  </a:cxn>
                  <a:cxn ang="0">
                    <a:pos x="connsiteX1" y="connsiteY1"/>
                  </a:cxn>
                </a:cxnLst>
                <a:rect l="l" t="t" r="r" b="b"/>
                <a:pathLst>
                  <a:path w="24955" h="14192">
                    <a:moveTo>
                      <a:pt x="24955" y="14192"/>
                    </a:moveTo>
                    <a:lnTo>
                      <a:pt x="0" y="0"/>
                    </a:lnTo>
                  </a:path>
                </a:pathLst>
              </a:custGeom>
              <a:ln w="19050" cap="rnd">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ptos" panose="020B0004020202020204" pitchFamily="34" charset="0"/>
                </a:endParaRPr>
              </a:p>
            </p:txBody>
          </p:sp>
        </p:grpSp>
        <p:cxnSp>
          <p:nvCxnSpPr>
            <p:cNvPr id="54" name="Straight Connector 53">
              <a:extLst>
                <a:ext uri="{FF2B5EF4-FFF2-40B4-BE49-F238E27FC236}">
                  <a16:creationId xmlns:a16="http://schemas.microsoft.com/office/drawing/2014/main" id="{9F318AAC-3C14-4964-6AEA-1D788A38FC19}"/>
                </a:ext>
              </a:extLst>
            </p:cNvPr>
            <p:cNvCxnSpPr>
              <a:cxnSpLocks/>
            </p:cNvCxnSpPr>
            <p:nvPr/>
          </p:nvCxnSpPr>
          <p:spPr>
            <a:xfrm>
              <a:off x="763347" y="4187226"/>
              <a:ext cx="2474528" cy="0"/>
            </a:xfrm>
            <a:prstGeom prst="line">
              <a:avLst/>
            </a:prstGeom>
            <a:ln w="12700"/>
          </p:spPr>
          <p:style>
            <a:lnRef idx="2">
              <a:schemeClr val="accent1"/>
            </a:lnRef>
            <a:fillRef idx="0">
              <a:schemeClr val="accent1"/>
            </a:fillRef>
            <a:effectRef idx="1">
              <a:schemeClr val="accent1"/>
            </a:effectRef>
            <a:fontRef idx="minor">
              <a:schemeClr val="tx1"/>
            </a:fontRef>
          </p:style>
        </p:cxnSp>
      </p:grpSp>
      <p:grpSp>
        <p:nvGrpSpPr>
          <p:cNvPr id="59" name="Group 58">
            <a:extLst>
              <a:ext uri="{FF2B5EF4-FFF2-40B4-BE49-F238E27FC236}">
                <a16:creationId xmlns:a16="http://schemas.microsoft.com/office/drawing/2014/main" id="{60929DC9-B458-212E-CD42-A333D744E6F0}"/>
              </a:ext>
            </a:extLst>
          </p:cNvPr>
          <p:cNvGrpSpPr/>
          <p:nvPr/>
        </p:nvGrpSpPr>
        <p:grpSpPr>
          <a:xfrm>
            <a:off x="683988" y="5098953"/>
            <a:ext cx="2793730" cy="1269578"/>
            <a:chOff x="683988" y="5038993"/>
            <a:chExt cx="2793730" cy="1269578"/>
          </a:xfrm>
        </p:grpSpPr>
        <p:sp>
          <p:nvSpPr>
            <p:cNvPr id="16" name="Rectangle 15">
              <a:extLst>
                <a:ext uri="{FF2B5EF4-FFF2-40B4-BE49-F238E27FC236}">
                  <a16:creationId xmlns:a16="http://schemas.microsoft.com/office/drawing/2014/main" id="{6BE4E7BE-2F2C-D35C-4ADB-5377CE8EC18C}"/>
                </a:ext>
              </a:extLst>
            </p:cNvPr>
            <p:cNvSpPr/>
            <p:nvPr/>
          </p:nvSpPr>
          <p:spPr>
            <a:xfrm>
              <a:off x="683988" y="5038993"/>
              <a:ext cx="2442145" cy="1269578"/>
            </a:xfrm>
            <a:prstGeom prst="rect">
              <a:avLst/>
            </a:prstGeom>
            <a:no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91440" tIns="45720" rIns="91440" bIns="45720" numCol="1" spcCol="1270" anchor="t" anchorCtr="0">
              <a:spAutoFit/>
            </a:bodyPr>
            <a:lstStyle/>
            <a:p>
              <a:pPr marL="509588" marR="0" lvl="0" indent="0" algn="l" defTabSz="755650" rtl="0" eaLnBrk="1" fontAlgn="auto" latinLnBrk="0" hangingPunct="1">
                <a:lnSpc>
                  <a:spcPct val="100000"/>
                </a:lnSpc>
                <a:spcBef>
                  <a:spcPct val="0"/>
                </a:spcBef>
                <a:spcAft>
                  <a:spcPts val="1200"/>
                </a:spcAft>
                <a:buClrTx/>
                <a:buSzTx/>
                <a:buFontTx/>
                <a:buNone/>
                <a:tabLst/>
                <a:defRPr/>
              </a:pPr>
              <a:r>
                <a:rPr kumimoji="0" lang="en-US" sz="1400" b="1" i="0" u="none" strike="noStrike" kern="1200" cap="none" spc="0" normalizeH="0" baseline="0" noProof="0" dirty="0">
                  <a:ln>
                    <a:noFill/>
                  </a:ln>
                  <a:solidFill>
                    <a:schemeClr val="accent1"/>
                  </a:solidFill>
                  <a:effectLst/>
                  <a:uLnTx/>
                  <a:uFillTx/>
                  <a:latin typeface="Aptos" panose="020B0004020202020204" pitchFamily="34" charset="0"/>
                </a:rPr>
                <a:t>ADVANCED </a:t>
              </a:r>
              <a:br>
                <a:rPr kumimoji="0" lang="en-US" sz="1400" b="1" i="0" u="none" strike="noStrike" kern="1200" cap="none" spc="0" normalizeH="0" baseline="0" noProof="0" dirty="0">
                  <a:ln>
                    <a:noFill/>
                  </a:ln>
                  <a:solidFill>
                    <a:schemeClr val="accent1"/>
                  </a:solidFill>
                  <a:effectLst/>
                  <a:uLnTx/>
                  <a:uFillTx/>
                  <a:latin typeface="Aptos" panose="020B0004020202020204" pitchFamily="34" charset="0"/>
                </a:rPr>
              </a:br>
              <a:r>
                <a:rPr kumimoji="0" lang="en-US" sz="1400" b="1" i="0" u="none" strike="noStrike" kern="1200" cap="none" spc="0" normalizeH="0" baseline="0" noProof="0" dirty="0">
                  <a:ln>
                    <a:noFill/>
                  </a:ln>
                  <a:solidFill>
                    <a:schemeClr val="accent1"/>
                  </a:solidFill>
                  <a:effectLst/>
                  <a:uLnTx/>
                  <a:uFillTx/>
                  <a:latin typeface="Aptos" panose="020B0004020202020204" pitchFamily="34" charset="0"/>
                </a:rPr>
                <a:t>GAS SYSTEM</a:t>
              </a:r>
            </a:p>
            <a:p>
              <a:pPr marL="171450" marR="0" lvl="0" indent="-171450" algn="l" defTabSz="755650" rtl="0" eaLnBrk="1" fontAlgn="auto" latinLnBrk="0" hangingPunct="1">
                <a:lnSpc>
                  <a:spcPct val="100000"/>
                </a:lnSpc>
                <a:spcBef>
                  <a:spcPct val="0"/>
                </a:spcBef>
                <a:spcAft>
                  <a:spcPts val="300"/>
                </a:spcAft>
                <a:buClrTx/>
                <a:buSzTx/>
                <a:buBlip>
                  <a:blip r:embed="rId3"/>
                </a:buBlip>
                <a:tabLst/>
                <a:defRPr/>
              </a:pPr>
              <a:r>
                <a:rPr kumimoji="0" lang="en-US" sz="1200" b="0" i="0" u="none" strike="noStrike" kern="1200" cap="none" spc="0" normalizeH="0" baseline="0" noProof="0" dirty="0">
                  <a:ln>
                    <a:noFill/>
                  </a:ln>
                  <a:solidFill>
                    <a:prstClr val="white"/>
                  </a:solidFill>
                  <a:effectLst/>
                  <a:uLnTx/>
                  <a:uFillTx/>
                  <a:latin typeface="Aptos" panose="020B0004020202020204" pitchFamily="34" charset="0"/>
                </a:rPr>
                <a:t>Measuring and monitoring </a:t>
              </a:r>
              <a:br>
                <a:rPr kumimoji="0" lang="en-US" sz="1200" b="0" i="0" u="none" strike="noStrike" kern="1200" cap="none" spc="0" normalizeH="0" baseline="0" noProof="0" dirty="0">
                  <a:ln>
                    <a:noFill/>
                  </a:ln>
                  <a:solidFill>
                    <a:prstClr val="white"/>
                  </a:solidFill>
                  <a:effectLst/>
                  <a:uLnTx/>
                  <a:uFillTx/>
                  <a:latin typeface="Aptos" panose="020B0004020202020204" pitchFamily="34" charset="0"/>
                </a:rPr>
              </a:br>
              <a:r>
                <a:rPr kumimoji="0" lang="en-US" sz="1200" b="0" i="0" u="none" strike="noStrike" kern="1200" cap="none" spc="0" normalizeH="0" baseline="0" noProof="0" dirty="0">
                  <a:ln>
                    <a:noFill/>
                  </a:ln>
                  <a:solidFill>
                    <a:prstClr val="white"/>
                  </a:solidFill>
                  <a:effectLst/>
                  <a:uLnTx/>
                  <a:uFillTx/>
                  <a:latin typeface="Aptos" panose="020B0004020202020204" pitchFamily="34" charset="0"/>
                </a:rPr>
                <a:t>gas volumes</a:t>
              </a:r>
            </a:p>
            <a:p>
              <a:pPr marL="171450" marR="0" lvl="0" indent="-171450" algn="l" defTabSz="755650" rtl="0" eaLnBrk="1" fontAlgn="auto" latinLnBrk="0" hangingPunct="1">
                <a:lnSpc>
                  <a:spcPct val="100000"/>
                </a:lnSpc>
                <a:spcBef>
                  <a:spcPct val="0"/>
                </a:spcBef>
                <a:spcAft>
                  <a:spcPts val="300"/>
                </a:spcAft>
                <a:buClrTx/>
                <a:buSzTx/>
                <a:buBlip>
                  <a:blip r:embed="rId3"/>
                </a:buBlip>
                <a:tabLst/>
                <a:defRPr/>
              </a:pPr>
              <a:r>
                <a:rPr kumimoji="0" lang="en-US" sz="1200" b="0" i="0" u="none" strike="noStrike" kern="1200" cap="none" spc="0" normalizeH="0" baseline="0" noProof="0" dirty="0">
                  <a:ln>
                    <a:noFill/>
                  </a:ln>
                  <a:solidFill>
                    <a:prstClr val="white"/>
                  </a:solidFill>
                  <a:effectLst/>
                  <a:uLnTx/>
                  <a:uFillTx/>
                  <a:latin typeface="Aptos" panose="020B0004020202020204" pitchFamily="34" charset="0"/>
                </a:rPr>
                <a:t>Sized for 20-60cu/ft tank</a:t>
              </a:r>
            </a:p>
          </p:txBody>
        </p:sp>
        <p:grpSp>
          <p:nvGrpSpPr>
            <p:cNvPr id="20" name="Graphic 17">
              <a:extLst>
                <a:ext uri="{FF2B5EF4-FFF2-40B4-BE49-F238E27FC236}">
                  <a16:creationId xmlns:a16="http://schemas.microsoft.com/office/drawing/2014/main" id="{4117D553-615F-13B8-6B4F-94794CFD6AE8}"/>
                </a:ext>
              </a:extLst>
            </p:cNvPr>
            <p:cNvGrpSpPr/>
            <p:nvPr/>
          </p:nvGrpSpPr>
          <p:grpSpPr>
            <a:xfrm rot="16200000">
              <a:off x="793904" y="5091975"/>
              <a:ext cx="398274" cy="393702"/>
              <a:chOff x="5453062" y="1857375"/>
              <a:chExt cx="416641" cy="411861"/>
            </a:xfrm>
            <a:noFill/>
          </p:grpSpPr>
          <p:sp>
            <p:nvSpPr>
              <p:cNvPr id="21" name="Freeform: Shape 20">
                <a:extLst>
                  <a:ext uri="{FF2B5EF4-FFF2-40B4-BE49-F238E27FC236}">
                    <a16:creationId xmlns:a16="http://schemas.microsoft.com/office/drawing/2014/main" id="{6D26B2C9-1607-D91C-AC68-6C67923840DC}"/>
                  </a:ext>
                </a:extLst>
              </p:cNvPr>
              <p:cNvSpPr/>
              <p:nvPr/>
            </p:nvSpPr>
            <p:spPr>
              <a:xfrm>
                <a:off x="5453062" y="1991391"/>
                <a:ext cx="277844" cy="277844"/>
              </a:xfrm>
              <a:custGeom>
                <a:avLst/>
                <a:gdLst>
                  <a:gd name="connsiteX0" fmla="*/ 265652 w 277844"/>
                  <a:gd name="connsiteY0" fmla="*/ 110204 h 277844"/>
                  <a:gd name="connsiteX1" fmla="*/ 241173 w 277844"/>
                  <a:gd name="connsiteY1" fmla="*/ 110204 h 277844"/>
                  <a:gd name="connsiteX2" fmla="*/ 231553 w 277844"/>
                  <a:gd name="connsiteY2" fmla="*/ 86963 h 277844"/>
                  <a:gd name="connsiteX3" fmla="*/ 248793 w 277844"/>
                  <a:gd name="connsiteY3" fmla="*/ 69723 h 277844"/>
                  <a:gd name="connsiteX4" fmla="*/ 248793 w 277844"/>
                  <a:gd name="connsiteY4" fmla="*/ 52388 h 277844"/>
                  <a:gd name="connsiteX5" fmla="*/ 225457 w 277844"/>
                  <a:gd name="connsiteY5" fmla="*/ 29051 h 277844"/>
                  <a:gd name="connsiteX6" fmla="*/ 208121 w 277844"/>
                  <a:gd name="connsiteY6" fmla="*/ 29051 h 277844"/>
                  <a:gd name="connsiteX7" fmla="*/ 190881 w 277844"/>
                  <a:gd name="connsiteY7" fmla="*/ 46292 h 277844"/>
                  <a:gd name="connsiteX8" fmla="*/ 167640 w 277844"/>
                  <a:gd name="connsiteY8" fmla="*/ 36671 h 277844"/>
                  <a:gd name="connsiteX9" fmla="*/ 167640 w 277844"/>
                  <a:gd name="connsiteY9" fmla="*/ 12192 h 277844"/>
                  <a:gd name="connsiteX10" fmla="*/ 155448 w 277844"/>
                  <a:gd name="connsiteY10" fmla="*/ 0 h 277844"/>
                  <a:gd name="connsiteX11" fmla="*/ 122396 w 277844"/>
                  <a:gd name="connsiteY11" fmla="*/ 0 h 277844"/>
                  <a:gd name="connsiteX12" fmla="*/ 110204 w 277844"/>
                  <a:gd name="connsiteY12" fmla="*/ 12192 h 277844"/>
                  <a:gd name="connsiteX13" fmla="*/ 110204 w 277844"/>
                  <a:gd name="connsiteY13" fmla="*/ 36671 h 277844"/>
                  <a:gd name="connsiteX14" fmla="*/ 86963 w 277844"/>
                  <a:gd name="connsiteY14" fmla="*/ 46292 h 277844"/>
                  <a:gd name="connsiteX15" fmla="*/ 69723 w 277844"/>
                  <a:gd name="connsiteY15" fmla="*/ 29051 h 277844"/>
                  <a:gd name="connsiteX16" fmla="*/ 52388 w 277844"/>
                  <a:gd name="connsiteY16" fmla="*/ 29051 h 277844"/>
                  <a:gd name="connsiteX17" fmla="*/ 29051 w 277844"/>
                  <a:gd name="connsiteY17" fmla="*/ 52388 h 277844"/>
                  <a:gd name="connsiteX18" fmla="*/ 29051 w 277844"/>
                  <a:gd name="connsiteY18" fmla="*/ 69723 h 277844"/>
                  <a:gd name="connsiteX19" fmla="*/ 46292 w 277844"/>
                  <a:gd name="connsiteY19" fmla="*/ 86963 h 277844"/>
                  <a:gd name="connsiteX20" fmla="*/ 36671 w 277844"/>
                  <a:gd name="connsiteY20" fmla="*/ 110204 h 277844"/>
                  <a:gd name="connsiteX21" fmla="*/ 12192 w 277844"/>
                  <a:gd name="connsiteY21" fmla="*/ 110204 h 277844"/>
                  <a:gd name="connsiteX22" fmla="*/ 0 w 277844"/>
                  <a:gd name="connsiteY22" fmla="*/ 122396 h 277844"/>
                  <a:gd name="connsiteX23" fmla="*/ 0 w 277844"/>
                  <a:gd name="connsiteY23" fmla="*/ 155448 h 277844"/>
                  <a:gd name="connsiteX24" fmla="*/ 12192 w 277844"/>
                  <a:gd name="connsiteY24" fmla="*/ 167640 h 277844"/>
                  <a:gd name="connsiteX25" fmla="*/ 36671 w 277844"/>
                  <a:gd name="connsiteY25" fmla="*/ 167640 h 277844"/>
                  <a:gd name="connsiteX26" fmla="*/ 46292 w 277844"/>
                  <a:gd name="connsiteY26" fmla="*/ 190881 h 277844"/>
                  <a:gd name="connsiteX27" fmla="*/ 29051 w 277844"/>
                  <a:gd name="connsiteY27" fmla="*/ 208121 h 277844"/>
                  <a:gd name="connsiteX28" fmla="*/ 29051 w 277844"/>
                  <a:gd name="connsiteY28" fmla="*/ 225457 h 277844"/>
                  <a:gd name="connsiteX29" fmla="*/ 52388 w 277844"/>
                  <a:gd name="connsiteY29" fmla="*/ 248793 h 277844"/>
                  <a:gd name="connsiteX30" fmla="*/ 69723 w 277844"/>
                  <a:gd name="connsiteY30" fmla="*/ 248793 h 277844"/>
                  <a:gd name="connsiteX31" fmla="*/ 86963 w 277844"/>
                  <a:gd name="connsiteY31" fmla="*/ 231553 h 277844"/>
                  <a:gd name="connsiteX32" fmla="*/ 110204 w 277844"/>
                  <a:gd name="connsiteY32" fmla="*/ 241173 h 277844"/>
                  <a:gd name="connsiteX33" fmla="*/ 110204 w 277844"/>
                  <a:gd name="connsiteY33" fmla="*/ 265652 h 277844"/>
                  <a:gd name="connsiteX34" fmla="*/ 122396 w 277844"/>
                  <a:gd name="connsiteY34" fmla="*/ 277844 h 277844"/>
                  <a:gd name="connsiteX35" fmla="*/ 155448 w 277844"/>
                  <a:gd name="connsiteY35" fmla="*/ 277844 h 277844"/>
                  <a:gd name="connsiteX36" fmla="*/ 167640 w 277844"/>
                  <a:gd name="connsiteY36" fmla="*/ 265652 h 277844"/>
                  <a:gd name="connsiteX37" fmla="*/ 167640 w 277844"/>
                  <a:gd name="connsiteY37" fmla="*/ 241173 h 277844"/>
                  <a:gd name="connsiteX38" fmla="*/ 190881 w 277844"/>
                  <a:gd name="connsiteY38" fmla="*/ 231553 h 277844"/>
                  <a:gd name="connsiteX39" fmla="*/ 208121 w 277844"/>
                  <a:gd name="connsiteY39" fmla="*/ 248793 h 277844"/>
                  <a:gd name="connsiteX40" fmla="*/ 225457 w 277844"/>
                  <a:gd name="connsiteY40" fmla="*/ 248793 h 277844"/>
                  <a:gd name="connsiteX41" fmla="*/ 248793 w 277844"/>
                  <a:gd name="connsiteY41" fmla="*/ 225457 h 277844"/>
                  <a:gd name="connsiteX42" fmla="*/ 248793 w 277844"/>
                  <a:gd name="connsiteY42" fmla="*/ 208121 h 277844"/>
                  <a:gd name="connsiteX43" fmla="*/ 231553 w 277844"/>
                  <a:gd name="connsiteY43" fmla="*/ 190881 h 277844"/>
                  <a:gd name="connsiteX44" fmla="*/ 241173 w 277844"/>
                  <a:gd name="connsiteY44" fmla="*/ 167640 h 277844"/>
                  <a:gd name="connsiteX45" fmla="*/ 265652 w 277844"/>
                  <a:gd name="connsiteY45" fmla="*/ 167640 h 277844"/>
                  <a:gd name="connsiteX46" fmla="*/ 277844 w 277844"/>
                  <a:gd name="connsiteY46" fmla="*/ 155448 h 277844"/>
                  <a:gd name="connsiteX47" fmla="*/ 277844 w 277844"/>
                  <a:gd name="connsiteY47" fmla="*/ 122396 h 277844"/>
                  <a:gd name="connsiteX48" fmla="*/ 265652 w 277844"/>
                  <a:gd name="connsiteY48" fmla="*/ 110204 h 277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277844" h="277844">
                    <a:moveTo>
                      <a:pt x="265652" y="110204"/>
                    </a:moveTo>
                    <a:lnTo>
                      <a:pt x="241173" y="110204"/>
                    </a:lnTo>
                    <a:cubicBezTo>
                      <a:pt x="238887" y="102013"/>
                      <a:pt x="235649" y="94202"/>
                      <a:pt x="231553" y="86963"/>
                    </a:cubicBezTo>
                    <a:lnTo>
                      <a:pt x="248793" y="69723"/>
                    </a:lnTo>
                    <a:cubicBezTo>
                      <a:pt x="253556" y="64960"/>
                      <a:pt x="253556" y="57150"/>
                      <a:pt x="248793" y="52388"/>
                    </a:cubicBezTo>
                    <a:lnTo>
                      <a:pt x="225457" y="29051"/>
                    </a:lnTo>
                    <a:cubicBezTo>
                      <a:pt x="220694" y="24289"/>
                      <a:pt x="212884" y="24289"/>
                      <a:pt x="208121" y="29051"/>
                    </a:cubicBezTo>
                    <a:lnTo>
                      <a:pt x="190881" y="46292"/>
                    </a:lnTo>
                    <a:cubicBezTo>
                      <a:pt x="183642" y="42196"/>
                      <a:pt x="175831" y="38957"/>
                      <a:pt x="167640" y="36671"/>
                    </a:cubicBezTo>
                    <a:lnTo>
                      <a:pt x="167640" y="12192"/>
                    </a:lnTo>
                    <a:cubicBezTo>
                      <a:pt x="167640" y="5429"/>
                      <a:pt x="162116" y="0"/>
                      <a:pt x="155448" y="0"/>
                    </a:cubicBezTo>
                    <a:lnTo>
                      <a:pt x="122396" y="0"/>
                    </a:lnTo>
                    <a:cubicBezTo>
                      <a:pt x="115634" y="0"/>
                      <a:pt x="110204" y="5524"/>
                      <a:pt x="110204" y="12192"/>
                    </a:cubicBezTo>
                    <a:lnTo>
                      <a:pt x="110204" y="36671"/>
                    </a:lnTo>
                    <a:cubicBezTo>
                      <a:pt x="102013" y="38957"/>
                      <a:pt x="94202" y="42196"/>
                      <a:pt x="86963" y="46292"/>
                    </a:cubicBezTo>
                    <a:lnTo>
                      <a:pt x="69723" y="29051"/>
                    </a:lnTo>
                    <a:cubicBezTo>
                      <a:pt x="64961" y="24289"/>
                      <a:pt x="57150" y="24289"/>
                      <a:pt x="52388" y="29051"/>
                    </a:cubicBezTo>
                    <a:lnTo>
                      <a:pt x="29051" y="52388"/>
                    </a:lnTo>
                    <a:cubicBezTo>
                      <a:pt x="24289" y="57150"/>
                      <a:pt x="24289" y="64960"/>
                      <a:pt x="29051" y="69723"/>
                    </a:cubicBezTo>
                    <a:lnTo>
                      <a:pt x="46292" y="86963"/>
                    </a:lnTo>
                    <a:cubicBezTo>
                      <a:pt x="42196" y="94202"/>
                      <a:pt x="38957" y="102013"/>
                      <a:pt x="36671" y="110204"/>
                    </a:cubicBezTo>
                    <a:lnTo>
                      <a:pt x="12192" y="110204"/>
                    </a:lnTo>
                    <a:cubicBezTo>
                      <a:pt x="5429" y="110204"/>
                      <a:pt x="0" y="115729"/>
                      <a:pt x="0" y="122396"/>
                    </a:cubicBezTo>
                    <a:lnTo>
                      <a:pt x="0" y="155448"/>
                    </a:lnTo>
                    <a:cubicBezTo>
                      <a:pt x="0" y="162211"/>
                      <a:pt x="5525" y="167640"/>
                      <a:pt x="12192" y="167640"/>
                    </a:cubicBezTo>
                    <a:lnTo>
                      <a:pt x="36671" y="167640"/>
                    </a:lnTo>
                    <a:cubicBezTo>
                      <a:pt x="38957" y="175831"/>
                      <a:pt x="42196" y="183642"/>
                      <a:pt x="46292" y="190881"/>
                    </a:cubicBezTo>
                    <a:lnTo>
                      <a:pt x="29051" y="208121"/>
                    </a:lnTo>
                    <a:cubicBezTo>
                      <a:pt x="24289" y="212884"/>
                      <a:pt x="24289" y="220694"/>
                      <a:pt x="29051" y="225457"/>
                    </a:cubicBezTo>
                    <a:lnTo>
                      <a:pt x="52388" y="248793"/>
                    </a:lnTo>
                    <a:cubicBezTo>
                      <a:pt x="57150" y="253555"/>
                      <a:pt x="64961" y="253555"/>
                      <a:pt x="69723" y="248793"/>
                    </a:cubicBezTo>
                    <a:lnTo>
                      <a:pt x="86963" y="231553"/>
                    </a:lnTo>
                    <a:cubicBezTo>
                      <a:pt x="94202" y="235649"/>
                      <a:pt x="102013" y="238887"/>
                      <a:pt x="110204" y="241173"/>
                    </a:cubicBezTo>
                    <a:lnTo>
                      <a:pt x="110204" y="265652"/>
                    </a:lnTo>
                    <a:cubicBezTo>
                      <a:pt x="110204" y="272415"/>
                      <a:pt x="115729" y="277844"/>
                      <a:pt x="122396" y="277844"/>
                    </a:cubicBezTo>
                    <a:lnTo>
                      <a:pt x="155448" y="277844"/>
                    </a:lnTo>
                    <a:cubicBezTo>
                      <a:pt x="162211" y="277844"/>
                      <a:pt x="167640" y="272320"/>
                      <a:pt x="167640" y="265652"/>
                    </a:cubicBezTo>
                    <a:lnTo>
                      <a:pt x="167640" y="241173"/>
                    </a:lnTo>
                    <a:cubicBezTo>
                      <a:pt x="175831" y="238887"/>
                      <a:pt x="183642" y="235649"/>
                      <a:pt x="190881" y="231553"/>
                    </a:cubicBezTo>
                    <a:lnTo>
                      <a:pt x="208121" y="248793"/>
                    </a:lnTo>
                    <a:cubicBezTo>
                      <a:pt x="212884" y="253555"/>
                      <a:pt x="220694" y="253555"/>
                      <a:pt x="225457" y="248793"/>
                    </a:cubicBezTo>
                    <a:lnTo>
                      <a:pt x="248793" y="225457"/>
                    </a:lnTo>
                    <a:cubicBezTo>
                      <a:pt x="253556" y="220694"/>
                      <a:pt x="253556" y="212884"/>
                      <a:pt x="248793" y="208121"/>
                    </a:cubicBezTo>
                    <a:lnTo>
                      <a:pt x="231553" y="190881"/>
                    </a:lnTo>
                    <a:cubicBezTo>
                      <a:pt x="235649" y="183642"/>
                      <a:pt x="238887" y="175831"/>
                      <a:pt x="241173" y="167640"/>
                    </a:cubicBezTo>
                    <a:lnTo>
                      <a:pt x="265652" y="167640"/>
                    </a:lnTo>
                    <a:cubicBezTo>
                      <a:pt x="272415" y="167640"/>
                      <a:pt x="277844" y="162116"/>
                      <a:pt x="277844" y="155448"/>
                    </a:cubicBezTo>
                    <a:lnTo>
                      <a:pt x="277844" y="122396"/>
                    </a:lnTo>
                    <a:cubicBezTo>
                      <a:pt x="277844" y="115633"/>
                      <a:pt x="272320" y="110204"/>
                      <a:pt x="265652" y="110204"/>
                    </a:cubicBezTo>
                    <a:close/>
                  </a:path>
                </a:pathLst>
              </a:custGeom>
              <a:noFill/>
              <a:ln w="19050" cap="rnd">
                <a:solidFill>
                  <a:schemeClr val="accent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ptos" panose="020B0004020202020204" pitchFamily="34" charset="0"/>
                </a:endParaRPr>
              </a:p>
            </p:txBody>
          </p:sp>
          <p:sp>
            <p:nvSpPr>
              <p:cNvPr id="22" name="Freeform: Shape 21">
                <a:extLst>
                  <a:ext uri="{FF2B5EF4-FFF2-40B4-BE49-F238E27FC236}">
                    <a16:creationId xmlns:a16="http://schemas.microsoft.com/office/drawing/2014/main" id="{034155FA-D5D6-6E2C-8522-367671E31774}"/>
                  </a:ext>
                </a:extLst>
              </p:cNvPr>
              <p:cNvSpPr/>
              <p:nvPr/>
            </p:nvSpPr>
            <p:spPr>
              <a:xfrm>
                <a:off x="5539358" y="2077688"/>
                <a:ext cx="105346" cy="105346"/>
              </a:xfrm>
              <a:custGeom>
                <a:avLst/>
                <a:gdLst>
                  <a:gd name="connsiteX0" fmla="*/ 105347 w 105346"/>
                  <a:gd name="connsiteY0" fmla="*/ 52673 h 105346"/>
                  <a:gd name="connsiteX1" fmla="*/ 52673 w 105346"/>
                  <a:gd name="connsiteY1" fmla="*/ 105346 h 105346"/>
                  <a:gd name="connsiteX2" fmla="*/ 0 w 105346"/>
                  <a:gd name="connsiteY2" fmla="*/ 52673 h 105346"/>
                  <a:gd name="connsiteX3" fmla="*/ 52673 w 105346"/>
                  <a:gd name="connsiteY3" fmla="*/ 0 h 105346"/>
                  <a:gd name="connsiteX4" fmla="*/ 105347 w 105346"/>
                  <a:gd name="connsiteY4" fmla="*/ 52673 h 1053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346" h="105346">
                    <a:moveTo>
                      <a:pt x="105347" y="52673"/>
                    </a:moveTo>
                    <a:cubicBezTo>
                      <a:pt x="105347" y="81764"/>
                      <a:pt x="81764" y="105346"/>
                      <a:pt x="52673" y="105346"/>
                    </a:cubicBezTo>
                    <a:cubicBezTo>
                      <a:pt x="23583" y="105346"/>
                      <a:pt x="0" y="81764"/>
                      <a:pt x="0" y="52673"/>
                    </a:cubicBezTo>
                    <a:cubicBezTo>
                      <a:pt x="0" y="23583"/>
                      <a:pt x="23583" y="0"/>
                      <a:pt x="52673" y="0"/>
                    </a:cubicBezTo>
                    <a:cubicBezTo>
                      <a:pt x="81764" y="0"/>
                      <a:pt x="105347" y="23583"/>
                      <a:pt x="105347" y="52673"/>
                    </a:cubicBezTo>
                    <a:close/>
                  </a:path>
                </a:pathLst>
              </a:custGeom>
              <a:noFill/>
              <a:ln w="19050" cap="rnd">
                <a:solidFill>
                  <a:schemeClr val="accent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ptos" panose="020B0004020202020204" pitchFamily="34" charset="0"/>
                </a:endParaRPr>
              </a:p>
            </p:txBody>
          </p:sp>
          <p:sp>
            <p:nvSpPr>
              <p:cNvPr id="23" name="Freeform: Shape 22">
                <a:extLst>
                  <a:ext uri="{FF2B5EF4-FFF2-40B4-BE49-F238E27FC236}">
                    <a16:creationId xmlns:a16="http://schemas.microsoft.com/office/drawing/2014/main" id="{2C6BECE2-4818-0DC6-EC0A-2E45906842EF}"/>
                  </a:ext>
                </a:extLst>
              </p:cNvPr>
              <p:cNvSpPr/>
              <p:nvPr/>
            </p:nvSpPr>
            <p:spPr>
              <a:xfrm>
                <a:off x="5699932" y="1857375"/>
                <a:ext cx="169770" cy="181927"/>
              </a:xfrm>
              <a:custGeom>
                <a:avLst/>
                <a:gdLst>
                  <a:gd name="connsiteX0" fmla="*/ 164895 w 169770"/>
                  <a:gd name="connsiteY0" fmla="*/ 115062 h 181927"/>
                  <a:gd name="connsiteX1" fmla="*/ 150132 w 169770"/>
                  <a:gd name="connsiteY1" fmla="*/ 106490 h 181927"/>
                  <a:gd name="connsiteX2" fmla="*/ 152037 w 169770"/>
                  <a:gd name="connsiteY2" fmla="*/ 90964 h 181927"/>
                  <a:gd name="connsiteX3" fmla="*/ 150132 w 169770"/>
                  <a:gd name="connsiteY3" fmla="*/ 75438 h 181927"/>
                  <a:gd name="connsiteX4" fmla="*/ 164895 w 169770"/>
                  <a:gd name="connsiteY4" fmla="*/ 66866 h 181927"/>
                  <a:gd name="connsiteX5" fmla="*/ 168420 w 169770"/>
                  <a:gd name="connsiteY5" fmla="*/ 53531 h 181927"/>
                  <a:gd name="connsiteX6" fmla="*/ 158990 w 169770"/>
                  <a:gd name="connsiteY6" fmla="*/ 37243 h 181927"/>
                  <a:gd name="connsiteX7" fmla="*/ 145655 w 169770"/>
                  <a:gd name="connsiteY7" fmla="*/ 33719 h 181927"/>
                  <a:gd name="connsiteX8" fmla="*/ 130891 w 169770"/>
                  <a:gd name="connsiteY8" fmla="*/ 42291 h 181927"/>
                  <a:gd name="connsiteX9" fmla="*/ 104031 w 169770"/>
                  <a:gd name="connsiteY9" fmla="*/ 26765 h 181927"/>
                  <a:gd name="connsiteX10" fmla="*/ 104031 w 169770"/>
                  <a:gd name="connsiteY10" fmla="*/ 9716 h 181927"/>
                  <a:gd name="connsiteX11" fmla="*/ 94315 w 169770"/>
                  <a:gd name="connsiteY11" fmla="*/ 0 h 181927"/>
                  <a:gd name="connsiteX12" fmla="*/ 75456 w 169770"/>
                  <a:gd name="connsiteY12" fmla="*/ 0 h 181927"/>
                  <a:gd name="connsiteX13" fmla="*/ 65740 w 169770"/>
                  <a:gd name="connsiteY13" fmla="*/ 9716 h 181927"/>
                  <a:gd name="connsiteX14" fmla="*/ 65740 w 169770"/>
                  <a:gd name="connsiteY14" fmla="*/ 26765 h 181927"/>
                  <a:gd name="connsiteX15" fmla="*/ 38880 w 169770"/>
                  <a:gd name="connsiteY15" fmla="*/ 42291 h 181927"/>
                  <a:gd name="connsiteX16" fmla="*/ 24116 w 169770"/>
                  <a:gd name="connsiteY16" fmla="*/ 33719 h 181927"/>
                  <a:gd name="connsiteX17" fmla="*/ 10781 w 169770"/>
                  <a:gd name="connsiteY17" fmla="*/ 37243 h 181927"/>
                  <a:gd name="connsiteX18" fmla="*/ 1351 w 169770"/>
                  <a:gd name="connsiteY18" fmla="*/ 53531 h 181927"/>
                  <a:gd name="connsiteX19" fmla="*/ 4875 w 169770"/>
                  <a:gd name="connsiteY19" fmla="*/ 66866 h 181927"/>
                  <a:gd name="connsiteX20" fmla="*/ 19639 w 169770"/>
                  <a:gd name="connsiteY20" fmla="*/ 75438 h 181927"/>
                  <a:gd name="connsiteX21" fmla="*/ 17734 w 169770"/>
                  <a:gd name="connsiteY21" fmla="*/ 90964 h 181927"/>
                  <a:gd name="connsiteX22" fmla="*/ 19639 w 169770"/>
                  <a:gd name="connsiteY22" fmla="*/ 106490 h 181927"/>
                  <a:gd name="connsiteX23" fmla="*/ 4875 w 169770"/>
                  <a:gd name="connsiteY23" fmla="*/ 115062 h 181927"/>
                  <a:gd name="connsiteX24" fmla="*/ 1351 w 169770"/>
                  <a:gd name="connsiteY24" fmla="*/ 128397 h 181927"/>
                  <a:gd name="connsiteX25" fmla="*/ 10781 w 169770"/>
                  <a:gd name="connsiteY25" fmla="*/ 144685 h 181927"/>
                  <a:gd name="connsiteX26" fmla="*/ 24116 w 169770"/>
                  <a:gd name="connsiteY26" fmla="*/ 148209 h 181927"/>
                  <a:gd name="connsiteX27" fmla="*/ 38880 w 169770"/>
                  <a:gd name="connsiteY27" fmla="*/ 139637 h 181927"/>
                  <a:gd name="connsiteX28" fmla="*/ 65740 w 169770"/>
                  <a:gd name="connsiteY28" fmla="*/ 155162 h 181927"/>
                  <a:gd name="connsiteX29" fmla="*/ 65740 w 169770"/>
                  <a:gd name="connsiteY29" fmla="*/ 172212 h 181927"/>
                  <a:gd name="connsiteX30" fmla="*/ 75456 w 169770"/>
                  <a:gd name="connsiteY30" fmla="*/ 181928 h 181927"/>
                  <a:gd name="connsiteX31" fmla="*/ 94315 w 169770"/>
                  <a:gd name="connsiteY31" fmla="*/ 181928 h 181927"/>
                  <a:gd name="connsiteX32" fmla="*/ 104031 w 169770"/>
                  <a:gd name="connsiteY32" fmla="*/ 172212 h 181927"/>
                  <a:gd name="connsiteX33" fmla="*/ 104031 w 169770"/>
                  <a:gd name="connsiteY33" fmla="*/ 155162 h 181927"/>
                  <a:gd name="connsiteX34" fmla="*/ 130891 w 169770"/>
                  <a:gd name="connsiteY34" fmla="*/ 139637 h 181927"/>
                  <a:gd name="connsiteX35" fmla="*/ 145655 w 169770"/>
                  <a:gd name="connsiteY35" fmla="*/ 148209 h 181927"/>
                  <a:gd name="connsiteX36" fmla="*/ 158990 w 169770"/>
                  <a:gd name="connsiteY36" fmla="*/ 144685 h 181927"/>
                  <a:gd name="connsiteX37" fmla="*/ 168420 w 169770"/>
                  <a:gd name="connsiteY37" fmla="*/ 128397 h 181927"/>
                  <a:gd name="connsiteX38" fmla="*/ 164895 w 169770"/>
                  <a:gd name="connsiteY38" fmla="*/ 115062 h 181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69770" h="181927">
                    <a:moveTo>
                      <a:pt x="164895" y="115062"/>
                    </a:moveTo>
                    <a:lnTo>
                      <a:pt x="150132" y="106490"/>
                    </a:lnTo>
                    <a:cubicBezTo>
                      <a:pt x="151275" y="101537"/>
                      <a:pt x="152037" y="96298"/>
                      <a:pt x="152037" y="90964"/>
                    </a:cubicBezTo>
                    <a:cubicBezTo>
                      <a:pt x="152037" y="85630"/>
                      <a:pt x="151370" y="80486"/>
                      <a:pt x="150132" y="75438"/>
                    </a:cubicBezTo>
                    <a:lnTo>
                      <a:pt x="164895" y="66866"/>
                    </a:lnTo>
                    <a:cubicBezTo>
                      <a:pt x="169563" y="64198"/>
                      <a:pt x="171182" y="58198"/>
                      <a:pt x="168420" y="53531"/>
                    </a:cubicBezTo>
                    <a:lnTo>
                      <a:pt x="158990" y="37243"/>
                    </a:lnTo>
                    <a:cubicBezTo>
                      <a:pt x="156323" y="32576"/>
                      <a:pt x="150322" y="30956"/>
                      <a:pt x="145655" y="33719"/>
                    </a:cubicBezTo>
                    <a:lnTo>
                      <a:pt x="130891" y="42291"/>
                    </a:lnTo>
                    <a:cubicBezTo>
                      <a:pt x="123366" y="35147"/>
                      <a:pt x="114222" y="29813"/>
                      <a:pt x="104031" y="26765"/>
                    </a:cubicBezTo>
                    <a:lnTo>
                      <a:pt x="104031" y="9716"/>
                    </a:lnTo>
                    <a:cubicBezTo>
                      <a:pt x="104031" y="4382"/>
                      <a:pt x="99649" y="0"/>
                      <a:pt x="94315" y="0"/>
                    </a:cubicBezTo>
                    <a:lnTo>
                      <a:pt x="75456" y="0"/>
                    </a:lnTo>
                    <a:cubicBezTo>
                      <a:pt x="70122" y="0"/>
                      <a:pt x="65740" y="4382"/>
                      <a:pt x="65740" y="9716"/>
                    </a:cubicBezTo>
                    <a:lnTo>
                      <a:pt x="65740" y="26765"/>
                    </a:lnTo>
                    <a:cubicBezTo>
                      <a:pt x="55548" y="29813"/>
                      <a:pt x="46404" y="35243"/>
                      <a:pt x="38880" y="42291"/>
                    </a:cubicBezTo>
                    <a:lnTo>
                      <a:pt x="24116" y="33719"/>
                    </a:lnTo>
                    <a:cubicBezTo>
                      <a:pt x="19449" y="31052"/>
                      <a:pt x="13448" y="32671"/>
                      <a:pt x="10781" y="37243"/>
                    </a:cubicBezTo>
                    <a:lnTo>
                      <a:pt x="1351" y="53531"/>
                    </a:lnTo>
                    <a:cubicBezTo>
                      <a:pt x="-1316" y="58198"/>
                      <a:pt x="303" y="64198"/>
                      <a:pt x="4875" y="66866"/>
                    </a:cubicBezTo>
                    <a:lnTo>
                      <a:pt x="19639" y="75438"/>
                    </a:lnTo>
                    <a:cubicBezTo>
                      <a:pt x="18496" y="80391"/>
                      <a:pt x="17734" y="85630"/>
                      <a:pt x="17734" y="90964"/>
                    </a:cubicBezTo>
                    <a:cubicBezTo>
                      <a:pt x="17734" y="96298"/>
                      <a:pt x="18401" y="101441"/>
                      <a:pt x="19639" y="106490"/>
                    </a:cubicBezTo>
                    <a:lnTo>
                      <a:pt x="4875" y="115062"/>
                    </a:lnTo>
                    <a:cubicBezTo>
                      <a:pt x="208" y="117729"/>
                      <a:pt x="-1411" y="123730"/>
                      <a:pt x="1351" y="128397"/>
                    </a:cubicBezTo>
                    <a:lnTo>
                      <a:pt x="10781" y="144685"/>
                    </a:lnTo>
                    <a:cubicBezTo>
                      <a:pt x="13448" y="149352"/>
                      <a:pt x="19449" y="150971"/>
                      <a:pt x="24116" y="148209"/>
                    </a:cubicBezTo>
                    <a:lnTo>
                      <a:pt x="38880" y="139637"/>
                    </a:lnTo>
                    <a:cubicBezTo>
                      <a:pt x="46404" y="146780"/>
                      <a:pt x="55548" y="152114"/>
                      <a:pt x="65740" y="155162"/>
                    </a:cubicBezTo>
                    <a:lnTo>
                      <a:pt x="65740" y="172212"/>
                    </a:lnTo>
                    <a:cubicBezTo>
                      <a:pt x="65740" y="177546"/>
                      <a:pt x="70122" y="181928"/>
                      <a:pt x="75456" y="181928"/>
                    </a:cubicBezTo>
                    <a:lnTo>
                      <a:pt x="94315" y="181928"/>
                    </a:lnTo>
                    <a:cubicBezTo>
                      <a:pt x="99649" y="181928"/>
                      <a:pt x="104031" y="177546"/>
                      <a:pt x="104031" y="172212"/>
                    </a:cubicBezTo>
                    <a:lnTo>
                      <a:pt x="104031" y="155162"/>
                    </a:lnTo>
                    <a:cubicBezTo>
                      <a:pt x="114222" y="152114"/>
                      <a:pt x="123366" y="146685"/>
                      <a:pt x="130891" y="139637"/>
                    </a:cubicBezTo>
                    <a:lnTo>
                      <a:pt x="145655" y="148209"/>
                    </a:lnTo>
                    <a:cubicBezTo>
                      <a:pt x="150322" y="150876"/>
                      <a:pt x="156323" y="149257"/>
                      <a:pt x="158990" y="144685"/>
                    </a:cubicBezTo>
                    <a:lnTo>
                      <a:pt x="168420" y="128397"/>
                    </a:lnTo>
                    <a:cubicBezTo>
                      <a:pt x="171087" y="123730"/>
                      <a:pt x="169467" y="117729"/>
                      <a:pt x="164895" y="115062"/>
                    </a:cubicBezTo>
                    <a:close/>
                  </a:path>
                </a:pathLst>
              </a:custGeom>
              <a:noFill/>
              <a:ln w="19050" cap="rnd">
                <a:solidFill>
                  <a:schemeClr val="accent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ptos" panose="020B0004020202020204" pitchFamily="34" charset="0"/>
                </a:endParaRPr>
              </a:p>
            </p:txBody>
          </p:sp>
          <p:sp>
            <p:nvSpPr>
              <p:cNvPr id="24" name="Freeform: Shape 23">
                <a:extLst>
                  <a:ext uri="{FF2B5EF4-FFF2-40B4-BE49-F238E27FC236}">
                    <a16:creationId xmlns:a16="http://schemas.microsoft.com/office/drawing/2014/main" id="{04FFE5DB-F843-E315-5B93-4EF5C2FD5E2C}"/>
                  </a:ext>
                </a:extLst>
              </p:cNvPr>
              <p:cNvSpPr/>
              <p:nvPr/>
            </p:nvSpPr>
            <p:spPr>
              <a:xfrm>
                <a:off x="5751289" y="1914906"/>
                <a:ext cx="67056" cy="67055"/>
              </a:xfrm>
              <a:custGeom>
                <a:avLst/>
                <a:gdLst>
                  <a:gd name="connsiteX0" fmla="*/ 67056 w 67056"/>
                  <a:gd name="connsiteY0" fmla="*/ 33528 h 67055"/>
                  <a:gd name="connsiteX1" fmla="*/ 33528 w 67056"/>
                  <a:gd name="connsiteY1" fmla="*/ 67056 h 67055"/>
                  <a:gd name="connsiteX2" fmla="*/ 0 w 67056"/>
                  <a:gd name="connsiteY2" fmla="*/ 33528 h 67055"/>
                  <a:gd name="connsiteX3" fmla="*/ 33528 w 67056"/>
                  <a:gd name="connsiteY3" fmla="*/ 0 h 67055"/>
                  <a:gd name="connsiteX4" fmla="*/ 67056 w 67056"/>
                  <a:gd name="connsiteY4" fmla="*/ 33528 h 670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56" h="67055">
                    <a:moveTo>
                      <a:pt x="67056" y="33528"/>
                    </a:moveTo>
                    <a:cubicBezTo>
                      <a:pt x="67056" y="52045"/>
                      <a:pt x="52045" y="67056"/>
                      <a:pt x="33528" y="67056"/>
                    </a:cubicBezTo>
                    <a:cubicBezTo>
                      <a:pt x="15011" y="67056"/>
                      <a:pt x="0" y="52045"/>
                      <a:pt x="0" y="33528"/>
                    </a:cubicBezTo>
                    <a:cubicBezTo>
                      <a:pt x="0" y="15011"/>
                      <a:pt x="15011" y="0"/>
                      <a:pt x="33528" y="0"/>
                    </a:cubicBezTo>
                    <a:cubicBezTo>
                      <a:pt x="52045" y="0"/>
                      <a:pt x="67056" y="15011"/>
                      <a:pt x="67056" y="33528"/>
                    </a:cubicBezTo>
                    <a:close/>
                  </a:path>
                </a:pathLst>
              </a:custGeom>
              <a:noFill/>
              <a:ln w="19050" cap="rnd">
                <a:solidFill>
                  <a:schemeClr val="accent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ptos" panose="020B0004020202020204" pitchFamily="34" charset="0"/>
                </a:endParaRPr>
              </a:p>
            </p:txBody>
          </p:sp>
        </p:grpSp>
        <p:cxnSp>
          <p:nvCxnSpPr>
            <p:cNvPr id="55" name="Straight Connector 54">
              <a:extLst>
                <a:ext uri="{FF2B5EF4-FFF2-40B4-BE49-F238E27FC236}">
                  <a16:creationId xmlns:a16="http://schemas.microsoft.com/office/drawing/2014/main" id="{4D882A93-CB6B-68E9-3E01-08135400EF05}"/>
                </a:ext>
              </a:extLst>
            </p:cNvPr>
            <p:cNvCxnSpPr>
              <a:cxnSpLocks/>
            </p:cNvCxnSpPr>
            <p:nvPr/>
          </p:nvCxnSpPr>
          <p:spPr>
            <a:xfrm>
              <a:off x="763347" y="5584902"/>
              <a:ext cx="2714371" cy="0"/>
            </a:xfrm>
            <a:prstGeom prst="line">
              <a:avLst/>
            </a:prstGeom>
            <a:ln w="12700"/>
          </p:spPr>
          <p:style>
            <a:lnRef idx="2">
              <a:schemeClr val="accent1"/>
            </a:lnRef>
            <a:fillRef idx="0">
              <a:schemeClr val="accent1"/>
            </a:fillRef>
            <a:effectRef idx="1">
              <a:schemeClr val="accent1"/>
            </a:effectRef>
            <a:fontRef idx="minor">
              <a:schemeClr val="tx1"/>
            </a:fontRef>
          </p:style>
        </p:cxnSp>
      </p:grpSp>
      <p:grpSp>
        <p:nvGrpSpPr>
          <p:cNvPr id="60" name="Group 59">
            <a:extLst>
              <a:ext uri="{FF2B5EF4-FFF2-40B4-BE49-F238E27FC236}">
                <a16:creationId xmlns:a16="http://schemas.microsoft.com/office/drawing/2014/main" id="{76F6E4AE-9770-249C-3A57-9A23FE326A55}"/>
              </a:ext>
            </a:extLst>
          </p:cNvPr>
          <p:cNvGrpSpPr/>
          <p:nvPr/>
        </p:nvGrpSpPr>
        <p:grpSpPr>
          <a:xfrm>
            <a:off x="8694295" y="4317467"/>
            <a:ext cx="2950806" cy="1492716"/>
            <a:chOff x="8694295" y="4317467"/>
            <a:chExt cx="2950806" cy="1492716"/>
          </a:xfrm>
        </p:grpSpPr>
        <p:sp>
          <p:nvSpPr>
            <p:cNvPr id="15" name="Rectangle 14">
              <a:extLst>
                <a:ext uri="{FF2B5EF4-FFF2-40B4-BE49-F238E27FC236}">
                  <a16:creationId xmlns:a16="http://schemas.microsoft.com/office/drawing/2014/main" id="{B792B84D-ED53-3A48-734A-85ACB66E1066}"/>
                </a:ext>
              </a:extLst>
            </p:cNvPr>
            <p:cNvSpPr/>
            <p:nvPr/>
          </p:nvSpPr>
          <p:spPr>
            <a:xfrm>
              <a:off x="9339209" y="4317467"/>
              <a:ext cx="2305892" cy="1492716"/>
            </a:xfrm>
            <a:prstGeom prst="rect">
              <a:avLst/>
            </a:prstGeom>
            <a:no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91440" tIns="45720" rIns="91440" bIns="45720" numCol="1" spcCol="1270" anchor="t" anchorCtr="0">
              <a:spAutoFit/>
            </a:bodyPr>
            <a:lstStyle/>
            <a:p>
              <a:pPr marL="509588" marR="0" lvl="0" indent="0" algn="l" defTabSz="755650" rtl="0" eaLnBrk="1" fontAlgn="auto" latinLnBrk="0" hangingPunct="1">
                <a:lnSpc>
                  <a:spcPct val="100000"/>
                </a:lnSpc>
                <a:spcBef>
                  <a:spcPct val="0"/>
                </a:spcBef>
                <a:spcAft>
                  <a:spcPts val="1200"/>
                </a:spcAft>
                <a:buClrTx/>
                <a:buSzTx/>
                <a:buFontTx/>
                <a:buNone/>
                <a:tabLst/>
                <a:defRPr/>
              </a:pPr>
              <a:r>
                <a:rPr kumimoji="0" lang="en-US" sz="1400" b="1" i="0" u="none" strike="noStrike" kern="1200" cap="none" spc="0" normalizeH="0" baseline="0" noProof="0" dirty="0">
                  <a:ln>
                    <a:noFill/>
                  </a:ln>
                  <a:solidFill>
                    <a:schemeClr val="accent1"/>
                  </a:solidFill>
                  <a:effectLst/>
                  <a:uLnTx/>
                  <a:uFillTx/>
                  <a:latin typeface="Aptos" panose="020B0004020202020204" pitchFamily="34" charset="0"/>
                </a:rPr>
                <a:t>CLOUD CONNECTIVITY</a:t>
              </a:r>
            </a:p>
            <a:p>
              <a:pPr marL="171450" marR="0" lvl="0" indent="-171450" algn="l" defTabSz="755650" rtl="0" eaLnBrk="1" fontAlgn="auto" latinLnBrk="0" hangingPunct="1">
                <a:lnSpc>
                  <a:spcPct val="100000"/>
                </a:lnSpc>
                <a:spcBef>
                  <a:spcPct val="0"/>
                </a:spcBef>
                <a:spcAft>
                  <a:spcPts val="300"/>
                </a:spcAft>
                <a:buClrTx/>
                <a:buSzTx/>
                <a:buBlip>
                  <a:blip r:embed="rId3"/>
                </a:buBlip>
                <a:tabLst/>
                <a:defRPr/>
              </a:pPr>
              <a:r>
                <a:rPr kumimoji="0" lang="en-US" sz="1200" b="0" i="0" u="none" strike="noStrike" kern="1200" cap="none" spc="0" normalizeH="0" baseline="0" noProof="0" dirty="0">
                  <a:ln>
                    <a:noFill/>
                  </a:ln>
                  <a:solidFill>
                    <a:prstClr val="white"/>
                  </a:solidFill>
                  <a:effectLst/>
                  <a:uLnTx/>
                  <a:uFillTx/>
                  <a:latin typeface="Aptos" panose="020B0004020202020204" pitchFamily="34" charset="0"/>
                </a:rPr>
                <a:t>Procedural information </a:t>
              </a:r>
              <a:br>
                <a:rPr kumimoji="0" lang="en-US" sz="1200" b="0" i="0" u="none" strike="noStrike" kern="1200" cap="none" spc="0" normalizeH="0" baseline="0" noProof="0" dirty="0">
                  <a:ln>
                    <a:noFill/>
                  </a:ln>
                  <a:solidFill>
                    <a:prstClr val="white"/>
                  </a:solidFill>
                  <a:effectLst/>
                  <a:uLnTx/>
                  <a:uFillTx/>
                  <a:latin typeface="Aptos" panose="020B0004020202020204" pitchFamily="34" charset="0"/>
                </a:rPr>
              </a:br>
              <a:r>
                <a:rPr kumimoji="0" lang="en-US" sz="1200" b="0" i="0" u="none" strike="noStrike" kern="1200" cap="none" spc="0" normalizeH="0" baseline="0" noProof="0" dirty="0">
                  <a:ln>
                    <a:noFill/>
                  </a:ln>
                  <a:solidFill>
                    <a:prstClr val="white"/>
                  </a:solidFill>
                  <a:effectLst/>
                  <a:uLnTx/>
                  <a:uFillTx/>
                  <a:latin typeface="Aptos" panose="020B0004020202020204" pitchFamily="34" charset="0"/>
                </a:rPr>
                <a:t>recording and reporting</a:t>
              </a:r>
            </a:p>
            <a:p>
              <a:pPr marL="171450" marR="0" lvl="0" indent="-171450" algn="l" defTabSz="755650" rtl="0" eaLnBrk="1" fontAlgn="auto" latinLnBrk="0" hangingPunct="1">
                <a:lnSpc>
                  <a:spcPct val="100000"/>
                </a:lnSpc>
                <a:spcBef>
                  <a:spcPct val="0"/>
                </a:spcBef>
                <a:spcAft>
                  <a:spcPts val="300"/>
                </a:spcAft>
                <a:buClrTx/>
                <a:buSzTx/>
                <a:buBlip>
                  <a:blip r:embed="rId3"/>
                </a:buBlip>
                <a:tabLst/>
                <a:defRPr/>
              </a:pPr>
              <a:r>
                <a:rPr kumimoji="0" lang="en-US" sz="1200" b="0" i="0" u="none" strike="noStrike" kern="1200" cap="none" spc="0" normalizeH="0" baseline="0" noProof="0" dirty="0">
                  <a:ln>
                    <a:noFill/>
                  </a:ln>
                  <a:solidFill>
                    <a:prstClr val="white"/>
                  </a:solidFill>
                  <a:effectLst/>
                  <a:uLnTx/>
                  <a:uFillTx/>
                  <a:latin typeface="Aptos" panose="020B0004020202020204" pitchFamily="34" charset="0"/>
                </a:rPr>
                <a:t>Remote system diagnostics</a:t>
              </a:r>
            </a:p>
            <a:p>
              <a:pPr marL="171450" marR="0" lvl="0" indent="-171450" algn="l" defTabSz="755650" rtl="0" eaLnBrk="1" fontAlgn="auto" latinLnBrk="0" hangingPunct="1">
                <a:lnSpc>
                  <a:spcPct val="100000"/>
                </a:lnSpc>
                <a:spcBef>
                  <a:spcPct val="0"/>
                </a:spcBef>
                <a:spcAft>
                  <a:spcPts val="300"/>
                </a:spcAft>
                <a:buClrTx/>
                <a:buSzTx/>
                <a:buBlip>
                  <a:blip r:embed="rId3"/>
                </a:buBlip>
                <a:tabLst/>
                <a:defRPr/>
              </a:pPr>
              <a:r>
                <a:rPr kumimoji="0" lang="en-US" sz="1200" b="0" i="0" u="none" strike="noStrike" kern="1200" cap="none" spc="0" normalizeH="0" baseline="0" noProof="0" dirty="0">
                  <a:ln>
                    <a:noFill/>
                  </a:ln>
                  <a:solidFill>
                    <a:prstClr val="white"/>
                  </a:solidFill>
                  <a:effectLst/>
                  <a:uLnTx/>
                  <a:uFillTx/>
                  <a:latin typeface="Aptos" panose="020B0004020202020204" pitchFamily="34" charset="0"/>
                </a:rPr>
                <a:t>Remote updates</a:t>
              </a:r>
            </a:p>
          </p:txBody>
        </p:sp>
        <p:grpSp>
          <p:nvGrpSpPr>
            <p:cNvPr id="43" name="Graphic 17">
              <a:extLst>
                <a:ext uri="{FF2B5EF4-FFF2-40B4-BE49-F238E27FC236}">
                  <a16:creationId xmlns:a16="http://schemas.microsoft.com/office/drawing/2014/main" id="{EB6239FA-0B5A-4C5E-6175-B5D7E246E7E4}"/>
                </a:ext>
              </a:extLst>
            </p:cNvPr>
            <p:cNvGrpSpPr/>
            <p:nvPr/>
          </p:nvGrpSpPr>
          <p:grpSpPr>
            <a:xfrm>
              <a:off x="9460558" y="4343599"/>
              <a:ext cx="373785" cy="421600"/>
              <a:chOff x="6363707" y="3804356"/>
              <a:chExt cx="373785" cy="421600"/>
            </a:xfrm>
            <a:noFill/>
          </p:grpSpPr>
          <p:sp>
            <p:nvSpPr>
              <p:cNvPr id="44" name="Freeform: Shape 43">
                <a:extLst>
                  <a:ext uri="{FF2B5EF4-FFF2-40B4-BE49-F238E27FC236}">
                    <a16:creationId xmlns:a16="http://schemas.microsoft.com/office/drawing/2014/main" id="{0FC31FB3-E6D4-CB6B-AFD8-ACB88EABEB06}"/>
                  </a:ext>
                </a:extLst>
              </p:cNvPr>
              <p:cNvSpPr/>
              <p:nvPr/>
            </p:nvSpPr>
            <p:spPr>
              <a:xfrm>
                <a:off x="6363707" y="3804356"/>
                <a:ext cx="373785" cy="249198"/>
              </a:xfrm>
              <a:custGeom>
                <a:avLst/>
                <a:gdLst>
                  <a:gd name="connsiteX0" fmla="*/ 373420 w 373785"/>
                  <a:gd name="connsiteY0" fmla="*/ 182523 h 249198"/>
                  <a:gd name="connsiteX1" fmla="*/ 299029 w 373785"/>
                  <a:gd name="connsiteY1" fmla="*/ 249198 h 249198"/>
                  <a:gd name="connsiteX2" fmla="*/ 49951 w 373785"/>
                  <a:gd name="connsiteY2" fmla="*/ 249198 h 249198"/>
                  <a:gd name="connsiteX3" fmla="*/ 230 w 373785"/>
                  <a:gd name="connsiteY3" fmla="*/ 206050 h 249198"/>
                  <a:gd name="connsiteX4" fmla="*/ 47950 w 373785"/>
                  <a:gd name="connsiteY4" fmla="*/ 153377 h 249198"/>
                  <a:gd name="connsiteX5" fmla="*/ 47950 w 373785"/>
                  <a:gd name="connsiteY5" fmla="*/ 134327 h 249198"/>
                  <a:gd name="connsiteX6" fmla="*/ 113292 w 373785"/>
                  <a:gd name="connsiteY6" fmla="*/ 67175 h 249198"/>
                  <a:gd name="connsiteX7" fmla="*/ 148915 w 373785"/>
                  <a:gd name="connsiteY7" fmla="*/ 76319 h 249198"/>
                  <a:gd name="connsiteX8" fmla="*/ 155202 w 373785"/>
                  <a:gd name="connsiteY8" fmla="*/ 73176 h 249198"/>
                  <a:gd name="connsiteX9" fmla="*/ 261501 w 373785"/>
                  <a:gd name="connsiteY9" fmla="*/ 1548 h 249198"/>
                  <a:gd name="connsiteX10" fmla="*/ 335415 w 373785"/>
                  <a:gd name="connsiteY10" fmla="*/ 94703 h 249198"/>
                  <a:gd name="connsiteX11" fmla="*/ 334462 w 373785"/>
                  <a:gd name="connsiteY11" fmla="*/ 104704 h 249198"/>
                  <a:gd name="connsiteX12" fmla="*/ 340177 w 373785"/>
                  <a:gd name="connsiteY12" fmla="*/ 116515 h 249198"/>
                  <a:gd name="connsiteX13" fmla="*/ 373610 w 373785"/>
                  <a:gd name="connsiteY13" fmla="*/ 182428 h 249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73785" h="249198">
                    <a:moveTo>
                      <a:pt x="373420" y="182523"/>
                    </a:moveTo>
                    <a:cubicBezTo>
                      <a:pt x="370753" y="220623"/>
                      <a:pt x="337225" y="249198"/>
                      <a:pt x="299029" y="249198"/>
                    </a:cubicBezTo>
                    <a:lnTo>
                      <a:pt x="49951" y="249198"/>
                    </a:lnTo>
                    <a:cubicBezTo>
                      <a:pt x="24900" y="249198"/>
                      <a:pt x="2611" y="230910"/>
                      <a:pt x="230" y="206050"/>
                    </a:cubicBezTo>
                    <a:cubicBezTo>
                      <a:pt x="-2532" y="177475"/>
                      <a:pt x="19947" y="153377"/>
                      <a:pt x="47950" y="153377"/>
                    </a:cubicBezTo>
                    <a:cubicBezTo>
                      <a:pt x="48903" y="153377"/>
                      <a:pt x="47950" y="141089"/>
                      <a:pt x="47950" y="134327"/>
                    </a:cubicBezTo>
                    <a:cubicBezTo>
                      <a:pt x="47950" y="97179"/>
                      <a:pt x="76144" y="68128"/>
                      <a:pt x="113292" y="67175"/>
                    </a:cubicBezTo>
                    <a:cubicBezTo>
                      <a:pt x="126341" y="66890"/>
                      <a:pt x="138533" y="70223"/>
                      <a:pt x="148915" y="76319"/>
                    </a:cubicBezTo>
                    <a:cubicBezTo>
                      <a:pt x="151487" y="77843"/>
                      <a:pt x="154630" y="76129"/>
                      <a:pt x="155202" y="73176"/>
                    </a:cubicBezTo>
                    <a:cubicBezTo>
                      <a:pt x="164441" y="26218"/>
                      <a:pt x="209971" y="-7786"/>
                      <a:pt x="261501" y="1548"/>
                    </a:cubicBezTo>
                    <a:cubicBezTo>
                      <a:pt x="305411" y="9549"/>
                      <a:pt x="337129" y="50030"/>
                      <a:pt x="335415" y="94703"/>
                    </a:cubicBezTo>
                    <a:cubicBezTo>
                      <a:pt x="335320" y="98036"/>
                      <a:pt x="334939" y="101370"/>
                      <a:pt x="334462" y="104704"/>
                    </a:cubicBezTo>
                    <a:cubicBezTo>
                      <a:pt x="333700" y="109371"/>
                      <a:pt x="336177" y="114038"/>
                      <a:pt x="340177" y="116515"/>
                    </a:cubicBezTo>
                    <a:cubicBezTo>
                      <a:pt x="361704" y="130040"/>
                      <a:pt x="375515" y="154710"/>
                      <a:pt x="373610" y="182428"/>
                    </a:cubicBezTo>
                    <a:close/>
                  </a:path>
                </a:pathLst>
              </a:custGeom>
              <a:noFill/>
              <a:ln w="19050" cap="rnd">
                <a:solidFill>
                  <a:schemeClr val="accent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ptos" panose="020B0004020202020204" pitchFamily="34" charset="0"/>
                </a:endParaRPr>
              </a:p>
            </p:txBody>
          </p:sp>
          <p:sp>
            <p:nvSpPr>
              <p:cNvPr id="45" name="Freeform: Shape 44">
                <a:extLst>
                  <a:ext uri="{FF2B5EF4-FFF2-40B4-BE49-F238E27FC236}">
                    <a16:creationId xmlns:a16="http://schemas.microsoft.com/office/drawing/2014/main" id="{8EE192FB-2596-2E90-10DD-627B7C15FFA5}"/>
                  </a:ext>
                </a:extLst>
              </p:cNvPr>
              <p:cNvSpPr/>
              <p:nvPr/>
            </p:nvSpPr>
            <p:spPr>
              <a:xfrm>
                <a:off x="6363747" y="4091940"/>
                <a:ext cx="47815" cy="47815"/>
              </a:xfrm>
              <a:custGeom>
                <a:avLst/>
                <a:gdLst>
                  <a:gd name="connsiteX0" fmla="*/ 47815 w 47815"/>
                  <a:gd name="connsiteY0" fmla="*/ 23908 h 47815"/>
                  <a:gd name="connsiteX1" fmla="*/ 23908 w 47815"/>
                  <a:gd name="connsiteY1" fmla="*/ 47815 h 47815"/>
                  <a:gd name="connsiteX2" fmla="*/ 0 w 47815"/>
                  <a:gd name="connsiteY2" fmla="*/ 23908 h 47815"/>
                  <a:gd name="connsiteX3" fmla="*/ 23908 w 47815"/>
                  <a:gd name="connsiteY3" fmla="*/ 0 h 47815"/>
                  <a:gd name="connsiteX4" fmla="*/ 47815 w 47815"/>
                  <a:gd name="connsiteY4" fmla="*/ 23908 h 478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15" h="47815">
                    <a:moveTo>
                      <a:pt x="47815" y="23908"/>
                    </a:moveTo>
                    <a:cubicBezTo>
                      <a:pt x="47815" y="37112"/>
                      <a:pt x="37112" y="47815"/>
                      <a:pt x="23908" y="47815"/>
                    </a:cubicBezTo>
                    <a:cubicBezTo>
                      <a:pt x="10704" y="47815"/>
                      <a:pt x="0" y="37112"/>
                      <a:pt x="0" y="23908"/>
                    </a:cubicBezTo>
                    <a:cubicBezTo>
                      <a:pt x="0" y="10704"/>
                      <a:pt x="10704" y="0"/>
                      <a:pt x="23908" y="0"/>
                    </a:cubicBezTo>
                    <a:cubicBezTo>
                      <a:pt x="37112" y="0"/>
                      <a:pt x="47815" y="10704"/>
                      <a:pt x="47815" y="23908"/>
                    </a:cubicBezTo>
                    <a:close/>
                  </a:path>
                </a:pathLst>
              </a:custGeom>
              <a:noFill/>
              <a:ln w="19050" cap="rnd">
                <a:solidFill>
                  <a:schemeClr val="accent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ptos" panose="020B0004020202020204" pitchFamily="34" charset="0"/>
                </a:endParaRPr>
              </a:p>
            </p:txBody>
          </p:sp>
          <p:sp>
            <p:nvSpPr>
              <p:cNvPr id="46" name="Freeform: Shape 45">
                <a:extLst>
                  <a:ext uri="{FF2B5EF4-FFF2-40B4-BE49-F238E27FC236}">
                    <a16:creationId xmlns:a16="http://schemas.microsoft.com/office/drawing/2014/main" id="{100796B6-BA1C-191E-389C-F4CA89E56AC4}"/>
                  </a:ext>
                </a:extLst>
              </p:cNvPr>
              <p:cNvSpPr/>
              <p:nvPr/>
            </p:nvSpPr>
            <p:spPr>
              <a:xfrm>
                <a:off x="6440328" y="4149375"/>
                <a:ext cx="47815" cy="47815"/>
              </a:xfrm>
              <a:custGeom>
                <a:avLst/>
                <a:gdLst>
                  <a:gd name="connsiteX0" fmla="*/ 47815 w 47815"/>
                  <a:gd name="connsiteY0" fmla="*/ 23908 h 47815"/>
                  <a:gd name="connsiteX1" fmla="*/ 23908 w 47815"/>
                  <a:gd name="connsiteY1" fmla="*/ 47815 h 47815"/>
                  <a:gd name="connsiteX2" fmla="*/ 0 w 47815"/>
                  <a:gd name="connsiteY2" fmla="*/ 23908 h 47815"/>
                  <a:gd name="connsiteX3" fmla="*/ 23908 w 47815"/>
                  <a:gd name="connsiteY3" fmla="*/ 0 h 47815"/>
                  <a:gd name="connsiteX4" fmla="*/ 47815 w 47815"/>
                  <a:gd name="connsiteY4" fmla="*/ 23908 h 478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15" h="47815">
                    <a:moveTo>
                      <a:pt x="47815" y="23908"/>
                    </a:moveTo>
                    <a:cubicBezTo>
                      <a:pt x="47815" y="37112"/>
                      <a:pt x="37112" y="47815"/>
                      <a:pt x="23908" y="47815"/>
                    </a:cubicBezTo>
                    <a:cubicBezTo>
                      <a:pt x="10704" y="47815"/>
                      <a:pt x="0" y="37112"/>
                      <a:pt x="0" y="23908"/>
                    </a:cubicBezTo>
                    <a:cubicBezTo>
                      <a:pt x="0" y="10704"/>
                      <a:pt x="10704" y="0"/>
                      <a:pt x="23908" y="0"/>
                    </a:cubicBezTo>
                    <a:cubicBezTo>
                      <a:pt x="37112" y="0"/>
                      <a:pt x="47815" y="10704"/>
                      <a:pt x="47815" y="23908"/>
                    </a:cubicBezTo>
                    <a:close/>
                  </a:path>
                </a:pathLst>
              </a:custGeom>
              <a:noFill/>
              <a:ln w="19050" cap="rnd">
                <a:solidFill>
                  <a:schemeClr val="accent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ptos" panose="020B0004020202020204" pitchFamily="34" charset="0"/>
                </a:endParaRPr>
              </a:p>
            </p:txBody>
          </p:sp>
          <p:sp>
            <p:nvSpPr>
              <p:cNvPr id="47" name="Freeform: Shape 46">
                <a:extLst>
                  <a:ext uri="{FF2B5EF4-FFF2-40B4-BE49-F238E27FC236}">
                    <a16:creationId xmlns:a16="http://schemas.microsoft.com/office/drawing/2014/main" id="{26B7A410-E920-6227-3190-B77055EFA391}"/>
                  </a:ext>
                </a:extLst>
              </p:cNvPr>
              <p:cNvSpPr/>
              <p:nvPr/>
            </p:nvSpPr>
            <p:spPr>
              <a:xfrm>
                <a:off x="6545770" y="4178141"/>
                <a:ext cx="47815" cy="47815"/>
              </a:xfrm>
              <a:custGeom>
                <a:avLst/>
                <a:gdLst>
                  <a:gd name="connsiteX0" fmla="*/ 47815 w 47815"/>
                  <a:gd name="connsiteY0" fmla="*/ 23908 h 47815"/>
                  <a:gd name="connsiteX1" fmla="*/ 23908 w 47815"/>
                  <a:gd name="connsiteY1" fmla="*/ 47815 h 47815"/>
                  <a:gd name="connsiteX2" fmla="*/ 0 w 47815"/>
                  <a:gd name="connsiteY2" fmla="*/ 23908 h 47815"/>
                  <a:gd name="connsiteX3" fmla="*/ 23908 w 47815"/>
                  <a:gd name="connsiteY3" fmla="*/ 0 h 47815"/>
                  <a:gd name="connsiteX4" fmla="*/ 47815 w 47815"/>
                  <a:gd name="connsiteY4" fmla="*/ 23908 h 478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15" h="47815">
                    <a:moveTo>
                      <a:pt x="47815" y="23908"/>
                    </a:moveTo>
                    <a:cubicBezTo>
                      <a:pt x="47815" y="37112"/>
                      <a:pt x="37112" y="47815"/>
                      <a:pt x="23908" y="47815"/>
                    </a:cubicBezTo>
                    <a:cubicBezTo>
                      <a:pt x="10704" y="47815"/>
                      <a:pt x="0" y="37112"/>
                      <a:pt x="0" y="23908"/>
                    </a:cubicBezTo>
                    <a:cubicBezTo>
                      <a:pt x="0" y="10704"/>
                      <a:pt x="10704" y="0"/>
                      <a:pt x="23908" y="0"/>
                    </a:cubicBezTo>
                    <a:cubicBezTo>
                      <a:pt x="37112" y="0"/>
                      <a:pt x="47815" y="10704"/>
                      <a:pt x="47815" y="23908"/>
                    </a:cubicBezTo>
                    <a:close/>
                  </a:path>
                </a:pathLst>
              </a:custGeom>
              <a:noFill/>
              <a:ln w="19050" cap="rnd">
                <a:solidFill>
                  <a:schemeClr val="accent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ptos" panose="020B0004020202020204" pitchFamily="34" charset="0"/>
                </a:endParaRPr>
              </a:p>
            </p:txBody>
          </p:sp>
          <p:sp>
            <p:nvSpPr>
              <p:cNvPr id="48" name="Freeform: Shape 47">
                <a:extLst>
                  <a:ext uri="{FF2B5EF4-FFF2-40B4-BE49-F238E27FC236}">
                    <a16:creationId xmlns:a16="http://schemas.microsoft.com/office/drawing/2014/main" id="{EE10E733-756D-1F08-3FDA-9265974C5185}"/>
                  </a:ext>
                </a:extLst>
              </p:cNvPr>
              <p:cNvSpPr/>
              <p:nvPr/>
            </p:nvSpPr>
            <p:spPr>
              <a:xfrm>
                <a:off x="6670261" y="4111085"/>
                <a:ext cx="47815" cy="47815"/>
              </a:xfrm>
              <a:custGeom>
                <a:avLst/>
                <a:gdLst>
                  <a:gd name="connsiteX0" fmla="*/ 47815 w 47815"/>
                  <a:gd name="connsiteY0" fmla="*/ 23908 h 47815"/>
                  <a:gd name="connsiteX1" fmla="*/ 23908 w 47815"/>
                  <a:gd name="connsiteY1" fmla="*/ 47815 h 47815"/>
                  <a:gd name="connsiteX2" fmla="*/ 0 w 47815"/>
                  <a:gd name="connsiteY2" fmla="*/ 23908 h 47815"/>
                  <a:gd name="connsiteX3" fmla="*/ 23908 w 47815"/>
                  <a:gd name="connsiteY3" fmla="*/ 0 h 47815"/>
                  <a:gd name="connsiteX4" fmla="*/ 47815 w 47815"/>
                  <a:gd name="connsiteY4" fmla="*/ 23908 h 478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15" h="47815">
                    <a:moveTo>
                      <a:pt x="47815" y="23908"/>
                    </a:moveTo>
                    <a:cubicBezTo>
                      <a:pt x="47815" y="37112"/>
                      <a:pt x="37112" y="47815"/>
                      <a:pt x="23908" y="47815"/>
                    </a:cubicBezTo>
                    <a:cubicBezTo>
                      <a:pt x="10704" y="47815"/>
                      <a:pt x="0" y="37112"/>
                      <a:pt x="0" y="23908"/>
                    </a:cubicBezTo>
                    <a:cubicBezTo>
                      <a:pt x="0" y="10704"/>
                      <a:pt x="10704" y="0"/>
                      <a:pt x="23908" y="0"/>
                    </a:cubicBezTo>
                    <a:cubicBezTo>
                      <a:pt x="37112" y="0"/>
                      <a:pt x="47815" y="10704"/>
                      <a:pt x="47815" y="23908"/>
                    </a:cubicBezTo>
                    <a:close/>
                  </a:path>
                </a:pathLst>
              </a:custGeom>
              <a:noFill/>
              <a:ln w="19050" cap="rnd">
                <a:solidFill>
                  <a:schemeClr val="accent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ptos" panose="020B0004020202020204" pitchFamily="34" charset="0"/>
                </a:endParaRPr>
              </a:p>
            </p:txBody>
          </p:sp>
          <p:sp>
            <p:nvSpPr>
              <p:cNvPr id="49" name="Freeform: Shape 48">
                <a:extLst>
                  <a:ext uri="{FF2B5EF4-FFF2-40B4-BE49-F238E27FC236}">
                    <a16:creationId xmlns:a16="http://schemas.microsoft.com/office/drawing/2014/main" id="{CBBC697E-E56C-11EF-3830-792BB27083D7}"/>
                  </a:ext>
                </a:extLst>
              </p:cNvPr>
              <p:cNvSpPr/>
              <p:nvPr/>
            </p:nvSpPr>
            <p:spPr>
              <a:xfrm>
                <a:off x="6411562" y="3986498"/>
                <a:ext cx="66293" cy="129349"/>
              </a:xfrm>
              <a:custGeom>
                <a:avLst/>
                <a:gdLst>
                  <a:gd name="connsiteX0" fmla="*/ 0 w 66293"/>
                  <a:gd name="connsiteY0" fmla="*/ 129350 h 129349"/>
                  <a:gd name="connsiteX1" fmla="*/ 66294 w 66293"/>
                  <a:gd name="connsiteY1" fmla="*/ 129350 h 129349"/>
                  <a:gd name="connsiteX2" fmla="*/ 66294 w 66293"/>
                  <a:gd name="connsiteY2" fmla="*/ 0 h 129349"/>
                </a:gdLst>
                <a:ahLst/>
                <a:cxnLst>
                  <a:cxn ang="0">
                    <a:pos x="connsiteX0" y="connsiteY0"/>
                  </a:cxn>
                  <a:cxn ang="0">
                    <a:pos x="connsiteX1" y="connsiteY1"/>
                  </a:cxn>
                  <a:cxn ang="0">
                    <a:pos x="connsiteX2" y="connsiteY2"/>
                  </a:cxn>
                </a:cxnLst>
                <a:rect l="l" t="t" r="r" b="b"/>
                <a:pathLst>
                  <a:path w="66293" h="129349">
                    <a:moveTo>
                      <a:pt x="0" y="129350"/>
                    </a:moveTo>
                    <a:lnTo>
                      <a:pt x="66294" y="129350"/>
                    </a:lnTo>
                    <a:lnTo>
                      <a:pt x="66294" y="0"/>
                    </a:lnTo>
                  </a:path>
                </a:pathLst>
              </a:custGeom>
              <a:noFill/>
              <a:ln w="19050" cap="rnd">
                <a:solidFill>
                  <a:schemeClr val="accent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ptos" panose="020B0004020202020204" pitchFamily="34" charset="0"/>
                </a:endParaRPr>
              </a:p>
            </p:txBody>
          </p:sp>
          <p:sp>
            <p:nvSpPr>
              <p:cNvPr id="50" name="Freeform: Shape 49">
                <a:extLst>
                  <a:ext uri="{FF2B5EF4-FFF2-40B4-BE49-F238E27FC236}">
                    <a16:creationId xmlns:a16="http://schemas.microsoft.com/office/drawing/2014/main" id="{8B3EC6A5-D02C-B207-106D-B6555F5576B3}"/>
                  </a:ext>
                </a:extLst>
              </p:cNvPr>
              <p:cNvSpPr/>
              <p:nvPr/>
            </p:nvSpPr>
            <p:spPr>
              <a:xfrm>
                <a:off x="6488239" y="3986498"/>
                <a:ext cx="36480" cy="186785"/>
              </a:xfrm>
              <a:custGeom>
                <a:avLst/>
                <a:gdLst>
                  <a:gd name="connsiteX0" fmla="*/ 36481 w 36480"/>
                  <a:gd name="connsiteY0" fmla="*/ 0 h 186785"/>
                  <a:gd name="connsiteX1" fmla="*/ 36481 w 36480"/>
                  <a:gd name="connsiteY1" fmla="*/ 186785 h 186785"/>
                  <a:gd name="connsiteX2" fmla="*/ 0 w 36480"/>
                  <a:gd name="connsiteY2" fmla="*/ 186785 h 186785"/>
                </a:gdLst>
                <a:ahLst/>
                <a:cxnLst>
                  <a:cxn ang="0">
                    <a:pos x="connsiteX0" y="connsiteY0"/>
                  </a:cxn>
                  <a:cxn ang="0">
                    <a:pos x="connsiteX1" y="connsiteY1"/>
                  </a:cxn>
                  <a:cxn ang="0">
                    <a:pos x="connsiteX2" y="connsiteY2"/>
                  </a:cxn>
                </a:cxnLst>
                <a:rect l="l" t="t" r="r" b="b"/>
                <a:pathLst>
                  <a:path w="36480" h="186785">
                    <a:moveTo>
                      <a:pt x="36481" y="0"/>
                    </a:moveTo>
                    <a:lnTo>
                      <a:pt x="36481" y="186785"/>
                    </a:lnTo>
                    <a:lnTo>
                      <a:pt x="0" y="186785"/>
                    </a:lnTo>
                  </a:path>
                </a:pathLst>
              </a:custGeom>
              <a:noFill/>
              <a:ln w="19050" cap="rnd">
                <a:solidFill>
                  <a:schemeClr val="accent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ptos" panose="020B0004020202020204" pitchFamily="34" charset="0"/>
                </a:endParaRPr>
              </a:p>
            </p:txBody>
          </p:sp>
          <p:sp>
            <p:nvSpPr>
              <p:cNvPr id="51" name="Freeform: Shape 50">
                <a:extLst>
                  <a:ext uri="{FF2B5EF4-FFF2-40B4-BE49-F238E27FC236}">
                    <a16:creationId xmlns:a16="http://schemas.microsoft.com/office/drawing/2014/main" id="{EE81F341-FDF1-8FEB-0F10-281516AFF8AF}"/>
                  </a:ext>
                </a:extLst>
              </p:cNvPr>
              <p:cNvSpPr/>
              <p:nvPr/>
            </p:nvSpPr>
            <p:spPr>
              <a:xfrm>
                <a:off x="6569677" y="3986498"/>
                <a:ext cx="9525" cy="191547"/>
              </a:xfrm>
              <a:custGeom>
                <a:avLst/>
                <a:gdLst>
                  <a:gd name="connsiteX0" fmla="*/ 0 w 9525"/>
                  <a:gd name="connsiteY0" fmla="*/ 0 h 191547"/>
                  <a:gd name="connsiteX1" fmla="*/ 0 w 9525"/>
                  <a:gd name="connsiteY1" fmla="*/ 191548 h 191547"/>
                </a:gdLst>
                <a:ahLst/>
                <a:cxnLst>
                  <a:cxn ang="0">
                    <a:pos x="connsiteX0" y="connsiteY0"/>
                  </a:cxn>
                  <a:cxn ang="0">
                    <a:pos x="connsiteX1" y="connsiteY1"/>
                  </a:cxn>
                </a:cxnLst>
                <a:rect l="l" t="t" r="r" b="b"/>
                <a:pathLst>
                  <a:path w="9525" h="191547">
                    <a:moveTo>
                      <a:pt x="0" y="0"/>
                    </a:moveTo>
                    <a:lnTo>
                      <a:pt x="0" y="191548"/>
                    </a:lnTo>
                  </a:path>
                </a:pathLst>
              </a:custGeom>
              <a:ln w="19050" cap="rnd">
                <a:solidFill>
                  <a:schemeClr val="accent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ptos" panose="020B0004020202020204" pitchFamily="34" charset="0"/>
                </a:endParaRPr>
              </a:p>
            </p:txBody>
          </p:sp>
          <p:sp>
            <p:nvSpPr>
              <p:cNvPr id="52" name="Freeform: Shape 51">
                <a:extLst>
                  <a:ext uri="{FF2B5EF4-FFF2-40B4-BE49-F238E27FC236}">
                    <a16:creationId xmlns:a16="http://schemas.microsoft.com/office/drawing/2014/main" id="{6BC7CDF7-B470-771D-C221-5F9E1AC07F3E}"/>
                  </a:ext>
                </a:extLst>
              </p:cNvPr>
              <p:cNvSpPr/>
              <p:nvPr/>
            </p:nvSpPr>
            <p:spPr>
              <a:xfrm>
                <a:off x="6616826" y="3986498"/>
                <a:ext cx="53435" cy="148494"/>
              </a:xfrm>
              <a:custGeom>
                <a:avLst/>
                <a:gdLst>
                  <a:gd name="connsiteX0" fmla="*/ 0 w 53435"/>
                  <a:gd name="connsiteY0" fmla="*/ 0 h 148494"/>
                  <a:gd name="connsiteX1" fmla="*/ 0 w 53435"/>
                  <a:gd name="connsiteY1" fmla="*/ 148495 h 148494"/>
                  <a:gd name="connsiteX2" fmla="*/ 53435 w 53435"/>
                  <a:gd name="connsiteY2" fmla="*/ 148495 h 148494"/>
                </a:gdLst>
                <a:ahLst/>
                <a:cxnLst>
                  <a:cxn ang="0">
                    <a:pos x="connsiteX0" y="connsiteY0"/>
                  </a:cxn>
                  <a:cxn ang="0">
                    <a:pos x="connsiteX1" y="connsiteY1"/>
                  </a:cxn>
                  <a:cxn ang="0">
                    <a:pos x="connsiteX2" y="connsiteY2"/>
                  </a:cxn>
                </a:cxnLst>
                <a:rect l="l" t="t" r="r" b="b"/>
                <a:pathLst>
                  <a:path w="53435" h="148494">
                    <a:moveTo>
                      <a:pt x="0" y="0"/>
                    </a:moveTo>
                    <a:lnTo>
                      <a:pt x="0" y="148495"/>
                    </a:lnTo>
                    <a:lnTo>
                      <a:pt x="53435" y="148495"/>
                    </a:lnTo>
                  </a:path>
                </a:pathLst>
              </a:custGeom>
              <a:noFill/>
              <a:ln w="19050" cap="rnd">
                <a:solidFill>
                  <a:schemeClr val="accent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ptos" panose="020B0004020202020204" pitchFamily="34" charset="0"/>
                </a:endParaRPr>
              </a:p>
            </p:txBody>
          </p:sp>
        </p:grpSp>
        <p:cxnSp>
          <p:nvCxnSpPr>
            <p:cNvPr id="57" name="Straight Connector 56">
              <a:extLst>
                <a:ext uri="{FF2B5EF4-FFF2-40B4-BE49-F238E27FC236}">
                  <a16:creationId xmlns:a16="http://schemas.microsoft.com/office/drawing/2014/main" id="{77EA6D64-18AC-6285-0F11-22CE52F0BAD0}"/>
                </a:ext>
              </a:extLst>
            </p:cNvPr>
            <p:cNvCxnSpPr>
              <a:cxnSpLocks/>
            </p:cNvCxnSpPr>
            <p:nvPr/>
          </p:nvCxnSpPr>
          <p:spPr>
            <a:xfrm>
              <a:off x="8694295" y="4857182"/>
              <a:ext cx="2831314" cy="0"/>
            </a:xfrm>
            <a:prstGeom prst="line">
              <a:avLst/>
            </a:prstGeom>
            <a:ln w="12700"/>
          </p:spPr>
          <p:style>
            <a:lnRef idx="2">
              <a:schemeClr val="accent1"/>
            </a:lnRef>
            <a:fillRef idx="0">
              <a:schemeClr val="accent1"/>
            </a:fillRef>
            <a:effectRef idx="1">
              <a:schemeClr val="accent1"/>
            </a:effectRef>
            <a:fontRef idx="minor">
              <a:schemeClr val="tx1"/>
            </a:fontRef>
          </p:style>
        </p:cxnSp>
      </p:grpSp>
      <p:pic>
        <p:nvPicPr>
          <p:cNvPr id="10" name="Picture 9">
            <a:extLst>
              <a:ext uri="{FF2B5EF4-FFF2-40B4-BE49-F238E27FC236}">
                <a16:creationId xmlns:a16="http://schemas.microsoft.com/office/drawing/2014/main" id="{0045EC28-3B16-B73C-37E1-D59C169CD08A}"/>
              </a:ext>
            </a:extLst>
          </p:cNvPr>
          <p:cNvPicPr>
            <a:picLocks noChangeAspect="1"/>
          </p:cNvPicPr>
          <p:nvPr/>
        </p:nvPicPr>
        <p:blipFill rotWithShape="1">
          <a:blip r:embed="rId4">
            <a:extLst>
              <a:ext uri="{28A0092B-C50C-407E-A947-70E740481C1C}">
                <a14:useLocalDpi xmlns:a14="http://schemas.microsoft.com/office/drawing/2010/main" val="0"/>
              </a:ext>
            </a:extLst>
          </a:blip>
          <a:stretch/>
        </p:blipFill>
        <p:spPr>
          <a:xfrm>
            <a:off x="3189156" y="2385932"/>
            <a:ext cx="5813689" cy="4472068"/>
          </a:xfrm>
          <a:prstGeom prst="rect">
            <a:avLst/>
          </a:prstGeom>
        </p:spPr>
      </p:pic>
      <p:sp>
        <p:nvSpPr>
          <p:cNvPr id="3" name="Slide Number Placeholder 2">
            <a:extLst>
              <a:ext uri="{FF2B5EF4-FFF2-40B4-BE49-F238E27FC236}">
                <a16:creationId xmlns:a16="http://schemas.microsoft.com/office/drawing/2014/main" id="{E0144451-7DFF-2EBA-1838-7F78D21EEEA1}"/>
              </a:ext>
            </a:extLst>
          </p:cNvPr>
          <p:cNvSpPr>
            <a:spLocks noGrp="1"/>
          </p:cNvSpPr>
          <p:nvPr>
            <p:ph type="sldNum" sz="quarter" idx="12"/>
          </p:nvPr>
        </p:nvSpPr>
        <p:spPr>
          <a:xfrm>
            <a:off x="321376" y="6381152"/>
            <a:ext cx="438705" cy="365125"/>
          </a:xfrm>
          <a:prstGeom prst="rect">
            <a:avLst/>
          </a:prstGeom>
        </p:spPr>
        <p:txBody>
          <a:bodyPr vert="horz" lIns="91440" tIns="45720" rIns="91440" bIns="45720" rtlCol="0" anchor="ctr"/>
          <a:lstStyle>
            <a:defPPr>
              <a:defRPr lang="en-US"/>
            </a:defPPr>
            <a:lvl1pPr marL="0" algn="ctr" defTabSz="914400" rtl="0" eaLnBrk="1" latinLnBrk="0" hangingPunct="1">
              <a:defRPr sz="900" b="1"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00D7A8-33C5-4C89-B444-136428D180BE}" type="slidenum">
              <a:rPr lang="en-US" smtClean="0"/>
              <a:pPr/>
              <a:t>18</a:t>
            </a:fld>
            <a:endParaRPr lang="en-US" dirty="0"/>
          </a:p>
        </p:txBody>
      </p:sp>
    </p:spTree>
    <p:custDataLst>
      <p:tags r:id="rId1"/>
    </p:custDataLst>
    <p:extLst>
      <p:ext uri="{BB962C8B-B14F-4D97-AF65-F5344CB8AC3E}">
        <p14:creationId xmlns:p14="http://schemas.microsoft.com/office/powerpoint/2010/main" val="15549013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35D0F7-92DB-978D-8798-7C557BED1CD5}"/>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C33BF65-E38E-0FE7-6B3D-35410D9BC0E9}"/>
              </a:ext>
            </a:extLst>
          </p:cNvPr>
          <p:cNvSpPr>
            <a:spLocks noGrp="1"/>
          </p:cNvSpPr>
          <p:nvPr>
            <p:ph idx="1"/>
          </p:nvPr>
        </p:nvSpPr>
        <p:spPr>
          <a:xfrm>
            <a:off x="361331" y="1169778"/>
            <a:ext cx="11375941" cy="4518443"/>
          </a:xfrm>
        </p:spPr>
        <p:txBody>
          <a:bodyPr>
            <a:noAutofit/>
          </a:bodyPr>
          <a:lstStyle/>
          <a:p>
            <a:pPr marL="0" indent="0">
              <a:lnSpc>
                <a:spcPct val="110000"/>
              </a:lnSpc>
              <a:spcBef>
                <a:spcPts val="0"/>
              </a:spcBef>
              <a:buNone/>
            </a:pPr>
            <a:r>
              <a:rPr lang="en-US" sz="950" b="1" dirty="0"/>
              <a:t>Forward Looking Statements </a:t>
            </a:r>
          </a:p>
          <a:p>
            <a:pPr marL="0" indent="0" algn="just">
              <a:lnSpc>
                <a:spcPct val="110000"/>
              </a:lnSpc>
              <a:spcBef>
                <a:spcPts val="0"/>
              </a:spcBef>
              <a:buNone/>
            </a:pPr>
            <a:r>
              <a:rPr lang="en-US" sz="950" dirty="0"/>
              <a:t>Certain matters discussed in this presentation and oral statements made from time to time by representatives of the Company may constitute forward-looking statements within the meaning of the Private Securities Litigation Reform Act of 1995 and the Federal securities laws. Although the Company believes that the expectations reflected in such forward-looking statements are based upon reasonable assumptions, it can give no assurance that its expectations will be achieved.</a:t>
            </a:r>
          </a:p>
          <a:p>
            <a:pPr marL="0" indent="0" algn="just">
              <a:lnSpc>
                <a:spcPct val="110000"/>
              </a:lnSpc>
              <a:spcBef>
                <a:spcPts val="0"/>
              </a:spcBef>
              <a:buNone/>
            </a:pPr>
            <a:endParaRPr lang="en-US" sz="950" dirty="0"/>
          </a:p>
          <a:p>
            <a:pPr marL="0" indent="0" algn="just">
              <a:lnSpc>
                <a:spcPct val="110000"/>
              </a:lnSpc>
              <a:spcBef>
                <a:spcPts val="0"/>
              </a:spcBef>
              <a:buNone/>
            </a:pPr>
            <a:r>
              <a:rPr lang="en-US" sz="950" dirty="0"/>
              <a:t>All statements other than statements of historical fact are statements that could be deemed forward- looking statements, including but not limited to, projections of net revenue, margins, expenses, net earnings, net earnings per share, or other financial items; projections or assumptions concerning the possible receipt by the Company of any regulatory approvals from any government agency or instrumentality including but not limited to the U.S. Food and Drug Administration (the “FDA”), supply chain disruptions, component shortages, manufacturing disruptions or logistics challenges; or macroeconomic or geopolitical matters and the impact of those matters on the Company’s financial performance.</a:t>
            </a:r>
          </a:p>
          <a:p>
            <a:pPr marL="0" indent="0" algn="just">
              <a:lnSpc>
                <a:spcPct val="110000"/>
              </a:lnSpc>
              <a:spcBef>
                <a:spcPts val="0"/>
              </a:spcBef>
              <a:buNone/>
            </a:pPr>
            <a:endParaRPr lang="en-US" sz="950" dirty="0"/>
          </a:p>
          <a:p>
            <a:pPr marL="0" indent="0" algn="just">
              <a:lnSpc>
                <a:spcPct val="110000"/>
              </a:lnSpc>
              <a:spcBef>
                <a:spcPts val="0"/>
              </a:spcBef>
              <a:buNone/>
            </a:pPr>
            <a:r>
              <a:rPr lang="en-US" sz="950" dirty="0"/>
              <a:t>Forward-looking statements and information are subject to certain risks, trends and uncertainties that could cause actual results to differ materially from those projected. Many of these factors are beyond the Company’s ability to control or predict. Important factors that may cause the Company’s actual results to differ materially and that could impact the Company and the statements contained in this release include but are not limited to risks, uncertainties and assumptions relating to the regulatory environment in which the Company is subject to, including the Company’s ability to gain requisite approvals for its products from the FDA and other governmental and regulatory bodies, both domestically and internationally;; sudden or extreme volatility in commodity prices and availability, including supply chain disruptions; changes in general economic, business or demographic conditions or trends; changes in and effects of the geopolitical environment; liabilities and costs which the Company may incur from pending or threatened litigations, claims, disputes or investigations; and other risks that are described in the Company’s Annual Report on Form 10-K for the fiscal year ended December 31, 2024, and the Company’s other filings with the Securities and Exchange Commission. For forward-looking statements in this presentation, the Company claims the protection of the safe harbor for forward-looking statements contained in the Private Securities Litigation Reform Act of 1995. The Company assumes no obligation to update or supplement any forward-looking statements whether as a result of new information, future events or otherwise.</a:t>
            </a:r>
          </a:p>
          <a:p>
            <a:pPr marL="0" indent="0" algn="just">
              <a:lnSpc>
                <a:spcPct val="110000"/>
              </a:lnSpc>
              <a:spcBef>
                <a:spcPts val="0"/>
              </a:spcBef>
              <a:buNone/>
            </a:pPr>
            <a:endParaRPr lang="en-US" sz="950" b="1" dirty="0"/>
          </a:p>
          <a:p>
            <a:pPr marL="0" indent="0" algn="just">
              <a:lnSpc>
                <a:spcPct val="110000"/>
              </a:lnSpc>
              <a:spcBef>
                <a:spcPts val="0"/>
              </a:spcBef>
              <a:buNone/>
            </a:pPr>
            <a:r>
              <a:rPr lang="en-US" sz="950" b="1" dirty="0"/>
              <a:t>Non-GAAP Financial Measures</a:t>
            </a:r>
          </a:p>
          <a:p>
            <a:pPr marL="0" indent="0" algn="just">
              <a:lnSpc>
                <a:spcPct val="110000"/>
              </a:lnSpc>
              <a:spcBef>
                <a:spcPts val="0"/>
              </a:spcBef>
              <a:buNone/>
            </a:pPr>
            <a:r>
              <a:rPr lang="en-US" sz="950" dirty="0"/>
              <a:t>We may present non-GAAP measures because we believe such measures are a useful indicator of our operating performance. Our management uses non-GAAP measures principally as a measure of our operating performance and believes that these measures are useful to investors because they are frequently used by analysts, investors and other interested parties to evaluate companies in our industry. We also believe that they are useful to our management and investors as a measure of comparative operating performance from period to period. The non-GAAP financial measure presented in this presentation should not be considered as a substitute for, or preferable to, the measures of financial performance prepared in accordance with GAAP.</a:t>
            </a:r>
          </a:p>
          <a:p>
            <a:pPr marL="0" indent="0" algn="just">
              <a:lnSpc>
                <a:spcPct val="110000"/>
              </a:lnSpc>
              <a:spcBef>
                <a:spcPts val="0"/>
              </a:spcBef>
              <a:buNone/>
            </a:pPr>
            <a:endParaRPr lang="en-US" sz="950" dirty="0"/>
          </a:p>
          <a:p>
            <a:pPr marL="0" indent="0" algn="just">
              <a:lnSpc>
                <a:spcPct val="110000"/>
              </a:lnSpc>
              <a:spcBef>
                <a:spcPts val="0"/>
              </a:spcBef>
              <a:buNone/>
            </a:pPr>
            <a:r>
              <a:rPr lang="en-US" sz="950" dirty="0"/>
              <a:t>The Company has presented the following non-GAAP financial measure in this presentation: adjusted EBITDA. The Company defines adjusted EBITDA as its reported net income (loss) attributable to stockholders (GAAP) plus income tax expense (benefit), interest, depreciation and amortization, and stock-based compensation expense.</a:t>
            </a:r>
          </a:p>
        </p:txBody>
      </p:sp>
      <p:sp>
        <p:nvSpPr>
          <p:cNvPr id="4" name="Title 3">
            <a:extLst>
              <a:ext uri="{FF2B5EF4-FFF2-40B4-BE49-F238E27FC236}">
                <a16:creationId xmlns:a16="http://schemas.microsoft.com/office/drawing/2014/main" id="{95D98CDE-536C-06E1-57DD-AB9DBA2FBC41}"/>
              </a:ext>
            </a:extLst>
          </p:cNvPr>
          <p:cNvSpPr>
            <a:spLocks noGrp="1"/>
          </p:cNvSpPr>
          <p:nvPr>
            <p:ph type="title"/>
          </p:nvPr>
        </p:nvSpPr>
        <p:spPr/>
        <p:txBody>
          <a:bodyPr/>
          <a:lstStyle/>
          <a:p>
            <a:r>
              <a:rPr lang="en-US" dirty="0"/>
              <a:t>Cautionary Statements</a:t>
            </a:r>
          </a:p>
        </p:txBody>
      </p:sp>
      <p:sp>
        <p:nvSpPr>
          <p:cNvPr id="5" name="Slide Number Placeholder 4">
            <a:extLst>
              <a:ext uri="{FF2B5EF4-FFF2-40B4-BE49-F238E27FC236}">
                <a16:creationId xmlns:a16="http://schemas.microsoft.com/office/drawing/2014/main" id="{8181A972-4665-48B1-8B93-5F77309DDD3B}"/>
              </a:ext>
            </a:extLst>
          </p:cNvPr>
          <p:cNvSpPr>
            <a:spLocks noGrp="1"/>
          </p:cNvSpPr>
          <p:nvPr>
            <p:ph type="sldNum" sz="quarter" idx="12"/>
          </p:nvPr>
        </p:nvSpPr>
        <p:spPr/>
        <p:txBody>
          <a:bodyPr/>
          <a:lstStyle/>
          <a:p>
            <a:fld id="{A300D7A8-33C5-4C89-B444-136428D180BE}" type="slidenum">
              <a:rPr lang="en-US" smtClean="0"/>
              <a:t>2</a:t>
            </a:fld>
            <a:endParaRPr lang="en-US" dirty="0"/>
          </a:p>
        </p:txBody>
      </p:sp>
    </p:spTree>
    <p:extLst>
      <p:ext uri="{BB962C8B-B14F-4D97-AF65-F5344CB8AC3E}">
        <p14:creationId xmlns:p14="http://schemas.microsoft.com/office/powerpoint/2010/main" val="1948014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98E141-A936-71C2-F5E3-9B5CC67B0F75}"/>
            </a:ext>
          </a:extLst>
        </p:cNvPr>
        <p:cNvGrpSpPr/>
        <p:nvPr/>
      </p:nvGrpSpPr>
      <p:grpSpPr>
        <a:xfrm>
          <a:off x="0" y="0"/>
          <a:ext cx="0" cy="0"/>
          <a:chOff x="0" y="0"/>
          <a:chExt cx="0" cy="0"/>
        </a:xfrm>
      </p:grpSpPr>
      <p:sp>
        <p:nvSpPr>
          <p:cNvPr id="11" name="Rectangle 10">
            <a:extLst>
              <a:ext uri="{FF2B5EF4-FFF2-40B4-BE49-F238E27FC236}">
                <a16:creationId xmlns:a16="http://schemas.microsoft.com/office/drawing/2014/main" id="{D41DD991-0C0D-D01F-668C-7814FCCE706F}"/>
              </a:ext>
            </a:extLst>
          </p:cNvPr>
          <p:cNvSpPr/>
          <p:nvPr/>
        </p:nvSpPr>
        <p:spPr>
          <a:xfrm>
            <a:off x="-840284" y="505133"/>
            <a:ext cx="12199260" cy="6892283"/>
          </a:xfrm>
          <a:prstGeom prst="rect">
            <a:avLst/>
          </a:prstGeom>
          <a:solidFill>
            <a:schemeClr val="bg1"/>
          </a:solidFill>
          <a:ln>
            <a:noFill/>
          </a:ln>
        </p:spPr>
        <p:style>
          <a:lnRef idx="2">
            <a:schemeClr val="dk1"/>
          </a:lnRef>
          <a:fillRef idx="1">
            <a:schemeClr val="lt1"/>
          </a:fillRef>
          <a:effectRef idx="0">
            <a:schemeClr val="dk1"/>
          </a:effectRef>
          <a:fontRef idx="minor">
            <a:schemeClr val="dk1"/>
          </a:fontRef>
        </p:style>
        <p:txBody>
          <a:bodyPr wrap="square" rtlCol="0" anchor="ctr">
            <a:noAutofit/>
          </a:bodyPr>
          <a:lstStyle/>
          <a:p>
            <a:pPr algn="ctr"/>
            <a:endParaRPr lang="en-US" dirty="0"/>
          </a:p>
        </p:txBody>
      </p:sp>
      <p:sp>
        <p:nvSpPr>
          <p:cNvPr id="44" name="Rectangle 43">
            <a:extLst>
              <a:ext uri="{FF2B5EF4-FFF2-40B4-BE49-F238E27FC236}">
                <a16:creationId xmlns:a16="http://schemas.microsoft.com/office/drawing/2014/main" id="{D97E7A81-5CB3-DC68-F4AC-A495B34E4BA5}"/>
              </a:ext>
            </a:extLst>
          </p:cNvPr>
          <p:cNvSpPr/>
          <p:nvPr/>
        </p:nvSpPr>
        <p:spPr>
          <a:xfrm>
            <a:off x="9615709" y="1562753"/>
            <a:ext cx="2002969" cy="4062500"/>
          </a:xfrm>
          <a:prstGeom prst="rect">
            <a:avLst/>
          </a:prstGeom>
          <a:gradFill>
            <a:gsLst>
              <a:gs pos="47000">
                <a:schemeClr val="tx2"/>
              </a:gs>
              <a:gs pos="100000">
                <a:schemeClr val="tx2">
                  <a:lumMod val="75000"/>
                </a:schemeClr>
              </a:gs>
            </a:gsLst>
            <a:lin ang="5400000" scaled="1"/>
          </a:gradFill>
          <a:ln>
            <a:noFill/>
          </a:ln>
          <a:effectLst>
            <a:outerShdw blurRad="50800" dist="38100" dir="5400000" algn="t"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34" name="Title 33">
            <a:extLst>
              <a:ext uri="{FF2B5EF4-FFF2-40B4-BE49-F238E27FC236}">
                <a16:creationId xmlns:a16="http://schemas.microsoft.com/office/drawing/2014/main" id="{36488799-0F78-3683-7326-BEF4784870C3}"/>
              </a:ext>
            </a:extLst>
          </p:cNvPr>
          <p:cNvSpPr>
            <a:spLocks noGrp="1"/>
          </p:cNvSpPr>
          <p:nvPr>
            <p:ph type="title"/>
          </p:nvPr>
        </p:nvSpPr>
        <p:spPr>
          <a:xfrm>
            <a:off x="266330" y="448236"/>
            <a:ext cx="8392478" cy="552745"/>
          </a:xfrm>
        </p:spPr>
        <p:txBody>
          <a:bodyPr/>
          <a:lstStyle/>
          <a:p>
            <a:r>
              <a:rPr lang="en-US" dirty="0"/>
              <a:t>tHE LEADER IN SURGICAL AESTHETICS</a:t>
            </a:r>
          </a:p>
        </p:txBody>
      </p:sp>
      <p:sp>
        <p:nvSpPr>
          <p:cNvPr id="32" name="Slide Number Placeholder 31">
            <a:extLst>
              <a:ext uri="{FF2B5EF4-FFF2-40B4-BE49-F238E27FC236}">
                <a16:creationId xmlns:a16="http://schemas.microsoft.com/office/drawing/2014/main" id="{10E4A3A6-05C7-EB8D-F7EF-4E91F9C37223}"/>
              </a:ext>
            </a:extLst>
          </p:cNvPr>
          <p:cNvSpPr>
            <a:spLocks noGrp="1"/>
          </p:cNvSpPr>
          <p:nvPr>
            <p:ph type="sldNum" sz="quarter" idx="12"/>
          </p:nvPr>
        </p:nvSpPr>
        <p:spPr/>
        <p:txBody>
          <a:bodyPr/>
          <a:lstStyle/>
          <a:p>
            <a:fld id="{A300D7A8-33C5-4C89-B444-136428D180BE}" type="slidenum">
              <a:rPr lang="en-US" smtClean="0"/>
              <a:t>3</a:t>
            </a:fld>
            <a:endParaRPr lang="en-US" dirty="0"/>
          </a:p>
        </p:txBody>
      </p:sp>
      <p:sp>
        <p:nvSpPr>
          <p:cNvPr id="37" name="TextBox 36">
            <a:extLst>
              <a:ext uri="{FF2B5EF4-FFF2-40B4-BE49-F238E27FC236}">
                <a16:creationId xmlns:a16="http://schemas.microsoft.com/office/drawing/2014/main" id="{D2C17999-81EA-DD34-F571-382C66C93B23}"/>
              </a:ext>
            </a:extLst>
          </p:cNvPr>
          <p:cNvSpPr txBox="1"/>
          <p:nvPr/>
        </p:nvSpPr>
        <p:spPr>
          <a:xfrm>
            <a:off x="9307378" y="1102059"/>
            <a:ext cx="2503517" cy="307777"/>
          </a:xfrm>
          <a:prstGeom prst="rect">
            <a:avLst/>
          </a:prstGeom>
          <a:noFill/>
        </p:spPr>
        <p:txBody>
          <a:bodyPr wrap="square">
            <a:spAutoFit/>
          </a:bodyPr>
          <a:lstStyle/>
          <a:p>
            <a:pPr algn="ctr"/>
            <a:r>
              <a:rPr lang="en-US" sz="1400" b="1" dirty="0">
                <a:solidFill>
                  <a:srgbClr val="FF0000"/>
                </a:solidFill>
              </a:rPr>
              <a:t>Real Patients, Real Results</a:t>
            </a:r>
          </a:p>
        </p:txBody>
      </p:sp>
      <p:pic>
        <p:nvPicPr>
          <p:cNvPr id="40" name="Picture 39">
            <a:extLst>
              <a:ext uri="{FF2B5EF4-FFF2-40B4-BE49-F238E27FC236}">
                <a16:creationId xmlns:a16="http://schemas.microsoft.com/office/drawing/2014/main" id="{F5AA0F4D-7F20-54FD-35C6-23018FE5DA2C}"/>
              </a:ext>
            </a:extLst>
          </p:cNvPr>
          <p:cNvPicPr>
            <a:picLocks noChangeAspect="1"/>
          </p:cNvPicPr>
          <p:nvPr/>
        </p:nvPicPr>
        <p:blipFill>
          <a:blip r:embed="rId2"/>
          <a:stretch>
            <a:fillRect/>
          </a:stretch>
        </p:blipFill>
        <p:spPr>
          <a:xfrm>
            <a:off x="8801099" y="0"/>
            <a:ext cx="3398161" cy="6892283"/>
          </a:xfrm>
          <a:prstGeom prst="rect">
            <a:avLst/>
          </a:prstGeom>
        </p:spPr>
      </p:pic>
      <p:sp>
        <p:nvSpPr>
          <p:cNvPr id="4" name="TextBox 3">
            <a:extLst>
              <a:ext uri="{FF2B5EF4-FFF2-40B4-BE49-F238E27FC236}">
                <a16:creationId xmlns:a16="http://schemas.microsoft.com/office/drawing/2014/main" id="{104C5E98-0C6A-3FB5-9DCC-AA0DFD8D4AC9}"/>
              </a:ext>
            </a:extLst>
          </p:cNvPr>
          <p:cNvSpPr txBox="1"/>
          <p:nvPr/>
        </p:nvSpPr>
        <p:spPr>
          <a:xfrm>
            <a:off x="228858" y="1409836"/>
            <a:ext cx="8224668" cy="4533549"/>
          </a:xfrm>
          <a:prstGeom prst="rect">
            <a:avLst/>
          </a:prstGeom>
          <a:noFill/>
        </p:spPr>
        <p:txBody>
          <a:bodyPr wrap="square">
            <a:spAutoFit/>
          </a:bodyPr>
          <a:lstStyle/>
          <a:p>
            <a:pPr marL="342900" indent="-342900" algn="just">
              <a:lnSpc>
                <a:spcPct val="130000"/>
              </a:lnSpc>
              <a:spcBef>
                <a:spcPts val="600"/>
              </a:spcBef>
              <a:buClr>
                <a:schemeClr val="accent1"/>
              </a:buClr>
              <a:buFont typeface="Arial" panose="020B0604020202020204" pitchFamily="34" charset="0"/>
              <a:buChar char="▲"/>
            </a:pPr>
            <a:r>
              <a:rPr lang="en-US" sz="1700" dirty="0">
                <a:latin typeface="Aptos" panose="020B0004020202020204" pitchFamily="34" charset="0"/>
              </a:rPr>
              <a:t>Leading developer of surgical technologies used in minimally invasive aesthetic surgical procedures and </a:t>
            </a:r>
          </a:p>
          <a:p>
            <a:pPr marL="342900" indent="-342900" algn="just">
              <a:lnSpc>
                <a:spcPct val="130000"/>
              </a:lnSpc>
              <a:spcBef>
                <a:spcPts val="600"/>
              </a:spcBef>
              <a:buClr>
                <a:schemeClr val="accent1"/>
              </a:buClr>
              <a:buFont typeface="Arial" panose="020B0604020202020204" pitchFamily="34" charset="0"/>
              <a:buChar char="▲"/>
            </a:pPr>
            <a:r>
              <a:rPr lang="en-US" sz="1700" dirty="0">
                <a:latin typeface="Aptos" panose="020B0004020202020204" pitchFamily="34" charset="0"/>
              </a:rPr>
              <a:t>Uniquely positioned to address rapid shifts in market following broad adoption of GLP-1 drugs for weight loss</a:t>
            </a:r>
          </a:p>
          <a:p>
            <a:pPr marL="342900" indent="-342900" algn="just">
              <a:lnSpc>
                <a:spcPct val="130000"/>
              </a:lnSpc>
              <a:spcBef>
                <a:spcPts val="600"/>
              </a:spcBef>
              <a:buClr>
                <a:schemeClr val="accent1"/>
              </a:buClr>
              <a:buFont typeface="Arial" panose="020B0604020202020204" pitchFamily="34" charset="0"/>
              <a:buChar char="▲"/>
            </a:pPr>
            <a:r>
              <a:rPr lang="en-US" sz="1700" dirty="0">
                <a:latin typeface="Aptos" panose="020B0004020202020204" pitchFamily="34" charset="0"/>
              </a:rPr>
              <a:t>Renuvion® is the only FDA approved device for treatment of loose and lax skin post liposuction and contracting subcutaneous soft tissue anywhere on the body providing durable and transformational results</a:t>
            </a:r>
            <a:endParaRPr lang="en-US" sz="1700" strike="sngStrike" dirty="0">
              <a:highlight>
                <a:srgbClr val="FFFF00"/>
              </a:highlight>
              <a:latin typeface="Aptos" panose="020B0004020202020204" pitchFamily="34" charset="0"/>
              <a:ea typeface="+mj-ea"/>
              <a:cs typeface="Lucida Sans Unicode"/>
            </a:endParaRPr>
          </a:p>
          <a:p>
            <a:pPr marL="342900" indent="-342900" algn="just">
              <a:lnSpc>
                <a:spcPct val="130000"/>
              </a:lnSpc>
              <a:spcBef>
                <a:spcPts val="600"/>
              </a:spcBef>
              <a:buClr>
                <a:schemeClr val="accent1"/>
              </a:buClr>
              <a:buFont typeface="Arial" panose="020B0604020202020204" pitchFamily="34" charset="0"/>
              <a:buChar char="▲"/>
            </a:pPr>
            <a:r>
              <a:rPr lang="en-US" sz="1700" dirty="0">
                <a:latin typeface="Aptos" panose="020B0004020202020204" pitchFamily="34" charset="0"/>
              </a:rPr>
              <a:t>AYON Body Contouring System™ received FDA clearance in May 2025 and executed commercial launch in September 2025</a:t>
            </a:r>
          </a:p>
          <a:p>
            <a:pPr marL="342900" indent="-342900" algn="just">
              <a:lnSpc>
                <a:spcPct val="130000"/>
              </a:lnSpc>
              <a:spcBef>
                <a:spcPts val="600"/>
              </a:spcBef>
              <a:buClr>
                <a:schemeClr val="accent1"/>
              </a:buClr>
              <a:buFont typeface="Arial" panose="020B0604020202020204" pitchFamily="34" charset="0"/>
              <a:buChar char="▲"/>
            </a:pPr>
            <a:r>
              <a:rPr lang="en-US" sz="1700" dirty="0">
                <a:latin typeface="Aptos" panose="020B0004020202020204" pitchFamily="34" charset="0"/>
              </a:rPr>
              <a:t>Submitted 501(k) with FDA in September 2025 to expand label for AYON to add power liposuction – approval anticipated Q1 2026</a:t>
            </a:r>
          </a:p>
          <a:p>
            <a:pPr marL="342900" indent="-342900" algn="just">
              <a:lnSpc>
                <a:spcPct val="130000"/>
              </a:lnSpc>
              <a:spcBef>
                <a:spcPts val="600"/>
              </a:spcBef>
              <a:buClr>
                <a:schemeClr val="accent1"/>
              </a:buClr>
              <a:buFont typeface="Arial" panose="020B0604020202020204" pitchFamily="34" charset="0"/>
              <a:buChar char="▲"/>
            </a:pPr>
            <a:r>
              <a:rPr lang="en-US" sz="1700" dirty="0">
                <a:latin typeface="Aptos" panose="020B0004020202020204" pitchFamily="34" charset="0"/>
              </a:rPr>
              <a:t>Expanded international footprint into China and South Korea in 2025</a:t>
            </a:r>
          </a:p>
        </p:txBody>
      </p:sp>
      <p:sp>
        <p:nvSpPr>
          <p:cNvPr id="3" name="TextBox 2">
            <a:extLst>
              <a:ext uri="{FF2B5EF4-FFF2-40B4-BE49-F238E27FC236}">
                <a16:creationId xmlns:a16="http://schemas.microsoft.com/office/drawing/2014/main" id="{70C1F58A-B291-9CE5-3DB6-9780DD172D26}"/>
              </a:ext>
            </a:extLst>
          </p:cNvPr>
          <p:cNvSpPr txBox="1"/>
          <p:nvPr/>
        </p:nvSpPr>
        <p:spPr>
          <a:xfrm>
            <a:off x="8809565" y="6286471"/>
            <a:ext cx="3398161" cy="307777"/>
          </a:xfrm>
          <a:prstGeom prst="rect">
            <a:avLst/>
          </a:prstGeom>
          <a:solidFill>
            <a:schemeClr val="bg1">
              <a:lumMod val="75000"/>
              <a:alpha val="29000"/>
            </a:schemeClr>
          </a:solidFill>
        </p:spPr>
        <p:txBody>
          <a:bodyPr wrap="square">
            <a:spAutoFit/>
          </a:bodyPr>
          <a:lstStyle/>
          <a:p>
            <a:pPr algn="ctr"/>
            <a:r>
              <a:rPr lang="en-US" sz="1400" b="1" dirty="0">
                <a:latin typeface="+mj-lt"/>
              </a:rPr>
              <a:t>Real Patients, Real Results</a:t>
            </a:r>
          </a:p>
        </p:txBody>
      </p:sp>
    </p:spTree>
    <p:extLst>
      <p:ext uri="{BB962C8B-B14F-4D97-AF65-F5344CB8AC3E}">
        <p14:creationId xmlns:p14="http://schemas.microsoft.com/office/powerpoint/2010/main" val="557222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ACA47B-8125-5D3C-0AA6-F2B1A68DA8AA}"/>
            </a:ext>
          </a:extLst>
        </p:cNvPr>
        <p:cNvGrpSpPr/>
        <p:nvPr/>
      </p:nvGrpSpPr>
      <p:grpSpPr>
        <a:xfrm>
          <a:off x="0" y="0"/>
          <a:ext cx="0" cy="0"/>
          <a:chOff x="0" y="0"/>
          <a:chExt cx="0" cy="0"/>
        </a:xfrm>
      </p:grpSpPr>
      <p:sp>
        <p:nvSpPr>
          <p:cNvPr id="21" name="Rectangle 20">
            <a:extLst>
              <a:ext uri="{FF2B5EF4-FFF2-40B4-BE49-F238E27FC236}">
                <a16:creationId xmlns:a16="http://schemas.microsoft.com/office/drawing/2014/main" id="{B43B9457-C5A9-4FCE-6048-B5671634DC94}"/>
              </a:ext>
            </a:extLst>
          </p:cNvPr>
          <p:cNvSpPr/>
          <p:nvPr/>
        </p:nvSpPr>
        <p:spPr>
          <a:xfrm>
            <a:off x="4153730" y="1643060"/>
            <a:ext cx="3895725" cy="4274974"/>
          </a:xfrm>
          <a:prstGeom prst="rect">
            <a:avLst/>
          </a:prstGeom>
          <a:ln/>
        </p:spPr>
        <p:style>
          <a:lnRef idx="1">
            <a:schemeClr val="accent3"/>
          </a:lnRef>
          <a:fillRef idx="3">
            <a:schemeClr val="accent3"/>
          </a:fillRef>
          <a:effectRef idx="2">
            <a:schemeClr val="accent3"/>
          </a:effectRef>
          <a:fontRef idx="minor">
            <a:schemeClr val="lt1"/>
          </a:fontRef>
        </p:style>
        <p:txBody>
          <a:bodyPr wrap="square" rtlCol="0" anchor="ctr">
            <a:noAutofit/>
          </a:bodyPr>
          <a:lstStyle/>
          <a:p>
            <a:pPr algn="ctr"/>
            <a:endParaRPr lang="en-US" dirty="0"/>
          </a:p>
        </p:txBody>
      </p:sp>
      <p:sp>
        <p:nvSpPr>
          <p:cNvPr id="4" name="Title 3">
            <a:extLst>
              <a:ext uri="{FF2B5EF4-FFF2-40B4-BE49-F238E27FC236}">
                <a16:creationId xmlns:a16="http://schemas.microsoft.com/office/drawing/2014/main" id="{99E44319-E364-CFF7-7220-0C9CEDB66838}"/>
              </a:ext>
            </a:extLst>
          </p:cNvPr>
          <p:cNvSpPr>
            <a:spLocks noGrp="1"/>
          </p:cNvSpPr>
          <p:nvPr>
            <p:ph type="title"/>
          </p:nvPr>
        </p:nvSpPr>
        <p:spPr/>
        <p:txBody>
          <a:bodyPr/>
          <a:lstStyle/>
          <a:p>
            <a:r>
              <a:rPr lang="en-US" dirty="0"/>
              <a:t>Market trends + macro signals</a:t>
            </a:r>
          </a:p>
        </p:txBody>
      </p:sp>
      <p:sp>
        <p:nvSpPr>
          <p:cNvPr id="17" name="Rectangle 16">
            <a:extLst>
              <a:ext uri="{FF2B5EF4-FFF2-40B4-BE49-F238E27FC236}">
                <a16:creationId xmlns:a16="http://schemas.microsoft.com/office/drawing/2014/main" id="{A520156D-66C7-6CF7-E72A-ABFDD25097A2}"/>
              </a:ext>
            </a:extLst>
          </p:cNvPr>
          <p:cNvSpPr/>
          <p:nvPr/>
        </p:nvSpPr>
        <p:spPr>
          <a:xfrm>
            <a:off x="148239" y="1643060"/>
            <a:ext cx="3895725" cy="4274974"/>
          </a:xfrm>
          <a:prstGeom prst="rect">
            <a:avLst/>
          </a:prstGeom>
          <a:ln/>
        </p:spPr>
        <p:style>
          <a:lnRef idx="1">
            <a:schemeClr val="accent3"/>
          </a:lnRef>
          <a:fillRef idx="3">
            <a:schemeClr val="accent3"/>
          </a:fillRef>
          <a:effectRef idx="2">
            <a:schemeClr val="accent3"/>
          </a:effectRef>
          <a:fontRef idx="minor">
            <a:schemeClr val="lt1"/>
          </a:fontRef>
        </p:style>
        <p:txBody>
          <a:bodyPr wrap="square" rtlCol="0" anchor="ctr">
            <a:noAutofit/>
          </a:bodyPr>
          <a:lstStyle/>
          <a:p>
            <a:pPr lvl="1">
              <a:defRPr sz="1300">
                <a:solidFill>
                  <a:srgbClr val="282828"/>
                </a:solidFill>
                <a:latin typeface="Calibri"/>
              </a:defRPr>
            </a:pPr>
            <a:endParaRPr lang="en-US" dirty="0">
              <a:solidFill>
                <a:schemeClr val="bg1"/>
              </a:solidFill>
            </a:endParaRPr>
          </a:p>
        </p:txBody>
      </p:sp>
      <p:sp>
        <p:nvSpPr>
          <p:cNvPr id="22" name="Rectangle 21">
            <a:extLst>
              <a:ext uri="{FF2B5EF4-FFF2-40B4-BE49-F238E27FC236}">
                <a16:creationId xmlns:a16="http://schemas.microsoft.com/office/drawing/2014/main" id="{5FBAF7F0-3FE9-5DA1-6581-46A4EEA92D83}"/>
              </a:ext>
            </a:extLst>
          </p:cNvPr>
          <p:cNvSpPr/>
          <p:nvPr/>
        </p:nvSpPr>
        <p:spPr>
          <a:xfrm>
            <a:off x="8171710" y="1643062"/>
            <a:ext cx="3895725" cy="4274972"/>
          </a:xfrm>
          <a:prstGeom prst="rect">
            <a:avLst/>
          </a:prstGeom>
          <a:ln/>
        </p:spPr>
        <p:style>
          <a:lnRef idx="1">
            <a:schemeClr val="accent3"/>
          </a:lnRef>
          <a:fillRef idx="3">
            <a:schemeClr val="accent3"/>
          </a:fillRef>
          <a:effectRef idx="2">
            <a:schemeClr val="accent3"/>
          </a:effectRef>
          <a:fontRef idx="minor">
            <a:schemeClr val="lt1"/>
          </a:fontRef>
        </p:style>
        <p:txBody>
          <a:bodyPr wrap="square" rtlCol="0" anchor="ctr">
            <a:noAutofit/>
          </a:bodyPr>
          <a:lstStyle/>
          <a:p>
            <a:pPr algn="ctr"/>
            <a:endParaRPr lang="en-US" dirty="0"/>
          </a:p>
        </p:txBody>
      </p:sp>
      <p:pic>
        <p:nvPicPr>
          <p:cNvPr id="24" name="Graphic 23" descr="Presentation with bar chart with solid fill">
            <a:extLst>
              <a:ext uri="{FF2B5EF4-FFF2-40B4-BE49-F238E27FC236}">
                <a16:creationId xmlns:a16="http://schemas.microsoft.com/office/drawing/2014/main" id="{97E8F9E0-F242-1FDF-1FFB-3569B231F11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662712" y="1797216"/>
            <a:ext cx="866775" cy="866775"/>
          </a:xfrm>
          <a:prstGeom prst="rect">
            <a:avLst/>
          </a:prstGeom>
        </p:spPr>
      </p:pic>
      <p:sp>
        <p:nvSpPr>
          <p:cNvPr id="25" name="TextBox 24">
            <a:extLst>
              <a:ext uri="{FF2B5EF4-FFF2-40B4-BE49-F238E27FC236}">
                <a16:creationId xmlns:a16="http://schemas.microsoft.com/office/drawing/2014/main" id="{C562A9F7-4F48-7365-53C2-733751D27699}"/>
              </a:ext>
            </a:extLst>
          </p:cNvPr>
          <p:cNvSpPr txBox="1"/>
          <p:nvPr/>
        </p:nvSpPr>
        <p:spPr>
          <a:xfrm>
            <a:off x="148238" y="2663991"/>
            <a:ext cx="3895725" cy="369332"/>
          </a:xfrm>
          <a:prstGeom prst="rect">
            <a:avLst/>
          </a:prstGeom>
          <a:noFill/>
        </p:spPr>
        <p:txBody>
          <a:bodyPr wrap="square" rtlCol="0">
            <a:spAutoFit/>
          </a:bodyPr>
          <a:lstStyle/>
          <a:p>
            <a:pPr algn="ctr"/>
            <a:r>
              <a:rPr lang="en-US" dirty="0">
                <a:solidFill>
                  <a:schemeClr val="bg1"/>
                </a:solidFill>
              </a:rPr>
              <a:t>Market Trends</a:t>
            </a:r>
          </a:p>
        </p:txBody>
      </p:sp>
      <p:sp>
        <p:nvSpPr>
          <p:cNvPr id="26" name="TextBox 25">
            <a:extLst>
              <a:ext uri="{FF2B5EF4-FFF2-40B4-BE49-F238E27FC236}">
                <a16:creationId xmlns:a16="http://schemas.microsoft.com/office/drawing/2014/main" id="{CF59B55A-C45E-E400-6C38-918DDCAD2F62}"/>
              </a:ext>
            </a:extLst>
          </p:cNvPr>
          <p:cNvSpPr txBox="1"/>
          <p:nvPr/>
        </p:nvSpPr>
        <p:spPr>
          <a:xfrm>
            <a:off x="4157893" y="2663991"/>
            <a:ext cx="3895725" cy="369332"/>
          </a:xfrm>
          <a:prstGeom prst="rect">
            <a:avLst/>
          </a:prstGeom>
          <a:noFill/>
        </p:spPr>
        <p:txBody>
          <a:bodyPr wrap="square" rtlCol="0">
            <a:spAutoFit/>
          </a:bodyPr>
          <a:lstStyle/>
          <a:p>
            <a:pPr algn="ctr"/>
            <a:r>
              <a:rPr lang="en-US" dirty="0">
                <a:solidFill>
                  <a:schemeClr val="bg1"/>
                </a:solidFill>
              </a:rPr>
              <a:t>Procedural Shifts</a:t>
            </a:r>
          </a:p>
        </p:txBody>
      </p:sp>
      <p:sp>
        <p:nvSpPr>
          <p:cNvPr id="27" name="TextBox 26">
            <a:extLst>
              <a:ext uri="{FF2B5EF4-FFF2-40B4-BE49-F238E27FC236}">
                <a16:creationId xmlns:a16="http://schemas.microsoft.com/office/drawing/2014/main" id="{7EFEA345-FC9F-C293-ACFB-0F9BDE746550}"/>
              </a:ext>
            </a:extLst>
          </p:cNvPr>
          <p:cNvSpPr txBox="1"/>
          <p:nvPr/>
        </p:nvSpPr>
        <p:spPr>
          <a:xfrm>
            <a:off x="8167547" y="2663991"/>
            <a:ext cx="3895725" cy="369332"/>
          </a:xfrm>
          <a:prstGeom prst="rect">
            <a:avLst/>
          </a:prstGeom>
          <a:noFill/>
        </p:spPr>
        <p:txBody>
          <a:bodyPr wrap="square" rtlCol="0">
            <a:spAutoFit/>
          </a:bodyPr>
          <a:lstStyle/>
          <a:p>
            <a:pPr algn="ctr"/>
            <a:r>
              <a:rPr lang="en-US" dirty="0">
                <a:solidFill>
                  <a:schemeClr val="bg1"/>
                </a:solidFill>
              </a:rPr>
              <a:t>Consumer Behavior</a:t>
            </a:r>
          </a:p>
        </p:txBody>
      </p:sp>
      <p:pic>
        <p:nvPicPr>
          <p:cNvPr id="29" name="Graphic 28" descr="Transfer with solid fill">
            <a:extLst>
              <a:ext uri="{FF2B5EF4-FFF2-40B4-BE49-F238E27FC236}">
                <a16:creationId xmlns:a16="http://schemas.microsoft.com/office/drawing/2014/main" id="{95B9FEB1-C84D-1858-2384-62617C80223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638800" y="1735450"/>
            <a:ext cx="914400" cy="914400"/>
          </a:xfrm>
          <a:prstGeom prst="rect">
            <a:avLst/>
          </a:prstGeom>
        </p:spPr>
      </p:pic>
      <p:pic>
        <p:nvPicPr>
          <p:cNvPr id="31" name="Graphic 30" descr="Mental Health with solid fill">
            <a:extLst>
              <a:ext uri="{FF2B5EF4-FFF2-40B4-BE49-F238E27FC236}">
                <a16:creationId xmlns:a16="http://schemas.microsoft.com/office/drawing/2014/main" id="{DD10A4A5-0EB6-EAF6-6C49-E9F807D3C6A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679951" y="1744575"/>
            <a:ext cx="870914" cy="870914"/>
          </a:xfrm>
          <a:prstGeom prst="rect">
            <a:avLst/>
          </a:prstGeom>
        </p:spPr>
      </p:pic>
      <p:sp>
        <p:nvSpPr>
          <p:cNvPr id="32" name="TextBox 31">
            <a:extLst>
              <a:ext uri="{FF2B5EF4-FFF2-40B4-BE49-F238E27FC236}">
                <a16:creationId xmlns:a16="http://schemas.microsoft.com/office/drawing/2014/main" id="{84690F3E-9512-555B-E451-B3575AA3C1C4}"/>
              </a:ext>
            </a:extLst>
          </p:cNvPr>
          <p:cNvSpPr txBox="1"/>
          <p:nvPr/>
        </p:nvSpPr>
        <p:spPr>
          <a:xfrm>
            <a:off x="215610" y="3530766"/>
            <a:ext cx="3887400" cy="2062103"/>
          </a:xfrm>
          <a:prstGeom prst="rect">
            <a:avLst/>
          </a:prstGeom>
          <a:noFill/>
        </p:spPr>
        <p:txBody>
          <a:bodyPr wrap="square" rtlCol="0">
            <a:spAutoFit/>
          </a:bodyPr>
          <a:lstStyle/>
          <a:p>
            <a:pPr marL="285750" indent="-285750">
              <a:buFont typeface="Arial" panose="020B0604020202020204" pitchFamily="34" charset="0"/>
              <a:buChar char="•"/>
              <a:defRPr sz="1300">
                <a:solidFill>
                  <a:srgbClr val="282828"/>
                </a:solidFill>
                <a:latin typeface="Calibri"/>
              </a:defRPr>
            </a:pPr>
            <a:r>
              <a:rPr lang="en-US" sz="1600" dirty="0">
                <a:solidFill>
                  <a:schemeClr val="bg1"/>
                </a:solidFill>
              </a:rPr>
              <a:t>GLP-1 therapies expected to </a:t>
            </a:r>
            <a:r>
              <a:rPr lang="en-US" sz="1600" b="1" dirty="0">
                <a:solidFill>
                  <a:schemeClr val="bg1"/>
                </a:solidFill>
              </a:rPr>
              <a:t>exceed $100B by 2030 </a:t>
            </a:r>
            <a:r>
              <a:rPr lang="en-US" sz="1600" dirty="0">
                <a:solidFill>
                  <a:schemeClr val="bg1"/>
                </a:solidFill>
              </a:rPr>
              <a:t>(McKinsey).</a:t>
            </a:r>
          </a:p>
          <a:p>
            <a:pPr marL="285750" indent="-285750">
              <a:buFont typeface="Arial" panose="020B0604020202020204" pitchFamily="34" charset="0"/>
              <a:buChar char="•"/>
              <a:defRPr sz="1300">
                <a:solidFill>
                  <a:srgbClr val="282828"/>
                </a:solidFill>
                <a:latin typeface="Calibri"/>
              </a:defRPr>
            </a:pPr>
            <a:r>
              <a:rPr lang="en-US" sz="1600" dirty="0">
                <a:solidFill>
                  <a:schemeClr val="bg1"/>
                </a:solidFill>
              </a:rPr>
              <a:t>44% of GLP-1 users spend $</a:t>
            </a:r>
            <a:r>
              <a:rPr lang="en-US" sz="1600" b="1" dirty="0">
                <a:solidFill>
                  <a:schemeClr val="bg1"/>
                </a:solidFill>
              </a:rPr>
              <a:t>2K–$5K on aesthetics</a:t>
            </a:r>
            <a:r>
              <a:rPr lang="en-US" sz="1600" dirty="0">
                <a:solidFill>
                  <a:schemeClr val="bg1"/>
                </a:solidFill>
              </a:rPr>
              <a:t>; 25%+ spend more.</a:t>
            </a:r>
          </a:p>
          <a:p>
            <a:pPr marL="285750" indent="-285750">
              <a:buFont typeface="Arial" panose="020B0604020202020204" pitchFamily="34" charset="0"/>
              <a:buChar char="•"/>
              <a:defRPr sz="1300">
                <a:solidFill>
                  <a:srgbClr val="282828"/>
                </a:solidFill>
                <a:latin typeface="Calibri"/>
              </a:defRPr>
            </a:pPr>
            <a:r>
              <a:rPr lang="en-US" sz="1600" dirty="0">
                <a:solidFill>
                  <a:schemeClr val="bg1"/>
                </a:solidFill>
              </a:rPr>
              <a:t>63% of GLP-1 patients are </a:t>
            </a:r>
            <a:r>
              <a:rPr lang="en-US" sz="1600" b="1" dirty="0">
                <a:solidFill>
                  <a:schemeClr val="bg1"/>
                </a:solidFill>
              </a:rPr>
              <a:t>new to aesthetics post-weight loss</a:t>
            </a:r>
            <a:r>
              <a:rPr lang="en-US" sz="1600" dirty="0">
                <a:solidFill>
                  <a:schemeClr val="bg1"/>
                </a:solidFill>
              </a:rPr>
              <a:t>.</a:t>
            </a:r>
          </a:p>
          <a:p>
            <a:pPr marL="285750" indent="-285750">
              <a:buFont typeface="Arial" panose="020B0604020202020204" pitchFamily="34" charset="0"/>
              <a:buChar char="•"/>
              <a:defRPr sz="1300">
                <a:solidFill>
                  <a:srgbClr val="282828"/>
                </a:solidFill>
                <a:latin typeface="Calibri"/>
              </a:defRPr>
            </a:pPr>
            <a:r>
              <a:rPr lang="en-US" sz="1600" dirty="0">
                <a:solidFill>
                  <a:schemeClr val="bg1"/>
                </a:solidFill>
              </a:rPr>
              <a:t>MedSpa revenue down 30% (noninvasive)</a:t>
            </a:r>
            <a:r>
              <a:rPr lang="en-US" sz="1600" b="1" dirty="0">
                <a:solidFill>
                  <a:schemeClr val="bg1"/>
                </a:solidFill>
              </a:rPr>
              <a:t>.</a:t>
            </a:r>
          </a:p>
        </p:txBody>
      </p:sp>
      <p:sp>
        <p:nvSpPr>
          <p:cNvPr id="34" name="TextBox 33">
            <a:extLst>
              <a:ext uri="{FF2B5EF4-FFF2-40B4-BE49-F238E27FC236}">
                <a16:creationId xmlns:a16="http://schemas.microsoft.com/office/drawing/2014/main" id="{C4A9B6D2-1124-A9EF-7729-EE9FC47B07E8}"/>
              </a:ext>
            </a:extLst>
          </p:cNvPr>
          <p:cNvSpPr txBox="1"/>
          <p:nvPr/>
        </p:nvSpPr>
        <p:spPr>
          <a:xfrm>
            <a:off x="4212776" y="3462257"/>
            <a:ext cx="3820029" cy="2308324"/>
          </a:xfrm>
          <a:prstGeom prst="rect">
            <a:avLst/>
          </a:prstGeom>
          <a:noFill/>
        </p:spPr>
        <p:txBody>
          <a:bodyPr wrap="square">
            <a:spAutoFit/>
          </a:bodyPr>
          <a:lstStyle/>
          <a:p>
            <a:pPr marL="285750" indent="-285750">
              <a:buFont typeface="Arial" panose="020B0604020202020204" pitchFamily="34" charset="0"/>
              <a:buChar char="•"/>
              <a:defRPr sz="1300">
                <a:solidFill>
                  <a:srgbClr val="282828"/>
                </a:solidFill>
                <a:latin typeface="Calibri"/>
              </a:defRPr>
            </a:pPr>
            <a:r>
              <a:rPr lang="en-US" sz="1600" b="1" dirty="0">
                <a:solidFill>
                  <a:schemeClr val="bg1"/>
                </a:solidFill>
              </a:rPr>
              <a:t>Liposuction procedures declined </a:t>
            </a:r>
            <a:r>
              <a:rPr lang="en-US" sz="1600" dirty="0">
                <a:solidFill>
                  <a:schemeClr val="bg1"/>
                </a:solidFill>
              </a:rPr>
              <a:t>10.7% YoY (ISAPS).</a:t>
            </a:r>
          </a:p>
          <a:p>
            <a:pPr marL="285750" indent="-285750">
              <a:buFont typeface="Arial" panose="020B0604020202020204" pitchFamily="34" charset="0"/>
              <a:buChar char="•"/>
              <a:defRPr sz="1300">
                <a:solidFill>
                  <a:srgbClr val="282828"/>
                </a:solidFill>
                <a:latin typeface="Calibri"/>
              </a:defRPr>
            </a:pPr>
            <a:r>
              <a:rPr lang="en-US" sz="1600" b="1" dirty="0">
                <a:solidFill>
                  <a:schemeClr val="bg1"/>
                </a:solidFill>
              </a:rPr>
              <a:t>Lift procedures surged</a:t>
            </a:r>
            <a:r>
              <a:rPr lang="en-US" sz="1600" dirty="0">
                <a:solidFill>
                  <a:schemeClr val="bg1"/>
                </a:solidFill>
              </a:rPr>
              <a:t>: Upper Body +24.8%, Lower Body +23.5%, Buttock +16%.</a:t>
            </a:r>
          </a:p>
          <a:p>
            <a:pPr marL="285750" indent="-285750">
              <a:buFont typeface="Arial" panose="020B0604020202020204" pitchFamily="34" charset="0"/>
              <a:buChar char="•"/>
              <a:defRPr sz="1300">
                <a:solidFill>
                  <a:srgbClr val="282828"/>
                </a:solidFill>
                <a:latin typeface="Calibri"/>
              </a:defRPr>
            </a:pPr>
            <a:r>
              <a:rPr lang="en-US" sz="1600" b="1" dirty="0">
                <a:solidFill>
                  <a:schemeClr val="bg1"/>
                </a:solidFill>
              </a:rPr>
              <a:t>Skin tightening is now the #1 requested treatment</a:t>
            </a:r>
            <a:r>
              <a:rPr lang="en-US" sz="1600" dirty="0">
                <a:solidFill>
                  <a:schemeClr val="bg1"/>
                </a:solidFill>
              </a:rPr>
              <a:t> post-weight loss.</a:t>
            </a:r>
          </a:p>
          <a:p>
            <a:pPr marL="285750" indent="-285750">
              <a:buFont typeface="Arial" panose="020B0604020202020204" pitchFamily="34" charset="0"/>
              <a:buChar char="•"/>
              <a:defRPr sz="1300">
                <a:solidFill>
                  <a:srgbClr val="282828"/>
                </a:solidFill>
                <a:latin typeface="Calibri"/>
              </a:defRPr>
            </a:pPr>
            <a:r>
              <a:rPr lang="en-US" sz="1600" dirty="0">
                <a:solidFill>
                  <a:schemeClr val="bg1"/>
                </a:solidFill>
              </a:rPr>
              <a:t>Only surgical procedures provide durable and transformational results.</a:t>
            </a:r>
          </a:p>
        </p:txBody>
      </p:sp>
      <p:sp>
        <p:nvSpPr>
          <p:cNvPr id="36" name="TextBox 35">
            <a:extLst>
              <a:ext uri="{FF2B5EF4-FFF2-40B4-BE49-F238E27FC236}">
                <a16:creationId xmlns:a16="http://schemas.microsoft.com/office/drawing/2014/main" id="{A610D9FE-2C95-58F1-0A2E-A4A9ACF0FEE1}"/>
              </a:ext>
            </a:extLst>
          </p:cNvPr>
          <p:cNvSpPr txBox="1"/>
          <p:nvPr/>
        </p:nvSpPr>
        <p:spPr>
          <a:xfrm>
            <a:off x="8323693" y="3462257"/>
            <a:ext cx="3583431" cy="2062103"/>
          </a:xfrm>
          <a:prstGeom prst="rect">
            <a:avLst/>
          </a:prstGeom>
          <a:noFill/>
        </p:spPr>
        <p:txBody>
          <a:bodyPr wrap="square">
            <a:spAutoFit/>
          </a:bodyPr>
          <a:lstStyle/>
          <a:p>
            <a:pPr marL="285750" indent="-285750">
              <a:buFont typeface="Arial" panose="020B0604020202020204" pitchFamily="34" charset="0"/>
              <a:buChar char="•"/>
              <a:defRPr sz="1300">
                <a:solidFill>
                  <a:srgbClr val="282828"/>
                </a:solidFill>
                <a:latin typeface="Calibri"/>
              </a:defRPr>
            </a:pPr>
            <a:r>
              <a:rPr lang="en-US" sz="1600" b="1" dirty="0">
                <a:solidFill>
                  <a:schemeClr val="bg1"/>
                </a:solidFill>
              </a:rPr>
              <a:t>72% </a:t>
            </a:r>
            <a:r>
              <a:rPr lang="en-US" sz="1600" dirty="0">
                <a:solidFill>
                  <a:schemeClr val="bg1"/>
                </a:solidFill>
              </a:rPr>
              <a:t>of GLP-1 users report </a:t>
            </a:r>
            <a:r>
              <a:rPr lang="en-US" sz="1600" b="1" dirty="0">
                <a:solidFill>
                  <a:schemeClr val="bg1"/>
                </a:solidFill>
              </a:rPr>
              <a:t>loose skin as their top concern.</a:t>
            </a:r>
          </a:p>
          <a:p>
            <a:pPr marL="285750" indent="-285750">
              <a:buFont typeface="Arial" panose="020B0604020202020204" pitchFamily="34" charset="0"/>
              <a:buChar char="•"/>
              <a:defRPr sz="1300">
                <a:solidFill>
                  <a:srgbClr val="282828"/>
                </a:solidFill>
                <a:latin typeface="Calibri"/>
              </a:defRPr>
            </a:pPr>
            <a:r>
              <a:rPr lang="en-US" sz="1600" dirty="0">
                <a:solidFill>
                  <a:schemeClr val="bg1"/>
                </a:solidFill>
              </a:rPr>
              <a:t>Patients want a mix of 'natural look' vs. transformative change.</a:t>
            </a:r>
          </a:p>
          <a:p>
            <a:pPr marL="285750" indent="-285750">
              <a:buFont typeface="Arial" panose="020B0604020202020204" pitchFamily="34" charset="0"/>
              <a:buChar char="•"/>
              <a:defRPr sz="1300">
                <a:solidFill>
                  <a:srgbClr val="282828"/>
                </a:solidFill>
                <a:latin typeface="Calibri"/>
              </a:defRPr>
            </a:pPr>
            <a:r>
              <a:rPr lang="en-US" sz="1600" b="1" dirty="0">
                <a:solidFill>
                  <a:schemeClr val="bg1"/>
                </a:solidFill>
              </a:rPr>
              <a:t>57% </a:t>
            </a:r>
            <a:r>
              <a:rPr lang="en-US" sz="1600" dirty="0">
                <a:solidFill>
                  <a:schemeClr val="bg1"/>
                </a:solidFill>
              </a:rPr>
              <a:t>seek treatment </a:t>
            </a:r>
            <a:r>
              <a:rPr lang="en-US" sz="1600" b="1" dirty="0">
                <a:solidFill>
                  <a:schemeClr val="bg1"/>
                </a:solidFill>
              </a:rPr>
              <a:t>within 6 months post-weight loss.</a:t>
            </a:r>
          </a:p>
          <a:p>
            <a:pPr marL="285750" indent="-285750">
              <a:buFont typeface="Arial" panose="020B0604020202020204" pitchFamily="34" charset="0"/>
              <a:buChar char="•"/>
              <a:defRPr sz="1300">
                <a:solidFill>
                  <a:srgbClr val="282828"/>
                </a:solidFill>
                <a:latin typeface="Calibri"/>
              </a:defRPr>
            </a:pPr>
            <a:r>
              <a:rPr lang="en-US" sz="1600" dirty="0">
                <a:solidFill>
                  <a:schemeClr val="bg1"/>
                </a:solidFill>
              </a:rPr>
              <a:t>Desire for multi-modality solutions (contour + tighten + restore).</a:t>
            </a:r>
          </a:p>
        </p:txBody>
      </p:sp>
      <p:sp>
        <p:nvSpPr>
          <p:cNvPr id="39" name="TextBox 38">
            <a:extLst>
              <a:ext uri="{FF2B5EF4-FFF2-40B4-BE49-F238E27FC236}">
                <a16:creationId xmlns:a16="http://schemas.microsoft.com/office/drawing/2014/main" id="{9F51A628-C65E-828F-DDA1-023BF6749A64}"/>
              </a:ext>
            </a:extLst>
          </p:cNvPr>
          <p:cNvSpPr txBox="1"/>
          <p:nvPr/>
        </p:nvSpPr>
        <p:spPr>
          <a:xfrm>
            <a:off x="0" y="1023816"/>
            <a:ext cx="12192000" cy="338554"/>
          </a:xfrm>
          <a:prstGeom prst="rect">
            <a:avLst/>
          </a:prstGeom>
          <a:noFill/>
        </p:spPr>
        <p:txBody>
          <a:bodyPr wrap="square">
            <a:spAutoFit/>
          </a:bodyPr>
          <a:lstStyle/>
          <a:p>
            <a:pPr algn="ctr"/>
            <a:r>
              <a:rPr lang="en-US" sz="1600" i="1" dirty="0" err="1">
                <a:solidFill>
                  <a:schemeClr val="accent1"/>
                </a:solidFill>
              </a:rPr>
              <a:t>Apyx</a:t>
            </a:r>
            <a:r>
              <a:rPr lang="en-US" sz="1600" i="1" dirty="0">
                <a:solidFill>
                  <a:schemeClr val="accent1"/>
                </a:solidFill>
              </a:rPr>
              <a:t> is uniquely positioned to lead the surgical aesthetics market and capture the growing post-weight-loss demand</a:t>
            </a:r>
          </a:p>
        </p:txBody>
      </p:sp>
    </p:spTree>
    <p:extLst>
      <p:ext uri="{BB962C8B-B14F-4D97-AF65-F5344CB8AC3E}">
        <p14:creationId xmlns:p14="http://schemas.microsoft.com/office/powerpoint/2010/main" val="1693822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6A4D3C-A8DD-859C-F15B-697F3FA50F64}"/>
            </a:ext>
          </a:extLst>
        </p:cNvPr>
        <p:cNvGrpSpPr/>
        <p:nvPr/>
      </p:nvGrpSpPr>
      <p:grpSpPr>
        <a:xfrm>
          <a:off x="0" y="0"/>
          <a:ext cx="0" cy="0"/>
          <a:chOff x="0" y="0"/>
          <a:chExt cx="0" cy="0"/>
        </a:xfrm>
      </p:grpSpPr>
      <p:grpSp>
        <p:nvGrpSpPr>
          <p:cNvPr id="143" name="Group 142">
            <a:extLst>
              <a:ext uri="{FF2B5EF4-FFF2-40B4-BE49-F238E27FC236}">
                <a16:creationId xmlns:a16="http://schemas.microsoft.com/office/drawing/2014/main" id="{9A6A5EA7-216A-07A7-F211-19C4663F9443}"/>
              </a:ext>
            </a:extLst>
          </p:cNvPr>
          <p:cNvGrpSpPr/>
          <p:nvPr/>
        </p:nvGrpSpPr>
        <p:grpSpPr>
          <a:xfrm>
            <a:off x="2674485" y="1351130"/>
            <a:ext cx="6706247" cy="4470831"/>
            <a:chOff x="3204395" y="1344048"/>
            <a:chExt cx="6403083" cy="4268722"/>
          </a:xfrm>
        </p:grpSpPr>
        <p:graphicFrame>
          <p:nvGraphicFramePr>
            <p:cNvPr id="73" name="Chart 72">
              <a:extLst>
                <a:ext uri="{FF2B5EF4-FFF2-40B4-BE49-F238E27FC236}">
                  <a16:creationId xmlns:a16="http://schemas.microsoft.com/office/drawing/2014/main" id="{9D542D46-E700-13B3-4A95-AE07D65D1643}"/>
                </a:ext>
              </a:extLst>
            </p:cNvPr>
            <p:cNvGraphicFramePr/>
            <p:nvPr/>
          </p:nvGraphicFramePr>
          <p:xfrm>
            <a:off x="3204395" y="1344048"/>
            <a:ext cx="6403083" cy="4268722"/>
          </p:xfrm>
          <a:graphic>
            <a:graphicData uri="http://schemas.openxmlformats.org/drawingml/2006/chart">
              <c:chart xmlns:c="http://schemas.openxmlformats.org/drawingml/2006/chart" xmlns:r="http://schemas.openxmlformats.org/officeDocument/2006/relationships" r:id="rId2"/>
            </a:graphicData>
          </a:graphic>
        </p:graphicFrame>
        <p:sp>
          <p:nvSpPr>
            <p:cNvPr id="74" name="Oval 73">
              <a:extLst>
                <a:ext uri="{FF2B5EF4-FFF2-40B4-BE49-F238E27FC236}">
                  <a16:creationId xmlns:a16="http://schemas.microsoft.com/office/drawing/2014/main" id="{51DFF3E8-36FE-086B-37C8-FE590CF5498C}"/>
                </a:ext>
              </a:extLst>
            </p:cNvPr>
            <p:cNvSpPr/>
            <p:nvPr/>
          </p:nvSpPr>
          <p:spPr>
            <a:xfrm>
              <a:off x="5188301" y="2206477"/>
              <a:ext cx="2601160" cy="2601160"/>
            </a:xfrm>
            <a:prstGeom prst="ellipse">
              <a:avLst/>
            </a:prstGeom>
            <a:solidFill>
              <a:schemeClr val="tx2"/>
            </a:solidFill>
            <a:ln w="114300">
              <a:solidFill>
                <a:schemeClr val="bg1"/>
              </a:solidFill>
            </a:ln>
          </p:spPr>
          <p:style>
            <a:lnRef idx="2">
              <a:schemeClr val="dk1"/>
            </a:lnRef>
            <a:fillRef idx="1">
              <a:schemeClr val="lt1"/>
            </a:fillRef>
            <a:effectRef idx="0">
              <a:schemeClr val="dk1"/>
            </a:effectRef>
            <a:fontRef idx="minor">
              <a:schemeClr val="dk1"/>
            </a:fontRef>
          </p:style>
          <p:txBody>
            <a:bodyPr wrap="square" rtlCol="0" anchor="ctr">
              <a:noAutofit/>
            </a:bodyPr>
            <a:lstStyle/>
            <a:p>
              <a:pPr algn="ctr"/>
              <a:r>
                <a:rPr lang="en-US" sz="4400" dirty="0">
                  <a:solidFill>
                    <a:schemeClr val="bg1"/>
                  </a:solidFill>
                </a:rPr>
                <a:t>&gt;$10B</a:t>
              </a:r>
            </a:p>
          </p:txBody>
        </p:sp>
      </p:grpSp>
      <p:sp>
        <p:nvSpPr>
          <p:cNvPr id="37" name="TextBox 36">
            <a:extLst>
              <a:ext uri="{FF2B5EF4-FFF2-40B4-BE49-F238E27FC236}">
                <a16:creationId xmlns:a16="http://schemas.microsoft.com/office/drawing/2014/main" id="{5DD2C585-F6E9-0943-DC4A-28CB0B78233C}"/>
              </a:ext>
            </a:extLst>
          </p:cNvPr>
          <p:cNvSpPr txBox="1"/>
          <p:nvPr/>
        </p:nvSpPr>
        <p:spPr>
          <a:xfrm>
            <a:off x="359917" y="6253868"/>
            <a:ext cx="3246293" cy="646331"/>
          </a:xfrm>
          <a:prstGeom prst="rect">
            <a:avLst/>
          </a:prstGeom>
          <a:noFill/>
        </p:spPr>
        <p:txBody>
          <a:bodyPr wrap="square" rtlCol="0">
            <a:spAutoFit/>
          </a:bodyPr>
          <a:lstStyle/>
          <a:p>
            <a:pPr marL="173038" indent="-173038">
              <a:buAutoNum type="arabicPeriod"/>
            </a:pPr>
            <a:r>
              <a:rPr lang="en-US" sz="600" dirty="0">
                <a:solidFill>
                  <a:schemeClr val="bg1"/>
                </a:solidFill>
                <a:latin typeface="+mn-lt"/>
                <a:cs typeface="Lucida Sans Unicode" panose="020B0602030504020204" pitchFamily="34" charset="0"/>
              </a:rPr>
              <a:t>Assumes ~15,000 physicians * $155,000 generator list price</a:t>
            </a:r>
          </a:p>
          <a:p>
            <a:pPr marL="173038" indent="-173038">
              <a:buAutoNum type="arabicPeriod"/>
            </a:pPr>
            <a:r>
              <a:rPr lang="en-US" sz="600" dirty="0">
                <a:solidFill>
                  <a:schemeClr val="bg1"/>
                </a:solidFill>
                <a:latin typeface="+mn-lt"/>
                <a:cs typeface="Lucida Sans Unicode" panose="020B0602030504020204" pitchFamily="34" charset="0"/>
              </a:rPr>
              <a:t>Assumes ~1,500,000 annual surgical procedures * $500 handpiece list price</a:t>
            </a:r>
          </a:p>
          <a:p>
            <a:pPr marL="173038" indent="-173038">
              <a:buFontTx/>
              <a:buAutoNum type="arabicPeriod"/>
            </a:pPr>
            <a:r>
              <a:rPr lang="en-US" sz="600" dirty="0">
                <a:solidFill>
                  <a:schemeClr val="bg1"/>
                </a:solidFill>
                <a:latin typeface="+mn-lt"/>
                <a:cs typeface="Lucida Sans Unicode" panose="020B0602030504020204" pitchFamily="34" charset="0"/>
              </a:rPr>
              <a:t>Assumes ~55,000 physicians * $155,000 generator list price</a:t>
            </a:r>
          </a:p>
          <a:p>
            <a:pPr marL="173038" indent="-173038">
              <a:buAutoNum type="arabicPeriod"/>
            </a:pPr>
            <a:r>
              <a:rPr lang="en-US" sz="600" dirty="0">
                <a:solidFill>
                  <a:schemeClr val="bg1"/>
                </a:solidFill>
                <a:latin typeface="+mn-lt"/>
                <a:cs typeface="Lucida Sans Unicode" panose="020B0602030504020204" pitchFamily="34" charset="0"/>
              </a:rPr>
              <a:t>Assumes ~3,600,000 annual surgical procedures * $500 handpiece list price</a:t>
            </a:r>
          </a:p>
          <a:p>
            <a:r>
              <a:rPr lang="en-US" sz="600" b="1" i="1" dirty="0">
                <a:solidFill>
                  <a:schemeClr val="bg1"/>
                </a:solidFill>
                <a:latin typeface="+mn-lt"/>
                <a:cs typeface="Lucida Sans Unicode" panose="020B0602030504020204" pitchFamily="34" charset="0"/>
              </a:rPr>
              <a:t>Source: International Society of Aesthetic Plastic Surgery (ISAPS) 2024</a:t>
            </a:r>
          </a:p>
          <a:p>
            <a:r>
              <a:rPr lang="en-US" sz="600" b="1" i="1" dirty="0">
                <a:solidFill>
                  <a:schemeClr val="bg1"/>
                </a:solidFill>
                <a:cs typeface="Lucida Sans Unicode" panose="020B0602030504020204" pitchFamily="34" charset="0"/>
              </a:rPr>
              <a:t>5. Management estimates’</a:t>
            </a:r>
            <a:endParaRPr lang="en-US" sz="600" b="1" i="1" dirty="0">
              <a:solidFill>
                <a:schemeClr val="bg1"/>
              </a:solidFill>
              <a:latin typeface="+mn-lt"/>
              <a:cs typeface="Lucida Sans Unicode" panose="020B0602030504020204" pitchFamily="34" charset="0"/>
            </a:endParaRPr>
          </a:p>
        </p:txBody>
      </p:sp>
      <p:sp>
        <p:nvSpPr>
          <p:cNvPr id="49" name="Title 48">
            <a:extLst>
              <a:ext uri="{FF2B5EF4-FFF2-40B4-BE49-F238E27FC236}">
                <a16:creationId xmlns:a16="http://schemas.microsoft.com/office/drawing/2014/main" id="{A465E2DA-0BED-6104-F952-28A467F89DF5}"/>
              </a:ext>
            </a:extLst>
          </p:cNvPr>
          <p:cNvSpPr>
            <a:spLocks noGrp="1"/>
          </p:cNvSpPr>
          <p:nvPr>
            <p:ph type="title"/>
          </p:nvPr>
        </p:nvSpPr>
        <p:spPr>
          <a:xfrm>
            <a:off x="200135" y="463635"/>
            <a:ext cx="11683014" cy="665316"/>
          </a:xfrm>
        </p:spPr>
        <p:txBody>
          <a:bodyPr/>
          <a:lstStyle/>
          <a:p>
            <a:r>
              <a:rPr lang="en-US" dirty="0"/>
              <a:t>Multi Billion Dollar Global Market Opportunity </a:t>
            </a:r>
          </a:p>
        </p:txBody>
      </p:sp>
      <p:sp>
        <p:nvSpPr>
          <p:cNvPr id="2" name="Slide Number Placeholder 1">
            <a:extLst>
              <a:ext uri="{FF2B5EF4-FFF2-40B4-BE49-F238E27FC236}">
                <a16:creationId xmlns:a16="http://schemas.microsoft.com/office/drawing/2014/main" id="{FB703CB4-91E4-FCFE-4D5C-21C11D5DF7F4}"/>
              </a:ext>
            </a:extLst>
          </p:cNvPr>
          <p:cNvSpPr>
            <a:spLocks noGrp="1"/>
          </p:cNvSpPr>
          <p:nvPr>
            <p:ph type="sldNum" sz="quarter" idx="12"/>
          </p:nvPr>
        </p:nvSpPr>
        <p:spPr/>
        <p:txBody>
          <a:bodyPr/>
          <a:lstStyle/>
          <a:p>
            <a:fld id="{A300D7A8-33C5-4C89-B444-136428D180BE}" type="slidenum">
              <a:rPr lang="en-US" smtClean="0"/>
              <a:pPr/>
              <a:t>5</a:t>
            </a:fld>
            <a:endParaRPr lang="en-US" dirty="0"/>
          </a:p>
        </p:txBody>
      </p:sp>
      <p:sp>
        <p:nvSpPr>
          <p:cNvPr id="62" name="TextBox 61">
            <a:extLst>
              <a:ext uri="{FF2B5EF4-FFF2-40B4-BE49-F238E27FC236}">
                <a16:creationId xmlns:a16="http://schemas.microsoft.com/office/drawing/2014/main" id="{32793ABA-940D-A455-5CC2-F822B176E7DA}"/>
              </a:ext>
            </a:extLst>
          </p:cNvPr>
          <p:cNvSpPr txBox="1"/>
          <p:nvPr/>
        </p:nvSpPr>
        <p:spPr>
          <a:xfrm>
            <a:off x="263578" y="1061049"/>
            <a:ext cx="4751272" cy="584775"/>
          </a:xfrm>
          <a:prstGeom prst="rect">
            <a:avLst/>
          </a:prstGeom>
          <a:noFill/>
        </p:spPr>
        <p:txBody>
          <a:bodyPr wrap="square">
            <a:spAutoFit/>
          </a:bodyPr>
          <a:lstStyle/>
          <a:p>
            <a:pPr algn="r"/>
            <a:r>
              <a:rPr lang="en-US" sz="1600" b="1" dirty="0">
                <a:solidFill>
                  <a:schemeClr val="accent6"/>
                </a:solidFill>
                <a:latin typeface="Aptos" panose="020B0004020202020204" pitchFamily="34" charset="0"/>
              </a:rPr>
              <a:t>Generators ~$2.3B</a:t>
            </a:r>
            <a:r>
              <a:rPr lang="en-US" sz="1600" b="1" baseline="30000" dirty="0">
                <a:solidFill>
                  <a:schemeClr val="accent6"/>
                </a:solidFill>
                <a:latin typeface="Aptos" panose="020B0004020202020204" pitchFamily="34" charset="0"/>
              </a:rPr>
              <a:t>1</a:t>
            </a:r>
            <a:r>
              <a:rPr lang="en-US" sz="1600" b="1" dirty="0">
                <a:solidFill>
                  <a:schemeClr val="accent6"/>
                </a:solidFill>
                <a:latin typeface="Aptos" panose="020B0004020202020204" pitchFamily="34" charset="0"/>
              </a:rPr>
              <a:t> </a:t>
            </a:r>
          </a:p>
          <a:p>
            <a:pPr algn="r"/>
            <a:r>
              <a:rPr lang="en-US" sz="1600" dirty="0">
                <a:solidFill>
                  <a:schemeClr val="dk1"/>
                </a:solidFill>
                <a:latin typeface="Aptos" panose="020B0004020202020204" pitchFamily="34" charset="0"/>
              </a:rPr>
              <a:t>Market opportunity in U.S. </a:t>
            </a:r>
          </a:p>
        </p:txBody>
      </p:sp>
      <p:sp>
        <p:nvSpPr>
          <p:cNvPr id="63" name="TextBox 62">
            <a:extLst>
              <a:ext uri="{FF2B5EF4-FFF2-40B4-BE49-F238E27FC236}">
                <a16:creationId xmlns:a16="http://schemas.microsoft.com/office/drawing/2014/main" id="{EE972801-1490-2A20-DED1-504E4BC004A4}"/>
              </a:ext>
            </a:extLst>
          </p:cNvPr>
          <p:cNvSpPr txBox="1"/>
          <p:nvPr/>
        </p:nvSpPr>
        <p:spPr>
          <a:xfrm>
            <a:off x="4521512" y="5694999"/>
            <a:ext cx="3429388" cy="830997"/>
          </a:xfrm>
          <a:prstGeom prst="rect">
            <a:avLst/>
          </a:prstGeom>
          <a:noFill/>
          <a:ln w="28575">
            <a:solidFill>
              <a:srgbClr val="E57200"/>
            </a:solidFill>
          </a:ln>
        </p:spPr>
        <p:txBody>
          <a:bodyPr wrap="square">
            <a:spAutoFit/>
          </a:bodyPr>
          <a:lstStyle/>
          <a:p>
            <a:pPr algn="ctr"/>
            <a:r>
              <a:rPr lang="en-US" sz="1600" b="1" dirty="0">
                <a:solidFill>
                  <a:schemeClr val="accent6"/>
                </a:solidFill>
                <a:latin typeface="Aptos" panose="020B0004020202020204" pitchFamily="34" charset="0"/>
              </a:rPr>
              <a:t>$1B+ </a:t>
            </a:r>
            <a:r>
              <a:rPr lang="en-US" sz="1600" dirty="0">
                <a:latin typeface="Aptos" panose="020B0004020202020204" pitchFamily="34" charset="0"/>
              </a:rPr>
              <a:t>Additional U.S. market opportunity now that AYON Body Contouring System approved </a:t>
            </a:r>
            <a:r>
              <a:rPr lang="en-US" sz="1600" dirty="0">
                <a:solidFill>
                  <a:schemeClr val="dk1"/>
                </a:solidFill>
                <a:latin typeface="Aptos" panose="020B0004020202020204" pitchFamily="34" charset="0"/>
              </a:rPr>
              <a:t>by FDA </a:t>
            </a:r>
          </a:p>
        </p:txBody>
      </p:sp>
      <p:sp>
        <p:nvSpPr>
          <p:cNvPr id="64" name="TextBox 63">
            <a:extLst>
              <a:ext uri="{FF2B5EF4-FFF2-40B4-BE49-F238E27FC236}">
                <a16:creationId xmlns:a16="http://schemas.microsoft.com/office/drawing/2014/main" id="{D9650F8A-F778-B5C2-AE75-EF6884AEEEC3}"/>
              </a:ext>
            </a:extLst>
          </p:cNvPr>
          <p:cNvSpPr txBox="1"/>
          <p:nvPr/>
        </p:nvSpPr>
        <p:spPr>
          <a:xfrm>
            <a:off x="308850" y="2123337"/>
            <a:ext cx="3595743" cy="584775"/>
          </a:xfrm>
          <a:prstGeom prst="rect">
            <a:avLst/>
          </a:prstGeom>
          <a:noFill/>
        </p:spPr>
        <p:txBody>
          <a:bodyPr wrap="square">
            <a:spAutoFit/>
          </a:bodyPr>
          <a:lstStyle/>
          <a:p>
            <a:pPr algn="r"/>
            <a:r>
              <a:rPr lang="en-US" sz="1600" b="1" dirty="0">
                <a:solidFill>
                  <a:schemeClr val="accent6"/>
                </a:solidFill>
                <a:latin typeface="Aptos" panose="020B0004020202020204" pitchFamily="34" charset="0"/>
              </a:rPr>
              <a:t>Handpieces ~$750M</a:t>
            </a:r>
            <a:r>
              <a:rPr lang="en-US" sz="1600" b="1" baseline="30000" dirty="0">
                <a:solidFill>
                  <a:schemeClr val="accent6"/>
                </a:solidFill>
                <a:latin typeface="Aptos" panose="020B0004020202020204" pitchFamily="34" charset="0"/>
              </a:rPr>
              <a:t>2</a:t>
            </a:r>
            <a:endParaRPr lang="en-US" sz="1600" b="1" dirty="0">
              <a:solidFill>
                <a:schemeClr val="accent6"/>
              </a:solidFill>
              <a:latin typeface="Aptos" panose="020B0004020202020204" pitchFamily="34" charset="0"/>
            </a:endParaRPr>
          </a:p>
          <a:p>
            <a:pPr algn="r"/>
            <a:r>
              <a:rPr lang="en-US" sz="1600" dirty="0">
                <a:latin typeface="Aptos" panose="020B0004020202020204" pitchFamily="34" charset="0"/>
              </a:rPr>
              <a:t>A</a:t>
            </a:r>
            <a:r>
              <a:rPr lang="en-US" sz="1600" dirty="0">
                <a:solidFill>
                  <a:schemeClr val="dk1"/>
                </a:solidFill>
                <a:latin typeface="Aptos" panose="020B0004020202020204" pitchFamily="34" charset="0"/>
              </a:rPr>
              <a:t>nnual market opportunity in U.S. </a:t>
            </a:r>
          </a:p>
        </p:txBody>
      </p:sp>
      <p:sp>
        <p:nvSpPr>
          <p:cNvPr id="65" name="TextBox 64">
            <a:extLst>
              <a:ext uri="{FF2B5EF4-FFF2-40B4-BE49-F238E27FC236}">
                <a16:creationId xmlns:a16="http://schemas.microsoft.com/office/drawing/2014/main" id="{A877A3CB-8085-32C3-D7B7-9FC095C85E8A}"/>
              </a:ext>
            </a:extLst>
          </p:cNvPr>
          <p:cNvSpPr txBox="1"/>
          <p:nvPr/>
        </p:nvSpPr>
        <p:spPr>
          <a:xfrm>
            <a:off x="359917" y="4778975"/>
            <a:ext cx="3991810" cy="1200329"/>
          </a:xfrm>
          <a:prstGeom prst="rect">
            <a:avLst/>
          </a:prstGeom>
          <a:noFill/>
        </p:spPr>
        <p:txBody>
          <a:bodyPr wrap="square">
            <a:spAutoFit/>
          </a:bodyPr>
          <a:lstStyle/>
          <a:p>
            <a:pPr algn="r"/>
            <a:r>
              <a:rPr lang="en-US" sz="1600" b="1" dirty="0">
                <a:solidFill>
                  <a:schemeClr val="accent6"/>
                </a:solidFill>
                <a:latin typeface="Aptos" panose="020B0004020202020204" pitchFamily="34" charset="0"/>
              </a:rPr>
              <a:t>~1.5M Procedures annually in U.S.</a:t>
            </a:r>
          </a:p>
          <a:p>
            <a:pPr marL="285750" indent="-182880">
              <a:buFont typeface="Arial" panose="020B0604020202020204" pitchFamily="34" charset="0"/>
              <a:buChar char="•"/>
            </a:pPr>
            <a:r>
              <a:rPr lang="en-US" sz="1400" dirty="0">
                <a:solidFill>
                  <a:schemeClr val="dk1"/>
                </a:solidFill>
                <a:latin typeface="Aptos" panose="020B0004020202020204" pitchFamily="34" charset="0"/>
              </a:rPr>
              <a:t>~343K liposuction procedures</a:t>
            </a:r>
          </a:p>
          <a:p>
            <a:pPr marL="285750" indent="-182880">
              <a:buFont typeface="Arial" panose="020B0604020202020204" pitchFamily="34" charset="0"/>
              <a:buChar char="•"/>
            </a:pPr>
            <a:r>
              <a:rPr lang="en-US" sz="1400" dirty="0">
                <a:solidFill>
                  <a:schemeClr val="dk1"/>
                </a:solidFill>
                <a:latin typeface="Aptos" panose="020B0004020202020204" pitchFamily="34" charset="0"/>
              </a:rPr>
              <a:t>~700K surgical body contouring, neck contouring and wrinkle reduction procedures</a:t>
            </a:r>
            <a:r>
              <a:rPr lang="en-US" sz="1400" baseline="30000" dirty="0">
                <a:solidFill>
                  <a:schemeClr val="dk1"/>
                </a:solidFill>
                <a:latin typeface="Aptos" panose="020B0004020202020204" pitchFamily="34" charset="0"/>
              </a:rPr>
              <a:t>5</a:t>
            </a:r>
          </a:p>
          <a:p>
            <a:pPr marL="285750" indent="-182880">
              <a:buFont typeface="Arial" panose="020B0604020202020204" pitchFamily="34" charset="0"/>
              <a:buChar char="•"/>
            </a:pPr>
            <a:r>
              <a:rPr lang="en-US" sz="1400" dirty="0">
                <a:solidFill>
                  <a:schemeClr val="dk1"/>
                </a:solidFill>
                <a:latin typeface="Aptos" panose="020B0004020202020204" pitchFamily="34" charset="0"/>
              </a:rPr>
              <a:t>&gt;400K non-surgical procedures</a:t>
            </a:r>
            <a:r>
              <a:rPr lang="en-US" sz="1400" baseline="30000" dirty="0">
                <a:solidFill>
                  <a:schemeClr val="dk1"/>
                </a:solidFill>
                <a:latin typeface="Aptos" panose="020B0004020202020204" pitchFamily="34" charset="0"/>
              </a:rPr>
              <a:t>5</a:t>
            </a:r>
            <a:r>
              <a:rPr lang="en-US" sz="1400" dirty="0">
                <a:solidFill>
                  <a:schemeClr val="dk1"/>
                </a:solidFill>
                <a:latin typeface="Aptos" panose="020B0004020202020204" pitchFamily="34" charset="0"/>
              </a:rPr>
              <a:t> </a:t>
            </a:r>
          </a:p>
        </p:txBody>
      </p:sp>
      <p:sp>
        <p:nvSpPr>
          <p:cNvPr id="66" name="TextBox 65">
            <a:extLst>
              <a:ext uri="{FF2B5EF4-FFF2-40B4-BE49-F238E27FC236}">
                <a16:creationId xmlns:a16="http://schemas.microsoft.com/office/drawing/2014/main" id="{EC4464D7-EDD6-96D0-4F09-7EA46493B626}"/>
              </a:ext>
            </a:extLst>
          </p:cNvPr>
          <p:cNvSpPr txBox="1"/>
          <p:nvPr/>
        </p:nvSpPr>
        <p:spPr>
          <a:xfrm>
            <a:off x="308851" y="3529786"/>
            <a:ext cx="3511434" cy="830997"/>
          </a:xfrm>
          <a:prstGeom prst="rect">
            <a:avLst/>
          </a:prstGeom>
          <a:noFill/>
        </p:spPr>
        <p:txBody>
          <a:bodyPr wrap="square">
            <a:spAutoFit/>
          </a:bodyPr>
          <a:lstStyle/>
          <a:p>
            <a:pPr algn="r"/>
            <a:r>
              <a:rPr lang="en-US" sz="1600" b="1" dirty="0">
                <a:solidFill>
                  <a:schemeClr val="accent6"/>
                </a:solidFill>
                <a:latin typeface="Aptos" panose="020B0004020202020204" pitchFamily="34" charset="0"/>
              </a:rPr>
              <a:t>~15,000 </a:t>
            </a:r>
            <a:r>
              <a:rPr lang="en-US" sz="1600" dirty="0">
                <a:solidFill>
                  <a:schemeClr val="dk1"/>
                </a:solidFill>
                <a:latin typeface="Aptos" panose="020B0004020202020204" pitchFamily="34" charset="0"/>
              </a:rPr>
              <a:t>Total estimated Plastic surgeons, cosmetic surgeons, &amp; dermatologists in U.S.</a:t>
            </a:r>
          </a:p>
        </p:txBody>
      </p:sp>
      <p:sp>
        <p:nvSpPr>
          <p:cNvPr id="69" name="TextBox 68">
            <a:extLst>
              <a:ext uri="{FF2B5EF4-FFF2-40B4-BE49-F238E27FC236}">
                <a16:creationId xmlns:a16="http://schemas.microsoft.com/office/drawing/2014/main" id="{E7CA7A16-DC4E-93AD-093F-F46A78323004}"/>
              </a:ext>
            </a:extLst>
          </p:cNvPr>
          <p:cNvSpPr txBox="1"/>
          <p:nvPr/>
        </p:nvSpPr>
        <p:spPr>
          <a:xfrm>
            <a:off x="7299973" y="1061049"/>
            <a:ext cx="3179749" cy="584775"/>
          </a:xfrm>
          <a:prstGeom prst="rect">
            <a:avLst/>
          </a:prstGeom>
          <a:noFill/>
        </p:spPr>
        <p:txBody>
          <a:bodyPr wrap="square">
            <a:spAutoFit/>
          </a:bodyPr>
          <a:lstStyle/>
          <a:p>
            <a:r>
              <a:rPr lang="en-US" sz="1600" b="1" dirty="0">
                <a:solidFill>
                  <a:schemeClr val="accent3"/>
                </a:solidFill>
                <a:latin typeface="Aptos" panose="020B0004020202020204" pitchFamily="34" charset="0"/>
              </a:rPr>
              <a:t>Generators ~$8.5B</a:t>
            </a:r>
            <a:r>
              <a:rPr lang="en-US" sz="1600" b="1" baseline="30000" dirty="0">
                <a:solidFill>
                  <a:schemeClr val="accent3"/>
                </a:solidFill>
                <a:latin typeface="Aptos" panose="020B0004020202020204" pitchFamily="34" charset="0"/>
              </a:rPr>
              <a:t>3</a:t>
            </a:r>
            <a:endParaRPr lang="en-US" sz="1600" b="1" dirty="0">
              <a:solidFill>
                <a:schemeClr val="accent3"/>
              </a:solidFill>
              <a:latin typeface="Aptos" panose="020B0004020202020204" pitchFamily="34" charset="0"/>
            </a:endParaRPr>
          </a:p>
          <a:p>
            <a:r>
              <a:rPr lang="en-US" sz="1600" dirty="0">
                <a:solidFill>
                  <a:schemeClr val="dk1"/>
                </a:solidFill>
                <a:latin typeface="Aptos" panose="020B0004020202020204" pitchFamily="34" charset="0"/>
              </a:rPr>
              <a:t>Market opportunity worldwide</a:t>
            </a:r>
          </a:p>
        </p:txBody>
      </p:sp>
      <p:sp>
        <p:nvSpPr>
          <p:cNvPr id="70" name="TextBox 69">
            <a:extLst>
              <a:ext uri="{FF2B5EF4-FFF2-40B4-BE49-F238E27FC236}">
                <a16:creationId xmlns:a16="http://schemas.microsoft.com/office/drawing/2014/main" id="{68DD313B-F681-6464-0B0B-EF53D41ED4FC}"/>
              </a:ext>
            </a:extLst>
          </p:cNvPr>
          <p:cNvSpPr txBox="1"/>
          <p:nvPr/>
        </p:nvSpPr>
        <p:spPr>
          <a:xfrm>
            <a:off x="8287409" y="2123337"/>
            <a:ext cx="3548798" cy="584775"/>
          </a:xfrm>
          <a:prstGeom prst="rect">
            <a:avLst/>
          </a:prstGeom>
          <a:noFill/>
        </p:spPr>
        <p:txBody>
          <a:bodyPr wrap="square">
            <a:spAutoFit/>
          </a:bodyPr>
          <a:lstStyle/>
          <a:p>
            <a:r>
              <a:rPr lang="en-US" sz="1600" b="1" dirty="0">
                <a:solidFill>
                  <a:schemeClr val="accent3"/>
                </a:solidFill>
                <a:latin typeface="Aptos" panose="020B0004020202020204" pitchFamily="34" charset="0"/>
              </a:rPr>
              <a:t>Handpieces ~$1.9B</a:t>
            </a:r>
            <a:r>
              <a:rPr lang="en-US" sz="1600" b="1" baseline="30000" dirty="0">
                <a:solidFill>
                  <a:schemeClr val="accent3"/>
                </a:solidFill>
                <a:latin typeface="Aptos" panose="020B0004020202020204" pitchFamily="34" charset="0"/>
              </a:rPr>
              <a:t>4</a:t>
            </a:r>
          </a:p>
          <a:p>
            <a:r>
              <a:rPr lang="en-US" sz="1600" dirty="0">
                <a:latin typeface="Aptos" panose="020B0004020202020204" pitchFamily="34" charset="0"/>
              </a:rPr>
              <a:t>Annual market opportunity worldwide</a:t>
            </a:r>
          </a:p>
        </p:txBody>
      </p:sp>
      <p:sp>
        <p:nvSpPr>
          <p:cNvPr id="71" name="TextBox 70">
            <a:extLst>
              <a:ext uri="{FF2B5EF4-FFF2-40B4-BE49-F238E27FC236}">
                <a16:creationId xmlns:a16="http://schemas.microsoft.com/office/drawing/2014/main" id="{DBCEDE31-AAEB-65B4-7B56-DA21E3DCA736}"/>
              </a:ext>
            </a:extLst>
          </p:cNvPr>
          <p:cNvSpPr txBox="1"/>
          <p:nvPr/>
        </p:nvSpPr>
        <p:spPr>
          <a:xfrm>
            <a:off x="7996752" y="4886698"/>
            <a:ext cx="3681874" cy="769441"/>
          </a:xfrm>
          <a:prstGeom prst="rect">
            <a:avLst/>
          </a:prstGeom>
          <a:noFill/>
        </p:spPr>
        <p:txBody>
          <a:bodyPr wrap="square">
            <a:spAutoFit/>
          </a:bodyPr>
          <a:lstStyle/>
          <a:p>
            <a:r>
              <a:rPr lang="en-US" sz="1600" b="1" dirty="0">
                <a:solidFill>
                  <a:schemeClr val="accent3"/>
                </a:solidFill>
                <a:latin typeface="Aptos" panose="020B0004020202020204" pitchFamily="34" charset="0"/>
              </a:rPr>
              <a:t>~3.6M Procedures annually worldwide</a:t>
            </a:r>
          </a:p>
          <a:p>
            <a:pPr marL="285750" indent="-182880">
              <a:buFont typeface="Arial" panose="020B0604020202020204" pitchFamily="34" charset="0"/>
              <a:buChar char="•"/>
            </a:pPr>
            <a:r>
              <a:rPr lang="en-US" sz="1400" dirty="0">
                <a:latin typeface="Aptos" panose="020B0004020202020204" pitchFamily="34" charset="0"/>
              </a:rPr>
              <a:t>~2.1M Liposuction procedures</a:t>
            </a:r>
          </a:p>
          <a:p>
            <a:pPr marL="285750" indent="-182880">
              <a:buFont typeface="Arial" panose="020B0604020202020204" pitchFamily="34" charset="0"/>
              <a:buChar char="•"/>
            </a:pPr>
            <a:r>
              <a:rPr lang="en-US" sz="1400" dirty="0">
                <a:latin typeface="Aptos" panose="020B0004020202020204" pitchFamily="34" charset="0"/>
              </a:rPr>
              <a:t>~1.5M Non-Surgical procedures</a:t>
            </a:r>
          </a:p>
        </p:txBody>
      </p:sp>
      <p:sp>
        <p:nvSpPr>
          <p:cNvPr id="72" name="TextBox 71">
            <a:extLst>
              <a:ext uri="{FF2B5EF4-FFF2-40B4-BE49-F238E27FC236}">
                <a16:creationId xmlns:a16="http://schemas.microsoft.com/office/drawing/2014/main" id="{B2FB7F06-4367-5F0B-E4A8-94995F746E76}"/>
              </a:ext>
            </a:extLst>
          </p:cNvPr>
          <p:cNvSpPr txBox="1"/>
          <p:nvPr/>
        </p:nvSpPr>
        <p:spPr>
          <a:xfrm>
            <a:off x="8423116" y="3622118"/>
            <a:ext cx="3460033" cy="584775"/>
          </a:xfrm>
          <a:prstGeom prst="rect">
            <a:avLst/>
          </a:prstGeom>
          <a:noFill/>
        </p:spPr>
        <p:txBody>
          <a:bodyPr wrap="square">
            <a:spAutoFit/>
          </a:bodyPr>
          <a:lstStyle/>
          <a:p>
            <a:r>
              <a:rPr lang="en-US" sz="1600" b="1" dirty="0">
                <a:solidFill>
                  <a:schemeClr val="accent3"/>
                </a:solidFill>
                <a:latin typeface="Aptos" panose="020B0004020202020204" pitchFamily="34" charset="0"/>
              </a:rPr>
              <a:t>~55,000 </a:t>
            </a:r>
            <a:r>
              <a:rPr lang="en-US" sz="1600" dirty="0">
                <a:latin typeface="Aptos" panose="020B0004020202020204" pitchFamily="34" charset="0"/>
              </a:rPr>
              <a:t>Total estimated plastic surgeons worldwide</a:t>
            </a:r>
          </a:p>
        </p:txBody>
      </p:sp>
    </p:spTree>
    <p:extLst>
      <p:ext uri="{BB962C8B-B14F-4D97-AF65-F5344CB8AC3E}">
        <p14:creationId xmlns:p14="http://schemas.microsoft.com/office/powerpoint/2010/main" val="1458222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A3EC16-813A-7316-C98E-FFF9188D4F05}"/>
            </a:ext>
          </a:extLst>
        </p:cNvPr>
        <p:cNvGrpSpPr/>
        <p:nvPr/>
      </p:nvGrpSpPr>
      <p:grpSpPr>
        <a:xfrm>
          <a:off x="0" y="0"/>
          <a:ext cx="0" cy="0"/>
          <a:chOff x="0" y="0"/>
          <a:chExt cx="0" cy="0"/>
        </a:xfrm>
      </p:grpSpPr>
      <p:pic>
        <p:nvPicPr>
          <p:cNvPr id="7" name="Picture 6" descr="A close-up of a small object&#10;&#10;AI-generated content may be incorrect.">
            <a:extLst>
              <a:ext uri="{FF2B5EF4-FFF2-40B4-BE49-F238E27FC236}">
                <a16:creationId xmlns:a16="http://schemas.microsoft.com/office/drawing/2014/main" id="{2E283344-0E23-3254-23BE-A1B228D63E96}"/>
              </a:ext>
            </a:extLst>
          </p:cNvPr>
          <p:cNvPicPr>
            <a:picLocks noChangeAspect="1"/>
          </p:cNvPicPr>
          <p:nvPr/>
        </p:nvPicPr>
        <p:blipFill>
          <a:blip r:embed="rId3">
            <a:clrChange>
              <a:clrFrom>
                <a:srgbClr val="E0E0E0"/>
              </a:clrFrom>
              <a:clrTo>
                <a:srgbClr val="E0E0E0">
                  <a:alpha val="0"/>
                </a:srgbClr>
              </a:clrTo>
            </a:clrChange>
            <a:extLst>
              <a:ext uri="{28A0092B-C50C-407E-A947-70E740481C1C}">
                <a14:useLocalDpi xmlns:a14="http://schemas.microsoft.com/office/drawing/2010/main" val="0"/>
              </a:ext>
            </a:extLst>
          </a:blip>
          <a:srcRect l="24000" t="44994" r="21638" b="11117"/>
          <a:stretch>
            <a:fillRect/>
          </a:stretch>
        </p:blipFill>
        <p:spPr>
          <a:xfrm>
            <a:off x="7359489" y="946250"/>
            <a:ext cx="4389436" cy="5313124"/>
          </a:xfrm>
          <a:prstGeom prst="rect">
            <a:avLst/>
          </a:prstGeom>
        </p:spPr>
      </p:pic>
      <p:sp>
        <p:nvSpPr>
          <p:cNvPr id="5" name="Up Arrow 4">
            <a:extLst>
              <a:ext uri="{FF2B5EF4-FFF2-40B4-BE49-F238E27FC236}">
                <a16:creationId xmlns:a16="http://schemas.microsoft.com/office/drawing/2014/main" id="{BE34C569-B99B-0C6C-FC98-A4C30E48A8C6}"/>
              </a:ext>
            </a:extLst>
          </p:cNvPr>
          <p:cNvSpPr/>
          <p:nvPr/>
        </p:nvSpPr>
        <p:spPr>
          <a:xfrm>
            <a:off x="160108" y="1536404"/>
            <a:ext cx="1960107" cy="5057859"/>
          </a:xfrm>
          <a:prstGeom prst="upArrow">
            <a:avLst>
              <a:gd name="adj1" fmla="val 50000"/>
              <a:gd name="adj2" fmla="val 63146"/>
            </a:avLst>
          </a:prstGeom>
          <a:solidFill>
            <a:schemeClr val="accent6"/>
          </a:solidFill>
          <a:ln>
            <a:noFill/>
          </a:ln>
        </p:spPr>
        <p:style>
          <a:lnRef idx="2">
            <a:schemeClr val="dk1"/>
          </a:lnRef>
          <a:fillRef idx="1">
            <a:schemeClr val="lt1"/>
          </a:fillRef>
          <a:effectRef idx="0">
            <a:schemeClr val="dk1"/>
          </a:effectRef>
          <a:fontRef idx="minor">
            <a:schemeClr val="dk1"/>
          </a:fontRef>
        </p:style>
        <p:txBody>
          <a:bodyPr wrap="square" rtlCol="0" anchor="ctr">
            <a:noAutofit/>
          </a:bodyPr>
          <a:lstStyle/>
          <a:p>
            <a:pPr algn="ctr"/>
            <a:endParaRPr lang="en-US" dirty="0"/>
          </a:p>
        </p:txBody>
      </p:sp>
      <p:sp>
        <p:nvSpPr>
          <p:cNvPr id="27" name="Up Arrow 22">
            <a:extLst>
              <a:ext uri="{FF2B5EF4-FFF2-40B4-BE49-F238E27FC236}">
                <a16:creationId xmlns:a16="http://schemas.microsoft.com/office/drawing/2014/main" id="{BA242679-1DB4-8C35-55D8-DAE4568CE04D}"/>
              </a:ext>
            </a:extLst>
          </p:cNvPr>
          <p:cNvSpPr/>
          <p:nvPr/>
        </p:nvSpPr>
        <p:spPr>
          <a:xfrm>
            <a:off x="1483559" y="3613115"/>
            <a:ext cx="1960107" cy="2981147"/>
          </a:xfrm>
          <a:prstGeom prst="upArrow">
            <a:avLst>
              <a:gd name="adj1" fmla="val 50000"/>
              <a:gd name="adj2" fmla="val 63146"/>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wrap="square" rtlCol="0" anchor="ctr">
            <a:noAutofit/>
          </a:bodyPr>
          <a:lstStyle/>
          <a:p>
            <a:pPr algn="ctr"/>
            <a:endParaRPr lang="en-US" dirty="0"/>
          </a:p>
        </p:txBody>
      </p:sp>
      <p:sp>
        <p:nvSpPr>
          <p:cNvPr id="13" name="Title 11">
            <a:extLst>
              <a:ext uri="{FF2B5EF4-FFF2-40B4-BE49-F238E27FC236}">
                <a16:creationId xmlns:a16="http://schemas.microsoft.com/office/drawing/2014/main" id="{0821BC3F-ABD6-4398-CDBE-BFF6828C8D3F}"/>
              </a:ext>
            </a:extLst>
          </p:cNvPr>
          <p:cNvSpPr>
            <a:spLocks noGrp="1"/>
          </p:cNvSpPr>
          <p:nvPr>
            <p:ph type="title"/>
          </p:nvPr>
        </p:nvSpPr>
        <p:spPr/>
        <p:txBody>
          <a:bodyPr>
            <a:normAutofit fontScale="90000"/>
          </a:bodyPr>
          <a:lstStyle/>
          <a:p>
            <a:r>
              <a:rPr lang="en-US" dirty="0"/>
              <a:t>Renuvion Single-Use Handpieces – recurring revenue</a:t>
            </a:r>
          </a:p>
        </p:txBody>
      </p:sp>
      <p:sp>
        <p:nvSpPr>
          <p:cNvPr id="3" name="Slide Number Placeholder 2">
            <a:extLst>
              <a:ext uri="{FF2B5EF4-FFF2-40B4-BE49-F238E27FC236}">
                <a16:creationId xmlns:a16="http://schemas.microsoft.com/office/drawing/2014/main" id="{646FEA5C-A2D6-6958-2A3C-CF10FC912445}"/>
              </a:ext>
            </a:extLst>
          </p:cNvPr>
          <p:cNvSpPr>
            <a:spLocks noGrp="1"/>
          </p:cNvSpPr>
          <p:nvPr>
            <p:ph type="sldNum" sz="quarter" idx="12"/>
          </p:nvPr>
        </p:nvSpPr>
        <p:spPr/>
        <p:txBody>
          <a:bodyPr/>
          <a:lstStyle/>
          <a:p>
            <a:fld id="{A300D7A8-33C5-4C89-B444-136428D180BE}" type="slidenum">
              <a:rPr lang="en-US" smtClean="0"/>
              <a:t>6</a:t>
            </a:fld>
            <a:endParaRPr lang="en-US" dirty="0"/>
          </a:p>
        </p:txBody>
      </p:sp>
      <p:pic>
        <p:nvPicPr>
          <p:cNvPr id="12" name="Graphic 11">
            <a:extLst>
              <a:ext uri="{FF2B5EF4-FFF2-40B4-BE49-F238E27FC236}">
                <a16:creationId xmlns:a16="http://schemas.microsoft.com/office/drawing/2014/main" id="{5FFCA3D9-C8BC-5E75-0E87-0C156ECE2D6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1102755" y="6259374"/>
            <a:ext cx="846587" cy="418930"/>
          </a:xfrm>
          <a:prstGeom prst="rect">
            <a:avLst/>
          </a:prstGeom>
        </p:spPr>
      </p:pic>
      <p:sp>
        <p:nvSpPr>
          <p:cNvPr id="15" name="TextBox 14">
            <a:extLst>
              <a:ext uri="{FF2B5EF4-FFF2-40B4-BE49-F238E27FC236}">
                <a16:creationId xmlns:a16="http://schemas.microsoft.com/office/drawing/2014/main" id="{607FE13D-CD06-E6BE-D49C-C29494A56E24}"/>
              </a:ext>
            </a:extLst>
          </p:cNvPr>
          <p:cNvSpPr txBox="1"/>
          <p:nvPr/>
        </p:nvSpPr>
        <p:spPr>
          <a:xfrm>
            <a:off x="2349135" y="1520822"/>
            <a:ext cx="7326205" cy="1911357"/>
          </a:xfrm>
          <a:prstGeom prst="rect">
            <a:avLst/>
          </a:prstGeom>
          <a:noFill/>
        </p:spPr>
        <p:txBody>
          <a:bodyPr wrap="square">
            <a:spAutoFit/>
          </a:bodyPr>
          <a:lstStyle/>
          <a:p>
            <a:pPr>
              <a:lnSpc>
                <a:spcPct val="110000"/>
              </a:lnSpc>
              <a:spcBef>
                <a:spcPts val="1200"/>
              </a:spcBef>
              <a:buClr>
                <a:schemeClr val="accent1"/>
              </a:buClr>
            </a:pPr>
            <a:r>
              <a:rPr lang="en-US" sz="1800" dirty="0">
                <a:solidFill>
                  <a:schemeClr val="tx1"/>
                </a:solidFill>
                <a:latin typeface="Aptos" panose="020B0004020202020204" pitchFamily="34" charset="0"/>
                <a:ea typeface="+mn-ea"/>
                <a:cs typeface="+mn-cs"/>
              </a:rPr>
              <a:t>&gt;93,000 surgical procedures were completed using Renuvion single-use handpieces in 2024</a:t>
            </a:r>
          </a:p>
          <a:p>
            <a:pPr>
              <a:lnSpc>
                <a:spcPct val="110000"/>
              </a:lnSpc>
              <a:spcBef>
                <a:spcPts val="1200"/>
              </a:spcBef>
              <a:buClr>
                <a:schemeClr val="accent1"/>
              </a:buClr>
            </a:pPr>
            <a:r>
              <a:rPr lang="en-US" dirty="0">
                <a:latin typeface="Aptos" panose="020B0004020202020204" pitchFamily="34" charset="0"/>
              </a:rPr>
              <a:t>Single-use handpiece sales account for more than 60% of revenue for the Surgical Aesthetics business segment in 2024</a:t>
            </a:r>
          </a:p>
          <a:p>
            <a:pPr>
              <a:lnSpc>
                <a:spcPct val="110000"/>
              </a:lnSpc>
              <a:spcBef>
                <a:spcPts val="1200"/>
              </a:spcBef>
              <a:buClr>
                <a:schemeClr val="accent1"/>
              </a:buClr>
            </a:pPr>
            <a:r>
              <a:rPr lang="en-US" dirty="0">
                <a:latin typeface="Aptos" panose="020B0004020202020204" pitchFamily="34" charset="0"/>
              </a:rPr>
              <a:t>Current handpiece usages averages approximately 3 per month</a:t>
            </a:r>
          </a:p>
        </p:txBody>
      </p:sp>
      <p:sp>
        <p:nvSpPr>
          <p:cNvPr id="18" name="TextBox 17">
            <a:extLst>
              <a:ext uri="{FF2B5EF4-FFF2-40B4-BE49-F238E27FC236}">
                <a16:creationId xmlns:a16="http://schemas.microsoft.com/office/drawing/2014/main" id="{32C0E9DE-2FA0-D874-4673-F2C407824AE2}"/>
              </a:ext>
            </a:extLst>
          </p:cNvPr>
          <p:cNvSpPr txBox="1"/>
          <p:nvPr/>
        </p:nvSpPr>
        <p:spPr>
          <a:xfrm>
            <a:off x="387351" y="1008040"/>
            <a:ext cx="5050132" cy="400110"/>
          </a:xfrm>
          <a:prstGeom prst="rect">
            <a:avLst/>
          </a:prstGeom>
          <a:noFill/>
        </p:spPr>
        <p:txBody>
          <a:bodyPr wrap="square">
            <a:spAutoFit/>
          </a:bodyPr>
          <a:lstStyle/>
          <a:p>
            <a:r>
              <a:rPr lang="en-US" sz="2000" b="1" dirty="0">
                <a:latin typeface="Aptos" panose="020B0004020202020204" pitchFamily="34" charset="0"/>
                <a:ea typeface="+mn-ea"/>
                <a:cs typeface="+mn-cs"/>
              </a:rPr>
              <a:t>Growth Driver over past year</a:t>
            </a:r>
            <a:endParaRPr lang="en-US" sz="2000" b="1" dirty="0"/>
          </a:p>
        </p:txBody>
      </p:sp>
      <p:sp>
        <p:nvSpPr>
          <p:cNvPr id="24" name="Freeform: Shape 11">
            <a:extLst>
              <a:ext uri="{FF2B5EF4-FFF2-40B4-BE49-F238E27FC236}">
                <a16:creationId xmlns:a16="http://schemas.microsoft.com/office/drawing/2014/main" id="{1DC2B097-1441-369E-6629-8DEC28F561A8}"/>
              </a:ext>
            </a:extLst>
          </p:cNvPr>
          <p:cNvSpPr/>
          <p:nvPr/>
        </p:nvSpPr>
        <p:spPr>
          <a:xfrm>
            <a:off x="0" y="5903360"/>
            <a:ext cx="12192000" cy="954641"/>
          </a:xfrm>
          <a:custGeom>
            <a:avLst/>
            <a:gdLst>
              <a:gd name="connsiteX0" fmla="*/ 0 w 12192000"/>
              <a:gd name="connsiteY0" fmla="*/ 0 h 954641"/>
              <a:gd name="connsiteX1" fmla="*/ 490536 w 12192000"/>
              <a:gd name="connsiteY1" fmla="*/ 118768 h 954641"/>
              <a:gd name="connsiteX2" fmla="*/ 6096000 w 12192000"/>
              <a:gd name="connsiteY2" fmla="*/ 673154 h 954641"/>
              <a:gd name="connsiteX3" fmla="*/ 11701464 w 12192000"/>
              <a:gd name="connsiteY3" fmla="*/ 118768 h 954641"/>
              <a:gd name="connsiteX4" fmla="*/ 12192000 w 12192000"/>
              <a:gd name="connsiteY4" fmla="*/ 0 h 954641"/>
              <a:gd name="connsiteX5" fmla="*/ 12192000 w 12192000"/>
              <a:gd name="connsiteY5" fmla="*/ 954641 h 954641"/>
              <a:gd name="connsiteX6" fmla="*/ 0 w 12192000"/>
              <a:gd name="connsiteY6" fmla="*/ 954641 h 954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954641">
                <a:moveTo>
                  <a:pt x="0" y="0"/>
                </a:moveTo>
                <a:lnTo>
                  <a:pt x="490536" y="118768"/>
                </a:lnTo>
                <a:cubicBezTo>
                  <a:pt x="2090648" y="468779"/>
                  <a:pt x="4019610" y="673154"/>
                  <a:pt x="6096000" y="673154"/>
                </a:cubicBezTo>
                <a:cubicBezTo>
                  <a:pt x="8172391" y="673154"/>
                  <a:pt x="10101352" y="468779"/>
                  <a:pt x="11701464" y="118768"/>
                </a:cubicBezTo>
                <a:lnTo>
                  <a:pt x="12192000" y="0"/>
                </a:lnTo>
                <a:lnTo>
                  <a:pt x="12192000" y="954641"/>
                </a:lnTo>
                <a:lnTo>
                  <a:pt x="0" y="954641"/>
                </a:lnTo>
                <a:close/>
              </a:path>
            </a:pathLst>
          </a:custGeom>
          <a:gradFill>
            <a:gsLst>
              <a:gs pos="47000">
                <a:schemeClr val="tx2"/>
              </a:gs>
              <a:gs pos="100000">
                <a:schemeClr val="tx2">
                  <a:lumMod val="75000"/>
                </a:schemeClr>
              </a:gs>
            </a:gsLst>
            <a:lin ang="5400000" scaled="1"/>
          </a:gradFill>
          <a:ln>
            <a:noFill/>
          </a:ln>
          <a:effectLst>
            <a:outerShdw blurRad="88900" dist="12700" dir="16200000" rotWithShape="0">
              <a:prstClr val="black">
                <a:alpha val="25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pic>
        <p:nvPicPr>
          <p:cNvPr id="6" name="Picture 5">
            <a:extLst>
              <a:ext uri="{FF2B5EF4-FFF2-40B4-BE49-F238E27FC236}">
                <a16:creationId xmlns:a16="http://schemas.microsoft.com/office/drawing/2014/main" id="{6D22DFBF-88E0-580B-A944-045C132FE22F}"/>
              </a:ext>
            </a:extLst>
          </p:cNvPr>
          <p:cNvPicPr>
            <a:picLocks noChangeAspect="1"/>
          </p:cNvPicPr>
          <p:nvPr/>
        </p:nvPicPr>
        <p:blipFill rotWithShape="1">
          <a:blip r:embed="rId6">
            <a:extLst>
              <a:ext uri="{28A0092B-C50C-407E-A947-70E740481C1C}">
                <a14:useLocalDpi xmlns:a14="http://schemas.microsoft.com/office/drawing/2010/main" val="0"/>
              </a:ext>
            </a:extLst>
          </a:blip>
          <a:stretch/>
        </p:blipFill>
        <p:spPr>
          <a:xfrm>
            <a:off x="3686324" y="3613116"/>
            <a:ext cx="3730107" cy="2869313"/>
          </a:xfrm>
          <a:prstGeom prst="rect">
            <a:avLst/>
          </a:prstGeom>
        </p:spPr>
      </p:pic>
    </p:spTree>
    <p:extLst>
      <p:ext uri="{BB962C8B-B14F-4D97-AF65-F5344CB8AC3E}">
        <p14:creationId xmlns:p14="http://schemas.microsoft.com/office/powerpoint/2010/main" val="1280070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798014-3E9F-0101-C1E9-F41DF345FDE1}"/>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D64C377-5CED-4EFC-2BF3-89090F55F8CC}"/>
              </a:ext>
            </a:extLst>
          </p:cNvPr>
          <p:cNvSpPr>
            <a:spLocks noGrp="1"/>
          </p:cNvSpPr>
          <p:nvPr>
            <p:ph type="sldNum" sz="quarter" idx="12"/>
          </p:nvPr>
        </p:nvSpPr>
        <p:spPr/>
        <p:txBody>
          <a:bodyPr/>
          <a:lstStyle/>
          <a:p>
            <a:fld id="{2255CA7B-1B59-4C07-BE3D-E8AE49649A7D}" type="slidenum">
              <a:rPr lang="en-US" smtClean="0"/>
              <a:t>7</a:t>
            </a:fld>
            <a:endParaRPr lang="en-US" dirty="0"/>
          </a:p>
        </p:txBody>
      </p:sp>
      <p:sp>
        <p:nvSpPr>
          <p:cNvPr id="5" name="Title 4">
            <a:extLst>
              <a:ext uri="{FF2B5EF4-FFF2-40B4-BE49-F238E27FC236}">
                <a16:creationId xmlns:a16="http://schemas.microsoft.com/office/drawing/2014/main" id="{E1717067-B4E5-39B4-1B1B-508CB8CF935F}"/>
              </a:ext>
            </a:extLst>
          </p:cNvPr>
          <p:cNvSpPr>
            <a:spLocks noGrp="1"/>
          </p:cNvSpPr>
          <p:nvPr>
            <p:ph type="title"/>
          </p:nvPr>
        </p:nvSpPr>
        <p:spPr>
          <a:xfrm>
            <a:off x="266330" y="448236"/>
            <a:ext cx="4452627" cy="552745"/>
          </a:xfrm>
        </p:spPr>
        <p:txBody>
          <a:bodyPr>
            <a:noAutofit/>
          </a:bodyPr>
          <a:lstStyle/>
          <a:p>
            <a:pPr>
              <a:lnSpc>
                <a:spcPct val="100000"/>
              </a:lnSpc>
            </a:pPr>
            <a:r>
              <a:rPr lang="en-US" dirty="0">
                <a:solidFill>
                  <a:schemeClr val="accent2"/>
                </a:solidFill>
              </a:rPr>
              <a:t>How Renuvion Works</a:t>
            </a:r>
          </a:p>
        </p:txBody>
      </p:sp>
      <p:sp>
        <p:nvSpPr>
          <p:cNvPr id="2" name="TextBox 1">
            <a:extLst>
              <a:ext uri="{FF2B5EF4-FFF2-40B4-BE49-F238E27FC236}">
                <a16:creationId xmlns:a16="http://schemas.microsoft.com/office/drawing/2014/main" id="{2758E880-DD69-875D-18A4-462D5D114069}"/>
              </a:ext>
            </a:extLst>
          </p:cNvPr>
          <p:cNvSpPr txBox="1"/>
          <p:nvPr/>
        </p:nvSpPr>
        <p:spPr>
          <a:xfrm>
            <a:off x="306440" y="1782256"/>
            <a:ext cx="3931674" cy="3764300"/>
          </a:xfrm>
          <a:prstGeom prst="rect">
            <a:avLst/>
          </a:prstGeom>
          <a:noFill/>
        </p:spPr>
        <p:txBody>
          <a:bodyPr wrap="square" rtlCol="0">
            <a:spAutoFit/>
          </a:bodyPr>
          <a:lstStyle/>
          <a:p>
            <a:pPr>
              <a:lnSpc>
                <a:spcPct val="120000"/>
              </a:lnSpc>
            </a:pPr>
            <a:r>
              <a:rPr lang="en-GB" sz="2000" dirty="0">
                <a:solidFill>
                  <a:schemeClr val="accent2"/>
                </a:solidFill>
                <a:latin typeface="Aptos" panose="020B0004020202020204" pitchFamily="34" charset="0"/>
              </a:rPr>
              <a:t>Renuvion</a:t>
            </a:r>
            <a:r>
              <a:rPr lang="en-GB" sz="2000" baseline="30000" dirty="0">
                <a:solidFill>
                  <a:schemeClr val="accent2"/>
                </a:solidFill>
                <a:latin typeface="Aptos" panose="020B0004020202020204" pitchFamily="34" charset="0"/>
              </a:rPr>
              <a:t>®</a:t>
            </a:r>
            <a:r>
              <a:rPr lang="en-GB" sz="2000" dirty="0">
                <a:solidFill>
                  <a:schemeClr val="accent2"/>
                </a:solidFill>
                <a:latin typeface="Aptos" panose="020B0004020202020204" pitchFamily="34" charset="0"/>
              </a:rPr>
              <a:t> utilizes a unique combination of helium plasma and proprietary radiofrequency energy</a:t>
            </a:r>
            <a:r>
              <a:rPr lang="en-US" sz="2000" dirty="0">
                <a:solidFill>
                  <a:schemeClr val="accent2"/>
                </a:solidFill>
                <a:latin typeface="Aptos" panose="020B0004020202020204" pitchFamily="34" charset="0"/>
              </a:rPr>
              <a:t> applied via a single-use wand  inserted under the skin. The energy contracts collagen fibers, pulling the skin closer to the muscle for a smooth, contoured appearance in just minutes.</a:t>
            </a:r>
          </a:p>
          <a:p>
            <a:pPr>
              <a:lnSpc>
                <a:spcPct val="120000"/>
              </a:lnSpc>
            </a:pPr>
            <a:endParaRPr lang="en-GB" sz="2000" dirty="0">
              <a:solidFill>
                <a:schemeClr val="accent2"/>
              </a:solidFill>
              <a:latin typeface="Aptos" panose="020B0004020202020204" pitchFamily="34" charset="0"/>
            </a:endParaRPr>
          </a:p>
        </p:txBody>
      </p:sp>
      <p:sp>
        <p:nvSpPr>
          <p:cNvPr id="8" name="object 2"/>
          <p:cNvSpPr txBox="1"/>
          <p:nvPr/>
        </p:nvSpPr>
        <p:spPr>
          <a:xfrm>
            <a:off x="9543704" y="616840"/>
            <a:ext cx="2185860" cy="679453"/>
          </a:xfrm>
          <a:prstGeom prst="rect">
            <a:avLst/>
          </a:prstGeom>
        </p:spPr>
        <p:txBody>
          <a:bodyPr vert="horz" wrap="square" lIns="0" tIns="33500" rIns="0" bIns="0" rtlCol="0">
            <a:spAutoFit/>
          </a:bodyPr>
          <a:lstStyle/>
          <a:p>
            <a:pPr marL="7701" marR="3081">
              <a:lnSpc>
                <a:spcPct val="120000"/>
              </a:lnSpc>
              <a:spcBef>
                <a:spcPts val="263"/>
              </a:spcBef>
            </a:pPr>
            <a:r>
              <a:rPr lang="en-US" dirty="0">
                <a:latin typeface="Aptos" panose="020B0004020202020204" pitchFamily="34" charset="0"/>
                <a:cs typeface="Lucida Sans Unicode"/>
              </a:rPr>
              <a:t>Handpiece inserted sub-dermally</a:t>
            </a:r>
          </a:p>
        </p:txBody>
      </p:sp>
      <p:sp>
        <p:nvSpPr>
          <p:cNvPr id="35" name="object 2">
            <a:extLst>
              <a:ext uri="{FF2B5EF4-FFF2-40B4-BE49-F238E27FC236}">
                <a16:creationId xmlns:a16="http://schemas.microsoft.com/office/drawing/2014/main" id="{96783EDE-C872-644E-8D74-23F4969AC05D}"/>
              </a:ext>
            </a:extLst>
          </p:cNvPr>
          <p:cNvSpPr txBox="1"/>
          <p:nvPr/>
        </p:nvSpPr>
        <p:spPr>
          <a:xfrm>
            <a:off x="9006759" y="2731012"/>
            <a:ext cx="2287564" cy="679453"/>
          </a:xfrm>
          <a:prstGeom prst="rect">
            <a:avLst/>
          </a:prstGeom>
        </p:spPr>
        <p:txBody>
          <a:bodyPr vert="horz" wrap="square" lIns="0" tIns="33500" rIns="0" bIns="0" rtlCol="0">
            <a:spAutoFit/>
          </a:bodyPr>
          <a:lstStyle/>
          <a:p>
            <a:pPr marL="7701" marR="3081">
              <a:lnSpc>
                <a:spcPct val="120000"/>
              </a:lnSpc>
              <a:spcBef>
                <a:spcPts val="263"/>
              </a:spcBef>
            </a:pPr>
            <a:r>
              <a:rPr lang="en-US" dirty="0">
                <a:latin typeface="Aptos" panose="020B0004020202020204" pitchFamily="34" charset="0"/>
                <a:cs typeface="Lucida Sans Unicode"/>
              </a:rPr>
              <a:t>Contract skin via direct heating</a:t>
            </a:r>
          </a:p>
        </p:txBody>
      </p:sp>
      <p:sp>
        <p:nvSpPr>
          <p:cNvPr id="38" name="object 2">
            <a:extLst>
              <a:ext uri="{FF2B5EF4-FFF2-40B4-BE49-F238E27FC236}">
                <a16:creationId xmlns:a16="http://schemas.microsoft.com/office/drawing/2014/main" id="{A39E392F-DC75-CBBD-A5B4-3C6D81204842}"/>
              </a:ext>
            </a:extLst>
          </p:cNvPr>
          <p:cNvSpPr txBox="1"/>
          <p:nvPr/>
        </p:nvSpPr>
        <p:spPr>
          <a:xfrm>
            <a:off x="9543704" y="4666517"/>
            <a:ext cx="2185860" cy="1011852"/>
          </a:xfrm>
          <a:prstGeom prst="rect">
            <a:avLst/>
          </a:prstGeom>
        </p:spPr>
        <p:txBody>
          <a:bodyPr vert="horz" wrap="square" lIns="0" tIns="33500" rIns="0" bIns="0" rtlCol="0">
            <a:spAutoFit/>
          </a:bodyPr>
          <a:lstStyle/>
          <a:p>
            <a:pPr marL="7701" marR="3081">
              <a:lnSpc>
                <a:spcPct val="120000"/>
              </a:lnSpc>
              <a:spcBef>
                <a:spcPts val="263"/>
              </a:spcBef>
            </a:pPr>
            <a:r>
              <a:rPr lang="en-US" dirty="0">
                <a:latin typeface="Aptos" panose="020B0004020202020204" pitchFamily="34" charset="0"/>
                <a:cs typeface="Lucida Sans Unicode"/>
              </a:rPr>
              <a:t>Longer-term skin contraction through neocollagenesis</a:t>
            </a:r>
          </a:p>
        </p:txBody>
      </p:sp>
      <p:pic>
        <p:nvPicPr>
          <p:cNvPr id="39" name="Picture 38" descr="A close-up of a person's stomach&#10;&#10;Description automatically generated">
            <a:extLst>
              <a:ext uri="{FF2B5EF4-FFF2-40B4-BE49-F238E27FC236}">
                <a16:creationId xmlns:a16="http://schemas.microsoft.com/office/drawing/2014/main" id="{A7EDB777-FFE8-C471-3AB0-2C3BF3B98BB7}"/>
              </a:ext>
            </a:extLst>
          </p:cNvPr>
          <p:cNvPicPr>
            <a:picLocks noChangeAspect="1"/>
          </p:cNvPicPr>
          <p:nvPr/>
        </p:nvPicPr>
        <p:blipFill rotWithShape="1">
          <a:blip r:embed="rId2">
            <a:extLst>
              <a:ext uri="{28A0092B-C50C-407E-A947-70E740481C1C}">
                <a14:useLocalDpi xmlns:a14="http://schemas.microsoft.com/office/drawing/2010/main" val="0"/>
              </a:ext>
            </a:extLst>
          </a:blip>
          <a:srcRect l="19457" t="17100" b="22794"/>
          <a:stretch/>
        </p:blipFill>
        <p:spPr>
          <a:xfrm>
            <a:off x="5559814" y="237613"/>
            <a:ext cx="3653286" cy="1527473"/>
          </a:xfrm>
          <a:prstGeom prst="rect">
            <a:avLst/>
          </a:prstGeom>
        </p:spPr>
      </p:pic>
      <p:pic>
        <p:nvPicPr>
          <p:cNvPr id="40" name="Picture 39" descr="A close-up of a structure&#10;&#10;Description automatically generated">
            <a:extLst>
              <a:ext uri="{FF2B5EF4-FFF2-40B4-BE49-F238E27FC236}">
                <a16:creationId xmlns:a16="http://schemas.microsoft.com/office/drawing/2014/main" id="{0B95AD2E-3C50-2624-5D41-37B58E35BE3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092309" y="2041385"/>
            <a:ext cx="3643850" cy="2013323"/>
          </a:xfrm>
          <a:prstGeom prst="rect">
            <a:avLst/>
          </a:prstGeom>
        </p:spPr>
      </p:pic>
      <p:pic>
        <p:nvPicPr>
          <p:cNvPr id="41" name="Picture 40" descr="A close-up of a structure&#10;&#10;Description automatically generated">
            <a:extLst>
              <a:ext uri="{FF2B5EF4-FFF2-40B4-BE49-F238E27FC236}">
                <a16:creationId xmlns:a16="http://schemas.microsoft.com/office/drawing/2014/main" id="{7C7A5D13-AE4D-9AF6-6E8A-F6C0C28B1168}"/>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t="15945"/>
          <a:stretch/>
        </p:blipFill>
        <p:spPr>
          <a:xfrm>
            <a:off x="5569251" y="4303490"/>
            <a:ext cx="3643849" cy="1737906"/>
          </a:xfrm>
          <a:prstGeom prst="rect">
            <a:avLst/>
          </a:prstGeom>
        </p:spPr>
      </p:pic>
    </p:spTree>
    <p:extLst>
      <p:ext uri="{BB962C8B-B14F-4D97-AF65-F5344CB8AC3E}">
        <p14:creationId xmlns:p14="http://schemas.microsoft.com/office/powerpoint/2010/main" val="41269744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5CDAD20A-ED4C-B0E4-FF28-E76054B757C2}"/>
              </a:ext>
            </a:extLst>
          </p:cNvPr>
          <p:cNvSpPr txBox="1"/>
          <p:nvPr/>
        </p:nvSpPr>
        <p:spPr>
          <a:xfrm>
            <a:off x="275925" y="1430490"/>
            <a:ext cx="5259009" cy="3816429"/>
          </a:xfrm>
          <a:prstGeom prst="rect">
            <a:avLst/>
          </a:prstGeom>
          <a:noFill/>
        </p:spPr>
        <p:txBody>
          <a:bodyPr wrap="square" rtlCol="0">
            <a:spAutoFit/>
          </a:bodyPr>
          <a:lstStyle/>
          <a:p>
            <a:pPr algn="l">
              <a:spcBef>
                <a:spcPts val="1200"/>
              </a:spcBef>
            </a:pPr>
            <a:r>
              <a:rPr lang="en-US" sz="2400" b="1" dirty="0">
                <a:solidFill>
                  <a:schemeClr val="accent2"/>
                </a:solidFill>
                <a:latin typeface="Aptos" panose="020B0004020202020204" pitchFamily="34" charset="0"/>
              </a:rPr>
              <a:t>PATIENT </a:t>
            </a:r>
          </a:p>
          <a:p>
            <a:pPr algn="l">
              <a:spcBef>
                <a:spcPts val="1200"/>
              </a:spcBef>
            </a:pPr>
            <a:r>
              <a:rPr lang="en-US" dirty="0">
                <a:solidFill>
                  <a:schemeClr val="tx2"/>
                </a:solidFill>
                <a:latin typeface="Aptos" panose="020B0004020202020204" pitchFamily="34" charset="0"/>
              </a:rPr>
              <a:t>51-YEAR-OLD MALE </a:t>
            </a:r>
          </a:p>
          <a:p>
            <a:pPr algn="l">
              <a:spcBef>
                <a:spcPts val="1200"/>
              </a:spcBef>
            </a:pPr>
            <a:endParaRPr lang="en-US" sz="2400" b="1" dirty="0">
              <a:solidFill>
                <a:schemeClr val="accent2"/>
              </a:solidFill>
              <a:latin typeface="Aptos" panose="020B0004020202020204" pitchFamily="34" charset="0"/>
            </a:endParaRPr>
          </a:p>
          <a:p>
            <a:pPr algn="l">
              <a:spcBef>
                <a:spcPts val="1200"/>
              </a:spcBef>
            </a:pPr>
            <a:r>
              <a:rPr lang="en-US" sz="2400" b="1" dirty="0">
                <a:solidFill>
                  <a:schemeClr val="accent2"/>
                </a:solidFill>
                <a:latin typeface="Aptos" panose="020B0004020202020204" pitchFamily="34" charset="0"/>
              </a:rPr>
              <a:t>PROCEDURE TYPE</a:t>
            </a:r>
          </a:p>
          <a:p>
            <a:pPr>
              <a:spcBef>
                <a:spcPts val="1200"/>
              </a:spcBef>
            </a:pPr>
            <a:r>
              <a:rPr lang="en-US" dirty="0">
                <a:solidFill>
                  <a:schemeClr val="tx2"/>
                </a:solidFill>
                <a:latin typeface="Aptos" panose="020B0004020202020204" pitchFamily="34" charset="0"/>
              </a:rPr>
              <a:t>LIPOSUCTION + RENUVION</a:t>
            </a:r>
            <a:r>
              <a:rPr lang="en-US" baseline="30000" dirty="0">
                <a:solidFill>
                  <a:schemeClr val="tx2"/>
                </a:solidFill>
                <a:latin typeface="Aptos" panose="020B0004020202020204" pitchFamily="34" charset="0"/>
              </a:rPr>
              <a:t>®</a:t>
            </a:r>
          </a:p>
          <a:p>
            <a:pPr algn="l">
              <a:spcBef>
                <a:spcPts val="1200"/>
              </a:spcBef>
            </a:pPr>
            <a:endParaRPr lang="en-US" sz="2400" b="1" dirty="0">
              <a:solidFill>
                <a:schemeClr val="accent2"/>
              </a:solidFill>
              <a:latin typeface="Aptos" panose="020B0004020202020204" pitchFamily="34" charset="0"/>
            </a:endParaRPr>
          </a:p>
          <a:p>
            <a:pPr algn="l">
              <a:spcBef>
                <a:spcPts val="1200"/>
              </a:spcBef>
            </a:pPr>
            <a:r>
              <a:rPr lang="en-US" sz="2400" b="1" dirty="0">
                <a:solidFill>
                  <a:schemeClr val="accent2"/>
                </a:solidFill>
                <a:latin typeface="Aptos" panose="020B0004020202020204" pitchFamily="34" charset="0"/>
              </a:rPr>
              <a:t>AMOUNT OF FAT REMOVED</a:t>
            </a:r>
          </a:p>
          <a:p>
            <a:pPr>
              <a:spcBef>
                <a:spcPts val="1200"/>
              </a:spcBef>
            </a:pPr>
            <a:r>
              <a:rPr lang="en-US" dirty="0">
                <a:solidFill>
                  <a:schemeClr val="tx2"/>
                </a:solidFill>
                <a:latin typeface="Aptos" panose="020B0004020202020204" pitchFamily="34" charset="0"/>
              </a:rPr>
              <a:t>100 ml</a:t>
            </a:r>
          </a:p>
        </p:txBody>
      </p:sp>
      <p:cxnSp>
        <p:nvCxnSpPr>
          <p:cNvPr id="8" name="Straight Connector 7">
            <a:extLst>
              <a:ext uri="{FF2B5EF4-FFF2-40B4-BE49-F238E27FC236}">
                <a16:creationId xmlns:a16="http://schemas.microsoft.com/office/drawing/2014/main" id="{20E0018C-901A-C1CA-5959-1E7BD48AD980}"/>
              </a:ext>
            </a:extLst>
          </p:cNvPr>
          <p:cNvCxnSpPr/>
          <p:nvPr/>
        </p:nvCxnSpPr>
        <p:spPr>
          <a:xfrm>
            <a:off x="398719" y="2617738"/>
            <a:ext cx="3803226" cy="0"/>
          </a:xfrm>
          <a:prstGeom prst="line">
            <a:avLst/>
          </a:prstGeom>
          <a:ln w="9525">
            <a:solidFill>
              <a:schemeClr val="accent5">
                <a:alpha val="50000"/>
              </a:schemeClr>
            </a:solidFill>
          </a:ln>
        </p:spPr>
        <p:style>
          <a:lnRef idx="2">
            <a:schemeClr val="accent1"/>
          </a:lnRef>
          <a:fillRef idx="0">
            <a:schemeClr val="accent1"/>
          </a:fillRef>
          <a:effectRef idx="1">
            <a:schemeClr val="accent1"/>
          </a:effectRef>
          <a:fontRef idx="minor">
            <a:schemeClr val="tx1"/>
          </a:fontRef>
        </p:style>
      </p:cxnSp>
      <p:cxnSp>
        <p:nvCxnSpPr>
          <p:cNvPr id="10" name="Straight Connector 9">
            <a:extLst>
              <a:ext uri="{FF2B5EF4-FFF2-40B4-BE49-F238E27FC236}">
                <a16:creationId xmlns:a16="http://schemas.microsoft.com/office/drawing/2014/main" id="{C276FCF4-C870-8807-B844-E4B7E699D089}"/>
              </a:ext>
            </a:extLst>
          </p:cNvPr>
          <p:cNvCxnSpPr/>
          <p:nvPr/>
        </p:nvCxnSpPr>
        <p:spPr>
          <a:xfrm>
            <a:off x="369678" y="4081617"/>
            <a:ext cx="3803226" cy="0"/>
          </a:xfrm>
          <a:prstGeom prst="line">
            <a:avLst/>
          </a:prstGeom>
          <a:ln w="9525">
            <a:solidFill>
              <a:schemeClr val="accent5">
                <a:alpha val="50000"/>
              </a:schemeClr>
            </a:solidFill>
          </a:ln>
        </p:spPr>
        <p:style>
          <a:lnRef idx="2">
            <a:schemeClr val="accent1"/>
          </a:lnRef>
          <a:fillRef idx="0">
            <a:schemeClr val="accent1"/>
          </a:fillRef>
          <a:effectRef idx="1">
            <a:schemeClr val="accent1"/>
          </a:effectRef>
          <a:fontRef idx="minor">
            <a:schemeClr val="tx1"/>
          </a:fontRef>
        </p:style>
      </p:cxnSp>
      <p:sp>
        <p:nvSpPr>
          <p:cNvPr id="13" name="TextBox 12">
            <a:extLst>
              <a:ext uri="{FF2B5EF4-FFF2-40B4-BE49-F238E27FC236}">
                <a16:creationId xmlns:a16="http://schemas.microsoft.com/office/drawing/2014/main" id="{B12E6151-7947-7111-17EE-E19A90E19AC5}"/>
              </a:ext>
            </a:extLst>
          </p:cNvPr>
          <p:cNvSpPr txBox="1"/>
          <p:nvPr/>
        </p:nvSpPr>
        <p:spPr>
          <a:xfrm>
            <a:off x="3614849" y="5959905"/>
            <a:ext cx="4937760" cy="230832"/>
          </a:xfrm>
          <a:prstGeom prst="rect">
            <a:avLst/>
          </a:prstGeom>
          <a:noFill/>
        </p:spPr>
        <p:txBody>
          <a:bodyPr wrap="square" rtlCol="0" anchor="b">
            <a:spAutoFit/>
          </a:bodyPr>
          <a:lstStyle/>
          <a:p>
            <a:r>
              <a:rPr lang="en-GB" sz="900" dirty="0"/>
              <a:t>Photos courtesy of Grant Hamlet, MD. *Patient gained 14 lbs since initial procedure</a:t>
            </a:r>
          </a:p>
        </p:txBody>
      </p:sp>
      <p:sp>
        <p:nvSpPr>
          <p:cNvPr id="50" name="Rectangle: Rounded Corners 49">
            <a:extLst>
              <a:ext uri="{FF2B5EF4-FFF2-40B4-BE49-F238E27FC236}">
                <a16:creationId xmlns:a16="http://schemas.microsoft.com/office/drawing/2014/main" id="{8882A551-A962-2F47-CB17-066E7DF1B98F}"/>
              </a:ext>
            </a:extLst>
          </p:cNvPr>
          <p:cNvSpPr/>
          <p:nvPr/>
        </p:nvSpPr>
        <p:spPr>
          <a:xfrm>
            <a:off x="5804687" y="1547062"/>
            <a:ext cx="2724536" cy="3150870"/>
          </a:xfrm>
          <a:prstGeom prst="roundRect">
            <a:avLst>
              <a:gd name="adj" fmla="val 6758"/>
            </a:avLst>
          </a:prstGeom>
          <a:ln w="9525">
            <a:solidFill>
              <a:schemeClr val="accent3">
                <a:alpha val="50000"/>
              </a:schemeClr>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2400" dirty="0">
              <a:latin typeface="Aptos" panose="020B0004020202020204" pitchFamily="34" charset="0"/>
            </a:endParaRPr>
          </a:p>
        </p:txBody>
      </p:sp>
      <p:sp>
        <p:nvSpPr>
          <p:cNvPr id="51" name="Rectangle: Rounded Corners 50">
            <a:extLst>
              <a:ext uri="{FF2B5EF4-FFF2-40B4-BE49-F238E27FC236}">
                <a16:creationId xmlns:a16="http://schemas.microsoft.com/office/drawing/2014/main" id="{7D5C1F0B-9335-BF4F-CD21-55585B749986}"/>
              </a:ext>
            </a:extLst>
          </p:cNvPr>
          <p:cNvSpPr/>
          <p:nvPr/>
        </p:nvSpPr>
        <p:spPr>
          <a:xfrm>
            <a:off x="8814521" y="1547062"/>
            <a:ext cx="2724536" cy="3150870"/>
          </a:xfrm>
          <a:prstGeom prst="roundRect">
            <a:avLst>
              <a:gd name="adj" fmla="val 6758"/>
            </a:avLst>
          </a:prstGeom>
          <a:ln w="9525">
            <a:solidFill>
              <a:schemeClr val="accent3">
                <a:alpha val="50000"/>
              </a:schemeClr>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2400" dirty="0">
              <a:latin typeface="Aptos" panose="020B0004020202020204" pitchFamily="34" charset="0"/>
            </a:endParaRPr>
          </a:p>
        </p:txBody>
      </p:sp>
      <p:sp>
        <p:nvSpPr>
          <p:cNvPr id="52" name="TextBox 51">
            <a:extLst>
              <a:ext uri="{FF2B5EF4-FFF2-40B4-BE49-F238E27FC236}">
                <a16:creationId xmlns:a16="http://schemas.microsoft.com/office/drawing/2014/main" id="{A79B244C-D388-92AF-565E-932DE7953DD1}"/>
              </a:ext>
            </a:extLst>
          </p:cNvPr>
          <p:cNvSpPr txBox="1"/>
          <p:nvPr/>
        </p:nvSpPr>
        <p:spPr>
          <a:xfrm>
            <a:off x="6341714" y="4788102"/>
            <a:ext cx="1648823" cy="369332"/>
          </a:xfrm>
          <a:prstGeom prst="rect">
            <a:avLst/>
          </a:prstGeom>
          <a:noFill/>
        </p:spPr>
        <p:txBody>
          <a:bodyPr wrap="square">
            <a:spAutoFit/>
          </a:bodyPr>
          <a:lstStyle/>
          <a:p>
            <a:pPr algn="ctr"/>
            <a:r>
              <a:rPr lang="en-US" dirty="0">
                <a:solidFill>
                  <a:schemeClr val="accent3"/>
                </a:solidFill>
                <a:latin typeface="Aptos" panose="020B0004020202020204" pitchFamily="34" charset="0"/>
              </a:rPr>
              <a:t>BEFORE</a:t>
            </a:r>
          </a:p>
        </p:txBody>
      </p:sp>
      <p:sp>
        <p:nvSpPr>
          <p:cNvPr id="53" name="TextBox 52">
            <a:extLst>
              <a:ext uri="{FF2B5EF4-FFF2-40B4-BE49-F238E27FC236}">
                <a16:creationId xmlns:a16="http://schemas.microsoft.com/office/drawing/2014/main" id="{C91A2D85-2E2B-85CA-FC20-45E73649DB1F}"/>
              </a:ext>
            </a:extLst>
          </p:cNvPr>
          <p:cNvSpPr txBox="1"/>
          <p:nvPr/>
        </p:nvSpPr>
        <p:spPr>
          <a:xfrm>
            <a:off x="8814522" y="4788102"/>
            <a:ext cx="2636654" cy="369332"/>
          </a:xfrm>
          <a:prstGeom prst="rect">
            <a:avLst/>
          </a:prstGeom>
          <a:noFill/>
        </p:spPr>
        <p:txBody>
          <a:bodyPr wrap="square">
            <a:spAutoFit/>
          </a:bodyPr>
          <a:lstStyle/>
          <a:p>
            <a:pPr algn="ctr"/>
            <a:r>
              <a:rPr lang="en-US" dirty="0">
                <a:solidFill>
                  <a:schemeClr val="accent3"/>
                </a:solidFill>
                <a:latin typeface="Aptos" panose="020B0004020202020204" pitchFamily="34" charset="0"/>
              </a:rPr>
              <a:t>5.5 MONTHS POST-OP*</a:t>
            </a:r>
          </a:p>
        </p:txBody>
      </p:sp>
      <p:sp>
        <p:nvSpPr>
          <p:cNvPr id="54" name="Rectangle: Rounded Corners 53">
            <a:extLst>
              <a:ext uri="{FF2B5EF4-FFF2-40B4-BE49-F238E27FC236}">
                <a16:creationId xmlns:a16="http://schemas.microsoft.com/office/drawing/2014/main" id="{29DEC11D-7E31-7A30-C659-83BB854D738F}"/>
              </a:ext>
            </a:extLst>
          </p:cNvPr>
          <p:cNvSpPr/>
          <p:nvPr/>
        </p:nvSpPr>
        <p:spPr>
          <a:xfrm>
            <a:off x="5891740" y="1637232"/>
            <a:ext cx="2548772" cy="2973858"/>
          </a:xfrm>
          <a:prstGeom prst="roundRect">
            <a:avLst>
              <a:gd name="adj" fmla="val 6701"/>
            </a:avLst>
          </a:prstGeom>
          <a:blipFill>
            <a:blip r:embed="rId2"/>
            <a:srcRect/>
            <a:stretch>
              <a:fillRect l="-82" r="-82"/>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400" dirty="0">
              <a:latin typeface="Aptos" panose="020B0004020202020204" pitchFamily="34" charset="0"/>
            </a:endParaRPr>
          </a:p>
        </p:txBody>
      </p:sp>
      <p:sp>
        <p:nvSpPr>
          <p:cNvPr id="55" name="Rectangle: Rounded Corners 54">
            <a:extLst>
              <a:ext uri="{FF2B5EF4-FFF2-40B4-BE49-F238E27FC236}">
                <a16:creationId xmlns:a16="http://schemas.microsoft.com/office/drawing/2014/main" id="{764251D3-E7FE-CAE2-D5A4-F0D62667F079}"/>
              </a:ext>
            </a:extLst>
          </p:cNvPr>
          <p:cNvSpPr/>
          <p:nvPr/>
        </p:nvSpPr>
        <p:spPr>
          <a:xfrm>
            <a:off x="8902403" y="1637232"/>
            <a:ext cx="2548772" cy="2973858"/>
          </a:xfrm>
          <a:prstGeom prst="roundRect">
            <a:avLst>
              <a:gd name="adj" fmla="val 6701"/>
            </a:avLst>
          </a:prstGeom>
          <a:blipFill>
            <a:blip r:embed="rId3"/>
            <a:srcRect/>
            <a:stretch>
              <a:fillRect t="-8" b="-8"/>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400" dirty="0">
              <a:latin typeface="Aptos" panose="020B0004020202020204" pitchFamily="34" charset="0"/>
            </a:endParaRPr>
          </a:p>
        </p:txBody>
      </p:sp>
      <p:sp>
        <p:nvSpPr>
          <p:cNvPr id="3" name="Slide Number Placeholder 2">
            <a:extLst>
              <a:ext uri="{FF2B5EF4-FFF2-40B4-BE49-F238E27FC236}">
                <a16:creationId xmlns:a16="http://schemas.microsoft.com/office/drawing/2014/main" id="{AF123DBF-9191-97DA-CA3B-427D2A6C43DA}"/>
              </a:ext>
            </a:extLst>
          </p:cNvPr>
          <p:cNvSpPr>
            <a:spLocks noGrp="1"/>
          </p:cNvSpPr>
          <p:nvPr>
            <p:ph type="sldNum" sz="quarter" idx="12"/>
          </p:nvPr>
        </p:nvSpPr>
        <p:spPr/>
        <p:txBody>
          <a:bodyPr/>
          <a:lstStyle/>
          <a:p>
            <a:fld id="{2255CA7B-1B59-4C07-BE3D-E8AE49649A7D}" type="slidenum">
              <a:rPr lang="en-US" smtClean="0"/>
              <a:t>8</a:t>
            </a:fld>
            <a:endParaRPr lang="en-US" dirty="0"/>
          </a:p>
        </p:txBody>
      </p:sp>
      <p:sp>
        <p:nvSpPr>
          <p:cNvPr id="24" name="Title 23">
            <a:extLst>
              <a:ext uri="{FF2B5EF4-FFF2-40B4-BE49-F238E27FC236}">
                <a16:creationId xmlns:a16="http://schemas.microsoft.com/office/drawing/2014/main" id="{C9A619B0-8017-0519-89A1-18B0E94F7F70}"/>
              </a:ext>
            </a:extLst>
          </p:cNvPr>
          <p:cNvSpPr>
            <a:spLocks noGrp="1"/>
          </p:cNvSpPr>
          <p:nvPr>
            <p:ph type="title"/>
          </p:nvPr>
        </p:nvSpPr>
        <p:spPr/>
        <p:txBody>
          <a:bodyPr/>
          <a:lstStyle/>
          <a:p>
            <a:r>
              <a:rPr lang="en-US" sz="3200" dirty="0"/>
              <a:t>REAL RESULTS</a:t>
            </a:r>
            <a:endParaRPr lang="en-US" dirty="0"/>
          </a:p>
        </p:txBody>
      </p:sp>
      <p:grpSp>
        <p:nvGrpSpPr>
          <p:cNvPr id="6" name="Google Shape;1044;p32">
            <a:extLst>
              <a:ext uri="{FF2B5EF4-FFF2-40B4-BE49-F238E27FC236}">
                <a16:creationId xmlns:a16="http://schemas.microsoft.com/office/drawing/2014/main" id="{A3B3903F-9731-7735-1AD9-5B03EE1F52B6}"/>
              </a:ext>
            </a:extLst>
          </p:cNvPr>
          <p:cNvGrpSpPr/>
          <p:nvPr/>
        </p:nvGrpSpPr>
        <p:grpSpPr>
          <a:xfrm>
            <a:off x="10199076" y="268006"/>
            <a:ext cx="1683501" cy="168280"/>
            <a:chOff x="164111" y="391413"/>
            <a:chExt cx="2266145" cy="229878"/>
          </a:xfrm>
        </p:grpSpPr>
        <p:grpSp>
          <p:nvGrpSpPr>
            <p:cNvPr id="7" name="Google Shape;1045;p32">
              <a:extLst>
                <a:ext uri="{FF2B5EF4-FFF2-40B4-BE49-F238E27FC236}">
                  <a16:creationId xmlns:a16="http://schemas.microsoft.com/office/drawing/2014/main" id="{DB5FEC4A-1E90-47D2-7FF7-05108428BD4B}"/>
                </a:ext>
              </a:extLst>
            </p:cNvPr>
            <p:cNvGrpSpPr/>
            <p:nvPr/>
          </p:nvGrpSpPr>
          <p:grpSpPr>
            <a:xfrm>
              <a:off x="1566687" y="428756"/>
              <a:ext cx="863568" cy="155834"/>
              <a:chOff x="2472023" y="2775771"/>
              <a:chExt cx="7269765" cy="1311850"/>
            </a:xfrm>
          </p:grpSpPr>
          <p:sp>
            <p:nvSpPr>
              <p:cNvPr id="12" name="Google Shape;1046;p32">
                <a:extLst>
                  <a:ext uri="{FF2B5EF4-FFF2-40B4-BE49-F238E27FC236}">
                    <a16:creationId xmlns:a16="http://schemas.microsoft.com/office/drawing/2014/main" id="{09860829-481C-961B-7114-45E49967356C}"/>
                  </a:ext>
                </a:extLst>
              </p:cNvPr>
              <p:cNvSpPr/>
              <p:nvPr/>
            </p:nvSpPr>
            <p:spPr>
              <a:xfrm>
                <a:off x="8178355" y="2775771"/>
                <a:ext cx="1563433" cy="1311850"/>
              </a:xfrm>
              <a:custGeom>
                <a:avLst/>
                <a:gdLst/>
                <a:ahLst/>
                <a:cxnLst/>
                <a:rect l="l" t="t" r="r" b="b"/>
                <a:pathLst>
                  <a:path w="1563433" h="1311850" extrusionOk="0">
                    <a:moveTo>
                      <a:pt x="782574" y="0"/>
                    </a:moveTo>
                    <a:cubicBezTo>
                      <a:pt x="887349" y="321030"/>
                      <a:pt x="992124" y="642060"/>
                      <a:pt x="1096899" y="965362"/>
                    </a:cubicBezTo>
                    <a:cubicBezTo>
                      <a:pt x="1104615" y="944256"/>
                      <a:pt x="1111663" y="925233"/>
                      <a:pt x="1118616" y="906115"/>
                    </a:cubicBezTo>
                    <a:cubicBezTo>
                      <a:pt x="1220216" y="627107"/>
                      <a:pt x="1322039" y="348035"/>
                      <a:pt x="1424083" y="68900"/>
                    </a:cubicBezTo>
                    <a:cubicBezTo>
                      <a:pt x="1425712" y="61119"/>
                      <a:pt x="1433248" y="56015"/>
                      <a:pt x="1441132" y="57354"/>
                    </a:cubicBezTo>
                    <a:cubicBezTo>
                      <a:pt x="1481138" y="57354"/>
                      <a:pt x="1521047" y="57354"/>
                      <a:pt x="1563434" y="57354"/>
                    </a:cubicBezTo>
                    <a:cubicBezTo>
                      <a:pt x="1407509" y="475299"/>
                      <a:pt x="1251966" y="891351"/>
                      <a:pt x="1095375" y="1310999"/>
                    </a:cubicBezTo>
                    <a:cubicBezTo>
                      <a:pt x="990600" y="1001989"/>
                      <a:pt x="885825" y="695818"/>
                      <a:pt x="781050" y="387659"/>
                    </a:cubicBezTo>
                    <a:cubicBezTo>
                      <a:pt x="676275" y="696480"/>
                      <a:pt x="571500" y="1002841"/>
                      <a:pt x="466725" y="1311851"/>
                    </a:cubicBezTo>
                    <a:lnTo>
                      <a:pt x="0" y="60099"/>
                    </a:lnTo>
                    <a:cubicBezTo>
                      <a:pt x="1834" y="59507"/>
                      <a:pt x="3714" y="59064"/>
                      <a:pt x="5620" y="58773"/>
                    </a:cubicBezTo>
                    <a:cubicBezTo>
                      <a:pt x="46387" y="58773"/>
                      <a:pt x="87154" y="58773"/>
                      <a:pt x="127921" y="58773"/>
                    </a:cubicBezTo>
                    <a:cubicBezTo>
                      <a:pt x="135350" y="58773"/>
                      <a:pt x="136398" y="63506"/>
                      <a:pt x="138208" y="68238"/>
                    </a:cubicBezTo>
                    <a:cubicBezTo>
                      <a:pt x="158083" y="122752"/>
                      <a:pt x="177927" y="177298"/>
                      <a:pt x="197739" y="231876"/>
                    </a:cubicBezTo>
                    <a:lnTo>
                      <a:pt x="460057" y="952396"/>
                    </a:lnTo>
                    <a:cubicBezTo>
                      <a:pt x="461296" y="955803"/>
                      <a:pt x="462725" y="959115"/>
                      <a:pt x="465296" y="965740"/>
                    </a:cubicBezTo>
                    <a:cubicBezTo>
                      <a:pt x="571119" y="641871"/>
                      <a:pt x="675799" y="321125"/>
                      <a:pt x="780574" y="379"/>
                    </a:cubicBezTo>
                    <a:close/>
                  </a:path>
                </a:pathLst>
              </a:custGeom>
              <a:solidFill>
                <a:srgbClr val="163D6D"/>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102D60"/>
                  </a:buClr>
                  <a:buSzPts val="1800"/>
                  <a:buFont typeface="Century Gothic"/>
                  <a:buNone/>
                  <a:tabLst/>
                  <a:defRPr/>
                </a:pPr>
                <a:endParaRPr kumimoji="0" sz="1800" b="0" i="0" u="none" strike="noStrike" kern="0" cap="none" spc="0" normalizeH="0" baseline="0" noProof="0" dirty="0">
                  <a:ln>
                    <a:noFill/>
                  </a:ln>
                  <a:solidFill>
                    <a:srgbClr val="000000"/>
                  </a:solidFill>
                  <a:effectLst/>
                  <a:uLnTx/>
                  <a:uFillTx/>
                  <a:latin typeface="Century Gothic"/>
                  <a:ea typeface="Century Gothic"/>
                  <a:cs typeface="Century Gothic"/>
                  <a:sym typeface="Century Gothic"/>
                </a:endParaRPr>
              </a:p>
            </p:txBody>
          </p:sp>
          <p:sp>
            <p:nvSpPr>
              <p:cNvPr id="16" name="Google Shape;1047;p32">
                <a:extLst>
                  <a:ext uri="{FF2B5EF4-FFF2-40B4-BE49-F238E27FC236}">
                    <a16:creationId xmlns:a16="http://schemas.microsoft.com/office/drawing/2014/main" id="{CA5E6C20-B862-0397-7B4A-A887E7AE5DB6}"/>
                  </a:ext>
                </a:extLst>
              </p:cNvPr>
              <p:cNvSpPr/>
              <p:nvPr/>
            </p:nvSpPr>
            <p:spPr>
              <a:xfrm>
                <a:off x="6869239" y="2818549"/>
                <a:ext cx="1268731" cy="1260649"/>
              </a:xfrm>
              <a:custGeom>
                <a:avLst/>
                <a:gdLst/>
                <a:ahLst/>
                <a:cxnLst/>
                <a:rect l="l" t="t" r="r" b="b"/>
                <a:pathLst>
                  <a:path w="1268731" h="1260649" extrusionOk="0">
                    <a:moveTo>
                      <a:pt x="1268730" y="630136"/>
                    </a:moveTo>
                    <a:cubicBezTo>
                      <a:pt x="1268835" y="978255"/>
                      <a:pt x="984905" y="1260545"/>
                      <a:pt x="634555" y="1260649"/>
                    </a:cubicBezTo>
                    <a:cubicBezTo>
                      <a:pt x="284205" y="1260753"/>
                      <a:pt x="105" y="978632"/>
                      <a:pt x="0" y="630513"/>
                    </a:cubicBezTo>
                    <a:cubicBezTo>
                      <a:pt x="-105" y="282395"/>
                      <a:pt x="283825" y="104"/>
                      <a:pt x="634175" y="0"/>
                    </a:cubicBezTo>
                    <a:cubicBezTo>
                      <a:pt x="634524" y="0"/>
                      <a:pt x="634874" y="0"/>
                      <a:pt x="635222" y="1"/>
                    </a:cubicBezTo>
                    <a:cubicBezTo>
                      <a:pt x="984573" y="-523"/>
                      <a:pt x="1268204" y="280453"/>
                      <a:pt x="1268731" y="627578"/>
                    </a:cubicBezTo>
                    <a:cubicBezTo>
                      <a:pt x="1268733" y="628430"/>
                      <a:pt x="1268732" y="629283"/>
                      <a:pt x="1268730" y="630136"/>
                    </a:cubicBezTo>
                    <a:close/>
                    <a:moveTo>
                      <a:pt x="633889" y="1119726"/>
                    </a:moveTo>
                    <a:cubicBezTo>
                      <a:pt x="906488" y="1119412"/>
                      <a:pt x="1127218" y="899580"/>
                      <a:pt x="1126902" y="628717"/>
                    </a:cubicBezTo>
                    <a:cubicBezTo>
                      <a:pt x="1126587" y="357853"/>
                      <a:pt x="905345" y="138529"/>
                      <a:pt x="632746" y="138843"/>
                    </a:cubicBezTo>
                    <a:cubicBezTo>
                      <a:pt x="360369" y="139156"/>
                      <a:pt x="139732" y="358642"/>
                      <a:pt x="139732" y="629284"/>
                    </a:cubicBezTo>
                    <a:cubicBezTo>
                      <a:pt x="138993" y="899415"/>
                      <a:pt x="358782" y="1118994"/>
                      <a:pt x="630645" y="1119728"/>
                    </a:cubicBezTo>
                    <a:cubicBezTo>
                      <a:pt x="631726" y="1119731"/>
                      <a:pt x="632807" y="1119730"/>
                      <a:pt x="633889" y="1119726"/>
                    </a:cubicBezTo>
                    <a:close/>
                  </a:path>
                </a:pathLst>
              </a:custGeom>
              <a:solidFill>
                <a:srgbClr val="163D6D"/>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102D60"/>
                  </a:buClr>
                  <a:buSzPts val="1800"/>
                  <a:buFont typeface="Century Gothic"/>
                  <a:buNone/>
                  <a:tabLst/>
                  <a:defRPr/>
                </a:pPr>
                <a:endParaRPr kumimoji="0" sz="1800" b="0" i="0" u="none" strike="noStrike" kern="0" cap="none" spc="0" normalizeH="0" baseline="0" noProof="0" dirty="0">
                  <a:ln>
                    <a:noFill/>
                  </a:ln>
                  <a:solidFill>
                    <a:srgbClr val="000000"/>
                  </a:solidFill>
                  <a:effectLst/>
                  <a:uLnTx/>
                  <a:uFillTx/>
                  <a:latin typeface="Century Gothic"/>
                  <a:ea typeface="Century Gothic"/>
                  <a:cs typeface="Century Gothic"/>
                  <a:sym typeface="Century Gothic"/>
                </a:endParaRPr>
              </a:p>
            </p:txBody>
          </p:sp>
          <p:sp>
            <p:nvSpPr>
              <p:cNvPr id="18" name="Google Shape;1048;p32">
                <a:extLst>
                  <a:ext uri="{FF2B5EF4-FFF2-40B4-BE49-F238E27FC236}">
                    <a16:creationId xmlns:a16="http://schemas.microsoft.com/office/drawing/2014/main" id="{3D931546-49EC-4AA3-F7EB-C4933F608F25}"/>
                  </a:ext>
                </a:extLst>
              </p:cNvPr>
              <p:cNvSpPr/>
              <p:nvPr/>
            </p:nvSpPr>
            <p:spPr>
              <a:xfrm>
                <a:off x="2472023" y="2851581"/>
                <a:ext cx="939926" cy="1187868"/>
              </a:xfrm>
              <a:custGeom>
                <a:avLst/>
                <a:gdLst/>
                <a:ahLst/>
                <a:cxnLst/>
                <a:rect l="l" t="t" r="r" b="b"/>
                <a:pathLst>
                  <a:path w="939926" h="1187868" extrusionOk="0">
                    <a:moveTo>
                      <a:pt x="123920" y="475015"/>
                    </a:moveTo>
                    <a:lnTo>
                      <a:pt x="266795" y="365134"/>
                    </a:lnTo>
                    <a:cubicBezTo>
                      <a:pt x="422116" y="245252"/>
                      <a:pt x="577501" y="125371"/>
                      <a:pt x="732949" y="5489"/>
                    </a:cubicBezTo>
                    <a:cubicBezTo>
                      <a:pt x="736949" y="2231"/>
                      <a:pt x="741882" y="310"/>
                      <a:pt x="747046" y="0"/>
                    </a:cubicBezTo>
                    <a:cubicBezTo>
                      <a:pt x="804958" y="0"/>
                      <a:pt x="862870" y="0"/>
                      <a:pt x="920782" y="0"/>
                    </a:cubicBezTo>
                    <a:cubicBezTo>
                      <a:pt x="921830" y="0"/>
                      <a:pt x="922877" y="0"/>
                      <a:pt x="926497" y="946"/>
                    </a:cubicBezTo>
                    <a:lnTo>
                      <a:pt x="198025" y="563222"/>
                    </a:lnTo>
                    <a:lnTo>
                      <a:pt x="939927" y="1187868"/>
                    </a:lnTo>
                    <a:lnTo>
                      <a:pt x="926783" y="1187868"/>
                    </a:lnTo>
                    <a:cubicBezTo>
                      <a:pt x="869633" y="1187868"/>
                      <a:pt x="812483" y="1187868"/>
                      <a:pt x="755333" y="1187868"/>
                    </a:cubicBezTo>
                    <a:cubicBezTo>
                      <a:pt x="749094" y="1187631"/>
                      <a:pt x="743106" y="1185371"/>
                      <a:pt x="738283" y="1181433"/>
                    </a:cubicBezTo>
                    <a:cubicBezTo>
                      <a:pt x="589566" y="1055241"/>
                      <a:pt x="441071" y="928829"/>
                      <a:pt x="292799" y="802197"/>
                    </a:cubicBezTo>
                    <a:lnTo>
                      <a:pt x="139446" y="671589"/>
                    </a:lnTo>
                    <a:cubicBezTo>
                      <a:pt x="135160" y="667898"/>
                      <a:pt x="130683" y="664301"/>
                      <a:pt x="124778" y="659285"/>
                    </a:cubicBezTo>
                    <a:lnTo>
                      <a:pt x="124778" y="1187395"/>
                    </a:lnTo>
                    <a:lnTo>
                      <a:pt x="0" y="1187395"/>
                    </a:lnTo>
                    <a:lnTo>
                      <a:pt x="0" y="379"/>
                    </a:lnTo>
                    <a:lnTo>
                      <a:pt x="123825" y="379"/>
                    </a:lnTo>
                    <a:close/>
                  </a:path>
                </a:pathLst>
              </a:custGeom>
              <a:solidFill>
                <a:srgbClr val="163D6D"/>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102D60"/>
                  </a:buClr>
                  <a:buSzPts val="1800"/>
                  <a:buFont typeface="Century Gothic"/>
                  <a:buNone/>
                  <a:tabLst/>
                  <a:defRPr/>
                </a:pPr>
                <a:endParaRPr kumimoji="0" sz="1800" b="0" i="0" u="none" strike="noStrike" kern="0" cap="none" spc="0" normalizeH="0" baseline="0" noProof="0" dirty="0">
                  <a:ln>
                    <a:noFill/>
                  </a:ln>
                  <a:solidFill>
                    <a:srgbClr val="000000"/>
                  </a:solidFill>
                  <a:effectLst/>
                  <a:uLnTx/>
                  <a:uFillTx/>
                  <a:latin typeface="Century Gothic"/>
                  <a:ea typeface="Century Gothic"/>
                  <a:cs typeface="Century Gothic"/>
                  <a:sym typeface="Century Gothic"/>
                </a:endParaRPr>
              </a:p>
            </p:txBody>
          </p:sp>
          <p:sp>
            <p:nvSpPr>
              <p:cNvPr id="19" name="Google Shape;1049;p32">
                <a:extLst>
                  <a:ext uri="{FF2B5EF4-FFF2-40B4-BE49-F238E27FC236}">
                    <a16:creationId xmlns:a16="http://schemas.microsoft.com/office/drawing/2014/main" id="{EDD11FAE-67CF-848C-6755-2B6FDF42EA2F}"/>
                  </a:ext>
                </a:extLst>
              </p:cNvPr>
              <p:cNvSpPr/>
              <p:nvPr/>
            </p:nvSpPr>
            <p:spPr>
              <a:xfrm>
                <a:off x="4903279" y="2857259"/>
                <a:ext cx="884876" cy="1181621"/>
              </a:xfrm>
              <a:custGeom>
                <a:avLst/>
                <a:gdLst/>
                <a:ahLst/>
                <a:cxnLst/>
                <a:rect l="l" t="t" r="r" b="b"/>
                <a:pathLst>
                  <a:path w="884876" h="1181621" extrusionOk="0">
                    <a:moveTo>
                      <a:pt x="123825" y="756295"/>
                    </a:moveTo>
                    <a:lnTo>
                      <a:pt x="123825" y="1181622"/>
                    </a:lnTo>
                    <a:lnTo>
                      <a:pt x="0" y="1181622"/>
                    </a:lnTo>
                    <a:lnTo>
                      <a:pt x="0" y="1041"/>
                    </a:lnTo>
                    <a:cubicBezTo>
                      <a:pt x="3905" y="1041"/>
                      <a:pt x="7906" y="379"/>
                      <a:pt x="12002" y="379"/>
                    </a:cubicBezTo>
                    <a:cubicBezTo>
                      <a:pt x="160115" y="379"/>
                      <a:pt x="308229" y="-473"/>
                      <a:pt x="456343" y="379"/>
                    </a:cubicBezTo>
                    <a:cubicBezTo>
                      <a:pt x="548926" y="1136"/>
                      <a:pt x="637318" y="20064"/>
                      <a:pt x="717804" y="68427"/>
                    </a:cubicBezTo>
                    <a:cubicBezTo>
                      <a:pt x="819531" y="129945"/>
                      <a:pt x="874490" y="220424"/>
                      <a:pt x="883444" y="338350"/>
                    </a:cubicBezTo>
                    <a:cubicBezTo>
                      <a:pt x="890016" y="423529"/>
                      <a:pt x="874490" y="503029"/>
                      <a:pt x="826294" y="574390"/>
                    </a:cubicBezTo>
                    <a:cubicBezTo>
                      <a:pt x="779526" y="643196"/>
                      <a:pt x="713613" y="687962"/>
                      <a:pt x="636556" y="717112"/>
                    </a:cubicBezTo>
                    <a:cubicBezTo>
                      <a:pt x="566981" y="743474"/>
                      <a:pt x="493083" y="756760"/>
                      <a:pt x="418624" y="756295"/>
                    </a:cubicBezTo>
                    <a:cubicBezTo>
                      <a:pt x="325279" y="756295"/>
                      <a:pt x="231966" y="756295"/>
                      <a:pt x="138684" y="756295"/>
                    </a:cubicBezTo>
                    <a:close/>
                    <a:moveTo>
                      <a:pt x="124301" y="638464"/>
                    </a:moveTo>
                    <a:cubicBezTo>
                      <a:pt x="128588" y="638464"/>
                      <a:pt x="132017" y="639032"/>
                      <a:pt x="135350" y="639032"/>
                    </a:cubicBezTo>
                    <a:cubicBezTo>
                      <a:pt x="234315" y="639032"/>
                      <a:pt x="333280" y="639032"/>
                      <a:pt x="432245" y="639032"/>
                    </a:cubicBezTo>
                    <a:cubicBezTo>
                      <a:pt x="482520" y="639082"/>
                      <a:pt x="532429" y="630534"/>
                      <a:pt x="579787" y="613762"/>
                    </a:cubicBezTo>
                    <a:cubicBezTo>
                      <a:pt x="689515" y="574674"/>
                      <a:pt x="764381" y="488076"/>
                      <a:pt x="760190" y="366743"/>
                    </a:cubicBezTo>
                    <a:cubicBezTo>
                      <a:pt x="756952" y="273614"/>
                      <a:pt x="715804" y="203767"/>
                      <a:pt x="632365" y="159758"/>
                    </a:cubicBezTo>
                    <a:cubicBezTo>
                      <a:pt x="570738" y="127295"/>
                      <a:pt x="503587" y="117736"/>
                      <a:pt x="435007" y="117074"/>
                    </a:cubicBezTo>
                    <a:cubicBezTo>
                      <a:pt x="335661" y="116222"/>
                      <a:pt x="236315" y="117074"/>
                      <a:pt x="136874" y="117074"/>
                    </a:cubicBezTo>
                    <a:lnTo>
                      <a:pt x="124301" y="117074"/>
                    </a:lnTo>
                    <a:close/>
                  </a:path>
                </a:pathLst>
              </a:custGeom>
              <a:solidFill>
                <a:srgbClr val="163D6D"/>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102D60"/>
                  </a:buClr>
                  <a:buSzPts val="1800"/>
                  <a:buFont typeface="Century Gothic"/>
                  <a:buNone/>
                  <a:tabLst/>
                  <a:defRPr/>
                </a:pPr>
                <a:endParaRPr kumimoji="0" sz="1800" b="0" i="0" u="none" strike="noStrike" kern="0" cap="none" spc="0" normalizeH="0" baseline="0" noProof="0" dirty="0">
                  <a:ln>
                    <a:noFill/>
                  </a:ln>
                  <a:solidFill>
                    <a:srgbClr val="000000"/>
                  </a:solidFill>
                  <a:effectLst/>
                  <a:uLnTx/>
                  <a:uFillTx/>
                  <a:latin typeface="Century Gothic"/>
                  <a:ea typeface="Century Gothic"/>
                  <a:cs typeface="Century Gothic"/>
                  <a:sym typeface="Century Gothic"/>
                </a:endParaRPr>
              </a:p>
            </p:txBody>
          </p:sp>
          <p:sp>
            <p:nvSpPr>
              <p:cNvPr id="21" name="Google Shape;1050;p32">
                <a:extLst>
                  <a:ext uri="{FF2B5EF4-FFF2-40B4-BE49-F238E27FC236}">
                    <a16:creationId xmlns:a16="http://schemas.microsoft.com/office/drawing/2014/main" id="{BF93C112-EE1C-EC97-B08C-D4D967496C74}"/>
                  </a:ext>
                </a:extLst>
              </p:cNvPr>
              <p:cNvSpPr/>
              <p:nvPr/>
            </p:nvSpPr>
            <p:spPr>
              <a:xfrm>
                <a:off x="3568445" y="2801325"/>
                <a:ext cx="1139570" cy="1240610"/>
              </a:xfrm>
              <a:custGeom>
                <a:avLst/>
                <a:gdLst/>
                <a:ahLst/>
                <a:cxnLst/>
                <a:rect l="l" t="t" r="r" b="b"/>
                <a:pathLst>
                  <a:path w="1139570" h="1240610" extrusionOk="0">
                    <a:moveTo>
                      <a:pt x="0" y="1239827"/>
                    </a:moveTo>
                    <a:lnTo>
                      <a:pt x="568643" y="0"/>
                    </a:lnTo>
                    <a:lnTo>
                      <a:pt x="1139571" y="1239827"/>
                    </a:lnTo>
                    <a:cubicBezTo>
                      <a:pt x="1104805" y="1239827"/>
                      <a:pt x="1072039" y="1238218"/>
                      <a:pt x="1039559" y="1240395"/>
                    </a:cubicBezTo>
                    <a:cubicBezTo>
                      <a:pt x="1017270" y="1242004"/>
                      <a:pt x="1006983" y="1234717"/>
                      <a:pt x="997839" y="1214274"/>
                    </a:cubicBezTo>
                    <a:cubicBezTo>
                      <a:pt x="938689" y="1083287"/>
                      <a:pt x="877729" y="952964"/>
                      <a:pt x="817817" y="822356"/>
                    </a:cubicBezTo>
                    <a:cubicBezTo>
                      <a:pt x="815436" y="814833"/>
                      <a:pt x="807971" y="810088"/>
                      <a:pt x="800100" y="811093"/>
                    </a:cubicBezTo>
                    <a:cubicBezTo>
                      <a:pt x="646176" y="811093"/>
                      <a:pt x="492315" y="811093"/>
                      <a:pt x="338518" y="811093"/>
                    </a:cubicBezTo>
                    <a:cubicBezTo>
                      <a:pt x="331044" y="810206"/>
                      <a:pt x="323996" y="814742"/>
                      <a:pt x="321755" y="821883"/>
                    </a:cubicBezTo>
                    <a:cubicBezTo>
                      <a:pt x="258826" y="958295"/>
                      <a:pt x="195770" y="1094645"/>
                      <a:pt x="132588" y="1230931"/>
                    </a:cubicBezTo>
                    <a:cubicBezTo>
                      <a:pt x="130804" y="1237182"/>
                      <a:pt x="124694" y="1241203"/>
                      <a:pt x="118205" y="1240395"/>
                    </a:cubicBezTo>
                    <a:cubicBezTo>
                      <a:pt x="82487" y="1240395"/>
                      <a:pt x="46672" y="1240395"/>
                      <a:pt x="10858" y="1240395"/>
                    </a:cubicBezTo>
                    <a:cubicBezTo>
                      <a:pt x="7906" y="1240395"/>
                      <a:pt x="4953" y="1240111"/>
                      <a:pt x="0" y="1239827"/>
                    </a:cubicBezTo>
                    <a:close/>
                    <a:moveTo>
                      <a:pt x="381000" y="694019"/>
                    </a:moveTo>
                    <a:lnTo>
                      <a:pt x="756857" y="694019"/>
                    </a:lnTo>
                    <a:cubicBezTo>
                      <a:pt x="694087" y="555840"/>
                      <a:pt x="631984" y="418891"/>
                      <a:pt x="568738" y="279766"/>
                    </a:cubicBezTo>
                    <a:close/>
                  </a:path>
                </a:pathLst>
              </a:custGeom>
              <a:solidFill>
                <a:srgbClr val="163D6D"/>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102D60"/>
                  </a:buClr>
                  <a:buSzPts val="1800"/>
                  <a:buFont typeface="Century Gothic"/>
                  <a:buNone/>
                  <a:tabLst/>
                  <a:defRPr/>
                </a:pPr>
                <a:endParaRPr kumimoji="0" sz="1800" b="0" i="0" u="none" strike="noStrike" kern="0" cap="none" spc="0" normalizeH="0" baseline="0" noProof="0" dirty="0">
                  <a:ln>
                    <a:noFill/>
                  </a:ln>
                  <a:solidFill>
                    <a:srgbClr val="000000"/>
                  </a:solidFill>
                  <a:effectLst/>
                  <a:uLnTx/>
                  <a:uFillTx/>
                  <a:latin typeface="Century Gothic"/>
                  <a:ea typeface="Century Gothic"/>
                  <a:cs typeface="Century Gothic"/>
                  <a:sym typeface="Century Gothic"/>
                </a:endParaRPr>
              </a:p>
            </p:txBody>
          </p:sp>
          <p:sp>
            <p:nvSpPr>
              <p:cNvPr id="22" name="Google Shape;1051;p32">
                <a:extLst>
                  <a:ext uri="{FF2B5EF4-FFF2-40B4-BE49-F238E27FC236}">
                    <a16:creationId xmlns:a16="http://schemas.microsoft.com/office/drawing/2014/main" id="{E9509D2F-C441-BF32-71CC-91257E3FB085}"/>
                  </a:ext>
                </a:extLst>
              </p:cNvPr>
              <p:cNvSpPr/>
              <p:nvPr/>
            </p:nvSpPr>
            <p:spPr>
              <a:xfrm>
                <a:off x="6027324" y="2858679"/>
                <a:ext cx="800100" cy="1180202"/>
              </a:xfrm>
              <a:custGeom>
                <a:avLst/>
                <a:gdLst/>
                <a:ahLst/>
                <a:cxnLst/>
                <a:rect l="l" t="t" r="r" b="b"/>
                <a:pathLst>
                  <a:path w="800100" h="1180202" extrusionOk="0">
                    <a:moveTo>
                      <a:pt x="123825" y="1063602"/>
                    </a:moveTo>
                    <a:lnTo>
                      <a:pt x="800100" y="1063602"/>
                    </a:lnTo>
                    <a:lnTo>
                      <a:pt x="800100" y="1180202"/>
                    </a:lnTo>
                    <a:lnTo>
                      <a:pt x="0" y="1180202"/>
                    </a:lnTo>
                    <a:lnTo>
                      <a:pt x="0" y="0"/>
                    </a:lnTo>
                    <a:lnTo>
                      <a:pt x="123825" y="0"/>
                    </a:lnTo>
                    <a:close/>
                  </a:path>
                </a:pathLst>
              </a:custGeom>
              <a:solidFill>
                <a:srgbClr val="163D6D"/>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102D60"/>
                  </a:buClr>
                  <a:buSzPts val="1800"/>
                  <a:buFont typeface="Century Gothic"/>
                  <a:buNone/>
                  <a:tabLst/>
                  <a:defRPr/>
                </a:pPr>
                <a:endParaRPr kumimoji="0" sz="1800" b="0" i="0" u="none" strike="noStrike" kern="0" cap="none" spc="0" normalizeH="0" baseline="0" noProof="0" dirty="0">
                  <a:ln>
                    <a:noFill/>
                  </a:ln>
                  <a:solidFill>
                    <a:srgbClr val="000000"/>
                  </a:solidFill>
                  <a:effectLst/>
                  <a:uLnTx/>
                  <a:uFillTx/>
                  <a:latin typeface="Century Gothic"/>
                  <a:ea typeface="Century Gothic"/>
                  <a:cs typeface="Century Gothic"/>
                  <a:sym typeface="Century Gothic"/>
                </a:endParaRPr>
              </a:p>
            </p:txBody>
          </p:sp>
        </p:grpSp>
        <p:cxnSp>
          <p:nvCxnSpPr>
            <p:cNvPr id="9" name="Google Shape;1052;p32">
              <a:extLst>
                <a:ext uri="{FF2B5EF4-FFF2-40B4-BE49-F238E27FC236}">
                  <a16:creationId xmlns:a16="http://schemas.microsoft.com/office/drawing/2014/main" id="{6049C975-42C5-C7A5-FE3B-2EDCC852A693}"/>
                </a:ext>
              </a:extLst>
            </p:cNvPr>
            <p:cNvCxnSpPr/>
            <p:nvPr/>
          </p:nvCxnSpPr>
          <p:spPr>
            <a:xfrm>
              <a:off x="1440298" y="391413"/>
              <a:ext cx="0" cy="229878"/>
            </a:xfrm>
            <a:prstGeom prst="straightConnector1">
              <a:avLst/>
            </a:prstGeom>
            <a:solidFill>
              <a:srgbClr val="6D675B"/>
            </a:solidFill>
            <a:ln w="12700" cap="flat" cmpd="sng">
              <a:solidFill>
                <a:srgbClr val="163D6D"/>
              </a:solidFill>
              <a:prstDash val="solid"/>
              <a:miter lim="800000"/>
              <a:headEnd type="none" w="sm" len="sm"/>
              <a:tailEnd type="none" w="sm" len="sm"/>
            </a:ln>
          </p:spPr>
        </p:cxnSp>
        <p:pic>
          <p:nvPicPr>
            <p:cNvPr id="11" name="Google Shape;1053;p32">
              <a:extLst>
                <a:ext uri="{FF2B5EF4-FFF2-40B4-BE49-F238E27FC236}">
                  <a16:creationId xmlns:a16="http://schemas.microsoft.com/office/drawing/2014/main" id="{C3BB18A7-F129-F7DB-8B9D-50FBA6E15D2C}"/>
                </a:ext>
              </a:extLst>
            </p:cNvPr>
            <p:cNvPicPr preferRelativeResize="0"/>
            <p:nvPr/>
          </p:nvPicPr>
          <p:blipFill rotWithShape="1">
            <a:blip r:embed="rId4">
              <a:alphaModFix/>
            </a:blip>
            <a:srcRect/>
            <a:stretch/>
          </p:blipFill>
          <p:spPr>
            <a:xfrm>
              <a:off x="164111" y="412448"/>
              <a:ext cx="1173798" cy="187808"/>
            </a:xfrm>
            <a:prstGeom prst="rect">
              <a:avLst/>
            </a:prstGeom>
            <a:noFill/>
            <a:ln>
              <a:noFill/>
            </a:ln>
          </p:spPr>
        </p:pic>
      </p:grpSp>
    </p:spTree>
    <p:extLst>
      <p:ext uri="{BB962C8B-B14F-4D97-AF65-F5344CB8AC3E}">
        <p14:creationId xmlns:p14="http://schemas.microsoft.com/office/powerpoint/2010/main" val="42634000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2">
            <a:extLst>
              <a:ext uri="{FF2B5EF4-FFF2-40B4-BE49-F238E27FC236}">
                <a16:creationId xmlns:a16="http://schemas.microsoft.com/office/drawing/2014/main" id="{667D8FBB-839B-6710-9E44-EBB503CB13CE}"/>
              </a:ext>
            </a:extLst>
          </p:cNvPr>
          <p:cNvSpPr txBox="1"/>
          <p:nvPr/>
        </p:nvSpPr>
        <p:spPr>
          <a:xfrm>
            <a:off x="1716246" y="5818261"/>
            <a:ext cx="4937760" cy="369332"/>
          </a:xfrm>
          <a:prstGeom prst="rect">
            <a:avLst/>
          </a:prstGeom>
          <a:noFill/>
        </p:spPr>
        <p:txBody>
          <a:bodyPr wrap="square" rtlCol="0" anchor="b">
            <a:spAutoFit/>
          </a:bodyPr>
          <a:lstStyle/>
          <a:p>
            <a:r>
              <a:rPr lang="en-US" sz="900" dirty="0"/>
              <a:t>Photos courtesy of J Kevin Duplechain, MD.</a:t>
            </a:r>
          </a:p>
          <a:p>
            <a:r>
              <a:rPr lang="en-US" sz="900" dirty="0"/>
              <a:t>Disclosure: The patient shown in the pictures above is an employee of Apyx Medical. </a:t>
            </a:r>
          </a:p>
        </p:txBody>
      </p:sp>
      <p:sp>
        <p:nvSpPr>
          <p:cNvPr id="29" name="TextBox 28">
            <a:extLst>
              <a:ext uri="{FF2B5EF4-FFF2-40B4-BE49-F238E27FC236}">
                <a16:creationId xmlns:a16="http://schemas.microsoft.com/office/drawing/2014/main" id="{71EE1800-B0F4-84B6-BBAC-EFDB6A67ED78}"/>
              </a:ext>
            </a:extLst>
          </p:cNvPr>
          <p:cNvSpPr txBox="1"/>
          <p:nvPr/>
        </p:nvSpPr>
        <p:spPr>
          <a:xfrm>
            <a:off x="5883326" y="1530459"/>
            <a:ext cx="6096000" cy="523220"/>
          </a:xfrm>
          <a:prstGeom prst="rect">
            <a:avLst/>
          </a:prstGeom>
          <a:noFill/>
        </p:spPr>
        <p:txBody>
          <a:bodyPr wrap="square">
            <a:spAutoFit/>
          </a:bodyPr>
          <a:lstStyle/>
          <a:p>
            <a:r>
              <a:rPr lang="en-US" sz="2800" dirty="0">
                <a:solidFill>
                  <a:schemeClr val="accent2"/>
                </a:solidFill>
                <a:latin typeface="Aptos" panose="020B0004020202020204" pitchFamily="34" charset="0"/>
              </a:rPr>
              <a:t>BACK CASE EXAMPLE #1</a:t>
            </a:r>
          </a:p>
        </p:txBody>
      </p:sp>
      <p:sp>
        <p:nvSpPr>
          <p:cNvPr id="31" name="Rectangle: Rounded Corners 30">
            <a:extLst>
              <a:ext uri="{FF2B5EF4-FFF2-40B4-BE49-F238E27FC236}">
                <a16:creationId xmlns:a16="http://schemas.microsoft.com/office/drawing/2014/main" id="{B65C59E0-9C35-4DC0-3B2A-746BF3576158}"/>
              </a:ext>
            </a:extLst>
          </p:cNvPr>
          <p:cNvSpPr/>
          <p:nvPr/>
        </p:nvSpPr>
        <p:spPr>
          <a:xfrm>
            <a:off x="6069506" y="2239351"/>
            <a:ext cx="2550252" cy="2971166"/>
          </a:xfrm>
          <a:prstGeom prst="roundRect">
            <a:avLst>
              <a:gd name="adj" fmla="val 6458"/>
            </a:avLst>
          </a:prstGeom>
          <a:blipFill>
            <a:blip r:embed="rId2"/>
            <a:srcRect/>
            <a:stretch>
              <a:fillRect l="-18358" t="-16837" r="-153898" b="-15366"/>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latin typeface="Aptos" panose="020B0004020202020204" pitchFamily="34" charset="0"/>
            </a:endParaRPr>
          </a:p>
        </p:txBody>
      </p:sp>
      <p:sp>
        <p:nvSpPr>
          <p:cNvPr id="32" name="Rectangle: Rounded Corners 31">
            <a:extLst>
              <a:ext uri="{FF2B5EF4-FFF2-40B4-BE49-F238E27FC236}">
                <a16:creationId xmlns:a16="http://schemas.microsoft.com/office/drawing/2014/main" id="{86D5014B-74A1-A24B-7BE0-45D9FAC822EB}"/>
              </a:ext>
            </a:extLst>
          </p:cNvPr>
          <p:cNvSpPr/>
          <p:nvPr/>
        </p:nvSpPr>
        <p:spPr>
          <a:xfrm>
            <a:off x="9079340" y="2239351"/>
            <a:ext cx="2550252" cy="2971166"/>
          </a:xfrm>
          <a:prstGeom prst="roundRect">
            <a:avLst>
              <a:gd name="adj" fmla="val 6209"/>
            </a:avLst>
          </a:prstGeom>
          <a:blipFill>
            <a:blip r:embed="rId2"/>
            <a:srcRect/>
            <a:stretch>
              <a:fillRect l="-160678" t="-18824" r="-17431" b="-16218"/>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latin typeface="Aptos" panose="020B0004020202020204" pitchFamily="34" charset="0"/>
            </a:endParaRPr>
          </a:p>
        </p:txBody>
      </p:sp>
      <p:sp>
        <p:nvSpPr>
          <p:cNvPr id="34" name="Rectangle: Rounded Corners 33">
            <a:extLst>
              <a:ext uri="{FF2B5EF4-FFF2-40B4-BE49-F238E27FC236}">
                <a16:creationId xmlns:a16="http://schemas.microsoft.com/office/drawing/2014/main" id="{5CFB356C-56FC-0C1C-3DB1-E3549B6382AF}"/>
              </a:ext>
            </a:extLst>
          </p:cNvPr>
          <p:cNvSpPr/>
          <p:nvPr/>
        </p:nvSpPr>
        <p:spPr>
          <a:xfrm>
            <a:off x="5982363" y="2149182"/>
            <a:ext cx="2724536" cy="3150870"/>
          </a:xfrm>
          <a:prstGeom prst="roundRect">
            <a:avLst>
              <a:gd name="adj" fmla="val 6758"/>
            </a:avLst>
          </a:prstGeom>
          <a:ln w="9525">
            <a:solidFill>
              <a:schemeClr val="accent3">
                <a:alpha val="50000"/>
              </a:schemeClr>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latin typeface="Aptos" panose="020B0004020202020204" pitchFamily="34" charset="0"/>
            </a:endParaRPr>
          </a:p>
        </p:txBody>
      </p:sp>
      <p:sp>
        <p:nvSpPr>
          <p:cNvPr id="35" name="Rectangle: Rounded Corners 34">
            <a:extLst>
              <a:ext uri="{FF2B5EF4-FFF2-40B4-BE49-F238E27FC236}">
                <a16:creationId xmlns:a16="http://schemas.microsoft.com/office/drawing/2014/main" id="{1823EEA3-DEC4-F709-870B-4C89C0129753}"/>
              </a:ext>
            </a:extLst>
          </p:cNvPr>
          <p:cNvSpPr/>
          <p:nvPr/>
        </p:nvSpPr>
        <p:spPr>
          <a:xfrm>
            <a:off x="8992197" y="2149182"/>
            <a:ext cx="2724536" cy="3150870"/>
          </a:xfrm>
          <a:prstGeom prst="roundRect">
            <a:avLst>
              <a:gd name="adj" fmla="val 6758"/>
            </a:avLst>
          </a:prstGeom>
          <a:ln w="9525">
            <a:solidFill>
              <a:schemeClr val="accent3">
                <a:alpha val="50000"/>
              </a:schemeClr>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latin typeface="Aptos" panose="020B0004020202020204" pitchFamily="34" charset="0"/>
            </a:endParaRPr>
          </a:p>
        </p:txBody>
      </p:sp>
      <p:sp>
        <p:nvSpPr>
          <p:cNvPr id="36" name="TextBox 35">
            <a:extLst>
              <a:ext uri="{FF2B5EF4-FFF2-40B4-BE49-F238E27FC236}">
                <a16:creationId xmlns:a16="http://schemas.microsoft.com/office/drawing/2014/main" id="{8B5F5039-F2F6-DAE5-6956-8BCB947EB664}"/>
              </a:ext>
            </a:extLst>
          </p:cNvPr>
          <p:cNvSpPr txBox="1"/>
          <p:nvPr/>
        </p:nvSpPr>
        <p:spPr>
          <a:xfrm>
            <a:off x="6519391" y="5446847"/>
            <a:ext cx="1648823" cy="307777"/>
          </a:xfrm>
          <a:prstGeom prst="rect">
            <a:avLst/>
          </a:prstGeom>
          <a:noFill/>
        </p:spPr>
        <p:txBody>
          <a:bodyPr wrap="square">
            <a:spAutoFit/>
          </a:bodyPr>
          <a:lstStyle/>
          <a:p>
            <a:pPr algn="ctr"/>
            <a:r>
              <a:rPr lang="en-US" sz="1400" dirty="0">
                <a:solidFill>
                  <a:schemeClr val="accent3"/>
                </a:solidFill>
                <a:latin typeface="Aptos" panose="020B0004020202020204" pitchFamily="34" charset="0"/>
              </a:rPr>
              <a:t>BEFORE</a:t>
            </a:r>
          </a:p>
        </p:txBody>
      </p:sp>
      <p:sp>
        <p:nvSpPr>
          <p:cNvPr id="37" name="TextBox 36">
            <a:extLst>
              <a:ext uri="{FF2B5EF4-FFF2-40B4-BE49-F238E27FC236}">
                <a16:creationId xmlns:a16="http://schemas.microsoft.com/office/drawing/2014/main" id="{814358CF-9BE6-27D6-5170-7EA0A1BB3A71}"/>
              </a:ext>
            </a:extLst>
          </p:cNvPr>
          <p:cNvSpPr txBox="1"/>
          <p:nvPr/>
        </p:nvSpPr>
        <p:spPr>
          <a:xfrm>
            <a:off x="9455103" y="5446847"/>
            <a:ext cx="1922684" cy="307777"/>
          </a:xfrm>
          <a:prstGeom prst="rect">
            <a:avLst/>
          </a:prstGeom>
          <a:noFill/>
        </p:spPr>
        <p:txBody>
          <a:bodyPr wrap="square">
            <a:spAutoFit/>
          </a:bodyPr>
          <a:lstStyle/>
          <a:p>
            <a:pPr algn="ctr"/>
            <a:r>
              <a:rPr lang="en-US" sz="1400" dirty="0">
                <a:solidFill>
                  <a:schemeClr val="accent3"/>
                </a:solidFill>
                <a:latin typeface="Aptos" panose="020B0004020202020204" pitchFamily="34" charset="0"/>
              </a:rPr>
              <a:t>2.5 MONTHS POST-OP</a:t>
            </a:r>
          </a:p>
        </p:txBody>
      </p:sp>
      <p:sp>
        <p:nvSpPr>
          <p:cNvPr id="2" name="TextBox 1">
            <a:extLst>
              <a:ext uri="{FF2B5EF4-FFF2-40B4-BE49-F238E27FC236}">
                <a16:creationId xmlns:a16="http://schemas.microsoft.com/office/drawing/2014/main" id="{D611E600-1130-E3CC-878D-B9D0E4BFB0D5}"/>
              </a:ext>
            </a:extLst>
          </p:cNvPr>
          <p:cNvSpPr txBox="1"/>
          <p:nvPr/>
        </p:nvSpPr>
        <p:spPr>
          <a:xfrm>
            <a:off x="275923" y="1446818"/>
            <a:ext cx="5259009" cy="3816429"/>
          </a:xfrm>
          <a:prstGeom prst="rect">
            <a:avLst/>
          </a:prstGeom>
          <a:noFill/>
        </p:spPr>
        <p:txBody>
          <a:bodyPr wrap="square" rtlCol="0">
            <a:spAutoFit/>
          </a:bodyPr>
          <a:lstStyle/>
          <a:p>
            <a:pPr algn="l">
              <a:spcBef>
                <a:spcPts val="1200"/>
              </a:spcBef>
            </a:pPr>
            <a:r>
              <a:rPr lang="en-US" sz="2400" b="1" dirty="0">
                <a:solidFill>
                  <a:schemeClr val="accent2"/>
                </a:solidFill>
                <a:latin typeface="Aptos" panose="020B0004020202020204" pitchFamily="34" charset="0"/>
              </a:rPr>
              <a:t>PATIENT </a:t>
            </a:r>
          </a:p>
          <a:p>
            <a:pPr algn="l">
              <a:spcBef>
                <a:spcPts val="1200"/>
              </a:spcBef>
            </a:pPr>
            <a:r>
              <a:rPr lang="en-US" dirty="0">
                <a:solidFill>
                  <a:schemeClr val="tx2"/>
                </a:solidFill>
                <a:latin typeface="Aptos" panose="020B0004020202020204" pitchFamily="34" charset="0"/>
              </a:rPr>
              <a:t>33-YEAR-OLD FEMALE </a:t>
            </a:r>
          </a:p>
          <a:p>
            <a:pPr algn="l">
              <a:spcBef>
                <a:spcPts val="1200"/>
              </a:spcBef>
            </a:pPr>
            <a:endParaRPr lang="en-US" sz="2400" b="1" dirty="0">
              <a:solidFill>
                <a:schemeClr val="accent2"/>
              </a:solidFill>
              <a:latin typeface="Aptos" panose="020B0004020202020204" pitchFamily="34" charset="0"/>
            </a:endParaRPr>
          </a:p>
          <a:p>
            <a:pPr algn="l">
              <a:spcBef>
                <a:spcPts val="1200"/>
              </a:spcBef>
            </a:pPr>
            <a:r>
              <a:rPr lang="en-US" sz="2400" b="1" dirty="0">
                <a:solidFill>
                  <a:schemeClr val="accent2"/>
                </a:solidFill>
                <a:latin typeface="Aptos" panose="020B0004020202020204" pitchFamily="34" charset="0"/>
              </a:rPr>
              <a:t>PROCEDURE TYPE</a:t>
            </a:r>
          </a:p>
          <a:p>
            <a:pPr>
              <a:spcBef>
                <a:spcPts val="1200"/>
              </a:spcBef>
            </a:pPr>
            <a:r>
              <a:rPr lang="en-US" dirty="0">
                <a:solidFill>
                  <a:schemeClr val="tx2"/>
                </a:solidFill>
                <a:latin typeface="Aptos" panose="020B0004020202020204" pitchFamily="34" charset="0"/>
              </a:rPr>
              <a:t>LIPOSUCTION + RENUVION</a:t>
            </a:r>
            <a:r>
              <a:rPr lang="en-US" baseline="30000" dirty="0">
                <a:solidFill>
                  <a:schemeClr val="tx2"/>
                </a:solidFill>
                <a:latin typeface="Aptos" panose="020B0004020202020204" pitchFamily="34" charset="0"/>
              </a:rPr>
              <a:t>®</a:t>
            </a:r>
          </a:p>
          <a:p>
            <a:pPr algn="l">
              <a:spcBef>
                <a:spcPts val="1200"/>
              </a:spcBef>
            </a:pPr>
            <a:endParaRPr lang="en-US" sz="2400" b="1" dirty="0">
              <a:solidFill>
                <a:schemeClr val="accent2"/>
              </a:solidFill>
              <a:latin typeface="Aptos" panose="020B0004020202020204" pitchFamily="34" charset="0"/>
            </a:endParaRPr>
          </a:p>
          <a:p>
            <a:pPr algn="l">
              <a:spcBef>
                <a:spcPts val="1200"/>
              </a:spcBef>
            </a:pPr>
            <a:r>
              <a:rPr lang="en-US" sz="2400" b="1" dirty="0">
                <a:solidFill>
                  <a:schemeClr val="accent2"/>
                </a:solidFill>
                <a:latin typeface="Aptos" panose="020B0004020202020204" pitchFamily="34" charset="0"/>
              </a:rPr>
              <a:t>AMOUNT OF FAT REMOVED</a:t>
            </a:r>
          </a:p>
          <a:p>
            <a:pPr>
              <a:spcBef>
                <a:spcPts val="1200"/>
              </a:spcBef>
            </a:pPr>
            <a:r>
              <a:rPr lang="en-US" dirty="0">
                <a:solidFill>
                  <a:schemeClr val="tx2"/>
                </a:solidFill>
                <a:latin typeface="Aptos" panose="020B0004020202020204" pitchFamily="34" charset="0"/>
              </a:rPr>
              <a:t>1,750 cc</a:t>
            </a:r>
          </a:p>
        </p:txBody>
      </p:sp>
      <p:cxnSp>
        <p:nvCxnSpPr>
          <p:cNvPr id="3" name="Straight Connector 2">
            <a:extLst>
              <a:ext uri="{FF2B5EF4-FFF2-40B4-BE49-F238E27FC236}">
                <a16:creationId xmlns:a16="http://schemas.microsoft.com/office/drawing/2014/main" id="{4A452BE7-4FBC-B1CD-8DF2-B3AEF23E7432}"/>
              </a:ext>
            </a:extLst>
          </p:cNvPr>
          <p:cNvCxnSpPr/>
          <p:nvPr/>
        </p:nvCxnSpPr>
        <p:spPr>
          <a:xfrm>
            <a:off x="398717" y="2634066"/>
            <a:ext cx="3803226" cy="0"/>
          </a:xfrm>
          <a:prstGeom prst="line">
            <a:avLst/>
          </a:prstGeom>
          <a:ln w="9525">
            <a:solidFill>
              <a:schemeClr val="accent5">
                <a:alpha val="50000"/>
              </a:schemeClr>
            </a:solidFill>
          </a:ln>
        </p:spPr>
        <p:style>
          <a:lnRef idx="2">
            <a:schemeClr val="accent1"/>
          </a:lnRef>
          <a:fillRef idx="0">
            <a:schemeClr val="accent1"/>
          </a:fillRef>
          <a:effectRef idx="1">
            <a:schemeClr val="accent1"/>
          </a:effectRef>
          <a:fontRef idx="minor">
            <a:schemeClr val="tx1"/>
          </a:fontRef>
        </p:style>
      </p:cxnSp>
      <p:cxnSp>
        <p:nvCxnSpPr>
          <p:cNvPr id="4" name="Straight Connector 3">
            <a:extLst>
              <a:ext uri="{FF2B5EF4-FFF2-40B4-BE49-F238E27FC236}">
                <a16:creationId xmlns:a16="http://schemas.microsoft.com/office/drawing/2014/main" id="{EF0F131B-11DB-2B0E-CEC1-127677DAF71B}"/>
              </a:ext>
            </a:extLst>
          </p:cNvPr>
          <p:cNvCxnSpPr/>
          <p:nvPr/>
        </p:nvCxnSpPr>
        <p:spPr>
          <a:xfrm>
            <a:off x="369676" y="4097945"/>
            <a:ext cx="3803226" cy="0"/>
          </a:xfrm>
          <a:prstGeom prst="line">
            <a:avLst/>
          </a:prstGeom>
          <a:ln w="9525">
            <a:solidFill>
              <a:schemeClr val="accent5">
                <a:alpha val="50000"/>
              </a:schemeClr>
            </a:solidFill>
          </a:ln>
        </p:spPr>
        <p:style>
          <a:lnRef idx="2">
            <a:schemeClr val="accent1"/>
          </a:lnRef>
          <a:fillRef idx="0">
            <a:schemeClr val="accent1"/>
          </a:fillRef>
          <a:effectRef idx="1">
            <a:schemeClr val="accent1"/>
          </a:effectRef>
          <a:fontRef idx="minor">
            <a:schemeClr val="tx1"/>
          </a:fontRef>
        </p:style>
      </p:cxnSp>
      <p:sp>
        <p:nvSpPr>
          <p:cNvPr id="28" name="Slide Number Placeholder 27">
            <a:extLst>
              <a:ext uri="{FF2B5EF4-FFF2-40B4-BE49-F238E27FC236}">
                <a16:creationId xmlns:a16="http://schemas.microsoft.com/office/drawing/2014/main" id="{88D091E7-0D4B-95DC-8035-7733E77EEA88}"/>
              </a:ext>
            </a:extLst>
          </p:cNvPr>
          <p:cNvSpPr>
            <a:spLocks noGrp="1"/>
          </p:cNvSpPr>
          <p:nvPr>
            <p:ph type="sldNum" sz="quarter" idx="12"/>
          </p:nvPr>
        </p:nvSpPr>
        <p:spPr/>
        <p:txBody>
          <a:bodyPr/>
          <a:lstStyle/>
          <a:p>
            <a:fld id="{2255CA7B-1B59-4C07-BE3D-E8AE49649A7D}" type="slidenum">
              <a:rPr lang="en-US" smtClean="0"/>
              <a:t>9</a:t>
            </a:fld>
            <a:endParaRPr lang="en-US" dirty="0"/>
          </a:p>
        </p:txBody>
      </p:sp>
      <p:sp>
        <p:nvSpPr>
          <p:cNvPr id="41" name="Title 40">
            <a:extLst>
              <a:ext uri="{FF2B5EF4-FFF2-40B4-BE49-F238E27FC236}">
                <a16:creationId xmlns:a16="http://schemas.microsoft.com/office/drawing/2014/main" id="{65A61997-C9B7-D13B-3B22-E3E5930293A3}"/>
              </a:ext>
            </a:extLst>
          </p:cNvPr>
          <p:cNvSpPr>
            <a:spLocks noGrp="1"/>
          </p:cNvSpPr>
          <p:nvPr>
            <p:ph type="title"/>
          </p:nvPr>
        </p:nvSpPr>
        <p:spPr/>
        <p:txBody>
          <a:bodyPr/>
          <a:lstStyle/>
          <a:p>
            <a:r>
              <a:rPr lang="en-US" sz="3200" dirty="0"/>
              <a:t>REAL RESULTS</a:t>
            </a:r>
            <a:endParaRPr lang="en-US" dirty="0"/>
          </a:p>
        </p:txBody>
      </p:sp>
      <p:grpSp>
        <p:nvGrpSpPr>
          <p:cNvPr id="5" name="Google Shape;1044;p32">
            <a:extLst>
              <a:ext uri="{FF2B5EF4-FFF2-40B4-BE49-F238E27FC236}">
                <a16:creationId xmlns:a16="http://schemas.microsoft.com/office/drawing/2014/main" id="{9FFC7298-8173-A82A-A8FA-913BA3ADB449}"/>
              </a:ext>
            </a:extLst>
          </p:cNvPr>
          <p:cNvGrpSpPr/>
          <p:nvPr/>
        </p:nvGrpSpPr>
        <p:grpSpPr>
          <a:xfrm>
            <a:off x="10199076" y="268006"/>
            <a:ext cx="1683501" cy="168280"/>
            <a:chOff x="164111" y="391413"/>
            <a:chExt cx="2266145" cy="229878"/>
          </a:xfrm>
        </p:grpSpPr>
        <p:grpSp>
          <p:nvGrpSpPr>
            <p:cNvPr id="6" name="Google Shape;1045;p32">
              <a:extLst>
                <a:ext uri="{FF2B5EF4-FFF2-40B4-BE49-F238E27FC236}">
                  <a16:creationId xmlns:a16="http://schemas.microsoft.com/office/drawing/2014/main" id="{2CB6EA93-C08F-3966-2C37-411911BA8D97}"/>
                </a:ext>
              </a:extLst>
            </p:cNvPr>
            <p:cNvGrpSpPr/>
            <p:nvPr/>
          </p:nvGrpSpPr>
          <p:grpSpPr>
            <a:xfrm>
              <a:off x="1566687" y="428756"/>
              <a:ext cx="863568" cy="155834"/>
              <a:chOff x="2472023" y="2775771"/>
              <a:chExt cx="7269765" cy="1311850"/>
            </a:xfrm>
          </p:grpSpPr>
          <p:sp>
            <p:nvSpPr>
              <p:cNvPr id="9" name="Google Shape;1046;p32">
                <a:extLst>
                  <a:ext uri="{FF2B5EF4-FFF2-40B4-BE49-F238E27FC236}">
                    <a16:creationId xmlns:a16="http://schemas.microsoft.com/office/drawing/2014/main" id="{A681CE13-7E67-0B7A-3BEB-78F00F90174C}"/>
                  </a:ext>
                </a:extLst>
              </p:cNvPr>
              <p:cNvSpPr/>
              <p:nvPr/>
            </p:nvSpPr>
            <p:spPr>
              <a:xfrm>
                <a:off x="8178355" y="2775771"/>
                <a:ext cx="1563433" cy="1311850"/>
              </a:xfrm>
              <a:custGeom>
                <a:avLst/>
                <a:gdLst/>
                <a:ahLst/>
                <a:cxnLst/>
                <a:rect l="l" t="t" r="r" b="b"/>
                <a:pathLst>
                  <a:path w="1563433" h="1311850" extrusionOk="0">
                    <a:moveTo>
                      <a:pt x="782574" y="0"/>
                    </a:moveTo>
                    <a:cubicBezTo>
                      <a:pt x="887349" y="321030"/>
                      <a:pt x="992124" y="642060"/>
                      <a:pt x="1096899" y="965362"/>
                    </a:cubicBezTo>
                    <a:cubicBezTo>
                      <a:pt x="1104615" y="944256"/>
                      <a:pt x="1111663" y="925233"/>
                      <a:pt x="1118616" y="906115"/>
                    </a:cubicBezTo>
                    <a:cubicBezTo>
                      <a:pt x="1220216" y="627107"/>
                      <a:pt x="1322039" y="348035"/>
                      <a:pt x="1424083" y="68900"/>
                    </a:cubicBezTo>
                    <a:cubicBezTo>
                      <a:pt x="1425712" y="61119"/>
                      <a:pt x="1433248" y="56015"/>
                      <a:pt x="1441132" y="57354"/>
                    </a:cubicBezTo>
                    <a:cubicBezTo>
                      <a:pt x="1481138" y="57354"/>
                      <a:pt x="1521047" y="57354"/>
                      <a:pt x="1563434" y="57354"/>
                    </a:cubicBezTo>
                    <a:cubicBezTo>
                      <a:pt x="1407509" y="475299"/>
                      <a:pt x="1251966" y="891351"/>
                      <a:pt x="1095375" y="1310999"/>
                    </a:cubicBezTo>
                    <a:cubicBezTo>
                      <a:pt x="990600" y="1001989"/>
                      <a:pt x="885825" y="695818"/>
                      <a:pt x="781050" y="387659"/>
                    </a:cubicBezTo>
                    <a:cubicBezTo>
                      <a:pt x="676275" y="696480"/>
                      <a:pt x="571500" y="1002841"/>
                      <a:pt x="466725" y="1311851"/>
                    </a:cubicBezTo>
                    <a:lnTo>
                      <a:pt x="0" y="60099"/>
                    </a:lnTo>
                    <a:cubicBezTo>
                      <a:pt x="1834" y="59507"/>
                      <a:pt x="3714" y="59064"/>
                      <a:pt x="5620" y="58773"/>
                    </a:cubicBezTo>
                    <a:cubicBezTo>
                      <a:pt x="46387" y="58773"/>
                      <a:pt x="87154" y="58773"/>
                      <a:pt x="127921" y="58773"/>
                    </a:cubicBezTo>
                    <a:cubicBezTo>
                      <a:pt x="135350" y="58773"/>
                      <a:pt x="136398" y="63506"/>
                      <a:pt x="138208" y="68238"/>
                    </a:cubicBezTo>
                    <a:cubicBezTo>
                      <a:pt x="158083" y="122752"/>
                      <a:pt x="177927" y="177298"/>
                      <a:pt x="197739" y="231876"/>
                    </a:cubicBezTo>
                    <a:lnTo>
                      <a:pt x="460057" y="952396"/>
                    </a:lnTo>
                    <a:cubicBezTo>
                      <a:pt x="461296" y="955803"/>
                      <a:pt x="462725" y="959115"/>
                      <a:pt x="465296" y="965740"/>
                    </a:cubicBezTo>
                    <a:cubicBezTo>
                      <a:pt x="571119" y="641871"/>
                      <a:pt x="675799" y="321125"/>
                      <a:pt x="780574" y="379"/>
                    </a:cubicBezTo>
                    <a:close/>
                  </a:path>
                </a:pathLst>
              </a:custGeom>
              <a:solidFill>
                <a:srgbClr val="163D6D"/>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102D60"/>
                  </a:buClr>
                  <a:buSzPts val="1800"/>
                  <a:buFont typeface="Century Gothic"/>
                  <a:buNone/>
                  <a:tabLst/>
                  <a:defRPr/>
                </a:pPr>
                <a:endParaRPr kumimoji="0" sz="1800" b="0" i="0" u="none" strike="noStrike" kern="0" cap="none" spc="0" normalizeH="0" baseline="0" noProof="0" dirty="0">
                  <a:ln>
                    <a:noFill/>
                  </a:ln>
                  <a:solidFill>
                    <a:srgbClr val="000000"/>
                  </a:solidFill>
                  <a:effectLst/>
                  <a:uLnTx/>
                  <a:uFillTx/>
                  <a:latin typeface="Century Gothic"/>
                  <a:ea typeface="Century Gothic"/>
                  <a:cs typeface="Century Gothic"/>
                  <a:sym typeface="Century Gothic"/>
                </a:endParaRPr>
              </a:p>
            </p:txBody>
          </p:sp>
          <p:sp>
            <p:nvSpPr>
              <p:cNvPr id="10" name="Google Shape;1047;p32">
                <a:extLst>
                  <a:ext uri="{FF2B5EF4-FFF2-40B4-BE49-F238E27FC236}">
                    <a16:creationId xmlns:a16="http://schemas.microsoft.com/office/drawing/2014/main" id="{E2EAA0E0-C97D-ED89-CEB4-D2A3265B327E}"/>
                  </a:ext>
                </a:extLst>
              </p:cNvPr>
              <p:cNvSpPr/>
              <p:nvPr/>
            </p:nvSpPr>
            <p:spPr>
              <a:xfrm>
                <a:off x="6869239" y="2818549"/>
                <a:ext cx="1268731" cy="1260649"/>
              </a:xfrm>
              <a:custGeom>
                <a:avLst/>
                <a:gdLst/>
                <a:ahLst/>
                <a:cxnLst/>
                <a:rect l="l" t="t" r="r" b="b"/>
                <a:pathLst>
                  <a:path w="1268731" h="1260649" extrusionOk="0">
                    <a:moveTo>
                      <a:pt x="1268730" y="630136"/>
                    </a:moveTo>
                    <a:cubicBezTo>
                      <a:pt x="1268835" y="978255"/>
                      <a:pt x="984905" y="1260545"/>
                      <a:pt x="634555" y="1260649"/>
                    </a:cubicBezTo>
                    <a:cubicBezTo>
                      <a:pt x="284205" y="1260753"/>
                      <a:pt x="105" y="978632"/>
                      <a:pt x="0" y="630513"/>
                    </a:cubicBezTo>
                    <a:cubicBezTo>
                      <a:pt x="-105" y="282395"/>
                      <a:pt x="283825" y="104"/>
                      <a:pt x="634175" y="0"/>
                    </a:cubicBezTo>
                    <a:cubicBezTo>
                      <a:pt x="634524" y="0"/>
                      <a:pt x="634874" y="0"/>
                      <a:pt x="635222" y="1"/>
                    </a:cubicBezTo>
                    <a:cubicBezTo>
                      <a:pt x="984573" y="-523"/>
                      <a:pt x="1268204" y="280453"/>
                      <a:pt x="1268731" y="627578"/>
                    </a:cubicBezTo>
                    <a:cubicBezTo>
                      <a:pt x="1268733" y="628430"/>
                      <a:pt x="1268732" y="629283"/>
                      <a:pt x="1268730" y="630136"/>
                    </a:cubicBezTo>
                    <a:close/>
                    <a:moveTo>
                      <a:pt x="633889" y="1119726"/>
                    </a:moveTo>
                    <a:cubicBezTo>
                      <a:pt x="906488" y="1119412"/>
                      <a:pt x="1127218" y="899580"/>
                      <a:pt x="1126902" y="628717"/>
                    </a:cubicBezTo>
                    <a:cubicBezTo>
                      <a:pt x="1126587" y="357853"/>
                      <a:pt x="905345" y="138529"/>
                      <a:pt x="632746" y="138843"/>
                    </a:cubicBezTo>
                    <a:cubicBezTo>
                      <a:pt x="360369" y="139156"/>
                      <a:pt x="139732" y="358642"/>
                      <a:pt x="139732" y="629284"/>
                    </a:cubicBezTo>
                    <a:cubicBezTo>
                      <a:pt x="138993" y="899415"/>
                      <a:pt x="358782" y="1118994"/>
                      <a:pt x="630645" y="1119728"/>
                    </a:cubicBezTo>
                    <a:cubicBezTo>
                      <a:pt x="631726" y="1119731"/>
                      <a:pt x="632807" y="1119730"/>
                      <a:pt x="633889" y="1119726"/>
                    </a:cubicBezTo>
                    <a:close/>
                  </a:path>
                </a:pathLst>
              </a:custGeom>
              <a:solidFill>
                <a:srgbClr val="163D6D"/>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102D60"/>
                  </a:buClr>
                  <a:buSzPts val="1800"/>
                  <a:buFont typeface="Century Gothic"/>
                  <a:buNone/>
                  <a:tabLst/>
                  <a:defRPr/>
                </a:pPr>
                <a:endParaRPr kumimoji="0" sz="1800" b="0" i="0" u="none" strike="noStrike" kern="0" cap="none" spc="0" normalizeH="0" baseline="0" noProof="0" dirty="0">
                  <a:ln>
                    <a:noFill/>
                  </a:ln>
                  <a:solidFill>
                    <a:srgbClr val="000000"/>
                  </a:solidFill>
                  <a:effectLst/>
                  <a:uLnTx/>
                  <a:uFillTx/>
                  <a:latin typeface="Century Gothic"/>
                  <a:ea typeface="Century Gothic"/>
                  <a:cs typeface="Century Gothic"/>
                  <a:sym typeface="Century Gothic"/>
                </a:endParaRPr>
              </a:p>
            </p:txBody>
          </p:sp>
          <p:sp>
            <p:nvSpPr>
              <p:cNvPr id="12" name="Google Shape;1048;p32">
                <a:extLst>
                  <a:ext uri="{FF2B5EF4-FFF2-40B4-BE49-F238E27FC236}">
                    <a16:creationId xmlns:a16="http://schemas.microsoft.com/office/drawing/2014/main" id="{905DFD53-1CB2-AABE-7D8D-B983D2B5F80F}"/>
                  </a:ext>
                </a:extLst>
              </p:cNvPr>
              <p:cNvSpPr/>
              <p:nvPr/>
            </p:nvSpPr>
            <p:spPr>
              <a:xfrm>
                <a:off x="2472023" y="2851581"/>
                <a:ext cx="939926" cy="1187868"/>
              </a:xfrm>
              <a:custGeom>
                <a:avLst/>
                <a:gdLst/>
                <a:ahLst/>
                <a:cxnLst/>
                <a:rect l="l" t="t" r="r" b="b"/>
                <a:pathLst>
                  <a:path w="939926" h="1187868" extrusionOk="0">
                    <a:moveTo>
                      <a:pt x="123920" y="475015"/>
                    </a:moveTo>
                    <a:lnTo>
                      <a:pt x="266795" y="365134"/>
                    </a:lnTo>
                    <a:cubicBezTo>
                      <a:pt x="422116" y="245252"/>
                      <a:pt x="577501" y="125371"/>
                      <a:pt x="732949" y="5489"/>
                    </a:cubicBezTo>
                    <a:cubicBezTo>
                      <a:pt x="736949" y="2231"/>
                      <a:pt x="741882" y="310"/>
                      <a:pt x="747046" y="0"/>
                    </a:cubicBezTo>
                    <a:cubicBezTo>
                      <a:pt x="804958" y="0"/>
                      <a:pt x="862870" y="0"/>
                      <a:pt x="920782" y="0"/>
                    </a:cubicBezTo>
                    <a:cubicBezTo>
                      <a:pt x="921830" y="0"/>
                      <a:pt x="922877" y="0"/>
                      <a:pt x="926497" y="946"/>
                    </a:cubicBezTo>
                    <a:lnTo>
                      <a:pt x="198025" y="563222"/>
                    </a:lnTo>
                    <a:lnTo>
                      <a:pt x="939927" y="1187868"/>
                    </a:lnTo>
                    <a:lnTo>
                      <a:pt x="926783" y="1187868"/>
                    </a:lnTo>
                    <a:cubicBezTo>
                      <a:pt x="869633" y="1187868"/>
                      <a:pt x="812483" y="1187868"/>
                      <a:pt x="755333" y="1187868"/>
                    </a:cubicBezTo>
                    <a:cubicBezTo>
                      <a:pt x="749094" y="1187631"/>
                      <a:pt x="743106" y="1185371"/>
                      <a:pt x="738283" y="1181433"/>
                    </a:cubicBezTo>
                    <a:cubicBezTo>
                      <a:pt x="589566" y="1055241"/>
                      <a:pt x="441071" y="928829"/>
                      <a:pt x="292799" y="802197"/>
                    </a:cubicBezTo>
                    <a:lnTo>
                      <a:pt x="139446" y="671589"/>
                    </a:lnTo>
                    <a:cubicBezTo>
                      <a:pt x="135160" y="667898"/>
                      <a:pt x="130683" y="664301"/>
                      <a:pt x="124778" y="659285"/>
                    </a:cubicBezTo>
                    <a:lnTo>
                      <a:pt x="124778" y="1187395"/>
                    </a:lnTo>
                    <a:lnTo>
                      <a:pt x="0" y="1187395"/>
                    </a:lnTo>
                    <a:lnTo>
                      <a:pt x="0" y="379"/>
                    </a:lnTo>
                    <a:lnTo>
                      <a:pt x="123825" y="379"/>
                    </a:lnTo>
                    <a:close/>
                  </a:path>
                </a:pathLst>
              </a:custGeom>
              <a:solidFill>
                <a:srgbClr val="163D6D"/>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102D60"/>
                  </a:buClr>
                  <a:buSzPts val="1800"/>
                  <a:buFont typeface="Century Gothic"/>
                  <a:buNone/>
                  <a:tabLst/>
                  <a:defRPr/>
                </a:pPr>
                <a:endParaRPr kumimoji="0" sz="1800" b="0" i="0" u="none" strike="noStrike" kern="0" cap="none" spc="0" normalizeH="0" baseline="0" noProof="0" dirty="0">
                  <a:ln>
                    <a:noFill/>
                  </a:ln>
                  <a:solidFill>
                    <a:srgbClr val="000000"/>
                  </a:solidFill>
                  <a:effectLst/>
                  <a:uLnTx/>
                  <a:uFillTx/>
                  <a:latin typeface="Century Gothic"/>
                  <a:ea typeface="Century Gothic"/>
                  <a:cs typeface="Century Gothic"/>
                  <a:sym typeface="Century Gothic"/>
                </a:endParaRPr>
              </a:p>
            </p:txBody>
          </p:sp>
          <p:sp>
            <p:nvSpPr>
              <p:cNvPr id="33" name="Google Shape;1049;p32">
                <a:extLst>
                  <a:ext uri="{FF2B5EF4-FFF2-40B4-BE49-F238E27FC236}">
                    <a16:creationId xmlns:a16="http://schemas.microsoft.com/office/drawing/2014/main" id="{CE64FCFD-B850-F6B3-ED3F-82BB4E8A8B2B}"/>
                  </a:ext>
                </a:extLst>
              </p:cNvPr>
              <p:cNvSpPr/>
              <p:nvPr/>
            </p:nvSpPr>
            <p:spPr>
              <a:xfrm>
                <a:off x="4903279" y="2857259"/>
                <a:ext cx="884876" cy="1181621"/>
              </a:xfrm>
              <a:custGeom>
                <a:avLst/>
                <a:gdLst/>
                <a:ahLst/>
                <a:cxnLst/>
                <a:rect l="l" t="t" r="r" b="b"/>
                <a:pathLst>
                  <a:path w="884876" h="1181621" extrusionOk="0">
                    <a:moveTo>
                      <a:pt x="123825" y="756295"/>
                    </a:moveTo>
                    <a:lnTo>
                      <a:pt x="123825" y="1181622"/>
                    </a:lnTo>
                    <a:lnTo>
                      <a:pt x="0" y="1181622"/>
                    </a:lnTo>
                    <a:lnTo>
                      <a:pt x="0" y="1041"/>
                    </a:lnTo>
                    <a:cubicBezTo>
                      <a:pt x="3905" y="1041"/>
                      <a:pt x="7906" y="379"/>
                      <a:pt x="12002" y="379"/>
                    </a:cubicBezTo>
                    <a:cubicBezTo>
                      <a:pt x="160115" y="379"/>
                      <a:pt x="308229" y="-473"/>
                      <a:pt x="456343" y="379"/>
                    </a:cubicBezTo>
                    <a:cubicBezTo>
                      <a:pt x="548926" y="1136"/>
                      <a:pt x="637318" y="20064"/>
                      <a:pt x="717804" y="68427"/>
                    </a:cubicBezTo>
                    <a:cubicBezTo>
                      <a:pt x="819531" y="129945"/>
                      <a:pt x="874490" y="220424"/>
                      <a:pt x="883444" y="338350"/>
                    </a:cubicBezTo>
                    <a:cubicBezTo>
                      <a:pt x="890016" y="423529"/>
                      <a:pt x="874490" y="503029"/>
                      <a:pt x="826294" y="574390"/>
                    </a:cubicBezTo>
                    <a:cubicBezTo>
                      <a:pt x="779526" y="643196"/>
                      <a:pt x="713613" y="687962"/>
                      <a:pt x="636556" y="717112"/>
                    </a:cubicBezTo>
                    <a:cubicBezTo>
                      <a:pt x="566981" y="743474"/>
                      <a:pt x="493083" y="756760"/>
                      <a:pt x="418624" y="756295"/>
                    </a:cubicBezTo>
                    <a:cubicBezTo>
                      <a:pt x="325279" y="756295"/>
                      <a:pt x="231966" y="756295"/>
                      <a:pt x="138684" y="756295"/>
                    </a:cubicBezTo>
                    <a:close/>
                    <a:moveTo>
                      <a:pt x="124301" y="638464"/>
                    </a:moveTo>
                    <a:cubicBezTo>
                      <a:pt x="128588" y="638464"/>
                      <a:pt x="132017" y="639032"/>
                      <a:pt x="135350" y="639032"/>
                    </a:cubicBezTo>
                    <a:cubicBezTo>
                      <a:pt x="234315" y="639032"/>
                      <a:pt x="333280" y="639032"/>
                      <a:pt x="432245" y="639032"/>
                    </a:cubicBezTo>
                    <a:cubicBezTo>
                      <a:pt x="482520" y="639082"/>
                      <a:pt x="532429" y="630534"/>
                      <a:pt x="579787" y="613762"/>
                    </a:cubicBezTo>
                    <a:cubicBezTo>
                      <a:pt x="689515" y="574674"/>
                      <a:pt x="764381" y="488076"/>
                      <a:pt x="760190" y="366743"/>
                    </a:cubicBezTo>
                    <a:cubicBezTo>
                      <a:pt x="756952" y="273614"/>
                      <a:pt x="715804" y="203767"/>
                      <a:pt x="632365" y="159758"/>
                    </a:cubicBezTo>
                    <a:cubicBezTo>
                      <a:pt x="570738" y="127295"/>
                      <a:pt x="503587" y="117736"/>
                      <a:pt x="435007" y="117074"/>
                    </a:cubicBezTo>
                    <a:cubicBezTo>
                      <a:pt x="335661" y="116222"/>
                      <a:pt x="236315" y="117074"/>
                      <a:pt x="136874" y="117074"/>
                    </a:cubicBezTo>
                    <a:lnTo>
                      <a:pt x="124301" y="117074"/>
                    </a:lnTo>
                    <a:close/>
                  </a:path>
                </a:pathLst>
              </a:custGeom>
              <a:solidFill>
                <a:srgbClr val="163D6D"/>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102D60"/>
                  </a:buClr>
                  <a:buSzPts val="1800"/>
                  <a:buFont typeface="Century Gothic"/>
                  <a:buNone/>
                  <a:tabLst/>
                  <a:defRPr/>
                </a:pPr>
                <a:endParaRPr kumimoji="0" sz="1800" b="0" i="0" u="none" strike="noStrike" kern="0" cap="none" spc="0" normalizeH="0" baseline="0" noProof="0" dirty="0">
                  <a:ln>
                    <a:noFill/>
                  </a:ln>
                  <a:solidFill>
                    <a:srgbClr val="000000"/>
                  </a:solidFill>
                  <a:effectLst/>
                  <a:uLnTx/>
                  <a:uFillTx/>
                  <a:latin typeface="Century Gothic"/>
                  <a:ea typeface="Century Gothic"/>
                  <a:cs typeface="Century Gothic"/>
                  <a:sym typeface="Century Gothic"/>
                </a:endParaRPr>
              </a:p>
            </p:txBody>
          </p:sp>
          <p:sp>
            <p:nvSpPr>
              <p:cNvPr id="38" name="Google Shape;1050;p32">
                <a:extLst>
                  <a:ext uri="{FF2B5EF4-FFF2-40B4-BE49-F238E27FC236}">
                    <a16:creationId xmlns:a16="http://schemas.microsoft.com/office/drawing/2014/main" id="{62C8EF92-AF1A-8E23-1F31-FEFC50FC7092}"/>
                  </a:ext>
                </a:extLst>
              </p:cNvPr>
              <p:cNvSpPr/>
              <p:nvPr/>
            </p:nvSpPr>
            <p:spPr>
              <a:xfrm>
                <a:off x="3568445" y="2801325"/>
                <a:ext cx="1139570" cy="1240610"/>
              </a:xfrm>
              <a:custGeom>
                <a:avLst/>
                <a:gdLst/>
                <a:ahLst/>
                <a:cxnLst/>
                <a:rect l="l" t="t" r="r" b="b"/>
                <a:pathLst>
                  <a:path w="1139570" h="1240610" extrusionOk="0">
                    <a:moveTo>
                      <a:pt x="0" y="1239827"/>
                    </a:moveTo>
                    <a:lnTo>
                      <a:pt x="568643" y="0"/>
                    </a:lnTo>
                    <a:lnTo>
                      <a:pt x="1139571" y="1239827"/>
                    </a:lnTo>
                    <a:cubicBezTo>
                      <a:pt x="1104805" y="1239827"/>
                      <a:pt x="1072039" y="1238218"/>
                      <a:pt x="1039559" y="1240395"/>
                    </a:cubicBezTo>
                    <a:cubicBezTo>
                      <a:pt x="1017270" y="1242004"/>
                      <a:pt x="1006983" y="1234717"/>
                      <a:pt x="997839" y="1214274"/>
                    </a:cubicBezTo>
                    <a:cubicBezTo>
                      <a:pt x="938689" y="1083287"/>
                      <a:pt x="877729" y="952964"/>
                      <a:pt x="817817" y="822356"/>
                    </a:cubicBezTo>
                    <a:cubicBezTo>
                      <a:pt x="815436" y="814833"/>
                      <a:pt x="807971" y="810088"/>
                      <a:pt x="800100" y="811093"/>
                    </a:cubicBezTo>
                    <a:cubicBezTo>
                      <a:pt x="646176" y="811093"/>
                      <a:pt x="492315" y="811093"/>
                      <a:pt x="338518" y="811093"/>
                    </a:cubicBezTo>
                    <a:cubicBezTo>
                      <a:pt x="331044" y="810206"/>
                      <a:pt x="323996" y="814742"/>
                      <a:pt x="321755" y="821883"/>
                    </a:cubicBezTo>
                    <a:cubicBezTo>
                      <a:pt x="258826" y="958295"/>
                      <a:pt x="195770" y="1094645"/>
                      <a:pt x="132588" y="1230931"/>
                    </a:cubicBezTo>
                    <a:cubicBezTo>
                      <a:pt x="130804" y="1237182"/>
                      <a:pt x="124694" y="1241203"/>
                      <a:pt x="118205" y="1240395"/>
                    </a:cubicBezTo>
                    <a:cubicBezTo>
                      <a:pt x="82487" y="1240395"/>
                      <a:pt x="46672" y="1240395"/>
                      <a:pt x="10858" y="1240395"/>
                    </a:cubicBezTo>
                    <a:cubicBezTo>
                      <a:pt x="7906" y="1240395"/>
                      <a:pt x="4953" y="1240111"/>
                      <a:pt x="0" y="1239827"/>
                    </a:cubicBezTo>
                    <a:close/>
                    <a:moveTo>
                      <a:pt x="381000" y="694019"/>
                    </a:moveTo>
                    <a:lnTo>
                      <a:pt x="756857" y="694019"/>
                    </a:lnTo>
                    <a:cubicBezTo>
                      <a:pt x="694087" y="555840"/>
                      <a:pt x="631984" y="418891"/>
                      <a:pt x="568738" y="279766"/>
                    </a:cubicBezTo>
                    <a:close/>
                  </a:path>
                </a:pathLst>
              </a:custGeom>
              <a:solidFill>
                <a:srgbClr val="163D6D"/>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102D60"/>
                  </a:buClr>
                  <a:buSzPts val="1800"/>
                  <a:buFont typeface="Century Gothic"/>
                  <a:buNone/>
                  <a:tabLst/>
                  <a:defRPr/>
                </a:pPr>
                <a:endParaRPr kumimoji="0" sz="1800" b="0" i="0" u="none" strike="noStrike" kern="0" cap="none" spc="0" normalizeH="0" baseline="0" noProof="0" dirty="0">
                  <a:ln>
                    <a:noFill/>
                  </a:ln>
                  <a:solidFill>
                    <a:srgbClr val="000000"/>
                  </a:solidFill>
                  <a:effectLst/>
                  <a:uLnTx/>
                  <a:uFillTx/>
                  <a:latin typeface="Century Gothic"/>
                  <a:ea typeface="Century Gothic"/>
                  <a:cs typeface="Century Gothic"/>
                  <a:sym typeface="Century Gothic"/>
                </a:endParaRPr>
              </a:p>
            </p:txBody>
          </p:sp>
          <p:sp>
            <p:nvSpPr>
              <p:cNvPr id="39" name="Google Shape;1051;p32">
                <a:extLst>
                  <a:ext uri="{FF2B5EF4-FFF2-40B4-BE49-F238E27FC236}">
                    <a16:creationId xmlns:a16="http://schemas.microsoft.com/office/drawing/2014/main" id="{79B17D95-DED7-D12F-AF1F-A8CA1D8F4AAB}"/>
                  </a:ext>
                </a:extLst>
              </p:cNvPr>
              <p:cNvSpPr/>
              <p:nvPr/>
            </p:nvSpPr>
            <p:spPr>
              <a:xfrm>
                <a:off x="6027324" y="2858679"/>
                <a:ext cx="800100" cy="1180202"/>
              </a:xfrm>
              <a:custGeom>
                <a:avLst/>
                <a:gdLst/>
                <a:ahLst/>
                <a:cxnLst/>
                <a:rect l="l" t="t" r="r" b="b"/>
                <a:pathLst>
                  <a:path w="800100" h="1180202" extrusionOk="0">
                    <a:moveTo>
                      <a:pt x="123825" y="1063602"/>
                    </a:moveTo>
                    <a:lnTo>
                      <a:pt x="800100" y="1063602"/>
                    </a:lnTo>
                    <a:lnTo>
                      <a:pt x="800100" y="1180202"/>
                    </a:lnTo>
                    <a:lnTo>
                      <a:pt x="0" y="1180202"/>
                    </a:lnTo>
                    <a:lnTo>
                      <a:pt x="0" y="0"/>
                    </a:lnTo>
                    <a:lnTo>
                      <a:pt x="123825" y="0"/>
                    </a:lnTo>
                    <a:close/>
                  </a:path>
                </a:pathLst>
              </a:custGeom>
              <a:solidFill>
                <a:srgbClr val="163D6D"/>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102D60"/>
                  </a:buClr>
                  <a:buSzPts val="1800"/>
                  <a:buFont typeface="Century Gothic"/>
                  <a:buNone/>
                  <a:tabLst/>
                  <a:defRPr/>
                </a:pPr>
                <a:endParaRPr kumimoji="0" sz="1800" b="0" i="0" u="none" strike="noStrike" kern="0" cap="none" spc="0" normalizeH="0" baseline="0" noProof="0" dirty="0">
                  <a:ln>
                    <a:noFill/>
                  </a:ln>
                  <a:solidFill>
                    <a:srgbClr val="000000"/>
                  </a:solidFill>
                  <a:effectLst/>
                  <a:uLnTx/>
                  <a:uFillTx/>
                  <a:latin typeface="Century Gothic"/>
                  <a:ea typeface="Century Gothic"/>
                  <a:cs typeface="Century Gothic"/>
                  <a:sym typeface="Century Gothic"/>
                </a:endParaRPr>
              </a:p>
            </p:txBody>
          </p:sp>
        </p:grpSp>
        <p:cxnSp>
          <p:nvCxnSpPr>
            <p:cNvPr id="7" name="Google Shape;1052;p32">
              <a:extLst>
                <a:ext uri="{FF2B5EF4-FFF2-40B4-BE49-F238E27FC236}">
                  <a16:creationId xmlns:a16="http://schemas.microsoft.com/office/drawing/2014/main" id="{792913E3-6939-FC96-D35B-167A6AA90C4F}"/>
                </a:ext>
              </a:extLst>
            </p:cNvPr>
            <p:cNvCxnSpPr/>
            <p:nvPr/>
          </p:nvCxnSpPr>
          <p:spPr>
            <a:xfrm>
              <a:off x="1440298" y="391413"/>
              <a:ext cx="0" cy="229878"/>
            </a:xfrm>
            <a:prstGeom prst="straightConnector1">
              <a:avLst/>
            </a:prstGeom>
            <a:solidFill>
              <a:srgbClr val="6D675B"/>
            </a:solidFill>
            <a:ln w="12700" cap="flat" cmpd="sng">
              <a:solidFill>
                <a:srgbClr val="163D6D"/>
              </a:solidFill>
              <a:prstDash val="solid"/>
              <a:miter lim="800000"/>
              <a:headEnd type="none" w="sm" len="sm"/>
              <a:tailEnd type="none" w="sm" len="sm"/>
            </a:ln>
          </p:spPr>
        </p:cxnSp>
        <p:pic>
          <p:nvPicPr>
            <p:cNvPr id="8" name="Google Shape;1053;p32">
              <a:extLst>
                <a:ext uri="{FF2B5EF4-FFF2-40B4-BE49-F238E27FC236}">
                  <a16:creationId xmlns:a16="http://schemas.microsoft.com/office/drawing/2014/main" id="{C4AFA1D5-809A-FB80-7E00-B87771523C62}"/>
                </a:ext>
              </a:extLst>
            </p:cNvPr>
            <p:cNvPicPr preferRelativeResize="0"/>
            <p:nvPr/>
          </p:nvPicPr>
          <p:blipFill rotWithShape="1">
            <a:blip r:embed="rId3">
              <a:alphaModFix/>
            </a:blip>
            <a:srcRect/>
            <a:stretch/>
          </p:blipFill>
          <p:spPr>
            <a:xfrm>
              <a:off x="164111" y="412448"/>
              <a:ext cx="1173798" cy="187808"/>
            </a:xfrm>
            <a:prstGeom prst="rect">
              <a:avLst/>
            </a:prstGeom>
            <a:noFill/>
            <a:ln>
              <a:noFill/>
            </a:ln>
          </p:spPr>
        </p:pic>
      </p:grpSp>
    </p:spTree>
    <p:extLst>
      <p:ext uri="{BB962C8B-B14F-4D97-AF65-F5344CB8AC3E}">
        <p14:creationId xmlns:p14="http://schemas.microsoft.com/office/powerpoint/2010/main" val="31488644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heme/theme1.xml><?xml version="1.0" encoding="utf-8"?>
<a:theme xmlns:a="http://schemas.openxmlformats.org/drawingml/2006/main" name="Apyx Medical">
  <a:themeElements>
    <a:clrScheme name="Apyx">
      <a:dk1>
        <a:sysClr val="windowText" lastClr="000000"/>
      </a:dk1>
      <a:lt1>
        <a:sysClr val="window" lastClr="FFFFFF"/>
      </a:lt1>
      <a:dk2>
        <a:srgbClr val="00396F"/>
      </a:dk2>
      <a:lt2>
        <a:srgbClr val="E8E8E8"/>
      </a:lt2>
      <a:accent1>
        <a:srgbClr val="E57200"/>
      </a:accent1>
      <a:accent2>
        <a:srgbClr val="00396F"/>
      </a:accent2>
      <a:accent3>
        <a:srgbClr val="326295"/>
      </a:accent3>
      <a:accent4>
        <a:srgbClr val="8E9FBC"/>
      </a:accent4>
      <a:accent5>
        <a:srgbClr val="898D8D"/>
      </a:accent5>
      <a:accent6>
        <a:srgbClr val="00A7CF"/>
      </a:accent6>
      <a:hlink>
        <a:srgbClr val="326295"/>
      </a:hlink>
      <a:folHlink>
        <a:srgbClr val="8E9FB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gradFill>
          <a:gsLst>
            <a:gs pos="47000">
              <a:schemeClr val="tx2"/>
            </a:gs>
            <a:gs pos="100000">
              <a:schemeClr val="tx2">
                <a:lumMod val="75000"/>
              </a:schemeClr>
            </a:gs>
          </a:gsLst>
          <a:lin ang="5400000" scaled="1"/>
        </a:gradFill>
        <a:ln>
          <a:noFill/>
        </a:ln>
        <a:effectLst>
          <a:outerShdw blurRad="50800" dist="38100" dir="5400000" algn="t" rotWithShape="0">
            <a:prstClr val="black">
              <a:alpha val="40000"/>
            </a:prstClr>
          </a:outerShdw>
        </a:effectLst>
      </a:spPr>
      <a:bodyPr wrap="square" rtlCol="0" anchor="ctr">
        <a:noAutofit/>
      </a:bodyPr>
      <a:lstStyle>
        <a:defPPr algn="ctr">
          <a:defRPr dirty="0" err="1" smtClean="0"/>
        </a:defPPr>
      </a:lstStyle>
      <a:style>
        <a:lnRef idx="2">
          <a:schemeClr val="accent1">
            <a:shade val="15000"/>
          </a:schemeClr>
        </a:lnRef>
        <a:fillRef idx="1">
          <a:schemeClr val="accent1"/>
        </a:fillRef>
        <a:effectRef idx="0">
          <a:schemeClr val="accent1"/>
        </a:effectRef>
        <a:fontRef idx="minor">
          <a:schemeClr val="lt1"/>
        </a:fontRef>
      </a:style>
    </a:spDef>
    <a:lnDef>
      <a:spPr>
        <a:ln w="12700"/>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Renuvion">
  <a:themeElements>
    <a:clrScheme name="Office">
      <a:dk1>
        <a:srgbClr val="494C4F"/>
      </a:dk1>
      <a:lt1>
        <a:sysClr val="window" lastClr="FFFFFF"/>
      </a:lt1>
      <a:dk2>
        <a:srgbClr val="494C4F"/>
      </a:dk2>
      <a:lt2>
        <a:srgbClr val="DCDCDE"/>
      </a:lt2>
      <a:accent1>
        <a:srgbClr val="003A70"/>
      </a:accent1>
      <a:accent2>
        <a:srgbClr val="00A5CE"/>
      </a:accent2>
      <a:accent3>
        <a:srgbClr val="B2D9E0"/>
      </a:accent3>
      <a:accent4>
        <a:srgbClr val="7B828B"/>
      </a:accent4>
      <a:accent5>
        <a:srgbClr val="7A859C"/>
      </a:accent5>
      <a:accent6>
        <a:srgbClr val="EC008C"/>
      </a:accent6>
      <a:hlink>
        <a:srgbClr val="00A5CE"/>
      </a:hlink>
      <a:folHlink>
        <a:srgbClr val="EC008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9525">
          <a:solidFill>
            <a:schemeClr val="bg1">
              <a:alpha val="50000"/>
            </a:schemeClr>
          </a:solidFill>
        </a:ln>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lgn="l">
          <a:lnSpc>
            <a:spcPct val="85000"/>
          </a:lnSpc>
          <a:defRPr sz="3200" dirty="0" smtClean="0">
            <a:solidFill>
              <a:schemeClr val="bg1"/>
            </a:solidFill>
          </a:defRPr>
        </a:defPPr>
      </a:lstStyle>
    </a:tx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6777</TotalTime>
  <Words>2388</Words>
  <Application>Microsoft Office PowerPoint</Application>
  <PresentationFormat>Widescreen</PresentationFormat>
  <Paragraphs>231</Paragraphs>
  <Slides>18</Slides>
  <Notes>4</Notes>
  <HiddenSlides>0</HiddenSlides>
  <MMClips>0</MMClips>
  <ScaleCrop>false</ScaleCrop>
  <HeadingPairs>
    <vt:vector size="6" baseType="variant">
      <vt:variant>
        <vt:lpstr>Fonts Used</vt:lpstr>
      </vt:variant>
      <vt:variant>
        <vt:i4>8</vt:i4>
      </vt:variant>
      <vt:variant>
        <vt:lpstr>Theme</vt:lpstr>
      </vt:variant>
      <vt:variant>
        <vt:i4>2</vt:i4>
      </vt:variant>
      <vt:variant>
        <vt:lpstr>Slide Titles</vt:lpstr>
      </vt:variant>
      <vt:variant>
        <vt:i4>18</vt:i4>
      </vt:variant>
    </vt:vector>
  </HeadingPairs>
  <TitlesOfParts>
    <vt:vector size="28" baseType="lpstr">
      <vt:lpstr>Aptos</vt:lpstr>
      <vt:lpstr>Arial</vt:lpstr>
      <vt:lpstr>Calibri</vt:lpstr>
      <vt:lpstr>Century Gothic</vt:lpstr>
      <vt:lpstr>Courier New</vt:lpstr>
      <vt:lpstr>Lucida Sans Unicode</vt:lpstr>
      <vt:lpstr>Trebuchet MS</vt:lpstr>
      <vt:lpstr>Wingdings</vt:lpstr>
      <vt:lpstr>Apyx Medical</vt:lpstr>
      <vt:lpstr>Renuvion</vt:lpstr>
      <vt:lpstr>Investor presentation</vt:lpstr>
      <vt:lpstr>Cautionary Statements</vt:lpstr>
      <vt:lpstr>tHE LEADER IN SURGICAL AESTHETICS</vt:lpstr>
      <vt:lpstr>Market trends + macro signals</vt:lpstr>
      <vt:lpstr>Multi Billion Dollar Global Market Opportunity </vt:lpstr>
      <vt:lpstr>Renuvion Single-Use Handpieces – recurring revenue</vt:lpstr>
      <vt:lpstr>How Renuvion Works</vt:lpstr>
      <vt:lpstr>REAL RESULTS</vt:lpstr>
      <vt:lpstr>REAL RESULTS</vt:lpstr>
      <vt:lpstr>AYON: Revolutionizing Body Contouring  </vt:lpstr>
      <vt:lpstr>Driving Patient Demand + Optimizing Provider Results</vt:lpstr>
      <vt:lpstr>Global Presence </vt:lpstr>
      <vt:lpstr>Strategic Initiatives Announced in Q4 2024 – Value Creation in 2025</vt:lpstr>
      <vt:lpstr>2025 Financial Preliminary revenue – revised upwards</vt:lpstr>
      <vt:lpstr>2025 COMPANY OBJECTIVES</vt:lpstr>
      <vt:lpstr>Q&amp;A</vt:lpstr>
      <vt:lpstr>Compelling Clinical and Real-World Evidence</vt:lpstr>
      <vt:lpstr>BENEATH THE SURFAC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adeem Ahmad</dc:creator>
  <cp:lastModifiedBy>Matt Hill</cp:lastModifiedBy>
  <cp:revision>127</cp:revision>
  <dcterms:created xsi:type="dcterms:W3CDTF">2024-04-13T06:12:33Z</dcterms:created>
  <dcterms:modified xsi:type="dcterms:W3CDTF">2026-01-11T17:56: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9ae19c90-140e-44ac-a1a9-c26d90b10546_Enabled">
    <vt:lpwstr>true</vt:lpwstr>
  </property>
  <property fmtid="{D5CDD505-2E9C-101B-9397-08002B2CF9AE}" pid="3" name="MSIP_Label_9ae19c90-140e-44ac-a1a9-c26d90b10546_SetDate">
    <vt:lpwstr>2024-04-18T16:38:06Z</vt:lpwstr>
  </property>
  <property fmtid="{D5CDD505-2E9C-101B-9397-08002B2CF9AE}" pid="4" name="MSIP_Label_9ae19c90-140e-44ac-a1a9-c26d90b10546_Method">
    <vt:lpwstr>Standard</vt:lpwstr>
  </property>
  <property fmtid="{D5CDD505-2E9C-101B-9397-08002B2CF9AE}" pid="5" name="MSIP_Label_9ae19c90-140e-44ac-a1a9-c26d90b10546_Name">
    <vt:lpwstr>Financial Data</vt:lpwstr>
  </property>
  <property fmtid="{D5CDD505-2E9C-101B-9397-08002B2CF9AE}" pid="6" name="MSIP_Label_9ae19c90-140e-44ac-a1a9-c26d90b10546_SiteId">
    <vt:lpwstr>22b6f83e-1438-4553-9abe-95aa0b63c813</vt:lpwstr>
  </property>
  <property fmtid="{D5CDD505-2E9C-101B-9397-08002B2CF9AE}" pid="7" name="MSIP_Label_9ae19c90-140e-44ac-a1a9-c26d90b10546_ActionId">
    <vt:lpwstr>801bf584-6175-4b1f-9e24-b927d4d71502</vt:lpwstr>
  </property>
  <property fmtid="{D5CDD505-2E9C-101B-9397-08002B2CF9AE}" pid="8" name="MSIP_Label_9ae19c90-140e-44ac-a1a9-c26d90b10546_ContentBits">
    <vt:lpwstr>0</vt:lpwstr>
  </property>
</Properties>
</file>